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3.xml" ContentType="application/vnd.openxmlformats-officedocument.them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4.xml" ContentType="application/vnd.openxmlformats-officedocument.them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heme/theme5.xml" ContentType="application/vnd.openxmlformats-officedocument.theme+xml"/>
  <Override PartName="/ppt/tags/tag516.xml" ContentType="application/vnd.openxmlformats-officedocument.presentationml.tags+xml"/>
  <Override PartName="/ppt/theme/theme6.xml" ContentType="application/vnd.openxmlformats-officedocument.theme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charts/chart1.xml" ContentType="application/vnd.openxmlformats-officedocument.drawingml.chart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6.xml" ContentType="application/vnd.openxmlformats-officedocument.drawingml.chart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charts/chart53.xml" ContentType="application/vnd.openxmlformats-officedocument.drawingml.chart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ags/tag277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2778.xml" ContentType="application/vnd.openxmlformats-officedocument.presentationml.tags+xml"/>
  <Override PartName="/ppt/tags/tag2779.xml" ContentType="application/vnd.openxmlformats-officedocument.presentationml.tags+xml"/>
  <Override PartName="/ppt/tags/tag2780.xml" ContentType="application/vnd.openxmlformats-officedocument.presentationml.tags+xml"/>
  <Override PartName="/ppt/tags/tag2781.xml" ContentType="application/vnd.openxmlformats-officedocument.presentationml.tags+xml"/>
  <Override PartName="/ppt/tags/tag2782.xml" ContentType="application/vnd.openxmlformats-officedocument.presentationml.tags+xml"/>
  <Override PartName="/ppt/tags/tag2783.xml" ContentType="application/vnd.openxmlformats-officedocument.presentationml.tags+xml"/>
  <Override PartName="/ppt/tags/tag2784.xml" ContentType="application/vnd.openxmlformats-officedocument.presentationml.tags+xml"/>
  <Override PartName="/ppt/tags/tag2785.xml" ContentType="application/vnd.openxmlformats-officedocument.presentationml.tags+xml"/>
  <Override PartName="/ppt/tags/tag2786.xml" ContentType="application/vnd.openxmlformats-officedocument.presentationml.tags+xml"/>
  <Override PartName="/ppt/tags/tag2787.xml" ContentType="application/vnd.openxmlformats-officedocument.presentationml.tags+xml"/>
  <Override PartName="/ppt/tags/tag2788.xml" ContentType="application/vnd.openxmlformats-officedocument.presentationml.tags+xml"/>
  <Override PartName="/ppt/tags/tag2789.xml" ContentType="application/vnd.openxmlformats-officedocument.presentationml.tags+xml"/>
  <Override PartName="/ppt/tags/tag2790.xml" ContentType="application/vnd.openxmlformats-officedocument.presentationml.tags+xml"/>
  <Override PartName="/ppt/tags/tag2791.xml" ContentType="application/vnd.openxmlformats-officedocument.presentationml.tags+xml"/>
  <Override PartName="/ppt/tags/tag2792.xml" ContentType="application/vnd.openxmlformats-officedocument.presentationml.tags+xml"/>
  <Override PartName="/ppt/tags/tag2793.xml" ContentType="application/vnd.openxmlformats-officedocument.presentationml.tags+xml"/>
  <Override PartName="/ppt/tags/tag2794.xml" ContentType="application/vnd.openxmlformats-officedocument.presentationml.tags+xml"/>
  <Override PartName="/ppt/tags/tag2795.xml" ContentType="application/vnd.openxmlformats-officedocument.presentationml.tags+xml"/>
  <Override PartName="/ppt/tags/tag2796.xml" ContentType="application/vnd.openxmlformats-officedocument.presentationml.tags+xml"/>
  <Override PartName="/ppt/tags/tag2797.xml" ContentType="application/vnd.openxmlformats-officedocument.presentationml.tags+xml"/>
  <Override PartName="/ppt/tags/tag2798.xml" ContentType="application/vnd.openxmlformats-officedocument.presentationml.tags+xml"/>
  <Override PartName="/ppt/tags/tag2799.xml" ContentType="application/vnd.openxmlformats-officedocument.presentationml.tags+xml"/>
  <Override PartName="/ppt/tags/tag2800.xml" ContentType="application/vnd.openxmlformats-officedocument.presentationml.tags+xml"/>
  <Override PartName="/ppt/tags/tag2801.xml" ContentType="application/vnd.openxmlformats-officedocument.presentationml.tags+xml"/>
  <Override PartName="/ppt/tags/tag2802.xml" ContentType="application/vnd.openxmlformats-officedocument.presentationml.tags+xml"/>
  <Override PartName="/ppt/tags/tag2803.xml" ContentType="application/vnd.openxmlformats-officedocument.presentationml.tags+xml"/>
  <Override PartName="/ppt/tags/tag2804.xml" ContentType="application/vnd.openxmlformats-officedocument.presentationml.tags+xml"/>
  <Override PartName="/ppt/tags/tag2805.xml" ContentType="application/vnd.openxmlformats-officedocument.presentationml.tags+xml"/>
  <Override PartName="/ppt/tags/tag2806.xml" ContentType="application/vnd.openxmlformats-officedocument.presentationml.tags+xml"/>
  <Override PartName="/ppt/tags/tag2807.xml" ContentType="application/vnd.openxmlformats-officedocument.presentationml.tags+xml"/>
  <Override PartName="/ppt/tags/tag2808.xml" ContentType="application/vnd.openxmlformats-officedocument.presentationml.tags+xml"/>
  <Override PartName="/ppt/tags/tag2809.xml" ContentType="application/vnd.openxmlformats-officedocument.presentationml.tags+xml"/>
  <Override PartName="/ppt/tags/tag2810.xml" ContentType="application/vnd.openxmlformats-officedocument.presentationml.tags+xml"/>
  <Override PartName="/ppt/tags/tag2811.xml" ContentType="application/vnd.openxmlformats-officedocument.presentationml.tags+xml"/>
  <Override PartName="/ppt/tags/tag2812.xml" ContentType="application/vnd.openxmlformats-officedocument.presentationml.tags+xml"/>
  <Override PartName="/ppt/tags/tag2813.xml" ContentType="application/vnd.openxmlformats-officedocument.presentationml.tags+xml"/>
  <Override PartName="/ppt/tags/tag2814.xml" ContentType="application/vnd.openxmlformats-officedocument.presentationml.tags+xml"/>
  <Override PartName="/ppt/tags/tag2815.xml" ContentType="application/vnd.openxmlformats-officedocument.presentationml.tags+xml"/>
  <Override PartName="/ppt/tags/tag2816.xml" ContentType="application/vnd.openxmlformats-officedocument.presentationml.tags+xml"/>
  <Override PartName="/ppt/tags/tag2817.xml" ContentType="application/vnd.openxmlformats-officedocument.presentationml.tags+xml"/>
  <Override PartName="/ppt/tags/tag2818.xml" ContentType="application/vnd.openxmlformats-officedocument.presentationml.tags+xml"/>
  <Override PartName="/ppt/tags/tag2819.xml" ContentType="application/vnd.openxmlformats-officedocument.presentationml.tags+xml"/>
  <Override PartName="/ppt/tags/tag2820.xml" ContentType="application/vnd.openxmlformats-officedocument.presentationml.tags+xml"/>
  <Override PartName="/ppt/tags/tag2821.xml" ContentType="application/vnd.openxmlformats-officedocument.presentationml.tags+xml"/>
  <Override PartName="/ppt/tags/tag2822.xml" ContentType="application/vnd.openxmlformats-officedocument.presentationml.tags+xml"/>
  <Override PartName="/ppt/tags/tag2823.xml" ContentType="application/vnd.openxmlformats-officedocument.presentationml.tags+xml"/>
  <Override PartName="/ppt/tags/tag2824.xml" ContentType="application/vnd.openxmlformats-officedocument.presentationml.tags+xml"/>
  <Override PartName="/ppt/tags/tag2825.xml" ContentType="application/vnd.openxmlformats-officedocument.presentationml.tags+xml"/>
  <Override PartName="/ppt/tags/tag2826.xml" ContentType="application/vnd.openxmlformats-officedocument.presentationml.tags+xml"/>
  <Override PartName="/ppt/tags/tag2827.xml" ContentType="application/vnd.openxmlformats-officedocument.presentationml.tags+xml"/>
  <Override PartName="/ppt/tags/tag2828.xml" ContentType="application/vnd.openxmlformats-officedocument.presentationml.tags+xml"/>
  <Override PartName="/ppt/tags/tag2829.xml" ContentType="application/vnd.openxmlformats-officedocument.presentationml.tags+xml"/>
  <Override PartName="/ppt/tags/tag2830.xml" ContentType="application/vnd.openxmlformats-officedocument.presentationml.tags+xml"/>
  <Override PartName="/ppt/tags/tag2831.xml" ContentType="application/vnd.openxmlformats-officedocument.presentationml.tags+xml"/>
  <Override PartName="/ppt/tags/tag2832.xml" ContentType="application/vnd.openxmlformats-officedocument.presentationml.tags+xml"/>
  <Override PartName="/ppt/tags/tag2833.xml" ContentType="application/vnd.openxmlformats-officedocument.presentationml.tags+xml"/>
  <Override PartName="/ppt/tags/tag2834.xml" ContentType="application/vnd.openxmlformats-officedocument.presentationml.tags+xml"/>
  <Override PartName="/ppt/tags/tag2835.xml" ContentType="application/vnd.openxmlformats-officedocument.presentationml.tags+xml"/>
  <Override PartName="/ppt/tags/tag2836.xml" ContentType="application/vnd.openxmlformats-officedocument.presentationml.tags+xml"/>
  <Override PartName="/ppt/tags/tag2837.xml" ContentType="application/vnd.openxmlformats-officedocument.presentationml.tags+xml"/>
  <Override PartName="/ppt/tags/tag2838.xml" ContentType="application/vnd.openxmlformats-officedocument.presentationml.tags+xml"/>
  <Override PartName="/ppt/tags/tag2839.xml" ContentType="application/vnd.openxmlformats-officedocument.presentationml.tags+xml"/>
  <Override PartName="/ppt/tags/tag2840.xml" ContentType="application/vnd.openxmlformats-officedocument.presentationml.tags+xml"/>
  <Override PartName="/ppt/tags/tag2841.xml" ContentType="application/vnd.openxmlformats-officedocument.presentationml.tags+xml"/>
  <Override PartName="/ppt/tags/tag2842.xml" ContentType="application/vnd.openxmlformats-officedocument.presentationml.tags+xml"/>
  <Override PartName="/ppt/tags/tag2843.xml" ContentType="application/vnd.openxmlformats-officedocument.presentationml.tags+xml"/>
  <Override PartName="/ppt/tags/tag2844.xml" ContentType="application/vnd.openxmlformats-officedocument.presentationml.tags+xml"/>
  <Override PartName="/ppt/tags/tag2845.xml" ContentType="application/vnd.openxmlformats-officedocument.presentationml.tags+xml"/>
  <Override PartName="/ppt/tags/tag2846.xml" ContentType="application/vnd.openxmlformats-officedocument.presentationml.tags+xml"/>
  <Override PartName="/ppt/tags/tag2847.xml" ContentType="application/vnd.openxmlformats-officedocument.presentationml.tags+xml"/>
  <Override PartName="/ppt/tags/tag2848.xml" ContentType="application/vnd.openxmlformats-officedocument.presentationml.tags+xml"/>
  <Override PartName="/ppt/tags/tag2849.xml" ContentType="application/vnd.openxmlformats-officedocument.presentationml.tags+xml"/>
  <Override PartName="/ppt/tags/tag2850.xml" ContentType="application/vnd.openxmlformats-officedocument.presentationml.tags+xml"/>
  <Override PartName="/ppt/tags/tag2851.xml" ContentType="application/vnd.openxmlformats-officedocument.presentationml.tags+xml"/>
  <Override PartName="/ppt/tags/tag2852.xml" ContentType="application/vnd.openxmlformats-officedocument.presentationml.tags+xml"/>
  <Override PartName="/ppt/tags/tag2853.xml" ContentType="application/vnd.openxmlformats-officedocument.presentationml.tags+xml"/>
  <Override PartName="/ppt/tags/tag2854.xml" ContentType="application/vnd.openxmlformats-officedocument.presentationml.tags+xml"/>
  <Override PartName="/ppt/tags/tag2855.xml" ContentType="application/vnd.openxmlformats-officedocument.presentationml.tags+xml"/>
  <Override PartName="/ppt/tags/tag2856.xml" ContentType="application/vnd.openxmlformats-officedocument.presentationml.tags+xml"/>
  <Override PartName="/ppt/tags/tag2857.xml" ContentType="application/vnd.openxmlformats-officedocument.presentationml.tags+xml"/>
  <Override PartName="/ppt/tags/tag2858.xml" ContentType="application/vnd.openxmlformats-officedocument.presentationml.tags+xml"/>
  <Override PartName="/ppt/tags/tag2859.xml" ContentType="application/vnd.openxmlformats-officedocument.presentationml.tags+xml"/>
  <Override PartName="/ppt/tags/tag2860.xml" ContentType="application/vnd.openxmlformats-officedocument.presentationml.tags+xml"/>
  <Override PartName="/ppt/tags/tag2861.xml" ContentType="application/vnd.openxmlformats-officedocument.presentationml.tags+xml"/>
  <Override PartName="/ppt/tags/tag2862.xml" ContentType="application/vnd.openxmlformats-officedocument.presentationml.tags+xml"/>
  <Override PartName="/ppt/tags/tag2863.xml" ContentType="application/vnd.openxmlformats-officedocument.presentationml.tags+xml"/>
  <Override PartName="/ppt/tags/tag2864.xml" ContentType="application/vnd.openxmlformats-officedocument.presentationml.tags+xml"/>
  <Override PartName="/ppt/tags/tag2865.xml" ContentType="application/vnd.openxmlformats-officedocument.presentationml.tags+xml"/>
  <Override PartName="/ppt/tags/tag2866.xml" ContentType="application/vnd.openxmlformats-officedocument.presentationml.tags+xml"/>
  <Override PartName="/ppt/tags/tag2867.xml" ContentType="application/vnd.openxmlformats-officedocument.presentationml.tags+xml"/>
  <Override PartName="/ppt/tags/tag2868.xml" ContentType="application/vnd.openxmlformats-officedocument.presentationml.tags+xml"/>
  <Override PartName="/ppt/tags/tag2869.xml" ContentType="application/vnd.openxmlformats-officedocument.presentationml.tags+xml"/>
  <Override PartName="/ppt/tags/tag2870.xml" ContentType="application/vnd.openxmlformats-officedocument.presentationml.tags+xml"/>
  <Override PartName="/ppt/tags/tag2871.xml" ContentType="application/vnd.openxmlformats-officedocument.presentationml.tags+xml"/>
  <Override PartName="/ppt/tags/tag2872.xml" ContentType="application/vnd.openxmlformats-officedocument.presentationml.tags+xml"/>
  <Override PartName="/ppt/tags/tag2873.xml" ContentType="application/vnd.openxmlformats-officedocument.presentationml.tags+xml"/>
  <Override PartName="/ppt/tags/tag2874.xml" ContentType="application/vnd.openxmlformats-officedocument.presentationml.tags+xml"/>
  <Override PartName="/ppt/tags/tag2875.xml" ContentType="application/vnd.openxmlformats-officedocument.presentationml.tags+xml"/>
  <Override PartName="/ppt/tags/tag2876.xml" ContentType="application/vnd.openxmlformats-officedocument.presentationml.tags+xml"/>
  <Override PartName="/ppt/tags/tag2877.xml" ContentType="application/vnd.openxmlformats-officedocument.presentationml.tags+xml"/>
  <Override PartName="/ppt/tags/tag2878.xml" ContentType="application/vnd.openxmlformats-officedocument.presentationml.tags+xml"/>
  <Override PartName="/ppt/tags/tag2879.xml" ContentType="application/vnd.openxmlformats-officedocument.presentationml.tags+xml"/>
  <Override PartName="/ppt/tags/tag2880.xml" ContentType="application/vnd.openxmlformats-officedocument.presentationml.tags+xml"/>
  <Override PartName="/ppt/tags/tag2881.xml" ContentType="application/vnd.openxmlformats-officedocument.presentationml.tags+xml"/>
  <Override PartName="/ppt/tags/tag2882.xml" ContentType="application/vnd.openxmlformats-officedocument.presentationml.tags+xml"/>
  <Override PartName="/ppt/tags/tag2883.xml" ContentType="application/vnd.openxmlformats-officedocument.presentationml.tags+xml"/>
  <Override PartName="/ppt/tags/tag2884.xml" ContentType="application/vnd.openxmlformats-officedocument.presentationml.tags+xml"/>
  <Override PartName="/ppt/tags/tag2885.xml" ContentType="application/vnd.openxmlformats-officedocument.presentationml.tags+xml"/>
  <Override PartName="/ppt/tags/tag2886.xml" ContentType="application/vnd.openxmlformats-officedocument.presentationml.tags+xml"/>
  <Override PartName="/ppt/tags/tag2887.xml" ContentType="application/vnd.openxmlformats-officedocument.presentationml.tags+xml"/>
  <Override PartName="/ppt/tags/tag2888.xml" ContentType="application/vnd.openxmlformats-officedocument.presentationml.tags+xml"/>
  <Override PartName="/ppt/tags/tag2889.xml" ContentType="application/vnd.openxmlformats-officedocument.presentationml.tags+xml"/>
  <Override PartName="/ppt/tags/tag2890.xml" ContentType="application/vnd.openxmlformats-officedocument.presentationml.tags+xml"/>
  <Override PartName="/ppt/tags/tag2891.xml" ContentType="application/vnd.openxmlformats-officedocument.presentationml.tags+xml"/>
  <Override PartName="/ppt/tags/tag2892.xml" ContentType="application/vnd.openxmlformats-officedocument.presentationml.tags+xml"/>
  <Override PartName="/ppt/tags/tag2893.xml" ContentType="application/vnd.openxmlformats-officedocument.presentationml.tags+xml"/>
  <Override PartName="/ppt/tags/tag2894.xml" ContentType="application/vnd.openxmlformats-officedocument.presentationml.tags+xml"/>
  <Override PartName="/ppt/tags/tag2895.xml" ContentType="application/vnd.openxmlformats-officedocument.presentationml.tags+xml"/>
  <Override PartName="/ppt/tags/tag2896.xml" ContentType="application/vnd.openxmlformats-officedocument.presentationml.tags+xml"/>
  <Override PartName="/ppt/tags/tag2897.xml" ContentType="application/vnd.openxmlformats-officedocument.presentationml.tags+xml"/>
  <Override PartName="/ppt/tags/tag2898.xml" ContentType="application/vnd.openxmlformats-officedocument.presentationml.tags+xml"/>
  <Override PartName="/ppt/tags/tag2899.xml" ContentType="application/vnd.openxmlformats-officedocument.presentationml.tags+xml"/>
  <Override PartName="/ppt/tags/tag2900.xml" ContentType="application/vnd.openxmlformats-officedocument.presentationml.tags+xml"/>
  <Override PartName="/ppt/tags/tag2901.xml" ContentType="application/vnd.openxmlformats-officedocument.presentationml.tags+xml"/>
  <Override PartName="/ppt/tags/tag2902.xml" ContentType="application/vnd.openxmlformats-officedocument.presentationml.tags+xml"/>
  <Override PartName="/ppt/tags/tag2903.xml" ContentType="application/vnd.openxmlformats-officedocument.presentationml.tags+xml"/>
  <Override PartName="/ppt/tags/tag2904.xml" ContentType="application/vnd.openxmlformats-officedocument.presentationml.tags+xml"/>
  <Override PartName="/ppt/tags/tag2905.xml" ContentType="application/vnd.openxmlformats-officedocument.presentationml.tags+xml"/>
  <Override PartName="/ppt/tags/tag2906.xml" ContentType="application/vnd.openxmlformats-officedocument.presentationml.tags+xml"/>
  <Override PartName="/ppt/tags/tag2907.xml" ContentType="application/vnd.openxmlformats-officedocument.presentationml.tags+xml"/>
  <Override PartName="/ppt/tags/tag2908.xml" ContentType="application/vnd.openxmlformats-officedocument.presentationml.tags+xml"/>
  <Override PartName="/ppt/tags/tag2909.xml" ContentType="application/vnd.openxmlformats-officedocument.presentationml.tags+xml"/>
  <Override PartName="/ppt/tags/tag2910.xml" ContentType="application/vnd.openxmlformats-officedocument.presentationml.tags+xml"/>
  <Override PartName="/ppt/tags/tag2911.xml" ContentType="application/vnd.openxmlformats-officedocument.presentationml.tags+xml"/>
  <Override PartName="/ppt/tags/tag2912.xml" ContentType="application/vnd.openxmlformats-officedocument.presentationml.tags+xml"/>
  <Override PartName="/ppt/tags/tag2913.xml" ContentType="application/vnd.openxmlformats-officedocument.presentationml.tags+xml"/>
  <Override PartName="/ppt/tags/tag2914.xml" ContentType="application/vnd.openxmlformats-officedocument.presentationml.tags+xml"/>
  <Override PartName="/ppt/tags/tag2915.xml" ContentType="application/vnd.openxmlformats-officedocument.presentationml.tags+xml"/>
  <Override PartName="/ppt/tags/tag2916.xml" ContentType="application/vnd.openxmlformats-officedocument.presentationml.tags+xml"/>
  <Override PartName="/ppt/tags/tag2917.xml" ContentType="application/vnd.openxmlformats-officedocument.presentationml.tags+xml"/>
  <Override PartName="/ppt/tags/tag2918.xml" ContentType="application/vnd.openxmlformats-officedocument.presentationml.tags+xml"/>
  <Override PartName="/ppt/tags/tag2919.xml" ContentType="application/vnd.openxmlformats-officedocument.presentationml.tags+xml"/>
  <Override PartName="/ppt/tags/tag2920.xml" ContentType="application/vnd.openxmlformats-officedocument.presentationml.tags+xml"/>
  <Override PartName="/ppt/tags/tag2921.xml" ContentType="application/vnd.openxmlformats-officedocument.presentationml.tags+xml"/>
  <Override PartName="/ppt/tags/tag2922.xml" ContentType="application/vnd.openxmlformats-officedocument.presentationml.tags+xml"/>
  <Override PartName="/ppt/tags/tag2923.xml" ContentType="application/vnd.openxmlformats-officedocument.presentationml.tags+xml"/>
  <Override PartName="/ppt/tags/tag2924.xml" ContentType="application/vnd.openxmlformats-officedocument.presentationml.tags+xml"/>
  <Override PartName="/ppt/tags/tag2925.xml" ContentType="application/vnd.openxmlformats-officedocument.presentationml.tags+xml"/>
  <Override PartName="/ppt/tags/tag2926.xml" ContentType="application/vnd.openxmlformats-officedocument.presentationml.tags+xml"/>
  <Override PartName="/ppt/tags/tag2927.xml" ContentType="application/vnd.openxmlformats-officedocument.presentationml.tags+xml"/>
  <Override PartName="/ppt/tags/tag2928.xml" ContentType="application/vnd.openxmlformats-officedocument.presentationml.tags+xml"/>
  <Override PartName="/ppt/tags/tag2929.xml" ContentType="application/vnd.openxmlformats-officedocument.presentationml.tags+xml"/>
  <Override PartName="/ppt/tags/tag293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tags/tag2931.xml" ContentType="application/vnd.openxmlformats-officedocument.presentationml.tags+xml"/>
  <Override PartName="/ppt/tags/tag2932.xml" ContentType="application/vnd.openxmlformats-officedocument.presentationml.tags+xml"/>
  <Override PartName="/ppt/tags/tag2933.xml" ContentType="application/vnd.openxmlformats-officedocument.presentationml.tags+xml"/>
  <Override PartName="/ppt/tags/tag2934.xml" ContentType="application/vnd.openxmlformats-officedocument.presentationml.tags+xml"/>
  <Override PartName="/ppt/tags/tag2935.xml" ContentType="application/vnd.openxmlformats-officedocument.presentationml.tags+xml"/>
  <Override PartName="/ppt/tags/tag2936.xml" ContentType="application/vnd.openxmlformats-officedocument.presentationml.tags+xml"/>
  <Override PartName="/ppt/tags/tag2937.xml" ContentType="application/vnd.openxmlformats-officedocument.presentationml.tags+xml"/>
  <Override PartName="/ppt/tags/tag2938.xml" ContentType="application/vnd.openxmlformats-officedocument.presentationml.tags+xml"/>
  <Override PartName="/ppt/tags/tag2939.xml" ContentType="application/vnd.openxmlformats-officedocument.presentationml.tags+xml"/>
  <Override PartName="/ppt/tags/tag2940.xml" ContentType="application/vnd.openxmlformats-officedocument.presentationml.tags+xml"/>
  <Override PartName="/ppt/tags/tag2941.xml" ContentType="application/vnd.openxmlformats-officedocument.presentationml.tags+xml"/>
  <Override PartName="/ppt/tags/tag2942.xml" ContentType="application/vnd.openxmlformats-officedocument.presentationml.tags+xml"/>
  <Override PartName="/ppt/tags/tag2943.xml" ContentType="application/vnd.openxmlformats-officedocument.presentationml.tags+xml"/>
  <Override PartName="/ppt/tags/tag2944.xml" ContentType="application/vnd.openxmlformats-officedocument.presentationml.tags+xml"/>
  <Override PartName="/ppt/tags/tag2945.xml" ContentType="application/vnd.openxmlformats-officedocument.presentationml.tags+xml"/>
  <Override PartName="/ppt/tags/tag2946.xml" ContentType="application/vnd.openxmlformats-officedocument.presentationml.tags+xml"/>
  <Override PartName="/ppt/tags/tag2947.xml" ContentType="application/vnd.openxmlformats-officedocument.presentationml.tags+xml"/>
  <Override PartName="/ppt/tags/tag2948.xml" ContentType="application/vnd.openxmlformats-officedocument.presentationml.tags+xml"/>
  <Override PartName="/ppt/tags/tag2949.xml" ContentType="application/vnd.openxmlformats-officedocument.presentationml.tags+xml"/>
  <Override PartName="/ppt/tags/tag2950.xml" ContentType="application/vnd.openxmlformats-officedocument.presentationml.tags+xml"/>
  <Override PartName="/ppt/tags/tag2951.xml" ContentType="application/vnd.openxmlformats-officedocument.presentationml.tags+xml"/>
  <Override PartName="/ppt/tags/tag2952.xml" ContentType="application/vnd.openxmlformats-officedocument.presentationml.tags+xml"/>
  <Override PartName="/ppt/tags/tag2953.xml" ContentType="application/vnd.openxmlformats-officedocument.presentationml.tags+xml"/>
  <Override PartName="/ppt/tags/tag2954.xml" ContentType="application/vnd.openxmlformats-officedocument.presentationml.tags+xml"/>
  <Override PartName="/ppt/tags/tag2955.xml" ContentType="application/vnd.openxmlformats-officedocument.presentationml.tags+xml"/>
  <Override PartName="/ppt/tags/tag2956.xml" ContentType="application/vnd.openxmlformats-officedocument.presentationml.tags+xml"/>
  <Override PartName="/ppt/tags/tag2957.xml" ContentType="application/vnd.openxmlformats-officedocument.presentationml.tags+xml"/>
  <Override PartName="/ppt/tags/tag2958.xml" ContentType="application/vnd.openxmlformats-officedocument.presentationml.tags+xml"/>
  <Override PartName="/ppt/tags/tag2959.xml" ContentType="application/vnd.openxmlformats-officedocument.presentationml.tags+xml"/>
  <Override PartName="/ppt/tags/tag2960.xml" ContentType="application/vnd.openxmlformats-officedocument.presentationml.tags+xml"/>
  <Override PartName="/ppt/tags/tag2961.xml" ContentType="application/vnd.openxmlformats-officedocument.presentationml.tags+xml"/>
  <Override PartName="/ppt/tags/tag2962.xml" ContentType="application/vnd.openxmlformats-officedocument.presentationml.tags+xml"/>
  <Override PartName="/ppt/tags/tag2963.xml" ContentType="application/vnd.openxmlformats-officedocument.presentationml.tags+xml"/>
  <Override PartName="/ppt/tags/tag2964.xml" ContentType="application/vnd.openxmlformats-officedocument.presentationml.tags+xml"/>
  <Override PartName="/ppt/tags/tag2965.xml" ContentType="application/vnd.openxmlformats-officedocument.presentationml.tags+xml"/>
  <Override PartName="/ppt/tags/tag2966.xml" ContentType="application/vnd.openxmlformats-officedocument.presentationml.tags+xml"/>
  <Override PartName="/ppt/tags/tag2967.xml" ContentType="application/vnd.openxmlformats-officedocument.presentationml.tags+xml"/>
  <Override PartName="/ppt/tags/tag2968.xml" ContentType="application/vnd.openxmlformats-officedocument.presentationml.tags+xml"/>
  <Override PartName="/ppt/tags/tag2969.xml" ContentType="application/vnd.openxmlformats-officedocument.presentationml.tags+xml"/>
  <Override PartName="/ppt/tags/tag2970.xml" ContentType="application/vnd.openxmlformats-officedocument.presentationml.tags+xml"/>
  <Override PartName="/ppt/tags/tag2971.xml" ContentType="application/vnd.openxmlformats-officedocument.presentationml.tags+xml"/>
  <Override PartName="/ppt/tags/tag2972.xml" ContentType="application/vnd.openxmlformats-officedocument.presentationml.tags+xml"/>
  <Override PartName="/ppt/tags/tag2973.xml" ContentType="application/vnd.openxmlformats-officedocument.presentationml.tags+xml"/>
  <Override PartName="/ppt/tags/tag2974.xml" ContentType="application/vnd.openxmlformats-officedocument.presentationml.tags+xml"/>
  <Override PartName="/ppt/tags/tag2975.xml" ContentType="application/vnd.openxmlformats-officedocument.presentationml.tags+xml"/>
  <Override PartName="/ppt/tags/tag2976.xml" ContentType="application/vnd.openxmlformats-officedocument.presentationml.tags+xml"/>
  <Override PartName="/ppt/tags/tag2977.xml" ContentType="application/vnd.openxmlformats-officedocument.presentationml.tags+xml"/>
  <Override PartName="/ppt/tags/tag2978.xml" ContentType="application/vnd.openxmlformats-officedocument.presentationml.tags+xml"/>
  <Override PartName="/ppt/tags/tag2979.xml" ContentType="application/vnd.openxmlformats-officedocument.presentationml.tags+xml"/>
  <Override PartName="/ppt/tags/tag2980.xml" ContentType="application/vnd.openxmlformats-officedocument.presentationml.tags+xml"/>
  <Override PartName="/ppt/tags/tag2981.xml" ContentType="application/vnd.openxmlformats-officedocument.presentationml.tags+xml"/>
  <Override PartName="/ppt/tags/tag2982.xml" ContentType="application/vnd.openxmlformats-officedocument.presentationml.tags+xml"/>
  <Override PartName="/ppt/tags/tag2983.xml" ContentType="application/vnd.openxmlformats-officedocument.presentationml.tags+xml"/>
  <Override PartName="/ppt/tags/tag2984.xml" ContentType="application/vnd.openxmlformats-officedocument.presentationml.tags+xml"/>
  <Override PartName="/ppt/tags/tag2985.xml" ContentType="application/vnd.openxmlformats-officedocument.presentationml.tags+xml"/>
  <Override PartName="/ppt/tags/tag2986.xml" ContentType="application/vnd.openxmlformats-officedocument.presentationml.tags+xml"/>
  <Override PartName="/ppt/tags/tag2987.xml" ContentType="application/vnd.openxmlformats-officedocument.presentationml.tags+xml"/>
  <Override PartName="/ppt/tags/tag2988.xml" ContentType="application/vnd.openxmlformats-officedocument.presentationml.tags+xml"/>
  <Override PartName="/ppt/tags/tag2989.xml" ContentType="application/vnd.openxmlformats-officedocument.presentationml.tags+xml"/>
  <Override PartName="/ppt/tags/tag2990.xml" ContentType="application/vnd.openxmlformats-officedocument.presentationml.tags+xml"/>
  <Override PartName="/ppt/tags/tag2991.xml" ContentType="application/vnd.openxmlformats-officedocument.presentationml.tags+xml"/>
  <Override PartName="/ppt/tags/tag2992.xml" ContentType="application/vnd.openxmlformats-officedocument.presentationml.tags+xml"/>
  <Override PartName="/ppt/tags/tag2993.xml" ContentType="application/vnd.openxmlformats-officedocument.presentationml.tags+xml"/>
  <Override PartName="/ppt/tags/tag2994.xml" ContentType="application/vnd.openxmlformats-officedocument.presentationml.tags+xml"/>
  <Override PartName="/ppt/tags/tag2995.xml" ContentType="application/vnd.openxmlformats-officedocument.presentationml.tags+xml"/>
  <Override PartName="/ppt/tags/tag2996.xml" ContentType="application/vnd.openxmlformats-officedocument.presentationml.tags+xml"/>
  <Override PartName="/ppt/tags/tag2997.xml" ContentType="application/vnd.openxmlformats-officedocument.presentationml.tags+xml"/>
  <Override PartName="/ppt/tags/tag2998.xml" ContentType="application/vnd.openxmlformats-officedocument.presentationml.tags+xml"/>
  <Override PartName="/ppt/tags/tag2999.xml" ContentType="application/vnd.openxmlformats-officedocument.presentationml.tags+xml"/>
  <Override PartName="/ppt/tags/tag3000.xml" ContentType="application/vnd.openxmlformats-officedocument.presentationml.tags+xml"/>
  <Override PartName="/ppt/tags/tag3001.xml" ContentType="application/vnd.openxmlformats-officedocument.presentationml.tags+xml"/>
  <Override PartName="/ppt/tags/tag3002.xml" ContentType="application/vnd.openxmlformats-officedocument.presentationml.tags+xml"/>
  <Override PartName="/ppt/tags/tag3003.xml" ContentType="application/vnd.openxmlformats-officedocument.presentationml.tags+xml"/>
  <Override PartName="/ppt/tags/tag3004.xml" ContentType="application/vnd.openxmlformats-officedocument.presentationml.tags+xml"/>
  <Override PartName="/ppt/tags/tag3005.xml" ContentType="application/vnd.openxmlformats-officedocument.presentationml.tags+xml"/>
  <Override PartName="/ppt/tags/tag3006.xml" ContentType="application/vnd.openxmlformats-officedocument.presentationml.tags+xml"/>
  <Override PartName="/ppt/tags/tag3007.xml" ContentType="application/vnd.openxmlformats-officedocument.presentationml.tags+xml"/>
  <Override PartName="/ppt/tags/tag3008.xml" ContentType="application/vnd.openxmlformats-officedocument.presentationml.tags+xml"/>
  <Override PartName="/ppt/tags/tag3009.xml" ContentType="application/vnd.openxmlformats-officedocument.presentationml.tags+xml"/>
  <Override PartName="/ppt/tags/tag3010.xml" ContentType="application/vnd.openxmlformats-officedocument.presentationml.tags+xml"/>
  <Override PartName="/ppt/tags/tag3011.xml" ContentType="application/vnd.openxmlformats-officedocument.presentationml.tags+xml"/>
  <Override PartName="/ppt/tags/tag3012.xml" ContentType="application/vnd.openxmlformats-officedocument.presentationml.tags+xml"/>
  <Override PartName="/ppt/tags/tag3013.xml" ContentType="application/vnd.openxmlformats-officedocument.presentationml.tags+xml"/>
  <Override PartName="/ppt/tags/tag3014.xml" ContentType="application/vnd.openxmlformats-officedocument.presentationml.tags+xml"/>
  <Override PartName="/ppt/tags/tag3015.xml" ContentType="application/vnd.openxmlformats-officedocument.presentationml.tags+xml"/>
  <Override PartName="/ppt/tags/tag3016.xml" ContentType="application/vnd.openxmlformats-officedocument.presentationml.tags+xml"/>
  <Override PartName="/ppt/tags/tag3017.xml" ContentType="application/vnd.openxmlformats-officedocument.presentationml.tags+xml"/>
  <Override PartName="/ppt/tags/tag3018.xml" ContentType="application/vnd.openxmlformats-officedocument.presentationml.tags+xml"/>
  <Override PartName="/ppt/tags/tag3019.xml" ContentType="application/vnd.openxmlformats-officedocument.presentationml.tags+xml"/>
  <Override PartName="/ppt/tags/tag3020.xml" ContentType="application/vnd.openxmlformats-officedocument.presentationml.tags+xml"/>
  <Override PartName="/ppt/tags/tag3021.xml" ContentType="application/vnd.openxmlformats-officedocument.presentationml.tags+xml"/>
  <Override PartName="/ppt/tags/tag3022.xml" ContentType="application/vnd.openxmlformats-officedocument.presentationml.tags+xml"/>
  <Override PartName="/ppt/tags/tag3023.xml" ContentType="application/vnd.openxmlformats-officedocument.presentationml.tags+xml"/>
  <Override PartName="/ppt/tags/tag3024.xml" ContentType="application/vnd.openxmlformats-officedocument.presentationml.tags+xml"/>
  <Override PartName="/ppt/tags/tag3025.xml" ContentType="application/vnd.openxmlformats-officedocument.presentationml.tags+xml"/>
  <Override PartName="/ppt/tags/tag3026.xml" ContentType="application/vnd.openxmlformats-officedocument.presentationml.tags+xml"/>
  <Override PartName="/ppt/tags/tag3027.xml" ContentType="application/vnd.openxmlformats-officedocument.presentationml.tags+xml"/>
  <Override PartName="/ppt/tags/tag3028.xml" ContentType="application/vnd.openxmlformats-officedocument.presentationml.tags+xml"/>
  <Override PartName="/ppt/tags/tag3029.xml" ContentType="application/vnd.openxmlformats-officedocument.presentationml.tags+xml"/>
  <Override PartName="/ppt/tags/tag3030.xml" ContentType="application/vnd.openxmlformats-officedocument.presentationml.tags+xml"/>
  <Override PartName="/ppt/tags/tag3031.xml" ContentType="application/vnd.openxmlformats-officedocument.presentationml.tags+xml"/>
  <Override PartName="/ppt/tags/tag3032.xml" ContentType="application/vnd.openxmlformats-officedocument.presentationml.tags+xml"/>
  <Override PartName="/ppt/tags/tag3033.xml" ContentType="application/vnd.openxmlformats-officedocument.presentationml.tags+xml"/>
  <Override PartName="/ppt/tags/tag3034.xml" ContentType="application/vnd.openxmlformats-officedocument.presentationml.tags+xml"/>
  <Override PartName="/ppt/tags/tag3035.xml" ContentType="application/vnd.openxmlformats-officedocument.presentationml.tags+xml"/>
  <Override PartName="/ppt/tags/tag3036.xml" ContentType="application/vnd.openxmlformats-officedocument.presentationml.tags+xml"/>
  <Override PartName="/ppt/tags/tag3037.xml" ContentType="application/vnd.openxmlformats-officedocument.presentationml.tags+xml"/>
  <Override PartName="/ppt/tags/tag3038.xml" ContentType="application/vnd.openxmlformats-officedocument.presentationml.tags+xml"/>
  <Override PartName="/ppt/tags/tag3039.xml" ContentType="application/vnd.openxmlformats-officedocument.presentationml.tags+xml"/>
  <Override PartName="/ppt/tags/tag3040.xml" ContentType="application/vnd.openxmlformats-officedocument.presentationml.tags+xml"/>
  <Override PartName="/ppt/tags/tag3041.xml" ContentType="application/vnd.openxmlformats-officedocument.presentationml.tags+xml"/>
  <Override PartName="/ppt/tags/tag3042.xml" ContentType="application/vnd.openxmlformats-officedocument.presentationml.tags+xml"/>
  <Override PartName="/ppt/tags/tag3043.xml" ContentType="application/vnd.openxmlformats-officedocument.presentationml.tags+xml"/>
  <Override PartName="/ppt/tags/tag3044.xml" ContentType="application/vnd.openxmlformats-officedocument.presentationml.tags+xml"/>
  <Override PartName="/ppt/tags/tag3045.xml" ContentType="application/vnd.openxmlformats-officedocument.presentationml.tags+xml"/>
  <Override PartName="/ppt/tags/tag3046.xml" ContentType="application/vnd.openxmlformats-officedocument.presentationml.tags+xml"/>
  <Override PartName="/ppt/tags/tag3047.xml" ContentType="application/vnd.openxmlformats-officedocument.presentationml.tags+xml"/>
  <Override PartName="/ppt/tags/tag3048.xml" ContentType="application/vnd.openxmlformats-officedocument.presentationml.tags+xml"/>
  <Override PartName="/ppt/tags/tag3049.xml" ContentType="application/vnd.openxmlformats-officedocument.presentationml.tags+xml"/>
  <Override PartName="/ppt/tags/tag3050.xml" ContentType="application/vnd.openxmlformats-officedocument.presentationml.tags+xml"/>
  <Override PartName="/ppt/tags/tag3051.xml" ContentType="application/vnd.openxmlformats-officedocument.presentationml.tags+xml"/>
  <Override PartName="/ppt/tags/tag3052.xml" ContentType="application/vnd.openxmlformats-officedocument.presentationml.tags+xml"/>
  <Override PartName="/ppt/tags/tag3053.xml" ContentType="application/vnd.openxmlformats-officedocument.presentationml.tags+xml"/>
  <Override PartName="/ppt/tags/tag3054.xml" ContentType="application/vnd.openxmlformats-officedocument.presentationml.tags+xml"/>
  <Override PartName="/ppt/tags/tag3055.xml" ContentType="application/vnd.openxmlformats-officedocument.presentationml.tags+xml"/>
  <Override PartName="/ppt/tags/tag3056.xml" ContentType="application/vnd.openxmlformats-officedocument.presentationml.tags+xml"/>
  <Override PartName="/ppt/tags/tag3057.xml" ContentType="application/vnd.openxmlformats-officedocument.presentationml.tags+xml"/>
  <Override PartName="/ppt/tags/tag3058.xml" ContentType="application/vnd.openxmlformats-officedocument.presentationml.tags+xml"/>
  <Override PartName="/ppt/tags/tag3059.xml" ContentType="application/vnd.openxmlformats-officedocument.presentationml.tags+xml"/>
  <Override PartName="/ppt/tags/tag3060.xml" ContentType="application/vnd.openxmlformats-officedocument.presentationml.tags+xml"/>
  <Override PartName="/ppt/tags/tag306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3062.xml" ContentType="application/vnd.openxmlformats-officedocument.presentationml.tags+xml"/>
  <Override PartName="/ppt/tags/tag3063.xml" ContentType="application/vnd.openxmlformats-officedocument.presentationml.tags+xml"/>
  <Override PartName="/ppt/tags/tag3064.xml" ContentType="application/vnd.openxmlformats-officedocument.presentationml.tags+xml"/>
  <Override PartName="/ppt/tags/tag3065.xml" ContentType="application/vnd.openxmlformats-officedocument.presentationml.tags+xml"/>
  <Override PartName="/ppt/tags/tag3066.xml" ContentType="application/vnd.openxmlformats-officedocument.presentationml.tags+xml"/>
  <Override PartName="/ppt/tags/tag3067.xml" ContentType="application/vnd.openxmlformats-officedocument.presentationml.tags+xml"/>
  <Override PartName="/ppt/tags/tag3068.xml" ContentType="application/vnd.openxmlformats-officedocument.presentationml.tags+xml"/>
  <Override PartName="/ppt/tags/tag3069.xml" ContentType="application/vnd.openxmlformats-officedocument.presentationml.tags+xml"/>
  <Override PartName="/ppt/tags/tag3070.xml" ContentType="application/vnd.openxmlformats-officedocument.presentationml.tags+xml"/>
  <Override PartName="/ppt/tags/tag3071.xml" ContentType="application/vnd.openxmlformats-officedocument.presentationml.tags+xml"/>
  <Override PartName="/ppt/tags/tag3072.xml" ContentType="application/vnd.openxmlformats-officedocument.presentationml.tags+xml"/>
  <Override PartName="/ppt/tags/tag3073.xml" ContentType="application/vnd.openxmlformats-officedocument.presentationml.tags+xml"/>
  <Override PartName="/ppt/tags/tag3074.xml" ContentType="application/vnd.openxmlformats-officedocument.presentationml.tags+xml"/>
  <Override PartName="/ppt/tags/tag3075.xml" ContentType="application/vnd.openxmlformats-officedocument.presentationml.tags+xml"/>
  <Override PartName="/ppt/tags/tag3076.xml" ContentType="application/vnd.openxmlformats-officedocument.presentationml.tags+xml"/>
  <Override PartName="/ppt/tags/tag3077.xml" ContentType="application/vnd.openxmlformats-officedocument.presentationml.tags+xml"/>
  <Override PartName="/ppt/tags/tag3078.xml" ContentType="application/vnd.openxmlformats-officedocument.presentationml.tags+xml"/>
  <Override PartName="/ppt/tags/tag3079.xml" ContentType="application/vnd.openxmlformats-officedocument.presentationml.tags+xml"/>
  <Override PartName="/ppt/tags/tag3080.xml" ContentType="application/vnd.openxmlformats-officedocument.presentationml.tags+xml"/>
  <Override PartName="/ppt/tags/tag3081.xml" ContentType="application/vnd.openxmlformats-officedocument.presentationml.tags+xml"/>
  <Override PartName="/ppt/tags/tag3082.xml" ContentType="application/vnd.openxmlformats-officedocument.presentationml.tags+xml"/>
  <Override PartName="/ppt/tags/tag3083.xml" ContentType="application/vnd.openxmlformats-officedocument.presentationml.tags+xml"/>
  <Override PartName="/ppt/tags/tag3084.xml" ContentType="application/vnd.openxmlformats-officedocument.presentationml.tags+xml"/>
  <Override PartName="/ppt/tags/tag3085.xml" ContentType="application/vnd.openxmlformats-officedocument.presentationml.tags+xml"/>
  <Override PartName="/ppt/tags/tag3086.xml" ContentType="application/vnd.openxmlformats-officedocument.presentationml.tags+xml"/>
  <Override PartName="/ppt/tags/tag3087.xml" ContentType="application/vnd.openxmlformats-officedocument.presentationml.tags+xml"/>
  <Override PartName="/ppt/tags/tag3088.xml" ContentType="application/vnd.openxmlformats-officedocument.presentationml.tags+xml"/>
  <Override PartName="/ppt/tags/tag3089.xml" ContentType="application/vnd.openxmlformats-officedocument.presentationml.tags+xml"/>
  <Override PartName="/ppt/tags/tag3090.xml" ContentType="application/vnd.openxmlformats-officedocument.presentationml.tags+xml"/>
  <Override PartName="/ppt/tags/tag3091.xml" ContentType="application/vnd.openxmlformats-officedocument.presentationml.tags+xml"/>
  <Override PartName="/ppt/tags/tag3092.xml" ContentType="application/vnd.openxmlformats-officedocument.presentationml.tags+xml"/>
  <Override PartName="/ppt/tags/tag3093.xml" ContentType="application/vnd.openxmlformats-officedocument.presentationml.tags+xml"/>
  <Override PartName="/ppt/tags/tag3094.xml" ContentType="application/vnd.openxmlformats-officedocument.presentationml.tags+xml"/>
  <Override PartName="/ppt/tags/tag3095.xml" ContentType="application/vnd.openxmlformats-officedocument.presentationml.tags+xml"/>
  <Override PartName="/ppt/tags/tag3096.xml" ContentType="application/vnd.openxmlformats-officedocument.presentationml.tags+xml"/>
  <Override PartName="/ppt/tags/tag3097.xml" ContentType="application/vnd.openxmlformats-officedocument.presentationml.tags+xml"/>
  <Override PartName="/ppt/tags/tag3098.xml" ContentType="application/vnd.openxmlformats-officedocument.presentationml.tags+xml"/>
  <Override PartName="/ppt/tags/tag3099.xml" ContentType="application/vnd.openxmlformats-officedocument.presentationml.tags+xml"/>
  <Override PartName="/ppt/tags/tag3100.xml" ContentType="application/vnd.openxmlformats-officedocument.presentationml.tags+xml"/>
  <Override PartName="/ppt/tags/tag3101.xml" ContentType="application/vnd.openxmlformats-officedocument.presentationml.tags+xml"/>
  <Override PartName="/ppt/tags/tag3102.xml" ContentType="application/vnd.openxmlformats-officedocument.presentationml.tags+xml"/>
  <Override PartName="/ppt/tags/tag3103.xml" ContentType="application/vnd.openxmlformats-officedocument.presentationml.tags+xml"/>
  <Override PartName="/ppt/tags/tag3104.xml" ContentType="application/vnd.openxmlformats-officedocument.presentationml.tags+xml"/>
  <Override PartName="/ppt/tags/tag3105.xml" ContentType="application/vnd.openxmlformats-officedocument.presentationml.tags+xml"/>
  <Override PartName="/ppt/tags/tag3106.xml" ContentType="application/vnd.openxmlformats-officedocument.presentationml.tags+xml"/>
  <Override PartName="/ppt/tags/tag3107.xml" ContentType="application/vnd.openxmlformats-officedocument.presentationml.tags+xml"/>
  <Override PartName="/ppt/tags/tag3108.xml" ContentType="application/vnd.openxmlformats-officedocument.presentationml.tags+xml"/>
  <Override PartName="/ppt/tags/tag3109.xml" ContentType="application/vnd.openxmlformats-officedocument.presentationml.tags+xml"/>
  <Override PartName="/ppt/tags/tag3110.xml" ContentType="application/vnd.openxmlformats-officedocument.presentationml.tags+xml"/>
  <Override PartName="/ppt/tags/tag3111.xml" ContentType="application/vnd.openxmlformats-officedocument.presentationml.tags+xml"/>
  <Override PartName="/ppt/tags/tag3112.xml" ContentType="application/vnd.openxmlformats-officedocument.presentationml.tags+xml"/>
  <Override PartName="/ppt/tags/tag3113.xml" ContentType="application/vnd.openxmlformats-officedocument.presentationml.tags+xml"/>
  <Override PartName="/ppt/tags/tag3114.xml" ContentType="application/vnd.openxmlformats-officedocument.presentationml.tags+xml"/>
  <Override PartName="/ppt/tags/tag3115.xml" ContentType="application/vnd.openxmlformats-officedocument.presentationml.tags+xml"/>
  <Override PartName="/ppt/tags/tag3116.xml" ContentType="application/vnd.openxmlformats-officedocument.presentationml.tags+xml"/>
  <Override PartName="/ppt/tags/tag3117.xml" ContentType="application/vnd.openxmlformats-officedocument.presentationml.tags+xml"/>
  <Override PartName="/ppt/charts/chart65.xml" ContentType="application/vnd.openxmlformats-officedocument.drawingml.chart+xml"/>
  <Override PartName="/ppt/tags/tag3118.xml" ContentType="application/vnd.openxmlformats-officedocument.presentationml.tags+xml"/>
  <Override PartName="/ppt/tags/tag3119.xml" ContentType="application/vnd.openxmlformats-officedocument.presentationml.tags+xml"/>
  <Override PartName="/ppt/tags/tag3120.xml" ContentType="application/vnd.openxmlformats-officedocument.presentationml.tags+xml"/>
  <Override PartName="/ppt/tags/tag3121.xml" ContentType="application/vnd.openxmlformats-officedocument.presentationml.tags+xml"/>
  <Override PartName="/ppt/tags/tag3122.xml" ContentType="application/vnd.openxmlformats-officedocument.presentationml.tags+xml"/>
  <Override PartName="/ppt/tags/tag3123.xml" ContentType="application/vnd.openxmlformats-officedocument.presentationml.tags+xml"/>
  <Override PartName="/ppt/tags/tag3124.xml" ContentType="application/vnd.openxmlformats-officedocument.presentationml.tags+xml"/>
  <Override PartName="/ppt/tags/tag3125.xml" ContentType="application/vnd.openxmlformats-officedocument.presentationml.tags+xml"/>
  <Override PartName="/ppt/tags/tag3126.xml" ContentType="application/vnd.openxmlformats-officedocument.presentationml.tags+xml"/>
  <Override PartName="/ppt/tags/tag3127.xml" ContentType="application/vnd.openxmlformats-officedocument.presentationml.tags+xml"/>
  <Override PartName="/ppt/tags/tag3128.xml" ContentType="application/vnd.openxmlformats-officedocument.presentationml.tags+xml"/>
  <Override PartName="/ppt/tags/tag3129.xml" ContentType="application/vnd.openxmlformats-officedocument.presentationml.tags+xml"/>
  <Override PartName="/ppt/tags/tag3130.xml" ContentType="application/vnd.openxmlformats-officedocument.presentationml.tags+xml"/>
  <Override PartName="/ppt/tags/tag3131.xml" ContentType="application/vnd.openxmlformats-officedocument.presentationml.tags+xml"/>
  <Override PartName="/ppt/tags/tag3132.xml" ContentType="application/vnd.openxmlformats-officedocument.presentationml.tags+xml"/>
  <Override PartName="/ppt/tags/tag3133.xml" ContentType="application/vnd.openxmlformats-officedocument.presentationml.tags+xml"/>
  <Override PartName="/ppt/tags/tag3134.xml" ContentType="application/vnd.openxmlformats-officedocument.presentationml.tags+xml"/>
  <Override PartName="/ppt/tags/tag3135.xml" ContentType="application/vnd.openxmlformats-officedocument.presentationml.tags+xml"/>
  <Override PartName="/ppt/tags/tag3136.xml" ContentType="application/vnd.openxmlformats-officedocument.presentationml.tags+xml"/>
  <Override PartName="/ppt/tags/tag3137.xml" ContentType="application/vnd.openxmlformats-officedocument.presentationml.tags+xml"/>
  <Override PartName="/ppt/tags/tag3138.xml" ContentType="application/vnd.openxmlformats-officedocument.presentationml.tags+xml"/>
  <Override PartName="/ppt/tags/tag3139.xml" ContentType="application/vnd.openxmlformats-officedocument.presentationml.tags+xml"/>
  <Override PartName="/ppt/tags/tag3140.xml" ContentType="application/vnd.openxmlformats-officedocument.presentationml.tags+xml"/>
  <Override PartName="/ppt/tags/tag3141.xml" ContentType="application/vnd.openxmlformats-officedocument.presentationml.tags+xml"/>
  <Override PartName="/ppt/tags/tag3142.xml" ContentType="application/vnd.openxmlformats-officedocument.presentationml.tags+xml"/>
  <Override PartName="/ppt/tags/tag3143.xml" ContentType="application/vnd.openxmlformats-officedocument.presentationml.tags+xml"/>
  <Override PartName="/ppt/tags/tag3144.xml" ContentType="application/vnd.openxmlformats-officedocument.presentationml.tags+xml"/>
  <Override PartName="/ppt/tags/tag3145.xml" ContentType="application/vnd.openxmlformats-officedocument.presentationml.tags+xml"/>
  <Override PartName="/ppt/tags/tag3146.xml" ContentType="application/vnd.openxmlformats-officedocument.presentationml.tags+xml"/>
  <Override PartName="/ppt/tags/tag3147.xml" ContentType="application/vnd.openxmlformats-officedocument.presentationml.tags+xml"/>
  <Override PartName="/ppt/tags/tag3148.xml" ContentType="application/vnd.openxmlformats-officedocument.presentationml.tags+xml"/>
  <Override PartName="/ppt/tags/tag3149.xml" ContentType="application/vnd.openxmlformats-officedocument.presentationml.tags+xml"/>
  <Override PartName="/ppt/tags/tag3150.xml" ContentType="application/vnd.openxmlformats-officedocument.presentationml.tags+xml"/>
  <Override PartName="/ppt/tags/tag3151.xml" ContentType="application/vnd.openxmlformats-officedocument.presentationml.tags+xml"/>
  <Override PartName="/ppt/tags/tag3152.xml" ContentType="application/vnd.openxmlformats-officedocument.presentationml.tags+xml"/>
  <Override PartName="/ppt/tags/tag3153.xml" ContentType="application/vnd.openxmlformats-officedocument.presentationml.tags+xml"/>
  <Override PartName="/ppt/tags/tag3154.xml" ContentType="application/vnd.openxmlformats-officedocument.presentationml.tags+xml"/>
  <Override PartName="/ppt/tags/tag3155.xml" ContentType="application/vnd.openxmlformats-officedocument.presentationml.tags+xml"/>
  <Override PartName="/ppt/tags/tag3156.xml" ContentType="application/vnd.openxmlformats-officedocument.presentationml.tags+xml"/>
  <Override PartName="/ppt/tags/tag3157.xml" ContentType="application/vnd.openxmlformats-officedocument.presentationml.tags+xml"/>
  <Override PartName="/ppt/tags/tag3158.xml" ContentType="application/vnd.openxmlformats-officedocument.presentationml.tags+xml"/>
  <Override PartName="/ppt/tags/tag3159.xml" ContentType="application/vnd.openxmlformats-officedocument.presentationml.tags+xml"/>
  <Override PartName="/ppt/tags/tag3160.xml" ContentType="application/vnd.openxmlformats-officedocument.presentationml.tags+xml"/>
  <Override PartName="/ppt/tags/tag3161.xml" ContentType="application/vnd.openxmlformats-officedocument.presentationml.tags+xml"/>
  <Override PartName="/ppt/tags/tag3162.xml" ContentType="application/vnd.openxmlformats-officedocument.presentationml.tags+xml"/>
  <Override PartName="/ppt/tags/tag3163.xml" ContentType="application/vnd.openxmlformats-officedocument.presentationml.tags+xml"/>
  <Override PartName="/ppt/tags/tag3164.xml" ContentType="application/vnd.openxmlformats-officedocument.presentationml.tags+xml"/>
  <Override PartName="/ppt/tags/tag3165.xml" ContentType="application/vnd.openxmlformats-officedocument.presentationml.tags+xml"/>
  <Override PartName="/ppt/tags/tag3166.xml" ContentType="application/vnd.openxmlformats-officedocument.presentationml.tags+xml"/>
  <Override PartName="/ppt/tags/tag3167.xml" ContentType="application/vnd.openxmlformats-officedocument.presentationml.tags+xml"/>
  <Override PartName="/ppt/tags/tag3168.xml" ContentType="application/vnd.openxmlformats-officedocument.presentationml.tags+xml"/>
  <Override PartName="/ppt/tags/tag3169.xml" ContentType="application/vnd.openxmlformats-officedocument.presentationml.tags+xml"/>
  <Override PartName="/ppt/tags/tag3170.xml" ContentType="application/vnd.openxmlformats-officedocument.presentationml.tags+xml"/>
  <Override PartName="/ppt/tags/tag3171.xml" ContentType="application/vnd.openxmlformats-officedocument.presentationml.tags+xml"/>
  <Override PartName="/ppt/tags/tag3172.xml" ContentType="application/vnd.openxmlformats-officedocument.presentationml.tags+xml"/>
  <Override PartName="/ppt/charts/chart66.xml" ContentType="application/vnd.openxmlformats-officedocument.drawingml.chart+xml"/>
  <Override PartName="/ppt/tags/tag3173.xml" ContentType="application/vnd.openxmlformats-officedocument.presentationml.tags+xml"/>
  <Override PartName="/ppt/tags/tag3174.xml" ContentType="application/vnd.openxmlformats-officedocument.presentationml.tags+xml"/>
  <Override PartName="/ppt/tags/tag3175.xml" ContentType="application/vnd.openxmlformats-officedocument.presentationml.tags+xml"/>
  <Override PartName="/ppt/tags/tag3176.xml" ContentType="application/vnd.openxmlformats-officedocument.presentationml.tags+xml"/>
  <Override PartName="/ppt/tags/tag3177.xml" ContentType="application/vnd.openxmlformats-officedocument.presentationml.tags+xml"/>
  <Override PartName="/ppt/tags/tag3178.xml" ContentType="application/vnd.openxmlformats-officedocument.presentationml.tags+xml"/>
  <Override PartName="/ppt/tags/tag3179.xml" ContentType="application/vnd.openxmlformats-officedocument.presentationml.tags+xml"/>
  <Override PartName="/ppt/tags/tag3180.xml" ContentType="application/vnd.openxmlformats-officedocument.presentationml.tags+xml"/>
  <Override PartName="/ppt/tags/tag3181.xml" ContentType="application/vnd.openxmlformats-officedocument.presentationml.tags+xml"/>
  <Override PartName="/ppt/tags/tag3182.xml" ContentType="application/vnd.openxmlformats-officedocument.presentationml.tags+xml"/>
  <Override PartName="/ppt/tags/tag3183.xml" ContentType="application/vnd.openxmlformats-officedocument.presentationml.tags+xml"/>
  <Override PartName="/ppt/tags/tag3184.xml" ContentType="application/vnd.openxmlformats-officedocument.presentationml.tags+xml"/>
  <Override PartName="/ppt/tags/tag3185.xml" ContentType="application/vnd.openxmlformats-officedocument.presentationml.tags+xml"/>
  <Override PartName="/ppt/tags/tag3186.xml" ContentType="application/vnd.openxmlformats-officedocument.presentationml.tags+xml"/>
  <Override PartName="/ppt/tags/tag3187.xml" ContentType="application/vnd.openxmlformats-officedocument.presentationml.tags+xml"/>
  <Override PartName="/ppt/tags/tag3188.xml" ContentType="application/vnd.openxmlformats-officedocument.presentationml.tags+xml"/>
  <Override PartName="/ppt/tags/tag3189.xml" ContentType="application/vnd.openxmlformats-officedocument.presentationml.tags+xml"/>
  <Override PartName="/ppt/tags/tag3190.xml" ContentType="application/vnd.openxmlformats-officedocument.presentationml.tags+xml"/>
  <Override PartName="/ppt/tags/tag3191.xml" ContentType="application/vnd.openxmlformats-officedocument.presentationml.tags+xml"/>
  <Override PartName="/ppt/tags/tag3192.xml" ContentType="application/vnd.openxmlformats-officedocument.presentationml.tags+xml"/>
  <Override PartName="/ppt/tags/tag3193.xml" ContentType="application/vnd.openxmlformats-officedocument.presentationml.tags+xml"/>
  <Override PartName="/ppt/tags/tag3194.xml" ContentType="application/vnd.openxmlformats-officedocument.presentationml.tags+xml"/>
  <Override PartName="/ppt/tags/tag3195.xml" ContentType="application/vnd.openxmlformats-officedocument.presentationml.tags+xml"/>
  <Override PartName="/ppt/tags/tag3196.xml" ContentType="application/vnd.openxmlformats-officedocument.presentationml.tags+xml"/>
  <Override PartName="/ppt/tags/tag3197.xml" ContentType="application/vnd.openxmlformats-officedocument.presentationml.tags+xml"/>
  <Override PartName="/ppt/tags/tag3198.xml" ContentType="application/vnd.openxmlformats-officedocument.presentationml.tags+xml"/>
  <Override PartName="/ppt/tags/tag3199.xml" ContentType="application/vnd.openxmlformats-officedocument.presentationml.tags+xml"/>
  <Override PartName="/ppt/tags/tag3200.xml" ContentType="application/vnd.openxmlformats-officedocument.presentationml.tags+xml"/>
  <Override PartName="/ppt/tags/tag3201.xml" ContentType="application/vnd.openxmlformats-officedocument.presentationml.tags+xml"/>
  <Override PartName="/ppt/tags/tag3202.xml" ContentType="application/vnd.openxmlformats-officedocument.presentationml.tags+xml"/>
  <Override PartName="/ppt/tags/tag3203.xml" ContentType="application/vnd.openxmlformats-officedocument.presentationml.tags+xml"/>
  <Override PartName="/ppt/tags/tag3204.xml" ContentType="application/vnd.openxmlformats-officedocument.presentationml.tags+xml"/>
  <Override PartName="/ppt/tags/tag3205.xml" ContentType="application/vnd.openxmlformats-officedocument.presentationml.tags+xml"/>
  <Override PartName="/ppt/tags/tag3206.xml" ContentType="application/vnd.openxmlformats-officedocument.presentationml.tags+xml"/>
  <Override PartName="/ppt/tags/tag3207.xml" ContentType="application/vnd.openxmlformats-officedocument.presentationml.tags+xml"/>
  <Override PartName="/ppt/tags/tag3208.xml" ContentType="application/vnd.openxmlformats-officedocument.presentationml.tags+xml"/>
  <Override PartName="/ppt/tags/tag3209.xml" ContentType="application/vnd.openxmlformats-officedocument.presentationml.tags+xml"/>
  <Override PartName="/ppt/tags/tag3210.xml" ContentType="application/vnd.openxmlformats-officedocument.presentationml.tags+xml"/>
  <Override PartName="/ppt/tags/tag3211.xml" ContentType="application/vnd.openxmlformats-officedocument.presentationml.tags+xml"/>
  <Override PartName="/ppt/tags/tag3212.xml" ContentType="application/vnd.openxmlformats-officedocument.presentationml.tags+xml"/>
  <Override PartName="/ppt/tags/tag3213.xml" ContentType="application/vnd.openxmlformats-officedocument.presentationml.tags+xml"/>
  <Override PartName="/ppt/tags/tag3214.xml" ContentType="application/vnd.openxmlformats-officedocument.presentationml.tags+xml"/>
  <Override PartName="/ppt/tags/tag3215.xml" ContentType="application/vnd.openxmlformats-officedocument.presentationml.tags+xml"/>
  <Override PartName="/ppt/tags/tag3216.xml" ContentType="application/vnd.openxmlformats-officedocument.presentationml.tags+xml"/>
  <Override PartName="/ppt/tags/tag3217.xml" ContentType="application/vnd.openxmlformats-officedocument.presentationml.tags+xml"/>
  <Override PartName="/ppt/tags/tag3218.xml" ContentType="application/vnd.openxmlformats-officedocument.presentationml.tags+xml"/>
  <Override PartName="/ppt/tags/tag3219.xml" ContentType="application/vnd.openxmlformats-officedocument.presentationml.tags+xml"/>
  <Override PartName="/ppt/tags/tag3220.xml" ContentType="application/vnd.openxmlformats-officedocument.presentationml.tags+xml"/>
  <Override PartName="/ppt/tags/tag3221.xml" ContentType="application/vnd.openxmlformats-officedocument.presentationml.tags+xml"/>
  <Override PartName="/ppt/tags/tag3222.xml" ContentType="application/vnd.openxmlformats-officedocument.presentationml.tags+xml"/>
  <Override PartName="/ppt/tags/tag3223.xml" ContentType="application/vnd.openxmlformats-officedocument.presentationml.tags+xml"/>
  <Override PartName="/ppt/charts/chart67.xml" ContentType="application/vnd.openxmlformats-officedocument.drawingml.chart+xml"/>
  <Override PartName="/ppt/tags/tag3224.xml" ContentType="application/vnd.openxmlformats-officedocument.presentationml.tags+xml"/>
  <Override PartName="/ppt/tags/tag3225.xml" ContentType="application/vnd.openxmlformats-officedocument.presentationml.tags+xml"/>
  <Override PartName="/ppt/tags/tag3226.xml" ContentType="application/vnd.openxmlformats-officedocument.presentationml.tags+xml"/>
  <Override PartName="/ppt/tags/tag3227.xml" ContentType="application/vnd.openxmlformats-officedocument.presentationml.tags+xml"/>
  <Override PartName="/ppt/tags/tag3228.xml" ContentType="application/vnd.openxmlformats-officedocument.presentationml.tags+xml"/>
  <Override PartName="/ppt/tags/tag3229.xml" ContentType="application/vnd.openxmlformats-officedocument.presentationml.tags+xml"/>
  <Override PartName="/ppt/tags/tag3230.xml" ContentType="application/vnd.openxmlformats-officedocument.presentationml.tags+xml"/>
  <Override PartName="/ppt/tags/tag3231.xml" ContentType="application/vnd.openxmlformats-officedocument.presentationml.tags+xml"/>
  <Override PartName="/ppt/tags/tag3232.xml" ContentType="application/vnd.openxmlformats-officedocument.presentationml.tags+xml"/>
  <Override PartName="/ppt/tags/tag3233.xml" ContentType="application/vnd.openxmlformats-officedocument.presentationml.tags+xml"/>
  <Override PartName="/ppt/tags/tag3234.xml" ContentType="application/vnd.openxmlformats-officedocument.presentationml.tags+xml"/>
  <Override PartName="/ppt/tags/tag3235.xml" ContentType="application/vnd.openxmlformats-officedocument.presentationml.tags+xml"/>
  <Override PartName="/ppt/tags/tag3236.xml" ContentType="application/vnd.openxmlformats-officedocument.presentationml.tags+xml"/>
  <Override PartName="/ppt/tags/tag3237.xml" ContentType="application/vnd.openxmlformats-officedocument.presentationml.tags+xml"/>
  <Override PartName="/ppt/tags/tag3238.xml" ContentType="application/vnd.openxmlformats-officedocument.presentationml.tags+xml"/>
  <Override PartName="/ppt/tags/tag3239.xml" ContentType="application/vnd.openxmlformats-officedocument.presentationml.tags+xml"/>
  <Override PartName="/ppt/tags/tag3240.xml" ContentType="application/vnd.openxmlformats-officedocument.presentationml.tags+xml"/>
  <Override PartName="/ppt/tags/tag3241.xml" ContentType="application/vnd.openxmlformats-officedocument.presentationml.tags+xml"/>
  <Override PartName="/ppt/tags/tag3242.xml" ContentType="application/vnd.openxmlformats-officedocument.presentationml.tags+xml"/>
  <Override PartName="/ppt/tags/tag3243.xml" ContentType="application/vnd.openxmlformats-officedocument.presentationml.tags+xml"/>
  <Override PartName="/ppt/tags/tag3244.xml" ContentType="application/vnd.openxmlformats-officedocument.presentationml.tags+xml"/>
  <Override PartName="/ppt/tags/tag3245.xml" ContentType="application/vnd.openxmlformats-officedocument.presentationml.tags+xml"/>
  <Override PartName="/ppt/tags/tag3246.xml" ContentType="application/vnd.openxmlformats-officedocument.presentationml.tags+xml"/>
  <Override PartName="/ppt/tags/tag3247.xml" ContentType="application/vnd.openxmlformats-officedocument.presentationml.tags+xml"/>
  <Override PartName="/ppt/tags/tag3248.xml" ContentType="application/vnd.openxmlformats-officedocument.presentationml.tags+xml"/>
  <Override PartName="/ppt/tags/tag3249.xml" ContentType="application/vnd.openxmlformats-officedocument.presentationml.tags+xml"/>
  <Override PartName="/ppt/tags/tag3250.xml" ContentType="application/vnd.openxmlformats-officedocument.presentationml.tags+xml"/>
  <Override PartName="/ppt/tags/tag3251.xml" ContentType="application/vnd.openxmlformats-officedocument.presentationml.tags+xml"/>
  <Override PartName="/ppt/tags/tag3252.xml" ContentType="application/vnd.openxmlformats-officedocument.presentationml.tags+xml"/>
  <Override PartName="/ppt/tags/tag3253.xml" ContentType="application/vnd.openxmlformats-officedocument.presentationml.tags+xml"/>
  <Override PartName="/ppt/tags/tag3254.xml" ContentType="application/vnd.openxmlformats-officedocument.presentationml.tags+xml"/>
  <Override PartName="/ppt/tags/tag3255.xml" ContentType="application/vnd.openxmlformats-officedocument.presentationml.tags+xml"/>
  <Override PartName="/ppt/tags/tag3256.xml" ContentType="application/vnd.openxmlformats-officedocument.presentationml.tags+xml"/>
  <Override PartName="/ppt/tags/tag3257.xml" ContentType="application/vnd.openxmlformats-officedocument.presentationml.tags+xml"/>
  <Override PartName="/ppt/tags/tag3258.xml" ContentType="application/vnd.openxmlformats-officedocument.presentationml.tags+xml"/>
  <Override PartName="/ppt/tags/tag3259.xml" ContentType="application/vnd.openxmlformats-officedocument.presentationml.tags+xml"/>
  <Override PartName="/ppt/tags/tag3260.xml" ContentType="application/vnd.openxmlformats-officedocument.presentationml.tags+xml"/>
  <Override PartName="/ppt/tags/tag3261.xml" ContentType="application/vnd.openxmlformats-officedocument.presentationml.tags+xml"/>
  <Override PartName="/ppt/tags/tag3262.xml" ContentType="application/vnd.openxmlformats-officedocument.presentationml.tags+xml"/>
  <Override PartName="/ppt/tags/tag3263.xml" ContentType="application/vnd.openxmlformats-officedocument.presentationml.tags+xml"/>
  <Override PartName="/ppt/tags/tag3264.xml" ContentType="application/vnd.openxmlformats-officedocument.presentationml.tags+xml"/>
  <Override PartName="/ppt/tags/tag3265.xml" ContentType="application/vnd.openxmlformats-officedocument.presentationml.tags+xml"/>
  <Override PartName="/ppt/tags/tag3266.xml" ContentType="application/vnd.openxmlformats-officedocument.presentationml.tags+xml"/>
  <Override PartName="/ppt/tags/tag3267.xml" ContentType="application/vnd.openxmlformats-officedocument.presentationml.tags+xml"/>
  <Override PartName="/ppt/tags/tag3268.xml" ContentType="application/vnd.openxmlformats-officedocument.presentationml.tags+xml"/>
  <Override PartName="/ppt/tags/tag3269.xml" ContentType="application/vnd.openxmlformats-officedocument.presentationml.tags+xml"/>
  <Override PartName="/ppt/tags/tag3270.xml" ContentType="application/vnd.openxmlformats-officedocument.presentationml.tags+xml"/>
  <Override PartName="/ppt/tags/tag3271.xml" ContentType="application/vnd.openxmlformats-officedocument.presentationml.tags+xml"/>
  <Override PartName="/ppt/tags/tag3272.xml" ContentType="application/vnd.openxmlformats-officedocument.presentationml.tags+xml"/>
  <Override PartName="/ppt/tags/tag3273.xml" ContentType="application/vnd.openxmlformats-officedocument.presentationml.tags+xml"/>
  <Override PartName="/ppt/tags/tag3274.xml" ContentType="application/vnd.openxmlformats-officedocument.presentationml.tags+xml"/>
  <Override PartName="/ppt/charts/chart68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56" r:id="rId5"/>
    <p:sldMasterId id="2147483840" r:id="rId6"/>
    <p:sldMasterId id="2147483935" r:id="rId7"/>
  </p:sldMasterIdLst>
  <p:notesMasterIdLst>
    <p:notesMasterId r:id="rId34"/>
  </p:notesMasterIdLst>
  <p:handoutMasterIdLst>
    <p:handoutMasterId r:id="rId35"/>
  </p:handoutMasterIdLst>
  <p:sldIdLst>
    <p:sldId id="2147480002" r:id="rId8"/>
    <p:sldId id="2147481930" r:id="rId9"/>
    <p:sldId id="2147481932" r:id="rId10"/>
    <p:sldId id="2147483093" r:id="rId11"/>
    <p:sldId id="2147483098" r:id="rId12"/>
    <p:sldId id="2147483100" r:id="rId13"/>
    <p:sldId id="2147483101" r:id="rId14"/>
    <p:sldId id="2147483099" r:id="rId15"/>
    <p:sldId id="2147483102" r:id="rId16"/>
    <p:sldId id="2147483097" r:id="rId17"/>
    <p:sldId id="2147483103" r:id="rId18"/>
    <p:sldId id="2147483104" r:id="rId19"/>
    <p:sldId id="2147483105" r:id="rId20"/>
    <p:sldId id="2147481935" r:id="rId21"/>
    <p:sldId id="2147481931" r:id="rId22"/>
    <p:sldId id="2147483079" r:id="rId23"/>
    <p:sldId id="2147481934" r:id="rId24"/>
    <p:sldId id="2147483078" r:id="rId25"/>
    <p:sldId id="2147483085" r:id="rId26"/>
    <p:sldId id="2147483081" r:id="rId27"/>
    <p:sldId id="2147483083" r:id="rId28"/>
    <p:sldId id="2147483084" r:id="rId29"/>
    <p:sldId id="2147483070" r:id="rId30"/>
    <p:sldId id="2147483071" r:id="rId31"/>
    <p:sldId id="2147483072" r:id="rId32"/>
    <p:sldId id="2147483073" r:id="rId33"/>
  </p:sldIdLst>
  <p:sldSz cx="12192000" cy="6858000"/>
  <p:notesSz cx="6797675" cy="9926638"/>
  <p:custDataLst>
    <p:tags r:id="rId3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3E4A825-FEBA-424F-B364-E13E76E3923E}">
          <p14:sldIdLst>
            <p14:sldId id="2147480002"/>
            <p14:sldId id="2147481930"/>
            <p14:sldId id="2147481932"/>
          </p14:sldIdLst>
        </p14:section>
        <p14:section name="零售总仓用DDI库存" id="{78A5ED4A-8AB7-4626-8F3C-BCD94511D462}">
          <p14:sldIdLst>
            <p14:sldId id="2147483093"/>
            <p14:sldId id="2147483098"/>
            <p14:sldId id="2147483100"/>
            <p14:sldId id="2147483101"/>
            <p14:sldId id="2147483099"/>
            <p14:sldId id="2147483102"/>
          </p14:sldIdLst>
        </p14:section>
        <p14:section name="（实验）零售总仓用客户购进-门店购进" id="{593A24A8-A668-46BA-B213-BB8C2CA95CA5}">
          <p14:sldIdLst>
            <p14:sldId id="2147483097"/>
            <p14:sldId id="2147483103"/>
            <p14:sldId id="2147483104"/>
            <p14:sldId id="2147483105"/>
          </p14:sldIdLst>
        </p14:section>
        <p14:section name="业绩分析" id="{C6E6A9AD-07EF-4F99-84BE-FE1E9CE62C11}">
          <p14:sldIdLst>
            <p14:sldId id="2147481935"/>
            <p14:sldId id="2147481931"/>
            <p14:sldId id="2147483079"/>
            <p14:sldId id="2147481934"/>
            <p14:sldId id="2147483078"/>
            <p14:sldId id="2147483085"/>
            <p14:sldId id="2147483081"/>
            <p14:sldId id="2147483083"/>
            <p14:sldId id="2147483084"/>
            <p14:sldId id="2147483070"/>
            <p14:sldId id="2147483071"/>
            <p14:sldId id="2147483072"/>
            <p14:sldId id="214748307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, Oliver" initials="ZO" lastIdx="1" clrIdx="0">
    <p:extLst>
      <p:ext uri="{19B8F6BF-5375-455C-9EA6-DF929625EA0E}">
        <p15:presenceInfo xmlns:p15="http://schemas.microsoft.com/office/powerpoint/2012/main" userId="S::Oliver.Zhang@Bain.com::93ceecf7-2301-4470-b197-bd28156a231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9292"/>
    <a:srgbClr val="E93FF2"/>
    <a:srgbClr val="8F00FF"/>
    <a:srgbClr val="9EDA9E"/>
    <a:srgbClr val="F1CB14"/>
    <a:srgbClr val="5D4A89"/>
    <a:srgbClr val="EA0000"/>
    <a:srgbClr val="8E61BB"/>
    <a:srgbClr val="0000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A88773-6EE1-484E-AADE-FE631E01463B}" v="408413" dt="2025-11-26T06:35:18.176"/>
  </p1510:revLst>
</p1510:revInfo>
</file>

<file path=ppt/tableStyles.xml><?xml version="1.0" encoding="utf-8"?>
<a:tblStyleLst xmlns:a="http://schemas.openxmlformats.org/drawingml/2006/main" def="{0E3FDE45-AF77-4B5C-9715-49D594BDF05E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accent2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accent4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accent5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accent6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619" autoAdjust="0"/>
  </p:normalViewPr>
  <p:slideViewPr>
    <p:cSldViewPr snapToGrid="0">
      <p:cViewPr varScale="1">
        <p:scale>
          <a:sx n="74" d="100"/>
          <a:sy n="74" d="100"/>
        </p:scale>
        <p:origin x="3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44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42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handoutMaster" Target="handoutMasters/handoutMaster1.xml"/><Relationship Id="rId43" Type="http://schemas.microsoft.com/office/2015/10/relationships/revisionInfo" Target="revisionInfo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qun Dai" userId="360a2182-b97f-4635-b990-04f846616e33" providerId="ADAL" clId="{8F04EA49-0EFC-48F3-A4D8-E0F0D3B461A8}"/>
    <pc:docChg chg="undo redo custSel addSld delSld modSld sldOrd delMainMaster">
      <pc:chgData name="Yiqun Dai" userId="360a2182-b97f-4635-b990-04f846616e33" providerId="ADAL" clId="{8F04EA49-0EFC-48F3-A4D8-E0F0D3B461A8}" dt="2025-11-17T01:55:16.247" v="466874" actId="47"/>
      <pc:docMkLst>
        <pc:docMk/>
      </pc:docMkLst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492439054" sldId="257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30079384" sldId="258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3507155979" sldId="259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405102438" sldId="260"/>
        </pc:sldMkLst>
      </pc:sldChg>
      <pc:sldChg chg="addSp delSp modSp mod">
        <pc:chgData name="Yiqun Dai" userId="360a2182-b97f-4635-b990-04f846616e33" providerId="ADAL" clId="{8F04EA49-0EFC-48F3-A4D8-E0F0D3B461A8}" dt="2025-11-01T07:47:54.385" v="183370" actId="20577"/>
        <pc:sldMkLst>
          <pc:docMk/>
          <pc:sldMk cId="398489134" sldId="2147480002"/>
        </pc:sldMkLst>
        <pc:spChg chg="mod">
          <ac:chgData name="Yiqun Dai" userId="360a2182-b97f-4635-b990-04f846616e33" providerId="ADAL" clId="{8F04EA49-0EFC-48F3-A4D8-E0F0D3B461A8}" dt="2025-11-01T07:47:49.259" v="183342" actId="948"/>
          <ac:spMkLst>
            <pc:docMk/>
            <pc:sldMk cId="398489134" sldId="2147480002"/>
            <ac:spMk id="2" creationId="{24C1EEC9-BC41-8798-6B4C-7B3B72CE3B4F}"/>
          </ac:spMkLst>
        </pc:spChg>
        <pc:spChg chg="mod">
          <ac:chgData name="Yiqun Dai" userId="360a2182-b97f-4635-b990-04f846616e33" providerId="ADAL" clId="{8F04EA49-0EFC-48F3-A4D8-E0F0D3B461A8}" dt="2025-11-01T07:47:54.385" v="183370" actId="20577"/>
          <ac:spMkLst>
            <pc:docMk/>
            <pc:sldMk cId="398489134" sldId="2147480002"/>
            <ac:spMk id="10" creationId="{EF12176B-34A0-0457-B55D-1031827A88C0}"/>
          </ac:spMkLst>
        </pc:spChg>
        <pc:graphicFrameChg chg="mod">
          <ac:chgData name="Yiqun Dai" userId="360a2182-b97f-4635-b990-04f846616e33" providerId="ADAL" clId="{8F04EA49-0EFC-48F3-A4D8-E0F0D3B461A8}" dt="2025-11-01T07:47:49.306" v="183366"/>
          <ac:graphicFrameMkLst>
            <pc:docMk/>
            <pc:sldMk cId="398489134" sldId="2147480002"/>
            <ac:graphicFrameMk id="4" creationId="{699490CD-87F4-5A04-DE60-BE63EEBD87C6}"/>
          </ac:graphicFrameMkLst>
        </pc:graphicFrameChg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759696941" sldId="2147480004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4179630826" sldId="2147480007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053093135" sldId="2147480009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975868388" sldId="2147481909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726974624" sldId="2147481910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96450259" sldId="2147481911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3354856402" sldId="2147481913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042820128" sldId="2147481914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3380918619" sldId="2147481915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54824688" sldId="2147481916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278367536" sldId="2147481918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810638643" sldId="2147481919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05316661" sldId="2147481929"/>
        </pc:sldMkLst>
      </pc:sldChg>
      <pc:sldChg chg="addSp delSp modSp new mod ord">
        <pc:chgData name="Yiqun Dai" userId="360a2182-b97f-4635-b990-04f846616e33" providerId="ADAL" clId="{8F04EA49-0EFC-48F3-A4D8-E0F0D3B461A8}" dt="2025-11-17T01:34:58.459" v="466873"/>
        <pc:sldMkLst>
          <pc:docMk/>
          <pc:sldMk cId="3568808484" sldId="2147481930"/>
        </pc:sldMkLst>
      </pc:sldChg>
      <pc:sldChg chg="addSp delSp modSp new mod ord modNotesTx">
        <pc:chgData name="Yiqun Dai" userId="360a2182-b97f-4635-b990-04f846616e33" providerId="ADAL" clId="{8F04EA49-0EFC-48F3-A4D8-E0F0D3B461A8}" dt="2025-11-08T11:37:49.995" v="249676"/>
        <pc:sldMkLst>
          <pc:docMk/>
          <pc:sldMk cId="317869439" sldId="2147481931"/>
        </pc:sldMkLst>
        <pc:spChg chg="mod ord">
          <ac:chgData name="Yiqun Dai" userId="360a2182-b97f-4635-b990-04f846616e33" providerId="ADAL" clId="{8F04EA49-0EFC-48F3-A4D8-E0F0D3B461A8}" dt="2025-11-08T11:37:39.447" v="249558"/>
          <ac:spMkLst>
            <pc:docMk/>
            <pc:sldMk cId="317869439" sldId="2147481931"/>
            <ac:spMk id="2" creationId="{36443FED-FD0D-DC17-31B8-E4DA4C086FDF}"/>
          </ac:spMkLst>
        </pc:spChg>
        <pc:spChg chg="add mod">
          <ac:chgData name="Yiqun Dai" userId="360a2182-b97f-4635-b990-04f846616e33" providerId="ADAL" clId="{8F04EA49-0EFC-48F3-A4D8-E0F0D3B461A8}" dt="2025-11-08T11:37:39.510" v="249665"/>
          <ac:spMkLst>
            <pc:docMk/>
            <pc:sldMk cId="317869439" sldId="2147481931"/>
            <ac:spMk id="6" creationId="{0DC9A1BE-9AA0-1C8C-7A3F-1D0DD8777E0F}"/>
          </ac:spMkLst>
        </pc:spChg>
        <pc:spChg chg="add mod">
          <ac:chgData name="Yiqun Dai" userId="360a2182-b97f-4635-b990-04f846616e33" providerId="ADAL" clId="{8F04EA49-0EFC-48F3-A4D8-E0F0D3B461A8}" dt="2025-11-08T11:37:39.526" v="249666"/>
          <ac:spMkLst>
            <pc:docMk/>
            <pc:sldMk cId="317869439" sldId="2147481931"/>
            <ac:spMk id="7" creationId="{A3064D15-7E1B-5E62-2E30-AC6C66B51D54}"/>
          </ac:spMkLst>
        </pc:spChg>
        <pc:spChg chg="add mod">
          <ac:chgData name="Yiqun Dai" userId="360a2182-b97f-4635-b990-04f846616e33" providerId="ADAL" clId="{8F04EA49-0EFC-48F3-A4D8-E0F0D3B461A8}" dt="2025-11-08T11:37:39.526" v="249667"/>
          <ac:spMkLst>
            <pc:docMk/>
            <pc:sldMk cId="317869439" sldId="2147481931"/>
            <ac:spMk id="8" creationId="{955C64BA-A0B9-C05A-3633-7D3FDA3294FD}"/>
          </ac:spMkLst>
        </pc:spChg>
        <pc:spChg chg="add mod">
          <ac:chgData name="Yiqun Dai" userId="360a2182-b97f-4635-b990-04f846616e33" providerId="ADAL" clId="{8F04EA49-0EFC-48F3-A4D8-E0F0D3B461A8}" dt="2025-11-08T11:37:39.526" v="249668"/>
          <ac:spMkLst>
            <pc:docMk/>
            <pc:sldMk cId="317869439" sldId="2147481931"/>
            <ac:spMk id="9" creationId="{D69C7873-BE91-B253-DC9C-489D16FD64A5}"/>
          </ac:spMkLst>
        </pc:spChg>
        <pc:spChg chg="add mod">
          <ac:chgData name="Yiqun Dai" userId="360a2182-b97f-4635-b990-04f846616e33" providerId="ADAL" clId="{8F04EA49-0EFC-48F3-A4D8-E0F0D3B461A8}" dt="2025-11-08T11:37:39.526" v="249669"/>
          <ac:spMkLst>
            <pc:docMk/>
            <pc:sldMk cId="317869439" sldId="2147481931"/>
            <ac:spMk id="10" creationId="{8A7B12D6-922A-4601-3B99-646531F3C222}"/>
          </ac:spMkLst>
        </pc:spChg>
        <pc:spChg chg="add mod">
          <ac:chgData name="Yiqun Dai" userId="360a2182-b97f-4635-b990-04f846616e33" providerId="ADAL" clId="{8F04EA49-0EFC-48F3-A4D8-E0F0D3B461A8}" dt="2025-11-08T11:37:39.526" v="249670"/>
          <ac:spMkLst>
            <pc:docMk/>
            <pc:sldMk cId="317869439" sldId="2147481931"/>
            <ac:spMk id="11" creationId="{4F36B3C0-7F01-131F-23AA-CD9F5F6F6F5C}"/>
          </ac:spMkLst>
        </pc:spChg>
        <pc:spChg chg="add mod">
          <ac:chgData name="Yiqun Dai" userId="360a2182-b97f-4635-b990-04f846616e33" providerId="ADAL" clId="{8F04EA49-0EFC-48F3-A4D8-E0F0D3B461A8}" dt="2025-11-08T11:37:39.526" v="249671"/>
          <ac:spMkLst>
            <pc:docMk/>
            <pc:sldMk cId="317869439" sldId="2147481931"/>
            <ac:spMk id="12" creationId="{C521A423-3549-2919-98B1-C36EBE9E6FE4}"/>
          </ac:spMkLst>
        </pc:spChg>
        <pc:spChg chg="add mod">
          <ac:chgData name="Yiqun Dai" userId="360a2182-b97f-4635-b990-04f846616e33" providerId="ADAL" clId="{8F04EA49-0EFC-48F3-A4D8-E0F0D3B461A8}" dt="2025-11-08T11:37:39.526" v="249672"/>
          <ac:spMkLst>
            <pc:docMk/>
            <pc:sldMk cId="317869439" sldId="2147481931"/>
            <ac:spMk id="13" creationId="{77E40A6D-AD41-984B-2BEC-00627D82E49E}"/>
          </ac:spMkLst>
        </pc:spChg>
        <pc:spChg chg="add mod">
          <ac:chgData name="Yiqun Dai" userId="360a2182-b97f-4635-b990-04f846616e33" providerId="ADAL" clId="{8F04EA49-0EFC-48F3-A4D8-E0F0D3B461A8}" dt="2025-11-08T11:37:39.464" v="249577"/>
          <ac:spMkLst>
            <pc:docMk/>
            <pc:sldMk cId="317869439" sldId="2147481931"/>
            <ac:spMk id="14" creationId="{9714E7D5-9892-6632-3199-747D40696A09}"/>
          </ac:spMkLst>
        </pc:spChg>
        <pc:spChg chg="add mod">
          <ac:chgData name="Yiqun Dai" userId="360a2182-b97f-4635-b990-04f846616e33" providerId="ADAL" clId="{8F04EA49-0EFC-48F3-A4D8-E0F0D3B461A8}" dt="2025-11-08T11:37:39.464" v="249578"/>
          <ac:spMkLst>
            <pc:docMk/>
            <pc:sldMk cId="317869439" sldId="2147481931"/>
            <ac:spMk id="15" creationId="{E91BF01B-877C-7019-2DB4-11835F8E22C2}"/>
          </ac:spMkLst>
        </pc:spChg>
        <pc:spChg chg="add mod">
          <ac:chgData name="Yiqun Dai" userId="360a2182-b97f-4635-b990-04f846616e33" providerId="ADAL" clId="{8F04EA49-0EFC-48F3-A4D8-E0F0D3B461A8}" dt="2025-11-08T11:37:39.464" v="249579"/>
          <ac:spMkLst>
            <pc:docMk/>
            <pc:sldMk cId="317869439" sldId="2147481931"/>
            <ac:spMk id="17" creationId="{D9579A60-33DA-EFDE-88A2-38B29FFD4E5B}"/>
          </ac:spMkLst>
        </pc:spChg>
        <pc:spChg chg="add mod">
          <ac:chgData name="Yiqun Dai" userId="360a2182-b97f-4635-b990-04f846616e33" providerId="ADAL" clId="{8F04EA49-0EFC-48F3-A4D8-E0F0D3B461A8}" dt="2025-11-08T11:37:39.464" v="249587"/>
          <ac:spMkLst>
            <pc:docMk/>
            <pc:sldMk cId="317869439" sldId="2147481931"/>
            <ac:spMk id="18" creationId="{BCBC75D5-9947-393A-32A4-67A1443536ED}"/>
          </ac:spMkLst>
        </pc:spChg>
        <pc:spChg chg="add mod ord">
          <ac:chgData name="Yiqun Dai" userId="360a2182-b97f-4635-b990-04f846616e33" providerId="ADAL" clId="{8F04EA49-0EFC-48F3-A4D8-E0F0D3B461A8}" dt="2025-11-08T11:37:39.464" v="249581"/>
          <ac:spMkLst>
            <pc:docMk/>
            <pc:sldMk cId="317869439" sldId="2147481931"/>
            <ac:spMk id="19" creationId="{EB7CCEC5-3C5A-ED80-902C-9A2438DCEE4A}"/>
          </ac:spMkLst>
        </pc:spChg>
        <pc:spChg chg="add mod">
          <ac:chgData name="Yiqun Dai" userId="360a2182-b97f-4635-b990-04f846616e33" providerId="ADAL" clId="{8F04EA49-0EFC-48F3-A4D8-E0F0D3B461A8}" dt="2025-11-08T11:37:39.479" v="249599"/>
          <ac:spMkLst>
            <pc:docMk/>
            <pc:sldMk cId="317869439" sldId="2147481931"/>
            <ac:spMk id="20" creationId="{DD9A3430-D7A5-1E2E-4F83-3678F5A5D5D8}"/>
          </ac:spMkLst>
        </pc:spChg>
        <pc:spChg chg="add mod ord">
          <ac:chgData name="Yiqun Dai" userId="360a2182-b97f-4635-b990-04f846616e33" providerId="ADAL" clId="{8F04EA49-0EFC-48F3-A4D8-E0F0D3B461A8}" dt="2025-11-08T11:37:39.464" v="249583"/>
          <ac:spMkLst>
            <pc:docMk/>
            <pc:sldMk cId="317869439" sldId="2147481931"/>
            <ac:spMk id="21" creationId="{B0BCF451-911F-1D2A-4E63-00D8C1AF70E4}"/>
          </ac:spMkLst>
        </pc:spChg>
        <pc:spChg chg="add mod">
          <ac:chgData name="Yiqun Dai" userId="360a2182-b97f-4635-b990-04f846616e33" providerId="ADAL" clId="{8F04EA49-0EFC-48F3-A4D8-E0F0D3B461A8}" dt="2025-11-08T11:37:39.464" v="249584"/>
          <ac:spMkLst>
            <pc:docMk/>
            <pc:sldMk cId="317869439" sldId="2147481931"/>
            <ac:spMk id="22" creationId="{D82FE366-B49F-4806-DF1D-F061D881514B}"/>
          </ac:spMkLst>
        </pc:spChg>
        <pc:spChg chg="add mod">
          <ac:chgData name="Yiqun Dai" userId="360a2182-b97f-4635-b990-04f846616e33" providerId="ADAL" clId="{8F04EA49-0EFC-48F3-A4D8-E0F0D3B461A8}" dt="2025-11-08T11:37:39.464" v="249585"/>
          <ac:spMkLst>
            <pc:docMk/>
            <pc:sldMk cId="317869439" sldId="2147481931"/>
            <ac:spMk id="23" creationId="{8D2C4A28-CF5A-5CF4-4FF8-1F47C9F9F22A}"/>
          </ac:spMkLst>
        </pc:spChg>
        <pc:spChg chg="add mod">
          <ac:chgData name="Yiqun Dai" userId="360a2182-b97f-4635-b990-04f846616e33" providerId="ADAL" clId="{8F04EA49-0EFC-48F3-A4D8-E0F0D3B461A8}" dt="2025-11-08T11:37:39.464" v="249586"/>
          <ac:spMkLst>
            <pc:docMk/>
            <pc:sldMk cId="317869439" sldId="2147481931"/>
            <ac:spMk id="24" creationId="{1BB7F63E-EAAF-87C5-3A15-A78E5476572A}"/>
          </ac:spMkLst>
        </pc:spChg>
        <pc:spChg chg="add mod">
          <ac:chgData name="Yiqun Dai" userId="360a2182-b97f-4635-b990-04f846616e33" providerId="ADAL" clId="{8F04EA49-0EFC-48F3-A4D8-E0F0D3B461A8}" dt="2025-11-08T11:37:39.479" v="249600"/>
          <ac:spMkLst>
            <pc:docMk/>
            <pc:sldMk cId="317869439" sldId="2147481931"/>
            <ac:spMk id="25" creationId="{D6D42341-3911-A45E-6249-9A2DDC258DEF}"/>
          </ac:spMkLst>
        </pc:spChg>
        <pc:spChg chg="add mod">
          <ac:chgData name="Yiqun Dai" userId="360a2182-b97f-4635-b990-04f846616e33" providerId="ADAL" clId="{8F04EA49-0EFC-48F3-A4D8-E0F0D3B461A8}" dt="2025-11-08T11:37:39.464" v="249588"/>
          <ac:spMkLst>
            <pc:docMk/>
            <pc:sldMk cId="317869439" sldId="2147481931"/>
            <ac:spMk id="26" creationId="{FCA0A87C-1C6B-BFA7-9D48-5A56757E48F8}"/>
          </ac:spMkLst>
        </pc:spChg>
        <pc:spChg chg="add mod ord">
          <ac:chgData name="Yiqun Dai" userId="360a2182-b97f-4635-b990-04f846616e33" providerId="ADAL" clId="{8F04EA49-0EFC-48F3-A4D8-E0F0D3B461A8}" dt="2025-11-08T11:37:39.464" v="249590"/>
          <ac:spMkLst>
            <pc:docMk/>
            <pc:sldMk cId="317869439" sldId="2147481931"/>
            <ac:spMk id="27" creationId="{482BEB0F-8F52-39A0-AFDE-DDC409B4B6F3}"/>
          </ac:spMkLst>
        </pc:spChg>
        <pc:spChg chg="add mod">
          <ac:chgData name="Yiqun Dai" userId="360a2182-b97f-4635-b990-04f846616e33" providerId="ADAL" clId="{8F04EA49-0EFC-48F3-A4D8-E0F0D3B461A8}" dt="2025-11-08T11:37:39.479" v="249591"/>
          <ac:spMkLst>
            <pc:docMk/>
            <pc:sldMk cId="317869439" sldId="2147481931"/>
            <ac:spMk id="28" creationId="{2B2A774E-0221-5AC7-2DA2-F02757E45FCF}"/>
          </ac:spMkLst>
        </pc:spChg>
        <pc:spChg chg="add mod ord">
          <ac:chgData name="Yiqun Dai" userId="360a2182-b97f-4635-b990-04f846616e33" providerId="ADAL" clId="{8F04EA49-0EFC-48F3-A4D8-E0F0D3B461A8}" dt="2025-11-08T11:37:39.479" v="249593"/>
          <ac:spMkLst>
            <pc:docMk/>
            <pc:sldMk cId="317869439" sldId="2147481931"/>
            <ac:spMk id="29" creationId="{0F725E83-64D2-51A8-3A35-7F2D3B610660}"/>
          </ac:spMkLst>
        </pc:spChg>
        <pc:spChg chg="add mod ord">
          <ac:chgData name="Yiqun Dai" userId="360a2182-b97f-4635-b990-04f846616e33" providerId="ADAL" clId="{8F04EA49-0EFC-48F3-A4D8-E0F0D3B461A8}" dt="2025-11-08T11:37:39.479" v="249595"/>
          <ac:spMkLst>
            <pc:docMk/>
            <pc:sldMk cId="317869439" sldId="2147481931"/>
            <ac:spMk id="30" creationId="{3747B6B7-45AC-9105-EDB8-B7558EE2604D}"/>
          </ac:spMkLst>
        </pc:spChg>
        <pc:spChg chg="add mod">
          <ac:chgData name="Yiqun Dai" userId="360a2182-b97f-4635-b990-04f846616e33" providerId="ADAL" clId="{8F04EA49-0EFC-48F3-A4D8-E0F0D3B461A8}" dt="2025-11-08T11:37:39.479" v="249596"/>
          <ac:spMkLst>
            <pc:docMk/>
            <pc:sldMk cId="317869439" sldId="2147481931"/>
            <ac:spMk id="31" creationId="{A1500145-8EBF-0567-0D08-B5C362C44306}"/>
          </ac:spMkLst>
        </pc:spChg>
        <pc:spChg chg="add mod">
          <ac:chgData name="Yiqun Dai" userId="360a2182-b97f-4635-b990-04f846616e33" providerId="ADAL" clId="{8F04EA49-0EFC-48F3-A4D8-E0F0D3B461A8}" dt="2025-11-08T11:37:39.479" v="249597"/>
          <ac:spMkLst>
            <pc:docMk/>
            <pc:sldMk cId="317869439" sldId="2147481931"/>
            <ac:spMk id="32" creationId="{A2A12C4D-776E-B909-6C93-3AA55E2D80AE}"/>
          </ac:spMkLst>
        </pc:spChg>
        <pc:spChg chg="add mod">
          <ac:chgData name="Yiqun Dai" userId="360a2182-b97f-4635-b990-04f846616e33" providerId="ADAL" clId="{8F04EA49-0EFC-48F3-A4D8-E0F0D3B461A8}" dt="2025-11-08T11:37:39.479" v="249598"/>
          <ac:spMkLst>
            <pc:docMk/>
            <pc:sldMk cId="317869439" sldId="2147481931"/>
            <ac:spMk id="33" creationId="{5EF1C3A3-CAC3-70DF-B0E8-778CABBEC01E}"/>
          </ac:spMkLst>
        </pc:spChg>
        <pc:spChg chg="add mod">
          <ac:chgData name="Yiqun Dai" userId="360a2182-b97f-4635-b990-04f846616e33" providerId="ADAL" clId="{8F04EA49-0EFC-48F3-A4D8-E0F0D3B461A8}" dt="2025-11-08T11:37:39.479" v="249601"/>
          <ac:spMkLst>
            <pc:docMk/>
            <pc:sldMk cId="317869439" sldId="2147481931"/>
            <ac:spMk id="34" creationId="{692F588D-9EDE-A165-C962-04D121028EDE}"/>
          </ac:spMkLst>
        </pc:spChg>
        <pc:spChg chg="add mod">
          <ac:chgData name="Yiqun Dai" userId="360a2182-b97f-4635-b990-04f846616e33" providerId="ADAL" clId="{8F04EA49-0EFC-48F3-A4D8-E0F0D3B461A8}" dt="2025-11-08T11:37:39.510" v="249657"/>
          <ac:spMkLst>
            <pc:docMk/>
            <pc:sldMk cId="317869439" sldId="2147481931"/>
            <ac:spMk id="54" creationId="{3A96AD27-770D-1604-5C10-D0E8E2ACC7CB}"/>
          </ac:spMkLst>
        </pc:spChg>
        <pc:spChg chg="add mod">
          <ac:chgData name="Yiqun Dai" userId="360a2182-b97f-4635-b990-04f846616e33" providerId="ADAL" clId="{8F04EA49-0EFC-48F3-A4D8-E0F0D3B461A8}" dt="2025-11-08T11:37:39.510" v="249658"/>
          <ac:spMkLst>
            <pc:docMk/>
            <pc:sldMk cId="317869439" sldId="2147481931"/>
            <ac:spMk id="55" creationId="{6FA2D864-C595-D53B-EBD6-D991E359B8ED}"/>
          </ac:spMkLst>
        </pc:spChg>
        <pc:spChg chg="add mod">
          <ac:chgData name="Yiqun Dai" userId="360a2182-b97f-4635-b990-04f846616e33" providerId="ADAL" clId="{8F04EA49-0EFC-48F3-A4D8-E0F0D3B461A8}" dt="2025-11-08T11:37:39.510" v="249659"/>
          <ac:spMkLst>
            <pc:docMk/>
            <pc:sldMk cId="317869439" sldId="2147481931"/>
            <ac:spMk id="56" creationId="{524E1A60-8D8D-8573-0C84-4D08538F1BF3}"/>
          </ac:spMkLst>
        </pc:spChg>
        <pc:spChg chg="add mod">
          <ac:chgData name="Yiqun Dai" userId="360a2182-b97f-4635-b990-04f846616e33" providerId="ADAL" clId="{8F04EA49-0EFC-48F3-A4D8-E0F0D3B461A8}" dt="2025-11-08T11:37:39.510" v="249660"/>
          <ac:spMkLst>
            <pc:docMk/>
            <pc:sldMk cId="317869439" sldId="2147481931"/>
            <ac:spMk id="57" creationId="{60B6995E-AAA1-9007-4B22-D422E929C909}"/>
          </ac:spMkLst>
        </pc:spChg>
        <pc:spChg chg="add mod">
          <ac:chgData name="Yiqun Dai" userId="360a2182-b97f-4635-b990-04f846616e33" providerId="ADAL" clId="{8F04EA49-0EFC-48F3-A4D8-E0F0D3B461A8}" dt="2025-11-08T11:37:39.510" v="249661"/>
          <ac:spMkLst>
            <pc:docMk/>
            <pc:sldMk cId="317869439" sldId="2147481931"/>
            <ac:spMk id="58" creationId="{DDE99BF2-A0C2-AAAC-8B6F-EF39A5879B7C}"/>
          </ac:spMkLst>
        </pc:spChg>
        <pc:spChg chg="add mod">
          <ac:chgData name="Yiqun Dai" userId="360a2182-b97f-4635-b990-04f846616e33" providerId="ADAL" clId="{8F04EA49-0EFC-48F3-A4D8-E0F0D3B461A8}" dt="2025-11-08T11:37:39.510" v="249662"/>
          <ac:spMkLst>
            <pc:docMk/>
            <pc:sldMk cId="317869439" sldId="2147481931"/>
            <ac:spMk id="59" creationId="{873F987F-6241-337D-893B-A05A9B5185CA}"/>
          </ac:spMkLst>
        </pc:spChg>
        <pc:spChg chg="add mod">
          <ac:chgData name="Yiqun Dai" userId="360a2182-b97f-4635-b990-04f846616e33" providerId="ADAL" clId="{8F04EA49-0EFC-48F3-A4D8-E0F0D3B461A8}" dt="2025-11-08T11:37:39.510" v="249663"/>
          <ac:spMkLst>
            <pc:docMk/>
            <pc:sldMk cId="317869439" sldId="2147481931"/>
            <ac:spMk id="60" creationId="{382C2D33-B6C1-73D0-4E2C-A6C7069B9509}"/>
          </ac:spMkLst>
        </pc:spChg>
        <pc:spChg chg="add mod">
          <ac:chgData name="Yiqun Dai" userId="360a2182-b97f-4635-b990-04f846616e33" providerId="ADAL" clId="{8F04EA49-0EFC-48F3-A4D8-E0F0D3B461A8}" dt="2025-11-08T11:37:39.510" v="249664"/>
          <ac:spMkLst>
            <pc:docMk/>
            <pc:sldMk cId="317869439" sldId="2147481931"/>
            <ac:spMk id="61" creationId="{8A11D334-71EC-5BA0-E4B0-6C4C715875FF}"/>
          </ac:spMkLst>
        </pc:spChg>
        <pc:spChg chg="add mod ord">
          <ac:chgData name="Yiqun Dai" userId="360a2182-b97f-4635-b990-04f846616e33" providerId="ADAL" clId="{8F04EA49-0EFC-48F3-A4D8-E0F0D3B461A8}" dt="2025-11-08T11:37:39.479" v="249603"/>
          <ac:spMkLst>
            <pc:docMk/>
            <pc:sldMk cId="317869439" sldId="2147481931"/>
            <ac:spMk id="62" creationId="{55C3843E-B667-4CB0-0BAD-4C660B2C1DF0}"/>
          </ac:spMkLst>
        </pc:spChg>
        <pc:spChg chg="add mod ord">
          <ac:chgData name="Yiqun Dai" userId="360a2182-b97f-4635-b990-04f846616e33" providerId="ADAL" clId="{8F04EA49-0EFC-48F3-A4D8-E0F0D3B461A8}" dt="2025-11-08T11:37:39.479" v="249612"/>
          <ac:spMkLst>
            <pc:docMk/>
            <pc:sldMk cId="317869439" sldId="2147481931"/>
            <ac:spMk id="133" creationId="{AE6845E2-EDBC-8D2A-F46F-A65037936D6D}"/>
          </ac:spMkLst>
        </pc:spChg>
        <pc:spChg chg="add mod ord">
          <ac:chgData name="Yiqun Dai" userId="360a2182-b97f-4635-b990-04f846616e33" providerId="ADAL" clId="{8F04EA49-0EFC-48F3-A4D8-E0F0D3B461A8}" dt="2025-11-08T11:37:39.479" v="249613"/>
          <ac:spMkLst>
            <pc:docMk/>
            <pc:sldMk cId="317869439" sldId="2147481931"/>
            <ac:spMk id="134" creationId="{C8FA23E7-1954-535F-167C-B22C70800949}"/>
          </ac:spMkLst>
        </pc:spChg>
        <pc:spChg chg="add mod">
          <ac:chgData name="Yiqun Dai" userId="360a2182-b97f-4635-b990-04f846616e33" providerId="ADAL" clId="{8F04EA49-0EFC-48F3-A4D8-E0F0D3B461A8}" dt="2025-11-08T11:37:39.479" v="249614"/>
          <ac:spMkLst>
            <pc:docMk/>
            <pc:sldMk cId="317869439" sldId="2147481931"/>
            <ac:spMk id="135" creationId="{771EEA91-D085-6321-84F5-87A71F520D98}"/>
          </ac:spMkLst>
        </pc:spChg>
        <pc:spChg chg="mod">
          <ac:chgData name="Yiqun Dai" userId="360a2182-b97f-4635-b990-04f846616e33" providerId="ADAL" clId="{8F04EA49-0EFC-48F3-A4D8-E0F0D3B461A8}" dt="2025-11-08T11:37:39.479" v="249615"/>
          <ac:spMkLst>
            <pc:docMk/>
            <pc:sldMk cId="317869439" sldId="2147481931"/>
            <ac:spMk id="136" creationId="{25E348C1-2A17-012D-4E60-303EE0E6BB7F}"/>
          </ac:spMkLst>
        </pc:spChg>
        <pc:spChg chg="mod ord">
          <ac:chgData name="Yiqun Dai" userId="360a2182-b97f-4635-b990-04f846616e33" providerId="ADAL" clId="{8F04EA49-0EFC-48F3-A4D8-E0F0D3B461A8}" dt="2025-11-08T11:37:39.479" v="249616"/>
          <ac:spMkLst>
            <pc:docMk/>
            <pc:sldMk cId="317869439" sldId="2147481931"/>
            <ac:spMk id="137" creationId="{EA1C72A7-76CB-A34B-4CA0-D444C92149E8}"/>
          </ac:spMkLst>
        </pc:spChg>
        <pc:spChg chg="add mod">
          <ac:chgData name="Yiqun Dai" userId="360a2182-b97f-4635-b990-04f846616e33" providerId="ADAL" clId="{8F04EA49-0EFC-48F3-A4D8-E0F0D3B461A8}" dt="2025-11-08T11:37:39.495" v="249617"/>
          <ac:spMkLst>
            <pc:docMk/>
            <pc:sldMk cId="317869439" sldId="2147481931"/>
            <ac:spMk id="138" creationId="{C8927A0A-99E8-29F6-F9E2-8BE439DE1155}"/>
          </ac:spMkLst>
        </pc:spChg>
        <pc:spChg chg="mod ord">
          <ac:chgData name="Yiqun Dai" userId="360a2182-b97f-4635-b990-04f846616e33" providerId="ADAL" clId="{8F04EA49-0EFC-48F3-A4D8-E0F0D3B461A8}" dt="2025-11-08T11:37:39.495" v="249618"/>
          <ac:spMkLst>
            <pc:docMk/>
            <pc:sldMk cId="317869439" sldId="2147481931"/>
            <ac:spMk id="139" creationId="{88BFF69C-67DE-55EE-77EF-C44A279EA198}"/>
          </ac:spMkLst>
        </pc:spChg>
        <pc:spChg chg="mod">
          <ac:chgData name="Yiqun Dai" userId="360a2182-b97f-4635-b990-04f846616e33" providerId="ADAL" clId="{8F04EA49-0EFC-48F3-A4D8-E0F0D3B461A8}" dt="2025-11-08T11:37:39.495" v="249619"/>
          <ac:spMkLst>
            <pc:docMk/>
            <pc:sldMk cId="317869439" sldId="2147481931"/>
            <ac:spMk id="140" creationId="{1CDCE2EF-567A-3C91-39D3-A63357A6FAD5}"/>
          </ac:spMkLst>
        </pc:spChg>
        <pc:spChg chg="add mod">
          <ac:chgData name="Yiqun Dai" userId="360a2182-b97f-4635-b990-04f846616e33" providerId="ADAL" clId="{8F04EA49-0EFC-48F3-A4D8-E0F0D3B461A8}" dt="2025-11-08T11:37:39.495" v="249620"/>
          <ac:spMkLst>
            <pc:docMk/>
            <pc:sldMk cId="317869439" sldId="2147481931"/>
            <ac:spMk id="141" creationId="{CDE592CC-8D65-22C9-3EB4-20D94764C7D4}"/>
          </ac:spMkLst>
        </pc:spChg>
        <pc:spChg chg="add mod">
          <ac:chgData name="Yiqun Dai" userId="360a2182-b97f-4635-b990-04f846616e33" providerId="ADAL" clId="{8F04EA49-0EFC-48F3-A4D8-E0F0D3B461A8}" dt="2025-11-08T11:37:39.495" v="249621"/>
          <ac:spMkLst>
            <pc:docMk/>
            <pc:sldMk cId="317869439" sldId="2147481931"/>
            <ac:spMk id="142" creationId="{F9047896-EDBB-AA6E-56FB-79808C1CFAAD}"/>
          </ac:spMkLst>
        </pc:spChg>
        <pc:spChg chg="mod">
          <ac:chgData name="Yiqun Dai" userId="360a2182-b97f-4635-b990-04f846616e33" providerId="ADAL" clId="{8F04EA49-0EFC-48F3-A4D8-E0F0D3B461A8}" dt="2025-11-08T11:37:39.495" v="249622"/>
          <ac:spMkLst>
            <pc:docMk/>
            <pc:sldMk cId="317869439" sldId="2147481931"/>
            <ac:spMk id="143" creationId="{89DB4891-2500-E430-AD73-AC415FFBC83F}"/>
          </ac:spMkLst>
        </pc:spChg>
        <pc:spChg chg="mod">
          <ac:chgData name="Yiqun Dai" userId="360a2182-b97f-4635-b990-04f846616e33" providerId="ADAL" clId="{8F04EA49-0EFC-48F3-A4D8-E0F0D3B461A8}" dt="2025-11-08T11:37:39.495" v="249623"/>
          <ac:spMkLst>
            <pc:docMk/>
            <pc:sldMk cId="317869439" sldId="2147481931"/>
            <ac:spMk id="144" creationId="{3127D0B9-C711-7C74-2BC3-FAFF8C3014C8}"/>
          </ac:spMkLst>
        </pc:spChg>
        <pc:spChg chg="add mod">
          <ac:chgData name="Yiqun Dai" userId="360a2182-b97f-4635-b990-04f846616e33" providerId="ADAL" clId="{8F04EA49-0EFC-48F3-A4D8-E0F0D3B461A8}" dt="2025-11-08T11:37:39.495" v="249624"/>
          <ac:spMkLst>
            <pc:docMk/>
            <pc:sldMk cId="317869439" sldId="2147481931"/>
            <ac:spMk id="145" creationId="{BD08D012-DA9B-4087-D308-23F58F7EAD87}"/>
          </ac:spMkLst>
        </pc:spChg>
        <pc:spChg chg="mod">
          <ac:chgData name="Yiqun Dai" userId="360a2182-b97f-4635-b990-04f846616e33" providerId="ADAL" clId="{8F04EA49-0EFC-48F3-A4D8-E0F0D3B461A8}" dt="2025-11-08T11:37:39.495" v="249625"/>
          <ac:spMkLst>
            <pc:docMk/>
            <pc:sldMk cId="317869439" sldId="2147481931"/>
            <ac:spMk id="146" creationId="{C229F3EC-FAD2-78F0-E710-E98B2D7CC01B}"/>
          </ac:spMkLst>
        </pc:spChg>
        <pc:spChg chg="mod ord">
          <ac:chgData name="Yiqun Dai" userId="360a2182-b97f-4635-b990-04f846616e33" providerId="ADAL" clId="{8F04EA49-0EFC-48F3-A4D8-E0F0D3B461A8}" dt="2025-11-08T11:37:39.503" v="249627"/>
          <ac:spMkLst>
            <pc:docMk/>
            <pc:sldMk cId="317869439" sldId="2147481931"/>
            <ac:spMk id="147" creationId="{E42A8CD2-EC16-3A24-2012-0961E847DB71}"/>
          </ac:spMkLst>
        </pc:spChg>
        <pc:spChg chg="add mod ord">
          <ac:chgData name="Yiqun Dai" userId="360a2182-b97f-4635-b990-04f846616e33" providerId="ADAL" clId="{8F04EA49-0EFC-48F3-A4D8-E0F0D3B461A8}" dt="2025-11-08T11:37:39.503" v="249629"/>
          <ac:spMkLst>
            <pc:docMk/>
            <pc:sldMk cId="317869439" sldId="2147481931"/>
            <ac:spMk id="148" creationId="{197BEDFD-06CE-2217-A7B3-13B157E0E5A0}"/>
          </ac:spMkLst>
        </pc:spChg>
        <pc:spChg chg="mod ord">
          <ac:chgData name="Yiqun Dai" userId="360a2182-b97f-4635-b990-04f846616e33" providerId="ADAL" clId="{8F04EA49-0EFC-48F3-A4D8-E0F0D3B461A8}" dt="2025-11-08T11:37:39.503" v="249631"/>
          <ac:spMkLst>
            <pc:docMk/>
            <pc:sldMk cId="317869439" sldId="2147481931"/>
            <ac:spMk id="149" creationId="{D01B7963-E67D-A423-8FF7-16E42B4B86E2}"/>
          </ac:spMkLst>
        </pc:spChg>
        <pc:spChg chg="mod ord">
          <ac:chgData name="Yiqun Dai" userId="360a2182-b97f-4635-b990-04f846616e33" providerId="ADAL" clId="{8F04EA49-0EFC-48F3-A4D8-E0F0D3B461A8}" dt="2025-11-08T11:37:39.503" v="249633"/>
          <ac:spMkLst>
            <pc:docMk/>
            <pc:sldMk cId="317869439" sldId="2147481931"/>
            <ac:spMk id="150" creationId="{9601CE43-9B9F-6999-011E-8591BC57F396}"/>
          </ac:spMkLst>
        </pc:spChg>
        <pc:spChg chg="mod ord">
          <ac:chgData name="Yiqun Dai" userId="360a2182-b97f-4635-b990-04f846616e33" providerId="ADAL" clId="{8F04EA49-0EFC-48F3-A4D8-E0F0D3B461A8}" dt="2025-11-08T11:37:39.503" v="249635"/>
          <ac:spMkLst>
            <pc:docMk/>
            <pc:sldMk cId="317869439" sldId="2147481931"/>
            <ac:spMk id="151" creationId="{23A3B88A-F154-5D22-247F-0F950D7C12C7}"/>
          </ac:spMkLst>
        </pc:spChg>
        <pc:spChg chg="add mod ord">
          <ac:chgData name="Yiqun Dai" userId="360a2182-b97f-4635-b990-04f846616e33" providerId="ADAL" clId="{8F04EA49-0EFC-48F3-A4D8-E0F0D3B461A8}" dt="2025-11-08T11:37:39.503" v="249637"/>
          <ac:spMkLst>
            <pc:docMk/>
            <pc:sldMk cId="317869439" sldId="2147481931"/>
            <ac:spMk id="152" creationId="{5E5CCC8B-E673-2657-F769-A9408472F896}"/>
          </ac:spMkLst>
        </pc:spChg>
        <pc:spChg chg="mod">
          <ac:chgData name="Yiqun Dai" userId="360a2182-b97f-4635-b990-04f846616e33" providerId="ADAL" clId="{8F04EA49-0EFC-48F3-A4D8-E0F0D3B461A8}" dt="2025-11-08T11:37:39.503" v="249638"/>
          <ac:spMkLst>
            <pc:docMk/>
            <pc:sldMk cId="317869439" sldId="2147481931"/>
            <ac:spMk id="153" creationId="{DE5B07B7-E510-9377-DF49-9E965BF92BB5}"/>
          </ac:spMkLst>
        </pc:spChg>
        <pc:spChg chg="mod">
          <ac:chgData name="Yiqun Dai" userId="360a2182-b97f-4635-b990-04f846616e33" providerId="ADAL" clId="{8F04EA49-0EFC-48F3-A4D8-E0F0D3B461A8}" dt="2025-11-08T11:37:39.503" v="249639"/>
          <ac:spMkLst>
            <pc:docMk/>
            <pc:sldMk cId="317869439" sldId="2147481931"/>
            <ac:spMk id="154" creationId="{C0A39C8B-D806-47B0-3C39-34F79B4AD03B}"/>
          </ac:spMkLst>
        </pc:spChg>
        <pc:spChg chg="mod">
          <ac:chgData name="Yiqun Dai" userId="360a2182-b97f-4635-b990-04f846616e33" providerId="ADAL" clId="{8F04EA49-0EFC-48F3-A4D8-E0F0D3B461A8}" dt="2025-11-08T11:37:39.510" v="249640"/>
          <ac:spMkLst>
            <pc:docMk/>
            <pc:sldMk cId="317869439" sldId="2147481931"/>
            <ac:spMk id="155" creationId="{BB07258B-35C6-C6D0-E0B0-F3D41C98BBC5}"/>
          </ac:spMkLst>
        </pc:spChg>
        <pc:spChg chg="mod">
          <ac:chgData name="Yiqun Dai" userId="360a2182-b97f-4635-b990-04f846616e33" providerId="ADAL" clId="{8F04EA49-0EFC-48F3-A4D8-E0F0D3B461A8}" dt="2025-11-08T11:37:39.510" v="249641"/>
          <ac:spMkLst>
            <pc:docMk/>
            <pc:sldMk cId="317869439" sldId="2147481931"/>
            <ac:spMk id="156" creationId="{035B6720-AB37-565D-1AF1-BF601F11F891}"/>
          </ac:spMkLst>
        </pc:spChg>
        <pc:spChg chg="add mod">
          <ac:chgData name="Yiqun Dai" userId="360a2182-b97f-4635-b990-04f846616e33" providerId="ADAL" clId="{8F04EA49-0EFC-48F3-A4D8-E0F0D3B461A8}" dt="2025-11-08T11:37:39.510" v="249642"/>
          <ac:spMkLst>
            <pc:docMk/>
            <pc:sldMk cId="317869439" sldId="2147481931"/>
            <ac:spMk id="157" creationId="{E8A397CB-F924-C9DD-1E4C-C86476911E84}"/>
          </ac:spMkLst>
        </pc:spChg>
        <pc:spChg chg="add mod ord">
          <ac:chgData name="Yiqun Dai" userId="360a2182-b97f-4635-b990-04f846616e33" providerId="ADAL" clId="{8F04EA49-0EFC-48F3-A4D8-E0F0D3B461A8}" dt="2025-11-08T11:37:39.510" v="249648"/>
          <ac:spMkLst>
            <pc:docMk/>
            <pc:sldMk cId="317869439" sldId="2147481931"/>
            <ac:spMk id="171" creationId="{DD391F86-DA93-AABD-672C-E4C2B02A9D78}"/>
          </ac:spMkLst>
        </pc:spChg>
        <pc:spChg chg="add mod ord">
          <ac:chgData name="Yiqun Dai" userId="360a2182-b97f-4635-b990-04f846616e33" providerId="ADAL" clId="{8F04EA49-0EFC-48F3-A4D8-E0F0D3B461A8}" dt="2025-11-08T11:37:39.510" v="249650"/>
          <ac:spMkLst>
            <pc:docMk/>
            <pc:sldMk cId="317869439" sldId="2147481931"/>
            <ac:spMk id="172" creationId="{532D764F-858C-BA72-A9BC-8552B0331330}"/>
          </ac:spMkLst>
        </pc:spChg>
        <pc:spChg chg="add mod ord">
          <ac:chgData name="Yiqun Dai" userId="360a2182-b97f-4635-b990-04f846616e33" providerId="ADAL" clId="{8F04EA49-0EFC-48F3-A4D8-E0F0D3B461A8}" dt="2025-11-08T11:37:39.510" v="249656"/>
          <ac:spMkLst>
            <pc:docMk/>
            <pc:sldMk cId="317869439" sldId="2147481931"/>
            <ac:spMk id="238" creationId="{0DC74E1D-B0AB-2B92-392F-342520BC3CDA}"/>
          </ac:spMkLst>
        </pc:spChg>
        <pc:graphicFrameChg chg="add mod ord modVis">
          <ac:chgData name="Yiqun Dai" userId="360a2182-b97f-4635-b990-04f846616e33" providerId="ADAL" clId="{8F04EA49-0EFC-48F3-A4D8-E0F0D3B461A8}" dt="2025-11-08T11:37:39.526" v="249674"/>
          <ac:graphicFrameMkLst>
            <pc:docMk/>
            <pc:sldMk cId="317869439" sldId="2147481931"/>
            <ac:graphicFrameMk id="16" creationId="{65B5CA95-ECCE-EB50-DD56-79CAD703FDB6}"/>
          </ac:graphicFrameMkLst>
        </pc:graphicFrameChg>
        <pc:graphicFrameChg chg="add mod ord">
          <ac:chgData name="Yiqun Dai" userId="360a2182-b97f-4635-b990-04f846616e33" providerId="ADAL" clId="{8F04EA49-0EFC-48F3-A4D8-E0F0D3B461A8}" dt="2025-11-08T11:37:39.479" v="249605"/>
          <ac:graphicFrameMkLst>
            <pc:docMk/>
            <pc:sldMk cId="317869439" sldId="2147481931"/>
            <ac:graphicFrameMk id="52" creationId="{5C8E763C-1DF5-FCF4-4B32-F80125C61BE3}"/>
          </ac:graphicFrameMkLst>
        </pc:graphicFrameChg>
        <pc:graphicFrameChg chg="add mod ord">
          <ac:chgData name="Yiqun Dai" userId="360a2182-b97f-4635-b990-04f846616e33" providerId="ADAL" clId="{8F04EA49-0EFC-48F3-A4D8-E0F0D3B461A8}" dt="2025-11-08T11:37:39.447" v="249560"/>
          <ac:graphicFrameMkLst>
            <pc:docMk/>
            <pc:sldMk cId="317869439" sldId="2147481931"/>
            <ac:graphicFrameMk id="161" creationId="{A1F5031A-EB6E-73B3-C69E-617E2413D77E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8T11:37:49.995" v="249676"/>
          <ac:graphicFrameMkLst>
            <pc:docMk/>
            <pc:sldMk cId="317869439" sldId="2147481931"/>
            <ac:graphicFrameMk id="168" creationId="{41341B5E-7290-A5BC-D177-CFB53DDB78CA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8T11:37:39.510" v="249646"/>
          <ac:graphicFrameMkLst>
            <pc:docMk/>
            <pc:sldMk cId="317869439" sldId="2147481931"/>
            <ac:graphicFrameMk id="170" creationId="{AB2724A2-0DAF-4C97-F933-61D4107DE3C1}"/>
          </ac:graphicFrameMkLst>
        </pc:graphicFrameChg>
        <pc:cxnChg chg="add mod ord">
          <ac:chgData name="Yiqun Dai" userId="360a2182-b97f-4635-b990-04f846616e33" providerId="ADAL" clId="{8F04EA49-0EFC-48F3-A4D8-E0F0D3B461A8}" dt="2025-11-08T11:37:39.464" v="249572"/>
          <ac:cxnSpMkLst>
            <pc:docMk/>
            <pc:sldMk cId="317869439" sldId="2147481931"/>
            <ac:cxnSpMk id="35" creationId="{C4A47111-37E3-6353-7D5A-DE648D2F826E}"/>
          </ac:cxnSpMkLst>
        </pc:cxnChg>
        <pc:cxnChg chg="add mod ord">
          <ac:chgData name="Yiqun Dai" userId="360a2182-b97f-4635-b990-04f846616e33" providerId="ADAL" clId="{8F04EA49-0EFC-48F3-A4D8-E0F0D3B461A8}" dt="2025-11-08T11:37:39.464" v="249570"/>
          <ac:cxnSpMkLst>
            <pc:docMk/>
            <pc:sldMk cId="317869439" sldId="2147481931"/>
            <ac:cxnSpMk id="36" creationId="{1B122B5D-47CF-69CB-80F8-B316CD38B193}"/>
          </ac:cxnSpMkLst>
        </pc:cxnChg>
        <pc:cxnChg chg="add mod ord">
          <ac:chgData name="Yiqun Dai" userId="360a2182-b97f-4635-b990-04f846616e33" providerId="ADAL" clId="{8F04EA49-0EFC-48F3-A4D8-E0F0D3B461A8}" dt="2025-11-08T11:37:39.464" v="249568"/>
          <ac:cxnSpMkLst>
            <pc:docMk/>
            <pc:sldMk cId="317869439" sldId="2147481931"/>
            <ac:cxnSpMk id="37" creationId="{743D03B1-5AC9-0E8D-5737-877D4598E3DC}"/>
          </ac:cxnSpMkLst>
        </pc:cxnChg>
        <pc:cxnChg chg="add mod ord">
          <ac:chgData name="Yiqun Dai" userId="360a2182-b97f-4635-b990-04f846616e33" providerId="ADAL" clId="{8F04EA49-0EFC-48F3-A4D8-E0F0D3B461A8}" dt="2025-11-08T11:37:39.464" v="249576"/>
          <ac:cxnSpMkLst>
            <pc:docMk/>
            <pc:sldMk cId="317869439" sldId="2147481931"/>
            <ac:cxnSpMk id="38" creationId="{2A3B443B-D82A-90C4-3B8B-781298476BAF}"/>
          </ac:cxnSpMkLst>
        </pc:cxnChg>
        <pc:cxnChg chg="add mod ord">
          <ac:chgData name="Yiqun Dai" userId="360a2182-b97f-4635-b990-04f846616e33" providerId="ADAL" clId="{8F04EA49-0EFC-48F3-A4D8-E0F0D3B461A8}" dt="2025-11-08T11:37:39.464" v="249574"/>
          <ac:cxnSpMkLst>
            <pc:docMk/>
            <pc:sldMk cId="317869439" sldId="2147481931"/>
            <ac:cxnSpMk id="39" creationId="{9B60F73E-5671-E2CD-3DC5-870648574E0C}"/>
          </ac:cxnSpMkLst>
        </pc:cxnChg>
        <pc:cxnChg chg="add mod ord">
          <ac:chgData name="Yiqun Dai" userId="360a2182-b97f-4635-b990-04f846616e33" providerId="ADAL" clId="{8F04EA49-0EFC-48F3-A4D8-E0F0D3B461A8}" dt="2025-11-08T11:37:39.447" v="249562"/>
          <ac:cxnSpMkLst>
            <pc:docMk/>
            <pc:sldMk cId="317869439" sldId="2147481931"/>
            <ac:cxnSpMk id="128" creationId="{1B5EAE37-2991-E288-66B2-751F51554891}"/>
          </ac:cxnSpMkLst>
        </pc:cxnChg>
        <pc:cxnChg chg="add mod ord">
          <ac:chgData name="Yiqun Dai" userId="360a2182-b97f-4635-b990-04f846616e33" providerId="ADAL" clId="{8F04EA49-0EFC-48F3-A4D8-E0F0D3B461A8}" dt="2025-11-08T11:37:39.447" v="249564"/>
          <ac:cxnSpMkLst>
            <pc:docMk/>
            <pc:sldMk cId="317869439" sldId="2147481931"/>
            <ac:cxnSpMk id="129" creationId="{4840EEC2-27E6-7D90-3DCC-7F49E8B28189}"/>
          </ac:cxnSpMkLst>
        </pc:cxnChg>
        <pc:cxnChg chg="mod ord">
          <ac:chgData name="Yiqun Dai" userId="360a2182-b97f-4635-b990-04f846616e33" providerId="ADAL" clId="{8F04EA49-0EFC-48F3-A4D8-E0F0D3B461A8}" dt="2025-11-08T11:37:39.479" v="249607"/>
          <ac:cxnSpMkLst>
            <pc:docMk/>
            <pc:sldMk cId="317869439" sldId="2147481931"/>
            <ac:cxnSpMk id="130" creationId="{6BD47B67-A5D7-0163-BD79-5C6B9C3215AA}"/>
          </ac:cxnSpMkLst>
        </pc:cxnChg>
        <pc:cxnChg chg="mod ord">
          <ac:chgData name="Yiqun Dai" userId="360a2182-b97f-4635-b990-04f846616e33" providerId="ADAL" clId="{8F04EA49-0EFC-48F3-A4D8-E0F0D3B461A8}" dt="2025-11-08T11:37:39.479" v="249609"/>
          <ac:cxnSpMkLst>
            <pc:docMk/>
            <pc:sldMk cId="317869439" sldId="2147481931"/>
            <ac:cxnSpMk id="131" creationId="{C635AE8F-0039-D7EA-E856-75F94FA5F11E}"/>
          </ac:cxnSpMkLst>
        </pc:cxnChg>
        <pc:cxnChg chg="mod ord">
          <ac:chgData name="Yiqun Dai" userId="360a2182-b97f-4635-b990-04f846616e33" providerId="ADAL" clId="{8F04EA49-0EFC-48F3-A4D8-E0F0D3B461A8}" dt="2025-11-08T11:37:39.479" v="249611"/>
          <ac:cxnSpMkLst>
            <pc:docMk/>
            <pc:sldMk cId="317869439" sldId="2147481931"/>
            <ac:cxnSpMk id="132" creationId="{A643D541-8243-C309-788C-EA99A1F01D93}"/>
          </ac:cxnSpMkLst>
        </pc:cxnChg>
        <pc:cxnChg chg="add mod ord">
          <ac:chgData name="Yiqun Dai" userId="360a2182-b97f-4635-b990-04f846616e33" providerId="ADAL" clId="{8F04EA49-0EFC-48F3-A4D8-E0F0D3B461A8}" dt="2025-11-08T11:37:39.447" v="249566"/>
          <ac:cxnSpMkLst>
            <pc:docMk/>
            <pc:sldMk cId="317869439" sldId="2147481931"/>
            <ac:cxnSpMk id="158" creationId="{D4F8FE18-0750-3353-068A-388205AC1C92}"/>
          </ac:cxnSpMkLst>
        </pc:cxnChg>
        <pc:cxnChg chg="add mod ord">
          <ac:chgData name="Yiqun Dai" userId="360a2182-b97f-4635-b990-04f846616e33" providerId="ADAL" clId="{8F04EA49-0EFC-48F3-A4D8-E0F0D3B461A8}" dt="2025-11-08T11:37:39.510" v="249652"/>
          <ac:cxnSpMkLst>
            <pc:docMk/>
            <pc:sldMk cId="317869439" sldId="2147481931"/>
            <ac:cxnSpMk id="176" creationId="{65F6B28F-6BAE-58F0-D8DA-2044FA7934A0}"/>
          </ac:cxnSpMkLst>
        </pc:cxnChg>
        <pc:cxnChg chg="add mod ord">
          <ac:chgData name="Yiqun Dai" userId="360a2182-b97f-4635-b990-04f846616e33" providerId="ADAL" clId="{8F04EA49-0EFC-48F3-A4D8-E0F0D3B461A8}" dt="2025-11-08T11:37:39.510" v="249654"/>
          <ac:cxnSpMkLst>
            <pc:docMk/>
            <pc:sldMk cId="317869439" sldId="2147481931"/>
            <ac:cxnSpMk id="178" creationId="{CD65E4C7-3010-9375-2004-B79B428E8C51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7T01:34:58.459" v="466873"/>
        <pc:sldMkLst>
          <pc:docMk/>
          <pc:sldMk cId="2692683206" sldId="2147481932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532914734" sldId="2147481933"/>
        </pc:sldMkLst>
      </pc:sldChg>
      <pc:sldChg chg="addSp delSp modSp add mod ord modNotesTx">
        <pc:chgData name="Yiqun Dai" userId="360a2182-b97f-4635-b990-04f846616e33" providerId="ADAL" clId="{8F04EA49-0EFC-48F3-A4D8-E0F0D3B461A8}" dt="2025-11-08T11:58:54.364" v="250155" actId="478"/>
        <pc:sldMkLst>
          <pc:docMk/>
          <pc:sldMk cId="3829580534" sldId="2147481934"/>
        </pc:sldMkLst>
        <pc:spChg chg="mod ord">
          <ac:chgData name="Yiqun Dai" userId="360a2182-b97f-4635-b990-04f846616e33" providerId="ADAL" clId="{8F04EA49-0EFC-48F3-A4D8-E0F0D3B461A8}" dt="2025-11-08T11:54:35.925" v="250046" actId="948"/>
          <ac:spMkLst>
            <pc:docMk/>
            <pc:sldMk cId="3829580534" sldId="2147481934"/>
            <ac:spMk id="2" creationId="{278A37AC-AD05-C7F5-1FDA-4C86873D81E6}"/>
          </ac:spMkLst>
        </pc:spChg>
        <pc:spChg chg="add mod ord">
          <ac:chgData name="Yiqun Dai" userId="360a2182-b97f-4635-b990-04f846616e33" providerId="ADAL" clId="{8F04EA49-0EFC-48F3-A4D8-E0F0D3B461A8}" dt="2025-11-07T09:55:52.787" v="244861"/>
          <ac:spMkLst>
            <pc:docMk/>
            <pc:sldMk cId="3829580534" sldId="2147481934"/>
            <ac:spMk id="15" creationId="{4A103377-C801-2B61-AF0A-2BF9A7099C61}"/>
          </ac:spMkLst>
        </pc:spChg>
        <pc:spChg chg="add mod">
          <ac:chgData name="Yiqun Dai" userId="360a2182-b97f-4635-b990-04f846616e33" providerId="ADAL" clId="{8F04EA49-0EFC-48F3-A4D8-E0F0D3B461A8}" dt="2025-11-08T11:52:51.249" v="249712"/>
          <ac:spMkLst>
            <pc:docMk/>
            <pc:sldMk cId="3829580534" sldId="2147481934"/>
            <ac:spMk id="17" creationId="{2F1216DB-C5F1-D7C8-4CC7-BCA2F1019C79}"/>
          </ac:spMkLst>
        </pc:spChg>
        <pc:spChg chg="mod">
          <ac:chgData name="Yiqun Dai" userId="360a2182-b97f-4635-b990-04f846616e33" providerId="ADAL" clId="{8F04EA49-0EFC-48F3-A4D8-E0F0D3B461A8}" dt="2025-11-07T09:55:52.723" v="244778"/>
          <ac:spMkLst>
            <pc:docMk/>
            <pc:sldMk cId="3829580534" sldId="2147481934"/>
            <ac:spMk id="18" creationId="{F43A72A9-B431-42E3-5480-AF874F40CF61}"/>
          </ac:spMkLst>
        </pc:spChg>
        <pc:spChg chg="mod">
          <ac:chgData name="Yiqun Dai" userId="360a2182-b97f-4635-b990-04f846616e33" providerId="ADAL" clId="{8F04EA49-0EFC-48F3-A4D8-E0F0D3B461A8}" dt="2025-11-07T09:55:52.739" v="244786"/>
          <ac:spMkLst>
            <pc:docMk/>
            <pc:sldMk cId="3829580534" sldId="2147481934"/>
            <ac:spMk id="20" creationId="{B6A5E9AF-F9C5-5B0B-BC41-15D6BC59E67D}"/>
          </ac:spMkLst>
        </pc:spChg>
        <pc:spChg chg="add mod">
          <ac:chgData name="Yiqun Dai" userId="360a2182-b97f-4635-b990-04f846616e33" providerId="ADAL" clId="{8F04EA49-0EFC-48F3-A4D8-E0F0D3B461A8}" dt="2025-11-07T09:55:52.755" v="244825"/>
          <ac:spMkLst>
            <pc:docMk/>
            <pc:sldMk cId="3829580534" sldId="2147481934"/>
            <ac:spMk id="22" creationId="{B51D1EA3-CFE3-EEEA-E714-45C6DB4A937E}"/>
          </ac:spMkLst>
        </pc:spChg>
        <pc:spChg chg="add mod ord">
          <ac:chgData name="Yiqun Dai" userId="360a2182-b97f-4635-b990-04f846616e33" providerId="ADAL" clId="{8F04EA49-0EFC-48F3-A4D8-E0F0D3B461A8}" dt="2025-11-07T09:58:59.743" v="244876" actId="20577"/>
          <ac:spMkLst>
            <pc:docMk/>
            <pc:sldMk cId="3829580534" sldId="2147481934"/>
            <ac:spMk id="23" creationId="{ACC49587-17C7-53E2-2433-687864B39EE6}"/>
          </ac:spMkLst>
        </pc:spChg>
        <pc:spChg chg="add mod ord">
          <ac:chgData name="Yiqun Dai" userId="360a2182-b97f-4635-b990-04f846616e33" providerId="ADAL" clId="{8F04EA49-0EFC-48F3-A4D8-E0F0D3B461A8}" dt="2025-11-07T09:59:04.822" v="244878" actId="20577"/>
          <ac:spMkLst>
            <pc:docMk/>
            <pc:sldMk cId="3829580534" sldId="2147481934"/>
            <ac:spMk id="24" creationId="{B0118694-CC71-4015-7662-0E2E6C66C639}"/>
          </ac:spMkLst>
        </pc:spChg>
        <pc:spChg chg="mod">
          <ac:chgData name="Yiqun Dai" userId="360a2182-b97f-4635-b990-04f846616e33" providerId="ADAL" clId="{8F04EA49-0EFC-48F3-A4D8-E0F0D3B461A8}" dt="2025-11-07T09:55:52.739" v="244799"/>
          <ac:spMkLst>
            <pc:docMk/>
            <pc:sldMk cId="3829580534" sldId="2147481934"/>
            <ac:spMk id="133" creationId="{34D9A0B1-FF50-257D-B1A5-FA7C8FD5D2B0}"/>
          </ac:spMkLst>
        </pc:spChg>
        <pc:spChg chg="mod">
          <ac:chgData name="Yiqun Dai" userId="360a2182-b97f-4635-b990-04f846616e33" providerId="ADAL" clId="{8F04EA49-0EFC-48F3-A4D8-E0F0D3B461A8}" dt="2025-11-07T09:55:52.755" v="244800"/>
          <ac:spMkLst>
            <pc:docMk/>
            <pc:sldMk cId="3829580534" sldId="2147481934"/>
            <ac:spMk id="134" creationId="{F984D200-FDB2-821F-0AD5-3AAD7577E475}"/>
          </ac:spMkLst>
        </pc:spChg>
        <pc:spChg chg="mod">
          <ac:chgData name="Yiqun Dai" userId="360a2182-b97f-4635-b990-04f846616e33" providerId="ADAL" clId="{8F04EA49-0EFC-48F3-A4D8-E0F0D3B461A8}" dt="2025-11-07T09:55:52.755" v="244801"/>
          <ac:spMkLst>
            <pc:docMk/>
            <pc:sldMk cId="3829580534" sldId="2147481934"/>
            <ac:spMk id="135" creationId="{E576F83E-556F-04A1-DDDD-BED5A3F1365C}"/>
          </ac:spMkLst>
        </pc:spChg>
        <pc:spChg chg="mod">
          <ac:chgData name="Yiqun Dai" userId="360a2182-b97f-4635-b990-04f846616e33" providerId="ADAL" clId="{8F04EA49-0EFC-48F3-A4D8-E0F0D3B461A8}" dt="2025-11-07T09:55:52.755" v="244802"/>
          <ac:spMkLst>
            <pc:docMk/>
            <pc:sldMk cId="3829580534" sldId="2147481934"/>
            <ac:spMk id="136" creationId="{ED28E0D5-1846-3991-0F70-92C5B61AB65B}"/>
          </ac:spMkLst>
        </pc:spChg>
        <pc:spChg chg="mod ord">
          <ac:chgData name="Yiqun Dai" userId="360a2182-b97f-4635-b990-04f846616e33" providerId="ADAL" clId="{8F04EA49-0EFC-48F3-A4D8-E0F0D3B461A8}" dt="2025-11-07T09:55:52.755" v="244804"/>
          <ac:spMkLst>
            <pc:docMk/>
            <pc:sldMk cId="3829580534" sldId="2147481934"/>
            <ac:spMk id="137" creationId="{BB386973-F59D-476F-5ED2-8B7B1FB4DF11}"/>
          </ac:spMkLst>
        </pc:spChg>
        <pc:spChg chg="mod">
          <ac:chgData name="Yiqun Dai" userId="360a2182-b97f-4635-b990-04f846616e33" providerId="ADAL" clId="{8F04EA49-0EFC-48F3-A4D8-E0F0D3B461A8}" dt="2025-11-07T09:55:52.755" v="244805"/>
          <ac:spMkLst>
            <pc:docMk/>
            <pc:sldMk cId="3829580534" sldId="2147481934"/>
            <ac:spMk id="138" creationId="{1783964A-FCA7-51DE-0480-6C903FB8E5C5}"/>
          </ac:spMkLst>
        </pc:spChg>
        <pc:spChg chg="mod">
          <ac:chgData name="Yiqun Dai" userId="360a2182-b97f-4635-b990-04f846616e33" providerId="ADAL" clId="{8F04EA49-0EFC-48F3-A4D8-E0F0D3B461A8}" dt="2025-11-07T09:55:52.755" v="244806"/>
          <ac:spMkLst>
            <pc:docMk/>
            <pc:sldMk cId="3829580534" sldId="2147481934"/>
            <ac:spMk id="139" creationId="{E465AA34-ACC2-C212-CBB5-608E3E73AD9C}"/>
          </ac:spMkLst>
        </pc:spChg>
        <pc:spChg chg="mod">
          <ac:chgData name="Yiqun Dai" userId="360a2182-b97f-4635-b990-04f846616e33" providerId="ADAL" clId="{8F04EA49-0EFC-48F3-A4D8-E0F0D3B461A8}" dt="2025-11-07T09:55:52.755" v="244807"/>
          <ac:spMkLst>
            <pc:docMk/>
            <pc:sldMk cId="3829580534" sldId="2147481934"/>
            <ac:spMk id="140" creationId="{626DAB8F-F3A2-D383-4A40-5358F6A8CA71}"/>
          </ac:spMkLst>
        </pc:spChg>
        <pc:spChg chg="mod">
          <ac:chgData name="Yiqun Dai" userId="360a2182-b97f-4635-b990-04f846616e33" providerId="ADAL" clId="{8F04EA49-0EFC-48F3-A4D8-E0F0D3B461A8}" dt="2025-11-07T09:55:52.755" v="244808"/>
          <ac:spMkLst>
            <pc:docMk/>
            <pc:sldMk cId="3829580534" sldId="2147481934"/>
            <ac:spMk id="141" creationId="{CFB05BAF-8E1A-BAD6-1F75-F1CA3103EB14}"/>
          </ac:spMkLst>
        </pc:spChg>
        <pc:spChg chg="mod">
          <ac:chgData name="Yiqun Dai" userId="360a2182-b97f-4635-b990-04f846616e33" providerId="ADAL" clId="{8F04EA49-0EFC-48F3-A4D8-E0F0D3B461A8}" dt="2025-11-07T09:55:52.755" v="244809"/>
          <ac:spMkLst>
            <pc:docMk/>
            <pc:sldMk cId="3829580534" sldId="2147481934"/>
            <ac:spMk id="142" creationId="{2047E2BE-3D52-36B3-9736-2F615626D64D}"/>
          </ac:spMkLst>
        </pc:spChg>
        <pc:spChg chg="mod ord">
          <ac:chgData name="Yiqun Dai" userId="360a2182-b97f-4635-b990-04f846616e33" providerId="ADAL" clId="{8F04EA49-0EFC-48F3-A4D8-E0F0D3B461A8}" dt="2025-11-07T09:55:52.755" v="244811"/>
          <ac:spMkLst>
            <pc:docMk/>
            <pc:sldMk cId="3829580534" sldId="2147481934"/>
            <ac:spMk id="143" creationId="{D5CF4083-6A60-3A60-56C1-B2C05CC22146}"/>
          </ac:spMkLst>
        </pc:spChg>
        <pc:spChg chg="mod">
          <ac:chgData name="Yiqun Dai" userId="360a2182-b97f-4635-b990-04f846616e33" providerId="ADAL" clId="{8F04EA49-0EFC-48F3-A4D8-E0F0D3B461A8}" dt="2025-11-07T09:55:52.755" v="244812"/>
          <ac:spMkLst>
            <pc:docMk/>
            <pc:sldMk cId="3829580534" sldId="2147481934"/>
            <ac:spMk id="144" creationId="{A63880FC-DA7D-DE51-3A30-A5271227E1A6}"/>
          </ac:spMkLst>
        </pc:spChg>
        <pc:spChg chg="mod">
          <ac:chgData name="Yiqun Dai" userId="360a2182-b97f-4635-b990-04f846616e33" providerId="ADAL" clId="{8F04EA49-0EFC-48F3-A4D8-E0F0D3B461A8}" dt="2025-11-07T09:55:52.755" v="244813"/>
          <ac:spMkLst>
            <pc:docMk/>
            <pc:sldMk cId="3829580534" sldId="2147481934"/>
            <ac:spMk id="145" creationId="{D2938EFF-8EED-1D65-B92E-A7976F23ABD6}"/>
          </ac:spMkLst>
        </pc:spChg>
        <pc:spChg chg="mod">
          <ac:chgData name="Yiqun Dai" userId="360a2182-b97f-4635-b990-04f846616e33" providerId="ADAL" clId="{8F04EA49-0EFC-48F3-A4D8-E0F0D3B461A8}" dt="2025-11-07T09:55:52.755" v="244814"/>
          <ac:spMkLst>
            <pc:docMk/>
            <pc:sldMk cId="3829580534" sldId="2147481934"/>
            <ac:spMk id="146" creationId="{18E54252-72A2-EF4C-580D-B136FA25CE8F}"/>
          </ac:spMkLst>
        </pc:spChg>
        <pc:spChg chg="mod ord">
          <ac:chgData name="Yiqun Dai" userId="360a2182-b97f-4635-b990-04f846616e33" providerId="ADAL" clId="{8F04EA49-0EFC-48F3-A4D8-E0F0D3B461A8}" dt="2025-11-07T09:55:52.755" v="244816"/>
          <ac:spMkLst>
            <pc:docMk/>
            <pc:sldMk cId="3829580534" sldId="2147481934"/>
            <ac:spMk id="147" creationId="{5FC4F210-5D86-0AB8-BE66-4E8A84ECBAAF}"/>
          </ac:spMkLst>
        </pc:spChg>
        <pc:spChg chg="mod ord">
          <ac:chgData name="Yiqun Dai" userId="360a2182-b97f-4635-b990-04f846616e33" providerId="ADAL" clId="{8F04EA49-0EFC-48F3-A4D8-E0F0D3B461A8}" dt="2025-11-07T09:55:52.755" v="244818"/>
          <ac:spMkLst>
            <pc:docMk/>
            <pc:sldMk cId="3829580534" sldId="2147481934"/>
            <ac:spMk id="148" creationId="{CC2E9F28-58F2-0808-F3D1-5D2575667207}"/>
          </ac:spMkLst>
        </pc:spChg>
        <pc:spChg chg="mod ord">
          <ac:chgData name="Yiqun Dai" userId="360a2182-b97f-4635-b990-04f846616e33" providerId="ADAL" clId="{8F04EA49-0EFC-48F3-A4D8-E0F0D3B461A8}" dt="2025-11-07T09:55:52.755" v="244820"/>
          <ac:spMkLst>
            <pc:docMk/>
            <pc:sldMk cId="3829580534" sldId="2147481934"/>
            <ac:spMk id="149" creationId="{92E2C93A-0B06-EA2B-6C20-A4739F0C2BF3}"/>
          </ac:spMkLst>
        </pc:spChg>
        <pc:spChg chg="mod ord">
          <ac:chgData name="Yiqun Dai" userId="360a2182-b97f-4635-b990-04f846616e33" providerId="ADAL" clId="{8F04EA49-0EFC-48F3-A4D8-E0F0D3B461A8}" dt="2025-11-07T09:55:52.755" v="244822"/>
          <ac:spMkLst>
            <pc:docMk/>
            <pc:sldMk cId="3829580534" sldId="2147481934"/>
            <ac:spMk id="150" creationId="{93D6BC83-E867-D33E-8328-44DD43431A31}"/>
          </ac:spMkLst>
        </pc:spChg>
        <pc:spChg chg="mod ord">
          <ac:chgData name="Yiqun Dai" userId="360a2182-b97f-4635-b990-04f846616e33" providerId="ADAL" clId="{8F04EA49-0EFC-48F3-A4D8-E0F0D3B461A8}" dt="2025-11-07T09:55:52.755" v="244824"/>
          <ac:spMkLst>
            <pc:docMk/>
            <pc:sldMk cId="3829580534" sldId="2147481934"/>
            <ac:spMk id="151" creationId="{F670F7CA-C795-80D3-C2E0-A6299000B47D}"/>
          </ac:spMkLst>
        </pc:spChg>
        <pc:spChg chg="mod">
          <ac:chgData name="Yiqun Dai" userId="360a2182-b97f-4635-b990-04f846616e33" providerId="ADAL" clId="{8F04EA49-0EFC-48F3-A4D8-E0F0D3B461A8}" dt="2025-11-08T11:52:51.203" v="249682"/>
          <ac:spMkLst>
            <pc:docMk/>
            <pc:sldMk cId="3829580534" sldId="2147481934"/>
            <ac:spMk id="153" creationId="{2BC05C50-9D1E-4A9A-319A-E066D3415B54}"/>
          </ac:spMkLst>
        </pc:spChg>
        <pc:spChg chg="mod">
          <ac:chgData name="Yiqun Dai" userId="360a2182-b97f-4635-b990-04f846616e33" providerId="ADAL" clId="{8F04EA49-0EFC-48F3-A4D8-E0F0D3B461A8}" dt="2025-11-08T11:52:51.235" v="249703"/>
          <ac:spMkLst>
            <pc:docMk/>
            <pc:sldMk cId="3829580534" sldId="2147481934"/>
            <ac:spMk id="154" creationId="{F08EC7B1-9694-D47B-253D-9B958C33ED57}"/>
          </ac:spMkLst>
        </pc:spChg>
        <pc:spChg chg="mod">
          <ac:chgData name="Yiqun Dai" userId="360a2182-b97f-4635-b990-04f846616e33" providerId="ADAL" clId="{8F04EA49-0EFC-48F3-A4D8-E0F0D3B461A8}" dt="2025-11-08T11:52:51.245" v="249706"/>
          <ac:spMkLst>
            <pc:docMk/>
            <pc:sldMk cId="3829580534" sldId="2147481934"/>
            <ac:spMk id="155" creationId="{F9D56110-1671-5B97-CA27-C2B6D88D52D8}"/>
          </ac:spMkLst>
        </pc:spChg>
        <pc:spChg chg="mod">
          <ac:chgData name="Yiqun Dai" userId="360a2182-b97f-4635-b990-04f846616e33" providerId="ADAL" clId="{8F04EA49-0EFC-48F3-A4D8-E0F0D3B461A8}" dt="2025-11-08T11:52:51.249" v="249709"/>
          <ac:spMkLst>
            <pc:docMk/>
            <pc:sldMk cId="3829580534" sldId="2147481934"/>
            <ac:spMk id="156" creationId="{9A973DB6-B33D-9FEA-0E31-C92560C794CC}"/>
          </ac:spMkLst>
        </pc:spChg>
        <pc:spChg chg="mod ord">
          <ac:chgData name="Yiqun Dai" userId="360a2182-b97f-4635-b990-04f846616e33" providerId="ADAL" clId="{8F04EA49-0EFC-48F3-A4D8-E0F0D3B461A8}" dt="2025-11-07T09:55:52.771" v="244836"/>
          <ac:spMkLst>
            <pc:docMk/>
            <pc:sldMk cId="3829580534" sldId="2147481934"/>
            <ac:spMk id="171" creationId="{51A010F1-CBBA-2FF7-5F55-08C24B4BAFF8}"/>
          </ac:spMkLst>
        </pc:spChg>
        <pc:spChg chg="mod ord">
          <ac:chgData name="Yiqun Dai" userId="360a2182-b97f-4635-b990-04f846616e33" providerId="ADAL" clId="{8F04EA49-0EFC-48F3-A4D8-E0F0D3B461A8}" dt="2025-11-07T09:55:52.771" v="244838"/>
          <ac:spMkLst>
            <pc:docMk/>
            <pc:sldMk cId="3829580534" sldId="2147481934"/>
            <ac:spMk id="172" creationId="{488F4B9C-2DC6-91A7-BFC3-39A4292C7601}"/>
          </ac:spMkLst>
        </pc:spChg>
        <pc:spChg chg="mod ord">
          <ac:chgData name="Yiqun Dai" userId="360a2182-b97f-4635-b990-04f846616e33" providerId="ADAL" clId="{8F04EA49-0EFC-48F3-A4D8-E0F0D3B461A8}" dt="2025-11-07T09:55:52.771" v="244840"/>
          <ac:spMkLst>
            <pc:docMk/>
            <pc:sldMk cId="3829580534" sldId="2147481934"/>
            <ac:spMk id="173" creationId="{F734EDEE-81E2-BE77-7EA6-2DCF6F3365B3}"/>
          </ac:spMkLst>
        </pc:spChg>
        <pc:spChg chg="mod">
          <ac:chgData name="Yiqun Dai" userId="360a2182-b97f-4635-b990-04f846616e33" providerId="ADAL" clId="{8F04EA49-0EFC-48F3-A4D8-E0F0D3B461A8}" dt="2025-11-07T09:55:52.723" v="244771"/>
          <ac:spMkLst>
            <pc:docMk/>
            <pc:sldMk cId="3829580534" sldId="2147481934"/>
            <ac:spMk id="189" creationId="{C777A144-5DAB-9761-177B-11390B1A57F2}"/>
          </ac:spMkLst>
        </pc:spChg>
        <pc:spChg chg="mod ord">
          <ac:chgData name="Yiqun Dai" userId="360a2182-b97f-4635-b990-04f846616e33" providerId="ADAL" clId="{8F04EA49-0EFC-48F3-A4D8-E0F0D3B461A8}" dt="2025-11-07T09:55:52.723" v="244773"/>
          <ac:spMkLst>
            <pc:docMk/>
            <pc:sldMk cId="3829580534" sldId="2147481934"/>
            <ac:spMk id="190" creationId="{3336E68E-4BFB-ECC2-3996-CBC2F52632A2}"/>
          </ac:spMkLst>
        </pc:spChg>
        <pc:spChg chg="mod ord">
          <ac:chgData name="Yiqun Dai" userId="360a2182-b97f-4635-b990-04f846616e33" providerId="ADAL" clId="{8F04EA49-0EFC-48F3-A4D8-E0F0D3B461A8}" dt="2025-11-07T09:55:52.723" v="244775"/>
          <ac:spMkLst>
            <pc:docMk/>
            <pc:sldMk cId="3829580534" sldId="2147481934"/>
            <ac:spMk id="191" creationId="{947CDD78-E4F5-07DD-09A6-2256315B3E6D}"/>
          </ac:spMkLst>
        </pc:spChg>
        <pc:spChg chg="mod ord">
          <ac:chgData name="Yiqun Dai" userId="360a2182-b97f-4635-b990-04f846616e33" providerId="ADAL" clId="{8F04EA49-0EFC-48F3-A4D8-E0F0D3B461A8}" dt="2025-11-07T09:55:52.723" v="244776"/>
          <ac:spMkLst>
            <pc:docMk/>
            <pc:sldMk cId="3829580534" sldId="2147481934"/>
            <ac:spMk id="192" creationId="{C4CA2FBA-28FE-4223-4BE4-33583552196B}"/>
          </ac:spMkLst>
        </pc:spChg>
        <pc:spChg chg="mod ord">
          <ac:chgData name="Yiqun Dai" userId="360a2182-b97f-4635-b990-04f846616e33" providerId="ADAL" clId="{8F04EA49-0EFC-48F3-A4D8-E0F0D3B461A8}" dt="2025-11-07T09:55:52.723" v="244777"/>
          <ac:spMkLst>
            <pc:docMk/>
            <pc:sldMk cId="3829580534" sldId="2147481934"/>
            <ac:spMk id="193" creationId="{B7595E2C-2748-256D-05CC-F146CACDC0D7}"/>
          </ac:spMkLst>
        </pc:spChg>
        <pc:spChg chg="mod">
          <ac:chgData name="Yiqun Dai" userId="360a2182-b97f-4635-b990-04f846616e33" providerId="ADAL" clId="{8F04EA49-0EFC-48F3-A4D8-E0F0D3B461A8}" dt="2025-11-07T09:55:52.739" v="244787"/>
          <ac:spMkLst>
            <pc:docMk/>
            <pc:sldMk cId="3829580534" sldId="2147481934"/>
            <ac:spMk id="195" creationId="{35E32FB4-95D3-BF63-2B56-864881595B50}"/>
          </ac:spMkLst>
        </pc:spChg>
        <pc:spChg chg="mod ord">
          <ac:chgData name="Yiqun Dai" userId="360a2182-b97f-4635-b990-04f846616e33" providerId="ADAL" clId="{8F04EA49-0EFC-48F3-A4D8-E0F0D3B461A8}" dt="2025-11-07T09:55:52.739" v="244780"/>
          <ac:spMkLst>
            <pc:docMk/>
            <pc:sldMk cId="3829580534" sldId="2147481934"/>
            <ac:spMk id="196" creationId="{BCEDCD3B-CAE7-85CC-E3AB-16390C4502D7}"/>
          </ac:spMkLst>
        </pc:spChg>
        <pc:spChg chg="mod ord">
          <ac:chgData name="Yiqun Dai" userId="360a2182-b97f-4635-b990-04f846616e33" providerId="ADAL" clId="{8F04EA49-0EFC-48F3-A4D8-E0F0D3B461A8}" dt="2025-11-07T09:55:52.739" v="244781"/>
          <ac:spMkLst>
            <pc:docMk/>
            <pc:sldMk cId="3829580534" sldId="2147481934"/>
            <ac:spMk id="197" creationId="{DB3BE6E2-E313-A686-7EF6-122DB5314A8A}"/>
          </ac:spMkLst>
        </pc:spChg>
        <pc:spChg chg="mod ord">
          <ac:chgData name="Yiqun Dai" userId="360a2182-b97f-4635-b990-04f846616e33" providerId="ADAL" clId="{8F04EA49-0EFC-48F3-A4D8-E0F0D3B461A8}" dt="2025-11-07T09:55:52.739" v="244783"/>
          <ac:spMkLst>
            <pc:docMk/>
            <pc:sldMk cId="3829580534" sldId="2147481934"/>
            <ac:spMk id="198" creationId="{885B4C29-6FB3-744B-93C5-7EFCFF1EDD56}"/>
          </ac:spMkLst>
        </pc:spChg>
        <pc:spChg chg="mod ord">
          <ac:chgData name="Yiqun Dai" userId="360a2182-b97f-4635-b990-04f846616e33" providerId="ADAL" clId="{8F04EA49-0EFC-48F3-A4D8-E0F0D3B461A8}" dt="2025-11-07T09:55:52.739" v="244784"/>
          <ac:spMkLst>
            <pc:docMk/>
            <pc:sldMk cId="3829580534" sldId="2147481934"/>
            <ac:spMk id="199" creationId="{FF2B5B09-4C0F-6FAD-B29D-2798B57F4F3E}"/>
          </ac:spMkLst>
        </pc:spChg>
        <pc:spChg chg="mod ord">
          <ac:chgData name="Yiqun Dai" userId="360a2182-b97f-4635-b990-04f846616e33" providerId="ADAL" clId="{8F04EA49-0EFC-48F3-A4D8-E0F0D3B461A8}" dt="2025-11-07T09:55:52.739" v="244785"/>
          <ac:spMkLst>
            <pc:docMk/>
            <pc:sldMk cId="3829580534" sldId="2147481934"/>
            <ac:spMk id="200" creationId="{BCC93580-63DA-4DCD-63BB-741C17F1F9E8}"/>
          </ac:spMkLst>
        </pc:spChg>
        <pc:spChg chg="mod">
          <ac:chgData name="Yiqun Dai" userId="360a2182-b97f-4635-b990-04f846616e33" providerId="ADAL" clId="{8F04EA49-0EFC-48F3-A4D8-E0F0D3B461A8}" dt="2025-11-07T09:55:52.739" v="244788"/>
          <ac:spMkLst>
            <pc:docMk/>
            <pc:sldMk cId="3829580534" sldId="2147481934"/>
            <ac:spMk id="202" creationId="{049A0AEC-2F3B-1A15-A2B2-05710674AB1B}"/>
          </ac:spMkLst>
        </pc:spChg>
        <pc:spChg chg="mod">
          <ac:chgData name="Yiqun Dai" userId="360a2182-b97f-4635-b990-04f846616e33" providerId="ADAL" clId="{8F04EA49-0EFC-48F3-A4D8-E0F0D3B461A8}" dt="2025-11-08T11:52:51.265" v="249717"/>
          <ac:spMkLst>
            <pc:docMk/>
            <pc:sldMk cId="3829580534" sldId="2147481934"/>
            <ac:spMk id="212" creationId="{E4C6BDE5-1543-ACA6-9466-24BA187A93D3}"/>
          </ac:spMkLst>
        </pc:spChg>
        <pc:spChg chg="mod">
          <ac:chgData name="Yiqun Dai" userId="360a2182-b97f-4635-b990-04f846616e33" providerId="ADAL" clId="{8F04EA49-0EFC-48F3-A4D8-E0F0D3B461A8}" dt="2025-11-08T11:52:51.265" v="249722"/>
          <ac:spMkLst>
            <pc:docMk/>
            <pc:sldMk cId="3829580534" sldId="2147481934"/>
            <ac:spMk id="214" creationId="{266BEFE0-2BAE-FE9D-74EC-BB45B975B5A4}"/>
          </ac:spMkLst>
        </pc:spChg>
        <pc:spChg chg="mod">
          <ac:chgData name="Yiqun Dai" userId="360a2182-b97f-4635-b990-04f846616e33" providerId="ADAL" clId="{8F04EA49-0EFC-48F3-A4D8-E0F0D3B461A8}" dt="2025-11-08T11:52:51.281" v="249725"/>
          <ac:spMkLst>
            <pc:docMk/>
            <pc:sldMk cId="3829580534" sldId="2147481934"/>
            <ac:spMk id="216" creationId="{A61E0BF6-F585-DE2F-B5B8-7293EEC99631}"/>
          </ac:spMkLst>
        </pc:spChg>
        <pc:spChg chg="mod">
          <ac:chgData name="Yiqun Dai" userId="360a2182-b97f-4635-b990-04f846616e33" providerId="ADAL" clId="{8F04EA49-0EFC-48F3-A4D8-E0F0D3B461A8}" dt="2025-11-08T11:52:51.281" v="249728"/>
          <ac:spMkLst>
            <pc:docMk/>
            <pc:sldMk cId="3829580534" sldId="2147481934"/>
            <ac:spMk id="217" creationId="{A0B501F8-03F1-0A38-EA9D-A17C6A0A335B}"/>
          </ac:spMkLst>
        </pc:spChg>
        <pc:spChg chg="mod">
          <ac:chgData name="Yiqun Dai" userId="360a2182-b97f-4635-b990-04f846616e33" providerId="ADAL" clId="{8F04EA49-0EFC-48F3-A4D8-E0F0D3B461A8}" dt="2025-11-08T11:52:51.281" v="249731"/>
          <ac:spMkLst>
            <pc:docMk/>
            <pc:sldMk cId="3829580534" sldId="2147481934"/>
            <ac:spMk id="218" creationId="{1915A7A8-2846-7EDC-0E54-BF7262428E46}"/>
          </ac:spMkLst>
        </pc:spChg>
        <pc:spChg chg="mod ord">
          <ac:chgData name="Yiqun Dai" userId="360a2182-b97f-4635-b990-04f846616e33" providerId="ADAL" clId="{8F04EA49-0EFC-48F3-A4D8-E0F0D3B461A8}" dt="2025-11-07T09:55:52.771" v="244846"/>
          <ac:spMkLst>
            <pc:docMk/>
            <pc:sldMk cId="3829580534" sldId="2147481934"/>
            <ac:spMk id="220" creationId="{84B30B41-3D63-110D-C6C4-D92405FC5F3A}"/>
          </ac:spMkLst>
        </pc:spChg>
        <pc:spChg chg="mod ord">
          <ac:chgData name="Yiqun Dai" userId="360a2182-b97f-4635-b990-04f846616e33" providerId="ADAL" clId="{8F04EA49-0EFC-48F3-A4D8-E0F0D3B461A8}" dt="2025-11-07T09:55:52.771" v="244848"/>
          <ac:spMkLst>
            <pc:docMk/>
            <pc:sldMk cId="3829580534" sldId="2147481934"/>
            <ac:spMk id="221" creationId="{17A21362-DFA2-107E-17F3-A10741F34C75}"/>
          </ac:spMkLst>
        </pc:spChg>
        <pc:spChg chg="mod ord">
          <ac:chgData name="Yiqun Dai" userId="360a2182-b97f-4635-b990-04f846616e33" providerId="ADAL" clId="{8F04EA49-0EFC-48F3-A4D8-E0F0D3B461A8}" dt="2025-11-07T09:55:52.771" v="244850"/>
          <ac:spMkLst>
            <pc:docMk/>
            <pc:sldMk cId="3829580534" sldId="2147481934"/>
            <ac:spMk id="222" creationId="{98CA396F-DF7D-5CFC-4635-434CD910594D}"/>
          </ac:spMkLst>
        </pc:spChg>
        <pc:spChg chg="mod ord">
          <ac:chgData name="Yiqun Dai" userId="360a2182-b97f-4635-b990-04f846616e33" providerId="ADAL" clId="{8F04EA49-0EFC-48F3-A4D8-E0F0D3B461A8}" dt="2025-11-07T09:55:52.771" v="244852"/>
          <ac:spMkLst>
            <pc:docMk/>
            <pc:sldMk cId="3829580534" sldId="2147481934"/>
            <ac:spMk id="223" creationId="{6A483516-4D5B-3D59-58D5-573AC158F4D1}"/>
          </ac:spMkLst>
        </pc:spChg>
        <pc:spChg chg="mod ord">
          <ac:chgData name="Yiqun Dai" userId="360a2182-b97f-4635-b990-04f846616e33" providerId="ADAL" clId="{8F04EA49-0EFC-48F3-A4D8-E0F0D3B461A8}" dt="2025-11-07T09:55:52.771" v="244854"/>
          <ac:spMkLst>
            <pc:docMk/>
            <pc:sldMk cId="3829580534" sldId="2147481934"/>
            <ac:spMk id="224" creationId="{266E575C-98F1-D09E-CAA3-94D0AAF3ED38}"/>
          </ac:spMkLst>
        </pc:spChg>
        <pc:spChg chg="mod ord">
          <ac:chgData name="Yiqun Dai" userId="360a2182-b97f-4635-b990-04f846616e33" providerId="ADAL" clId="{8F04EA49-0EFC-48F3-A4D8-E0F0D3B461A8}" dt="2025-11-07T09:55:52.739" v="244790"/>
          <ac:spMkLst>
            <pc:docMk/>
            <pc:sldMk cId="3829580534" sldId="2147481934"/>
            <ac:spMk id="226" creationId="{DC20FA80-A269-2DF3-92C3-D523233343CD}"/>
          </ac:spMkLst>
        </pc:spChg>
        <pc:graphicFrameChg chg="add mod ord">
          <ac:chgData name="Yiqun Dai" userId="360a2182-b97f-4635-b990-04f846616e33" providerId="ADAL" clId="{8F04EA49-0EFC-48F3-A4D8-E0F0D3B461A8}" dt="2025-11-07T09:55:52.723" v="244764"/>
          <ac:graphicFrameMkLst>
            <pc:docMk/>
            <pc:sldMk cId="3829580534" sldId="2147481934"/>
            <ac:graphicFrameMk id="10" creationId="{C02CD86E-2385-E5F6-B2B3-207825E07B00}"/>
          </ac:graphicFrameMkLst>
        </pc:graphicFrameChg>
        <pc:graphicFrameChg chg="mod">
          <ac:chgData name="Yiqun Dai" userId="360a2182-b97f-4635-b990-04f846616e33" providerId="ADAL" clId="{8F04EA49-0EFC-48F3-A4D8-E0F0D3B461A8}" dt="2025-11-08T11:54:36.017" v="250070"/>
          <ac:graphicFrameMkLst>
            <pc:docMk/>
            <pc:sldMk cId="3829580534" sldId="2147481934"/>
            <ac:graphicFrameMk id="16" creationId="{B94CFC1D-F52B-2E3B-7AE0-EE8808DCB3DD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9:55:52.739" v="244792"/>
          <ac:graphicFrameMkLst>
            <pc:docMk/>
            <pc:sldMk cId="3829580534" sldId="2147481934"/>
            <ac:graphicFrameMk id="21" creationId="{1690C32B-5C26-02CC-7490-871B2033C5FE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9:55:52.771" v="244832"/>
          <ac:graphicFrameMkLst>
            <pc:docMk/>
            <pc:sldMk cId="3829580534" sldId="2147481934"/>
            <ac:graphicFrameMk id="168" creationId="{934DADF8-0A9C-CD15-F81E-00C06E0892B6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9:58:49.831" v="244871" actId="403"/>
          <ac:graphicFrameMkLst>
            <pc:docMk/>
            <pc:sldMk cId="3829580534" sldId="2147481934"/>
            <ac:graphicFrameMk id="170" creationId="{E54797A4-E7A7-4CEF-4F8B-D52CF73CB7BB}"/>
          </ac:graphicFrameMkLst>
        </pc:graphicFrameChg>
        <pc:cxnChg chg="mod ord">
          <ac:chgData name="Yiqun Dai" userId="360a2182-b97f-4635-b990-04f846616e33" providerId="ADAL" clId="{8F04EA49-0EFC-48F3-A4D8-E0F0D3B461A8}" dt="2025-11-07T09:55:52.739" v="244794"/>
          <ac:cxnSpMkLst>
            <pc:docMk/>
            <pc:sldMk cId="3829580534" sldId="2147481934"/>
            <ac:cxnSpMk id="130" creationId="{CE4630F9-A19E-9EE0-147D-18AAB1473823}"/>
          </ac:cxnSpMkLst>
        </pc:cxnChg>
        <pc:cxnChg chg="mod ord">
          <ac:chgData name="Yiqun Dai" userId="360a2182-b97f-4635-b990-04f846616e33" providerId="ADAL" clId="{8F04EA49-0EFC-48F3-A4D8-E0F0D3B461A8}" dt="2025-11-07T09:55:52.739" v="244796"/>
          <ac:cxnSpMkLst>
            <pc:docMk/>
            <pc:sldMk cId="3829580534" sldId="2147481934"/>
            <ac:cxnSpMk id="131" creationId="{3AD927E6-F63F-7BF4-F968-0E0E95D87971}"/>
          </ac:cxnSpMkLst>
        </pc:cxnChg>
        <pc:cxnChg chg="mod ord">
          <ac:chgData name="Yiqun Dai" userId="360a2182-b97f-4635-b990-04f846616e33" providerId="ADAL" clId="{8F04EA49-0EFC-48F3-A4D8-E0F0D3B461A8}" dt="2025-11-07T09:55:52.739" v="244798"/>
          <ac:cxnSpMkLst>
            <pc:docMk/>
            <pc:sldMk cId="3829580534" sldId="2147481934"/>
            <ac:cxnSpMk id="132" creationId="{210C6D30-8ADF-1C24-5F67-EBCEF938DDED}"/>
          </ac:cxnSpMkLst>
        </pc:cxnChg>
        <pc:cxnChg chg="mod ord">
          <ac:chgData name="Yiqun Dai" userId="360a2182-b97f-4635-b990-04f846616e33" providerId="ADAL" clId="{8F04EA49-0EFC-48F3-A4D8-E0F0D3B461A8}" dt="2025-11-07T09:55:52.771" v="244842"/>
          <ac:cxnSpMkLst>
            <pc:docMk/>
            <pc:sldMk cId="3829580534" sldId="2147481934"/>
            <ac:cxnSpMk id="176" creationId="{7B4158EF-BE8C-B4A5-FE80-91D74D7232D6}"/>
          </ac:cxnSpMkLst>
        </pc:cxnChg>
        <pc:cxnChg chg="mod ord">
          <ac:chgData name="Yiqun Dai" userId="360a2182-b97f-4635-b990-04f846616e33" providerId="ADAL" clId="{8F04EA49-0EFC-48F3-A4D8-E0F0D3B461A8}" dt="2025-11-07T09:55:52.771" v="244844"/>
          <ac:cxnSpMkLst>
            <pc:docMk/>
            <pc:sldMk cId="3829580534" sldId="2147481934"/>
            <ac:cxnSpMk id="178" creationId="{4DA69E04-DF07-462E-3DFA-239CA89B0699}"/>
          </ac:cxnSpMkLst>
        </pc:cxnChg>
        <pc:cxnChg chg="mod ord">
          <ac:chgData name="Yiqun Dai" userId="360a2182-b97f-4635-b990-04f846616e33" providerId="ADAL" clId="{8F04EA49-0EFC-48F3-A4D8-E0F0D3B461A8}" dt="2025-11-07T09:55:52.723" v="244766"/>
          <ac:cxnSpMkLst>
            <pc:docMk/>
            <pc:sldMk cId="3829580534" sldId="2147481934"/>
            <ac:cxnSpMk id="228" creationId="{6396FC13-4F90-DC6F-4C39-0C1F5B8E0187}"/>
          </ac:cxnSpMkLst>
        </pc:cxnChg>
        <pc:cxnChg chg="mod ord">
          <ac:chgData name="Yiqun Dai" userId="360a2182-b97f-4635-b990-04f846616e33" providerId="ADAL" clId="{8F04EA49-0EFC-48F3-A4D8-E0F0D3B461A8}" dt="2025-11-07T09:55:52.723" v="244768"/>
          <ac:cxnSpMkLst>
            <pc:docMk/>
            <pc:sldMk cId="3829580534" sldId="2147481934"/>
            <ac:cxnSpMk id="229" creationId="{BED14E0F-3895-23D5-35B3-235C1DF911F0}"/>
          </ac:cxnSpMkLst>
        </pc:cxnChg>
        <pc:cxnChg chg="mod ord">
          <ac:chgData name="Yiqun Dai" userId="360a2182-b97f-4635-b990-04f846616e33" providerId="ADAL" clId="{8F04EA49-0EFC-48F3-A4D8-E0F0D3B461A8}" dt="2025-11-07T09:55:52.723" v="244770"/>
          <ac:cxnSpMkLst>
            <pc:docMk/>
            <pc:sldMk cId="3829580534" sldId="2147481934"/>
            <ac:cxnSpMk id="230" creationId="{46C388D3-7051-46D8-C2FB-BA466BE5CC9D}"/>
          </ac:cxnSpMkLst>
        </pc:cxnChg>
      </pc:sldChg>
      <pc:sldChg chg="addSp delSp modSp new mod ord modNotesTx">
        <pc:chgData name="Yiqun Dai" userId="360a2182-b97f-4635-b990-04f846616e33" providerId="ADAL" clId="{8F04EA49-0EFC-48F3-A4D8-E0F0D3B461A8}" dt="2025-11-07T08:07:32.319" v="241690" actId="20577"/>
        <pc:sldMkLst>
          <pc:docMk/>
          <pc:sldMk cId="3686276671" sldId="2147481935"/>
        </pc:sldMkLst>
        <pc:spChg chg="mod ord">
          <ac:chgData name="Yiqun Dai" userId="360a2182-b97f-4635-b990-04f846616e33" providerId="ADAL" clId="{8F04EA49-0EFC-48F3-A4D8-E0F0D3B461A8}" dt="2025-11-06T09:56:16.534" v="216585" actId="948"/>
          <ac:spMkLst>
            <pc:docMk/>
            <pc:sldMk cId="3686276671" sldId="2147481935"/>
            <ac:spMk id="2" creationId="{3260AD85-A093-F255-29AF-98CEE1B520F1}"/>
          </ac:spMkLst>
        </pc:spChg>
        <pc:spChg chg="add mod">
          <ac:chgData name="Yiqun Dai" userId="360a2182-b97f-4635-b990-04f846616e33" providerId="ADAL" clId="{8F04EA49-0EFC-48F3-A4D8-E0F0D3B461A8}" dt="2025-11-06T09:41:04.240" v="211853"/>
          <ac:spMkLst>
            <pc:docMk/>
            <pc:sldMk cId="3686276671" sldId="2147481935"/>
            <ac:spMk id="3" creationId="{9D5C54A0-1704-CBDF-39BB-89DA96DB902A}"/>
          </ac:spMkLst>
        </pc:spChg>
        <pc:spChg chg="add mod">
          <ac:chgData name="Yiqun Dai" userId="360a2182-b97f-4635-b990-04f846616e33" providerId="ADAL" clId="{8F04EA49-0EFC-48F3-A4D8-E0F0D3B461A8}" dt="2025-11-06T09:41:04.240" v="211862"/>
          <ac:spMkLst>
            <pc:docMk/>
            <pc:sldMk cId="3686276671" sldId="2147481935"/>
            <ac:spMk id="4" creationId="{D6D01AAF-6D8E-7132-9D26-C190B28AD55F}"/>
          </ac:spMkLst>
        </pc:spChg>
        <pc:spChg chg="add mod">
          <ac:chgData name="Yiqun Dai" userId="360a2182-b97f-4635-b990-04f846616e33" providerId="ADAL" clId="{8F04EA49-0EFC-48F3-A4D8-E0F0D3B461A8}" dt="2025-11-06T09:41:04.251" v="211871"/>
          <ac:spMkLst>
            <pc:docMk/>
            <pc:sldMk cId="3686276671" sldId="2147481935"/>
            <ac:spMk id="5" creationId="{802F7274-5954-7104-7ED3-0307B1A25ACD}"/>
          </ac:spMkLst>
        </pc:spChg>
        <pc:spChg chg="add mod">
          <ac:chgData name="Yiqun Dai" userId="360a2182-b97f-4635-b990-04f846616e33" providerId="ADAL" clId="{8F04EA49-0EFC-48F3-A4D8-E0F0D3B461A8}" dt="2025-11-06T09:41:04.240" v="211864"/>
          <ac:spMkLst>
            <pc:docMk/>
            <pc:sldMk cId="3686276671" sldId="2147481935"/>
            <ac:spMk id="6" creationId="{88278491-5B37-4D80-9C24-C0EF40F19F2A}"/>
          </ac:spMkLst>
        </pc:spChg>
        <pc:spChg chg="add mod">
          <ac:chgData name="Yiqun Dai" userId="360a2182-b97f-4635-b990-04f846616e33" providerId="ADAL" clId="{8F04EA49-0EFC-48F3-A4D8-E0F0D3B461A8}" dt="2025-11-06T09:41:04.240" v="211866"/>
          <ac:spMkLst>
            <pc:docMk/>
            <pc:sldMk cId="3686276671" sldId="2147481935"/>
            <ac:spMk id="7" creationId="{BCD64E76-2DC5-A0B5-6283-F0A83F0DDF92}"/>
          </ac:spMkLst>
        </pc:spChg>
        <pc:spChg chg="add mod">
          <ac:chgData name="Yiqun Dai" userId="360a2182-b97f-4635-b990-04f846616e33" providerId="ADAL" clId="{8F04EA49-0EFC-48F3-A4D8-E0F0D3B461A8}" dt="2025-11-06T09:41:04.251" v="211874"/>
          <ac:spMkLst>
            <pc:docMk/>
            <pc:sldMk cId="3686276671" sldId="2147481935"/>
            <ac:spMk id="12" creationId="{ACD878F8-3CB4-29E6-B884-A9F7A03FC6B1}"/>
          </ac:spMkLst>
        </pc:spChg>
        <pc:spChg chg="add mod">
          <ac:chgData name="Yiqun Dai" userId="360a2182-b97f-4635-b990-04f846616e33" providerId="ADAL" clId="{8F04EA49-0EFC-48F3-A4D8-E0F0D3B461A8}" dt="2025-11-06T09:41:04.251" v="211878"/>
          <ac:spMkLst>
            <pc:docMk/>
            <pc:sldMk cId="3686276671" sldId="2147481935"/>
            <ac:spMk id="13" creationId="{85C416CB-5F7E-F1E2-F920-DD765E842F95}"/>
          </ac:spMkLst>
        </pc:spChg>
        <pc:spChg chg="add mod">
          <ac:chgData name="Yiqun Dai" userId="360a2182-b97f-4635-b990-04f846616e33" providerId="ADAL" clId="{8F04EA49-0EFC-48F3-A4D8-E0F0D3B461A8}" dt="2025-11-06T09:41:04.251" v="211883"/>
          <ac:spMkLst>
            <pc:docMk/>
            <pc:sldMk cId="3686276671" sldId="2147481935"/>
            <ac:spMk id="14" creationId="{954E1A72-3970-D613-1ABE-7F609E8ACC4D}"/>
          </ac:spMkLst>
        </pc:spChg>
        <pc:spChg chg="add mod">
          <ac:chgData name="Yiqun Dai" userId="360a2182-b97f-4635-b990-04f846616e33" providerId="ADAL" clId="{8F04EA49-0EFC-48F3-A4D8-E0F0D3B461A8}" dt="2025-11-06T09:41:04.236" v="211844"/>
          <ac:spMkLst>
            <pc:docMk/>
            <pc:sldMk cId="3686276671" sldId="2147481935"/>
            <ac:spMk id="15" creationId="{694088D1-A9F9-204F-7F99-5BBAE6ADBA29}"/>
          </ac:spMkLst>
        </pc:spChg>
        <pc:spChg chg="add mod">
          <ac:chgData name="Yiqun Dai" userId="360a2182-b97f-4635-b990-04f846616e33" providerId="ADAL" clId="{8F04EA49-0EFC-48F3-A4D8-E0F0D3B461A8}" dt="2025-11-06T09:41:04.251" v="211875"/>
          <ac:spMkLst>
            <pc:docMk/>
            <pc:sldMk cId="3686276671" sldId="2147481935"/>
            <ac:spMk id="16" creationId="{EDFF3E04-646E-9876-B57D-D70DC4DC2AC1}"/>
          </ac:spMkLst>
        </pc:spChg>
        <pc:spChg chg="add mod">
          <ac:chgData name="Yiqun Dai" userId="360a2182-b97f-4635-b990-04f846616e33" providerId="ADAL" clId="{8F04EA49-0EFC-48F3-A4D8-E0F0D3B461A8}" dt="2025-11-06T09:41:04.236" v="211848"/>
          <ac:spMkLst>
            <pc:docMk/>
            <pc:sldMk cId="3686276671" sldId="2147481935"/>
            <ac:spMk id="17" creationId="{EED4E39C-6809-37EB-6C58-B9900263FDF2}"/>
          </ac:spMkLst>
        </pc:spChg>
        <pc:spChg chg="add mod">
          <ac:chgData name="Yiqun Dai" userId="360a2182-b97f-4635-b990-04f846616e33" providerId="ADAL" clId="{8F04EA49-0EFC-48F3-A4D8-E0F0D3B461A8}" dt="2025-11-06T09:41:04.240" v="211851"/>
          <ac:spMkLst>
            <pc:docMk/>
            <pc:sldMk cId="3686276671" sldId="2147481935"/>
            <ac:spMk id="18" creationId="{BCA30A7E-AADF-1E96-E9E9-6A99419D3084}"/>
          </ac:spMkLst>
        </pc:spChg>
        <pc:spChg chg="add mod">
          <ac:chgData name="Yiqun Dai" userId="360a2182-b97f-4635-b990-04f846616e33" providerId="ADAL" clId="{8F04EA49-0EFC-48F3-A4D8-E0F0D3B461A8}" dt="2025-11-06T09:41:04.240" v="211861"/>
          <ac:spMkLst>
            <pc:docMk/>
            <pc:sldMk cId="3686276671" sldId="2147481935"/>
            <ac:spMk id="19" creationId="{0BB315B8-6FC5-256F-F590-7266A31874A5}"/>
          </ac:spMkLst>
        </pc:spChg>
        <pc:spChg chg="add mod">
          <ac:chgData name="Yiqun Dai" userId="360a2182-b97f-4635-b990-04f846616e33" providerId="ADAL" clId="{8F04EA49-0EFC-48F3-A4D8-E0F0D3B461A8}" dt="2025-11-06T09:41:04.240" v="211856"/>
          <ac:spMkLst>
            <pc:docMk/>
            <pc:sldMk cId="3686276671" sldId="2147481935"/>
            <ac:spMk id="20" creationId="{27BC8CE3-355B-2AAF-7DD8-C2A313E4B845}"/>
          </ac:spMkLst>
        </pc:spChg>
        <pc:spChg chg="add mod">
          <ac:chgData name="Yiqun Dai" userId="360a2182-b97f-4635-b990-04f846616e33" providerId="ADAL" clId="{8F04EA49-0EFC-48F3-A4D8-E0F0D3B461A8}" dt="2025-11-06T09:41:04.240" v="211859"/>
          <ac:spMkLst>
            <pc:docMk/>
            <pc:sldMk cId="3686276671" sldId="2147481935"/>
            <ac:spMk id="21" creationId="{2934348B-7DF6-B39F-E353-4627F274F0A4}"/>
          </ac:spMkLst>
        </pc:spChg>
        <pc:spChg chg="add mod">
          <ac:chgData name="Yiqun Dai" userId="360a2182-b97f-4635-b990-04f846616e33" providerId="ADAL" clId="{8F04EA49-0EFC-48F3-A4D8-E0F0D3B461A8}" dt="2025-11-06T09:41:04.240" v="211860"/>
          <ac:spMkLst>
            <pc:docMk/>
            <pc:sldMk cId="3686276671" sldId="2147481935"/>
            <ac:spMk id="22" creationId="{0E1D8E54-85B5-95FA-B7A7-FC3DA9B4E943}"/>
          </ac:spMkLst>
        </pc:spChg>
        <pc:spChg chg="add mod ord">
          <ac:chgData name="Yiqun Dai" userId="360a2182-b97f-4635-b990-04f846616e33" providerId="ADAL" clId="{8F04EA49-0EFC-48F3-A4D8-E0F0D3B461A8}" dt="2025-11-06T09:41:04.251" v="211873"/>
          <ac:spMkLst>
            <pc:docMk/>
            <pc:sldMk cId="3686276671" sldId="2147481935"/>
            <ac:spMk id="33" creationId="{7DC94E67-346E-31AC-62D8-6F0C7314FA3F}"/>
          </ac:spMkLst>
        </pc:spChg>
        <pc:spChg chg="add mod ord">
          <ac:chgData name="Yiqun Dai" userId="360a2182-b97f-4635-b990-04f846616e33" providerId="ADAL" clId="{8F04EA49-0EFC-48F3-A4D8-E0F0D3B461A8}" dt="2025-11-06T09:41:04.251" v="211880"/>
          <ac:spMkLst>
            <pc:docMk/>
            <pc:sldMk cId="3686276671" sldId="2147481935"/>
            <ac:spMk id="34" creationId="{7810DE28-8088-3B27-7541-4204BCAB17F7}"/>
          </ac:spMkLst>
        </pc:spChg>
        <pc:spChg chg="add mod ord">
          <ac:chgData name="Yiqun Dai" userId="360a2182-b97f-4635-b990-04f846616e33" providerId="ADAL" clId="{8F04EA49-0EFC-48F3-A4D8-E0F0D3B461A8}" dt="2025-11-06T09:41:04.236" v="211846"/>
          <ac:spMkLst>
            <pc:docMk/>
            <pc:sldMk cId="3686276671" sldId="2147481935"/>
            <ac:spMk id="35" creationId="{388ECE33-AFE1-3699-2522-E2FBEC1E0AF6}"/>
          </ac:spMkLst>
        </pc:spChg>
        <pc:spChg chg="add mod ord">
          <ac:chgData name="Yiqun Dai" userId="360a2182-b97f-4635-b990-04f846616e33" providerId="ADAL" clId="{8F04EA49-0EFC-48F3-A4D8-E0F0D3B461A8}" dt="2025-11-06T09:41:04.236" v="211847"/>
          <ac:spMkLst>
            <pc:docMk/>
            <pc:sldMk cId="3686276671" sldId="2147481935"/>
            <ac:spMk id="36" creationId="{AAE46AC2-2296-FB9E-2A80-FBC2A14D05EF}"/>
          </ac:spMkLst>
        </pc:spChg>
        <pc:spChg chg="add mod ord">
          <ac:chgData name="Yiqun Dai" userId="360a2182-b97f-4635-b990-04f846616e33" providerId="ADAL" clId="{8F04EA49-0EFC-48F3-A4D8-E0F0D3B461A8}" dt="2025-11-06T09:41:04.236" v="211850"/>
          <ac:spMkLst>
            <pc:docMk/>
            <pc:sldMk cId="3686276671" sldId="2147481935"/>
            <ac:spMk id="50" creationId="{2E9B96A2-A425-18B3-1E20-7BEC4A1AF4C2}"/>
          </ac:spMkLst>
        </pc:spChg>
        <pc:spChg chg="add mod ord">
          <ac:chgData name="Yiqun Dai" userId="360a2182-b97f-4635-b990-04f846616e33" providerId="ADAL" clId="{8F04EA49-0EFC-48F3-A4D8-E0F0D3B461A8}" dt="2025-11-06T09:41:04.240" v="211852"/>
          <ac:spMkLst>
            <pc:docMk/>
            <pc:sldMk cId="3686276671" sldId="2147481935"/>
            <ac:spMk id="51" creationId="{669BA855-E23A-5BB8-5D43-41D3641770A3}"/>
          </ac:spMkLst>
        </pc:spChg>
        <pc:spChg chg="add mod ord">
          <ac:chgData name="Yiqun Dai" userId="360a2182-b97f-4635-b990-04f846616e33" providerId="ADAL" clId="{8F04EA49-0EFC-48F3-A4D8-E0F0D3B461A8}" dt="2025-11-06T09:41:04.251" v="211877"/>
          <ac:spMkLst>
            <pc:docMk/>
            <pc:sldMk cId="3686276671" sldId="2147481935"/>
            <ac:spMk id="52" creationId="{654C4289-2782-9191-0F3B-66F6A5E1E887}"/>
          </ac:spMkLst>
        </pc:spChg>
        <pc:spChg chg="add mod ord">
          <ac:chgData name="Yiqun Dai" userId="360a2182-b97f-4635-b990-04f846616e33" providerId="ADAL" clId="{8F04EA49-0EFC-48F3-A4D8-E0F0D3B461A8}" dt="2025-11-06T09:41:04.240" v="211855"/>
          <ac:spMkLst>
            <pc:docMk/>
            <pc:sldMk cId="3686276671" sldId="2147481935"/>
            <ac:spMk id="54" creationId="{86AD5039-7B40-87A7-2C4C-C38E98A57D84}"/>
          </ac:spMkLst>
        </pc:spChg>
        <pc:spChg chg="add mod ord">
          <ac:chgData name="Yiqun Dai" userId="360a2182-b97f-4635-b990-04f846616e33" providerId="ADAL" clId="{8F04EA49-0EFC-48F3-A4D8-E0F0D3B461A8}" dt="2025-11-06T09:41:04.240" v="211858"/>
          <ac:spMkLst>
            <pc:docMk/>
            <pc:sldMk cId="3686276671" sldId="2147481935"/>
            <ac:spMk id="55" creationId="{A13E476B-F12C-EE1E-0ADC-4EC55FD6F5C7}"/>
          </ac:spMkLst>
        </pc:spChg>
        <pc:spChg chg="add mod">
          <ac:chgData name="Yiqun Dai" userId="360a2182-b97f-4635-b990-04f846616e33" providerId="ADAL" clId="{8F04EA49-0EFC-48F3-A4D8-E0F0D3B461A8}" dt="2025-11-06T09:41:04.251" v="211881"/>
          <ac:spMkLst>
            <pc:docMk/>
            <pc:sldMk cId="3686276671" sldId="2147481935"/>
            <ac:spMk id="73" creationId="{483789DC-A167-CA55-00A7-A61DA216B3EC}"/>
          </ac:spMkLst>
        </pc:spChg>
        <pc:spChg chg="add mod ord">
          <ac:chgData name="Yiqun Dai" userId="360a2182-b97f-4635-b990-04f846616e33" providerId="ADAL" clId="{8F04EA49-0EFC-48F3-A4D8-E0F0D3B461A8}" dt="2025-11-06T09:41:04.240" v="211863"/>
          <ac:spMkLst>
            <pc:docMk/>
            <pc:sldMk cId="3686276671" sldId="2147481935"/>
            <ac:spMk id="77" creationId="{5F51C474-FC4A-CB2B-81A0-2361479586A6}"/>
          </ac:spMkLst>
        </pc:spChg>
        <pc:spChg chg="add mod ord">
          <ac:chgData name="Yiqun Dai" userId="360a2182-b97f-4635-b990-04f846616e33" providerId="ADAL" clId="{8F04EA49-0EFC-48F3-A4D8-E0F0D3B461A8}" dt="2025-11-06T09:41:04.240" v="211865"/>
          <ac:spMkLst>
            <pc:docMk/>
            <pc:sldMk cId="3686276671" sldId="2147481935"/>
            <ac:spMk id="78" creationId="{EAEC9EA8-FFDC-EFC9-24CB-BBCCF5654D42}"/>
          </ac:spMkLst>
        </pc:spChg>
        <pc:spChg chg="add mod ord">
          <ac:chgData name="Yiqun Dai" userId="360a2182-b97f-4635-b990-04f846616e33" providerId="ADAL" clId="{8F04EA49-0EFC-48F3-A4D8-E0F0D3B461A8}" dt="2025-11-06T09:41:04.240" v="211868"/>
          <ac:spMkLst>
            <pc:docMk/>
            <pc:sldMk cId="3686276671" sldId="2147481935"/>
            <ac:spMk id="79" creationId="{D2DC0E44-A3A9-AC35-D89B-E6C4CEC8C990}"/>
          </ac:spMkLst>
        </pc:spChg>
        <pc:spChg chg="add mod ord">
          <ac:chgData name="Yiqun Dai" userId="360a2182-b97f-4635-b990-04f846616e33" providerId="ADAL" clId="{8F04EA49-0EFC-48F3-A4D8-E0F0D3B461A8}" dt="2025-11-06T09:41:04.240" v="211870"/>
          <ac:spMkLst>
            <pc:docMk/>
            <pc:sldMk cId="3686276671" sldId="2147481935"/>
            <ac:spMk id="80" creationId="{1E42E93E-736F-9049-8290-B8F5BE4AD143}"/>
          </ac:spMkLst>
        </pc:spChg>
        <pc:spChg chg="add mod ord">
          <ac:chgData name="Yiqun Dai" userId="360a2182-b97f-4635-b990-04f846616e33" providerId="ADAL" clId="{8F04EA49-0EFC-48F3-A4D8-E0F0D3B461A8}" dt="2025-11-06T09:41:04.236" v="211843"/>
          <ac:spMkLst>
            <pc:docMk/>
            <pc:sldMk cId="3686276671" sldId="2147481935"/>
            <ac:spMk id="82" creationId="{43BBDE7D-080B-328D-F0DC-DCB7C0AD1BBC}"/>
          </ac:spMkLst>
        </pc:spChg>
        <pc:spChg chg="add mod">
          <ac:chgData name="Yiqun Dai" userId="360a2182-b97f-4635-b990-04f846616e33" providerId="ADAL" clId="{8F04EA49-0EFC-48F3-A4D8-E0F0D3B461A8}" dt="2025-11-06T09:41:04.251" v="211882"/>
          <ac:spMkLst>
            <pc:docMk/>
            <pc:sldMk cId="3686276671" sldId="2147481935"/>
            <ac:spMk id="89" creationId="{98DF5DE4-1650-E9F4-9C78-C86933682143}"/>
          </ac:spMkLst>
        </pc:spChg>
        <pc:spChg chg="add mod ord">
          <ac:chgData name="Yiqun Dai" userId="360a2182-b97f-4635-b990-04f846616e33" providerId="ADAL" clId="{8F04EA49-0EFC-48F3-A4D8-E0F0D3B461A8}" dt="2025-11-06T09:41:04.251" v="211887"/>
          <ac:spMkLst>
            <pc:docMk/>
            <pc:sldMk cId="3686276671" sldId="2147481935"/>
            <ac:spMk id="156" creationId="{6A90D04E-AFF0-A530-4C42-7FE457531D14}"/>
          </ac:spMkLst>
        </pc:spChg>
        <pc:graphicFrameChg chg="add mod ord modVis">
          <ac:chgData name="Yiqun Dai" userId="360a2182-b97f-4635-b990-04f846616e33" providerId="ADAL" clId="{8F04EA49-0EFC-48F3-A4D8-E0F0D3B461A8}" dt="2025-11-06T09:56:16.581" v="216609"/>
          <ac:graphicFrameMkLst>
            <pc:docMk/>
            <pc:sldMk cId="3686276671" sldId="2147481935"/>
            <ac:graphicFrameMk id="11" creationId="{641BBF53-6821-87F8-C638-20E9CA2440B8}"/>
          </ac:graphicFrameMkLst>
        </pc:graphicFrameChg>
        <pc:graphicFrameChg chg="add mod ord">
          <ac:chgData name="Yiqun Dai" userId="360a2182-b97f-4635-b990-04f846616e33" providerId="ADAL" clId="{8F04EA49-0EFC-48F3-A4D8-E0F0D3B461A8}" dt="2025-11-06T09:41:04.235" v="211841"/>
          <ac:graphicFrameMkLst>
            <pc:docMk/>
            <pc:sldMk cId="3686276671" sldId="2147481935"/>
            <ac:graphicFrameMk id="107" creationId="{585745C6-5FD4-9DA4-0417-B13F19AA3AD8}"/>
          </ac:graphicFrameMkLst>
        </pc:graphicFrameChg>
        <pc:graphicFrameChg chg="add mod ord modGraphic">
          <ac:chgData name="Yiqun Dai" userId="360a2182-b97f-4635-b990-04f846616e33" providerId="ADAL" clId="{8F04EA49-0EFC-48F3-A4D8-E0F0D3B461A8}" dt="2025-11-06T09:48:14.984" v="211897"/>
          <ac:graphicFrameMkLst>
            <pc:docMk/>
            <pc:sldMk cId="3686276671" sldId="2147481935"/>
            <ac:graphicFrameMk id="150" creationId="{536AA08A-F01E-75E3-80BE-231F14381C71}"/>
          </ac:graphicFrameMkLst>
        </pc:graphicFrameChg>
        <pc:cxnChg chg="add mod ord">
          <ac:chgData name="Yiqun Dai" userId="360a2182-b97f-4635-b990-04f846616e33" providerId="ADAL" clId="{8F04EA49-0EFC-48F3-A4D8-E0F0D3B461A8}" dt="2025-11-06T09:41:04.221" v="211813"/>
          <ac:cxnSpMkLst>
            <pc:docMk/>
            <pc:sldMk cId="3686276671" sldId="2147481935"/>
            <ac:cxnSpMk id="8" creationId="{682E05BD-C0DD-0BB1-BAE5-4BF06AC1BCCD}"/>
          </ac:cxnSpMkLst>
        </pc:cxnChg>
        <pc:cxnChg chg="add mod ord">
          <ac:chgData name="Yiqun Dai" userId="360a2182-b97f-4635-b990-04f846616e33" providerId="ADAL" clId="{8F04EA49-0EFC-48F3-A4D8-E0F0D3B461A8}" dt="2025-11-06T09:41:04.221" v="211815"/>
          <ac:cxnSpMkLst>
            <pc:docMk/>
            <pc:sldMk cId="3686276671" sldId="2147481935"/>
            <ac:cxnSpMk id="9" creationId="{FBC43A04-1111-A5DD-160E-982FB399D77B}"/>
          </ac:cxnSpMkLst>
        </pc:cxnChg>
        <pc:cxnChg chg="add mod ord">
          <ac:chgData name="Yiqun Dai" userId="360a2182-b97f-4635-b990-04f846616e33" providerId="ADAL" clId="{8F04EA49-0EFC-48F3-A4D8-E0F0D3B461A8}" dt="2025-11-06T09:41:04.221" v="211817"/>
          <ac:cxnSpMkLst>
            <pc:docMk/>
            <pc:sldMk cId="3686276671" sldId="2147481935"/>
            <ac:cxnSpMk id="37" creationId="{E31E111A-8741-939C-9453-657B7F8EB850}"/>
          </ac:cxnSpMkLst>
        </pc:cxnChg>
        <pc:cxnChg chg="add mod ord">
          <ac:chgData name="Yiqun Dai" userId="360a2182-b97f-4635-b990-04f846616e33" providerId="ADAL" clId="{8F04EA49-0EFC-48F3-A4D8-E0F0D3B461A8}" dt="2025-11-06T09:41:04.221" v="211819"/>
          <ac:cxnSpMkLst>
            <pc:docMk/>
            <pc:sldMk cId="3686276671" sldId="2147481935"/>
            <ac:cxnSpMk id="38" creationId="{C3A9570C-E34E-5562-413D-1029E9DBFD69}"/>
          </ac:cxnSpMkLst>
        </pc:cxnChg>
        <pc:cxnChg chg="add mod ord">
          <ac:chgData name="Yiqun Dai" userId="360a2182-b97f-4635-b990-04f846616e33" providerId="ADAL" clId="{8F04EA49-0EFC-48F3-A4D8-E0F0D3B461A8}" dt="2025-11-06T09:41:04.221" v="211821"/>
          <ac:cxnSpMkLst>
            <pc:docMk/>
            <pc:sldMk cId="3686276671" sldId="2147481935"/>
            <ac:cxnSpMk id="39" creationId="{C965C546-ABFE-7774-C63F-3FF1E3FD3324}"/>
          </ac:cxnSpMkLst>
        </pc:cxnChg>
        <pc:cxnChg chg="add mod ord">
          <ac:chgData name="Yiqun Dai" userId="360a2182-b97f-4635-b990-04f846616e33" providerId="ADAL" clId="{8F04EA49-0EFC-48F3-A4D8-E0F0D3B461A8}" dt="2025-11-06T09:41:04.221" v="211823"/>
          <ac:cxnSpMkLst>
            <pc:docMk/>
            <pc:sldMk cId="3686276671" sldId="2147481935"/>
            <ac:cxnSpMk id="40" creationId="{5F845711-8F8B-586E-ED39-0DCF88A6BA61}"/>
          </ac:cxnSpMkLst>
        </pc:cxnChg>
        <pc:cxnChg chg="add mod ord">
          <ac:chgData name="Yiqun Dai" userId="360a2182-b97f-4635-b990-04f846616e33" providerId="ADAL" clId="{8F04EA49-0EFC-48F3-A4D8-E0F0D3B461A8}" dt="2025-11-06T09:41:04.221" v="211825"/>
          <ac:cxnSpMkLst>
            <pc:docMk/>
            <pc:sldMk cId="3686276671" sldId="2147481935"/>
            <ac:cxnSpMk id="41" creationId="{FD04714B-84BF-846B-016B-902763B19A85}"/>
          </ac:cxnSpMkLst>
        </pc:cxnChg>
        <pc:cxnChg chg="add mod ord">
          <ac:chgData name="Yiqun Dai" userId="360a2182-b97f-4635-b990-04f846616e33" providerId="ADAL" clId="{8F04EA49-0EFC-48F3-A4D8-E0F0D3B461A8}" dt="2025-11-06T09:41:04.221" v="211827"/>
          <ac:cxnSpMkLst>
            <pc:docMk/>
            <pc:sldMk cId="3686276671" sldId="2147481935"/>
            <ac:cxnSpMk id="42" creationId="{6FF4CE60-27EE-6F7D-7AAE-BD745A175393}"/>
          </ac:cxnSpMkLst>
        </pc:cxnChg>
        <pc:cxnChg chg="add mod ord">
          <ac:chgData name="Yiqun Dai" userId="360a2182-b97f-4635-b990-04f846616e33" providerId="ADAL" clId="{8F04EA49-0EFC-48F3-A4D8-E0F0D3B461A8}" dt="2025-11-06T09:41:04.221" v="211829"/>
          <ac:cxnSpMkLst>
            <pc:docMk/>
            <pc:sldMk cId="3686276671" sldId="2147481935"/>
            <ac:cxnSpMk id="43" creationId="{5CE318FF-429B-B32E-87E2-DEC4B6BA389E}"/>
          </ac:cxnSpMkLst>
        </pc:cxnChg>
        <pc:cxnChg chg="add mod ord">
          <ac:chgData name="Yiqun Dai" userId="360a2182-b97f-4635-b990-04f846616e33" providerId="ADAL" clId="{8F04EA49-0EFC-48F3-A4D8-E0F0D3B461A8}" dt="2025-11-06T09:41:04.221" v="211831"/>
          <ac:cxnSpMkLst>
            <pc:docMk/>
            <pc:sldMk cId="3686276671" sldId="2147481935"/>
            <ac:cxnSpMk id="44" creationId="{18314241-E1F1-0AE7-C24E-CCDEDE6BE0AA}"/>
          </ac:cxnSpMkLst>
        </pc:cxnChg>
        <pc:cxnChg chg="add mod ord">
          <ac:chgData name="Yiqun Dai" userId="360a2182-b97f-4635-b990-04f846616e33" providerId="ADAL" clId="{8F04EA49-0EFC-48F3-A4D8-E0F0D3B461A8}" dt="2025-11-06T09:41:04.221" v="211833"/>
          <ac:cxnSpMkLst>
            <pc:docMk/>
            <pc:sldMk cId="3686276671" sldId="2147481935"/>
            <ac:cxnSpMk id="45" creationId="{7F4EE3E8-EE87-F538-289C-5E8D768E0018}"/>
          </ac:cxnSpMkLst>
        </pc:cxnChg>
        <pc:cxnChg chg="add mod ord">
          <ac:chgData name="Yiqun Dai" userId="360a2182-b97f-4635-b990-04f846616e33" providerId="ADAL" clId="{8F04EA49-0EFC-48F3-A4D8-E0F0D3B461A8}" dt="2025-11-06T09:41:04.221" v="211811"/>
          <ac:cxnSpMkLst>
            <pc:docMk/>
            <pc:sldMk cId="3686276671" sldId="2147481935"/>
            <ac:cxnSpMk id="46" creationId="{683830DE-EACC-FB5A-4393-56B7300839B6}"/>
          </ac:cxnSpMkLst>
        </pc:cxnChg>
        <pc:cxnChg chg="add mod ord">
          <ac:chgData name="Yiqun Dai" userId="360a2182-b97f-4635-b990-04f846616e33" providerId="ADAL" clId="{8F04EA49-0EFC-48F3-A4D8-E0F0D3B461A8}" dt="2025-11-06T09:41:04.221" v="211835"/>
          <ac:cxnSpMkLst>
            <pc:docMk/>
            <pc:sldMk cId="3686276671" sldId="2147481935"/>
            <ac:cxnSpMk id="47" creationId="{6CE8E4A5-3FA5-59E4-D363-B3C8C48B0933}"/>
          </ac:cxnSpMkLst>
        </pc:cxnChg>
        <pc:cxnChg chg="add mod ord">
          <ac:chgData name="Yiqun Dai" userId="360a2182-b97f-4635-b990-04f846616e33" providerId="ADAL" clId="{8F04EA49-0EFC-48F3-A4D8-E0F0D3B461A8}" dt="2025-11-06T09:41:04.221" v="211837"/>
          <ac:cxnSpMkLst>
            <pc:docMk/>
            <pc:sldMk cId="3686276671" sldId="2147481935"/>
            <ac:cxnSpMk id="48" creationId="{E3F2FA70-5DF5-58AC-9F3B-CC113ED715DA}"/>
          </ac:cxnSpMkLst>
        </pc:cxnChg>
        <pc:cxnChg chg="add mod ord">
          <ac:chgData name="Yiqun Dai" userId="360a2182-b97f-4635-b990-04f846616e33" providerId="ADAL" clId="{8F04EA49-0EFC-48F3-A4D8-E0F0D3B461A8}" dt="2025-11-06T09:41:04.221" v="211839"/>
          <ac:cxnSpMkLst>
            <pc:docMk/>
            <pc:sldMk cId="3686276671" sldId="2147481935"/>
            <ac:cxnSpMk id="49" creationId="{F99CFA1A-CB5F-F34F-EEEA-0C582B01987D}"/>
          </ac:cxnSpMkLst>
        </pc:cxnChg>
      </pc:sldChg>
      <pc:sldChg chg="addSp delSp modSp new del mod ord">
        <pc:chgData name="Yiqun Dai" userId="360a2182-b97f-4635-b990-04f846616e33" providerId="ADAL" clId="{8F04EA49-0EFC-48F3-A4D8-E0F0D3B461A8}" dt="2025-11-17T01:55:16.247" v="466874" actId="47"/>
        <pc:sldMkLst>
          <pc:docMk/>
          <pc:sldMk cId="2005519605" sldId="2147481936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2449204388" sldId="2147481938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1127474592" sldId="2147481939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4227280310" sldId="2147481940"/>
        </pc:sldMkLst>
      </pc:sldChg>
      <pc:sldChg chg="del">
        <pc:chgData name="Yiqun Dai" userId="360a2182-b97f-4635-b990-04f846616e33" providerId="ADAL" clId="{8F04EA49-0EFC-48F3-A4D8-E0F0D3B461A8}" dt="2025-11-17T01:55:16.247" v="466874" actId="47"/>
        <pc:sldMkLst>
          <pc:docMk/>
          <pc:sldMk cId="428009077" sldId="2147481941"/>
        </pc:sldMkLst>
      </pc:sldChg>
      <pc:sldChg chg="addSp delSp modSp add del mod">
        <pc:chgData name="Yiqun Dai" userId="360a2182-b97f-4635-b990-04f846616e33" providerId="ADAL" clId="{8F04EA49-0EFC-48F3-A4D8-E0F0D3B461A8}" dt="2025-11-17T01:55:16.247" v="466874" actId="47"/>
        <pc:sldMkLst>
          <pc:docMk/>
          <pc:sldMk cId="1358924063" sldId="2147481942"/>
        </pc:sldMkLst>
      </pc:sldChg>
      <pc:sldChg chg="new del ord">
        <pc:chgData name="Yiqun Dai" userId="360a2182-b97f-4635-b990-04f846616e33" providerId="ADAL" clId="{8F04EA49-0EFC-48F3-A4D8-E0F0D3B461A8}" dt="2025-11-17T01:55:16.247" v="466874" actId="47"/>
        <pc:sldMkLst>
          <pc:docMk/>
          <pc:sldMk cId="4276432773" sldId="2147483063"/>
        </pc:sldMkLst>
      </pc:sldChg>
      <pc:sldChg chg="addSp delSp modSp new del mod ord">
        <pc:chgData name="Yiqun Dai" userId="360a2182-b97f-4635-b990-04f846616e33" providerId="ADAL" clId="{8F04EA49-0EFC-48F3-A4D8-E0F0D3B461A8}" dt="2025-11-17T01:55:16.247" v="466874" actId="47"/>
        <pc:sldMkLst>
          <pc:docMk/>
          <pc:sldMk cId="2963803174" sldId="2147483064"/>
        </pc:sldMkLst>
      </pc:sldChg>
      <pc:sldChg chg="addSp delSp modSp new del mod ord">
        <pc:chgData name="Yiqun Dai" userId="360a2182-b97f-4635-b990-04f846616e33" providerId="ADAL" clId="{8F04EA49-0EFC-48F3-A4D8-E0F0D3B461A8}" dt="2025-11-17T01:55:16.247" v="466874" actId="47"/>
        <pc:sldMkLst>
          <pc:docMk/>
          <pc:sldMk cId="485689212" sldId="2147483065"/>
        </pc:sldMkLst>
      </pc:sldChg>
      <pc:sldChg chg="new del">
        <pc:chgData name="Yiqun Dai" userId="360a2182-b97f-4635-b990-04f846616e33" providerId="ADAL" clId="{8F04EA49-0EFC-48F3-A4D8-E0F0D3B461A8}" dt="2025-11-17T01:55:16.247" v="466874" actId="47"/>
        <pc:sldMkLst>
          <pc:docMk/>
          <pc:sldMk cId="3773765795" sldId="2147483066"/>
        </pc:sldMkLst>
      </pc:sldChg>
      <pc:sldChg chg="addSp delSp modSp add del mod">
        <pc:chgData name="Yiqun Dai" userId="360a2182-b97f-4635-b990-04f846616e33" providerId="ADAL" clId="{8F04EA49-0EFC-48F3-A4D8-E0F0D3B461A8}" dt="2025-11-17T01:55:16.247" v="466874" actId="47"/>
        <pc:sldMkLst>
          <pc:docMk/>
          <pc:sldMk cId="2265687033" sldId="2147483067"/>
        </pc:sldMkLst>
      </pc:sldChg>
      <pc:sldChg chg="addSp delSp modSp add del mod">
        <pc:chgData name="Yiqun Dai" userId="360a2182-b97f-4635-b990-04f846616e33" providerId="ADAL" clId="{8F04EA49-0EFC-48F3-A4D8-E0F0D3B461A8}" dt="2025-11-17T01:55:16.247" v="466874" actId="47"/>
        <pc:sldMkLst>
          <pc:docMk/>
          <pc:sldMk cId="3886973917" sldId="2147483068"/>
        </pc:sldMkLst>
      </pc:sldChg>
      <pc:sldChg chg="new del ord">
        <pc:chgData name="Yiqun Dai" userId="360a2182-b97f-4635-b990-04f846616e33" providerId="ADAL" clId="{8F04EA49-0EFC-48F3-A4D8-E0F0D3B461A8}" dt="2025-11-17T01:55:16.247" v="466874" actId="47"/>
        <pc:sldMkLst>
          <pc:docMk/>
          <pc:sldMk cId="1638687721" sldId="2147483069"/>
        </pc:sldMkLst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899142470" sldId="2147483070"/>
        </pc:sldMkLst>
        <pc:spChg chg="mod ord">
          <ac:chgData name="Yiqun Dai" userId="360a2182-b97f-4635-b990-04f846616e33" providerId="ADAL" clId="{8F04EA49-0EFC-48F3-A4D8-E0F0D3B461A8}" dt="2025-11-07T06:08:21.588" v="226656"/>
          <ac:spMkLst>
            <pc:docMk/>
            <pc:sldMk cId="2899142470" sldId="2147483070"/>
            <ac:spMk id="2" creationId="{F25AEF0F-A188-A557-9F92-FCEC301761CD}"/>
          </ac:spMkLst>
        </pc:spChg>
        <pc:spChg chg="add mod">
          <ac:chgData name="Yiqun Dai" userId="360a2182-b97f-4635-b990-04f846616e33" providerId="ADAL" clId="{8F04EA49-0EFC-48F3-A4D8-E0F0D3B461A8}" dt="2025-11-07T06:08:21.608" v="226679"/>
          <ac:spMkLst>
            <pc:docMk/>
            <pc:sldMk cId="2899142470" sldId="2147483070"/>
            <ac:spMk id="3" creationId="{0DD94722-AD7E-E114-A3B2-DE7CF1823F6C}"/>
          </ac:spMkLst>
        </pc:spChg>
        <pc:spChg chg="mod">
          <ac:chgData name="Yiqun Dai" userId="360a2182-b97f-4635-b990-04f846616e33" providerId="ADAL" clId="{8F04EA49-0EFC-48F3-A4D8-E0F0D3B461A8}" dt="2025-11-07T06:08:21.619" v="226700"/>
          <ac:spMkLst>
            <pc:docMk/>
            <pc:sldMk cId="2899142470" sldId="2147483070"/>
            <ac:spMk id="4" creationId="{0CAC4A56-E311-E90E-8A29-B3D118A2692E}"/>
          </ac:spMkLst>
        </pc:spChg>
        <pc:spChg chg="add mod">
          <ac:chgData name="Yiqun Dai" userId="360a2182-b97f-4635-b990-04f846616e33" providerId="ADAL" clId="{8F04EA49-0EFC-48F3-A4D8-E0F0D3B461A8}" dt="2025-11-07T06:08:21.611" v="226682"/>
          <ac:spMkLst>
            <pc:docMk/>
            <pc:sldMk cId="2899142470" sldId="2147483070"/>
            <ac:spMk id="5" creationId="{8E3FD90C-EFB1-20AA-091F-952CC2FD0731}"/>
          </ac:spMkLst>
        </pc:spChg>
        <pc:spChg chg="mod">
          <ac:chgData name="Yiqun Dai" userId="360a2182-b97f-4635-b990-04f846616e33" providerId="ADAL" clId="{8F04EA49-0EFC-48F3-A4D8-E0F0D3B461A8}" dt="2025-11-07T06:08:21.627" v="226706"/>
          <ac:spMkLst>
            <pc:docMk/>
            <pc:sldMk cId="2899142470" sldId="2147483070"/>
            <ac:spMk id="6" creationId="{5C601F02-2A68-F1C2-3008-83BA2D842C0D}"/>
          </ac:spMkLst>
        </pc:spChg>
        <pc:spChg chg="mod">
          <ac:chgData name="Yiqun Dai" userId="360a2182-b97f-4635-b990-04f846616e33" providerId="ADAL" clId="{8F04EA49-0EFC-48F3-A4D8-E0F0D3B461A8}" dt="2025-11-07T06:08:21.627" v="226709"/>
          <ac:spMkLst>
            <pc:docMk/>
            <pc:sldMk cId="2899142470" sldId="2147483070"/>
            <ac:spMk id="7" creationId="{3F20AAF8-379C-D37E-F24E-0525047BDC63}"/>
          </ac:spMkLst>
        </pc:spChg>
        <pc:spChg chg="add mod">
          <ac:chgData name="Yiqun Dai" userId="360a2182-b97f-4635-b990-04f846616e33" providerId="ADAL" clId="{8F04EA49-0EFC-48F3-A4D8-E0F0D3B461A8}" dt="2025-11-07T06:08:21.635" v="226714"/>
          <ac:spMkLst>
            <pc:docMk/>
            <pc:sldMk cId="2899142470" sldId="2147483070"/>
            <ac:spMk id="10" creationId="{44850864-58DA-7AB8-4291-66CE43897D1A}"/>
          </ac:spMkLst>
        </pc:spChg>
        <pc:spChg chg="mod">
          <ac:chgData name="Yiqun Dai" userId="360a2182-b97f-4635-b990-04f846616e33" providerId="ADAL" clId="{8F04EA49-0EFC-48F3-A4D8-E0F0D3B461A8}" dt="2025-11-07T06:08:21.612" v="226686"/>
          <ac:spMkLst>
            <pc:docMk/>
            <pc:sldMk cId="2899142470" sldId="2147483070"/>
            <ac:spMk id="12" creationId="{8E9B598D-1A8D-8A28-3F8A-77C2CCD4E69C}"/>
          </ac:spMkLst>
        </pc:spChg>
        <pc:spChg chg="mod">
          <ac:chgData name="Yiqun Dai" userId="360a2182-b97f-4635-b990-04f846616e33" providerId="ADAL" clId="{8F04EA49-0EFC-48F3-A4D8-E0F0D3B461A8}" dt="2025-11-07T06:08:21.612" v="226689"/>
          <ac:spMkLst>
            <pc:docMk/>
            <pc:sldMk cId="2899142470" sldId="2147483070"/>
            <ac:spMk id="13" creationId="{87BF8D50-56E3-FDD3-C683-3DD323BBC5F2}"/>
          </ac:spMkLst>
        </pc:spChg>
        <pc:spChg chg="add mod">
          <ac:chgData name="Yiqun Dai" userId="360a2182-b97f-4635-b990-04f846616e33" providerId="ADAL" clId="{8F04EA49-0EFC-48F3-A4D8-E0F0D3B461A8}" dt="2025-11-07T06:08:21.627" v="226711"/>
          <ac:spMkLst>
            <pc:docMk/>
            <pc:sldMk cId="2899142470" sldId="2147483070"/>
            <ac:spMk id="14" creationId="{BCD87637-821F-D8CA-909E-4AA2C6FB9C5B}"/>
          </ac:spMkLst>
        </pc:spChg>
        <pc:spChg chg="add mod">
          <ac:chgData name="Yiqun Dai" userId="360a2182-b97f-4635-b990-04f846616e33" providerId="ADAL" clId="{8F04EA49-0EFC-48F3-A4D8-E0F0D3B461A8}" dt="2025-11-07T06:08:21.627" v="226710"/>
          <ac:spMkLst>
            <pc:docMk/>
            <pc:sldMk cId="2899142470" sldId="2147483070"/>
            <ac:spMk id="15" creationId="{A4D7BB68-3C8C-15C5-F184-18CA62D4BD42}"/>
          </ac:spMkLst>
        </pc:spChg>
        <pc:spChg chg="add mod">
          <ac:chgData name="Yiqun Dai" userId="360a2182-b97f-4635-b990-04f846616e33" providerId="ADAL" clId="{8F04EA49-0EFC-48F3-A4D8-E0F0D3B461A8}" dt="2025-11-07T06:08:21.635" v="226715"/>
          <ac:spMkLst>
            <pc:docMk/>
            <pc:sldMk cId="2899142470" sldId="2147483070"/>
            <ac:spMk id="16" creationId="{0B876B99-1AB0-0849-76D2-4265D99FAD93}"/>
          </ac:spMkLst>
        </pc:spChg>
        <pc:spChg chg="add mod">
          <ac:chgData name="Yiqun Dai" userId="360a2182-b97f-4635-b990-04f846616e33" providerId="ADAL" clId="{8F04EA49-0EFC-48F3-A4D8-E0F0D3B461A8}" dt="2025-11-07T06:08:21.608" v="226681"/>
          <ac:spMkLst>
            <pc:docMk/>
            <pc:sldMk cId="2899142470" sldId="2147483070"/>
            <ac:spMk id="17" creationId="{E038E65C-294B-820D-D280-E5926F289D19}"/>
          </ac:spMkLst>
        </pc:spChg>
        <pc:spChg chg="add mod">
          <ac:chgData name="Yiqun Dai" userId="360a2182-b97f-4635-b990-04f846616e33" providerId="ADAL" clId="{8F04EA49-0EFC-48F3-A4D8-E0F0D3B461A8}" dt="2025-11-07T06:08:21.608" v="226680"/>
          <ac:spMkLst>
            <pc:docMk/>
            <pc:sldMk cId="2899142470" sldId="2147483070"/>
            <ac:spMk id="18" creationId="{81121563-BD42-64A3-745F-C8F00D80AFFD}"/>
          </ac:spMkLst>
        </pc:spChg>
        <pc:spChg chg="mod">
          <ac:chgData name="Yiqun Dai" userId="360a2182-b97f-4635-b990-04f846616e33" providerId="ADAL" clId="{8F04EA49-0EFC-48F3-A4D8-E0F0D3B461A8}" dt="2025-11-07T06:08:21.627" v="226712"/>
          <ac:spMkLst>
            <pc:docMk/>
            <pc:sldMk cId="2899142470" sldId="2147483070"/>
            <ac:spMk id="19" creationId="{F963019A-4848-DBDD-09A9-BE1F3B4BDE01}"/>
          </ac:spMkLst>
        </pc:spChg>
        <pc:spChg chg="mod">
          <ac:chgData name="Yiqun Dai" userId="360a2182-b97f-4635-b990-04f846616e33" providerId="ADAL" clId="{8F04EA49-0EFC-48F3-A4D8-E0F0D3B461A8}" dt="2025-11-07T06:08:21.627" v="226707"/>
          <ac:spMkLst>
            <pc:docMk/>
            <pc:sldMk cId="2899142470" sldId="2147483070"/>
            <ac:spMk id="20" creationId="{5E006FFB-3945-CFD4-5017-B6E732B419FC}"/>
          </ac:spMkLst>
        </pc:spChg>
        <pc:spChg chg="mod">
          <ac:chgData name="Yiqun Dai" userId="360a2182-b97f-4635-b990-04f846616e33" providerId="ADAL" clId="{8F04EA49-0EFC-48F3-A4D8-E0F0D3B461A8}" dt="2025-11-07T06:08:21.627" v="226708"/>
          <ac:spMkLst>
            <pc:docMk/>
            <pc:sldMk cId="2899142470" sldId="2147483070"/>
            <ac:spMk id="21" creationId="{E2DDFDC7-05F0-FB01-BB82-25BBEBBDAAC0}"/>
          </ac:spMkLst>
        </pc:spChg>
        <pc:spChg chg="mod">
          <ac:chgData name="Yiqun Dai" userId="360a2182-b97f-4635-b990-04f846616e33" providerId="ADAL" clId="{8F04EA49-0EFC-48F3-A4D8-E0F0D3B461A8}" dt="2025-11-07T06:08:21.627" v="226713"/>
          <ac:spMkLst>
            <pc:docMk/>
            <pc:sldMk cId="2899142470" sldId="2147483070"/>
            <ac:spMk id="22" creationId="{8BB47AF4-D0DE-C98B-9606-2C5242F951C5}"/>
          </ac:spMkLst>
        </pc:spChg>
        <pc:spChg chg="mod">
          <ac:chgData name="Yiqun Dai" userId="360a2182-b97f-4635-b990-04f846616e33" providerId="ADAL" clId="{8F04EA49-0EFC-48F3-A4D8-E0F0D3B461A8}" dt="2025-11-07T06:08:21.635" v="226721"/>
          <ac:spMkLst>
            <pc:docMk/>
            <pc:sldMk cId="2899142470" sldId="2147483070"/>
            <ac:spMk id="24" creationId="{22827FC0-9656-B97A-CC7F-6299AB75CFFB}"/>
          </ac:spMkLst>
        </pc:spChg>
        <pc:spChg chg="add mod ord">
          <ac:chgData name="Yiqun Dai" userId="360a2182-b97f-4635-b990-04f846616e33" providerId="ADAL" clId="{8F04EA49-0EFC-48F3-A4D8-E0F0D3B461A8}" dt="2025-11-07T06:08:21.572" v="226650"/>
          <ac:spMkLst>
            <pc:docMk/>
            <pc:sldMk cId="2899142470" sldId="2147483070"/>
            <ac:spMk id="35" creationId="{55F07485-D2D8-49AA-9911-C6A4DFD0EB00}"/>
          </ac:spMkLst>
        </pc:spChg>
        <pc:spChg chg="add mod ord">
          <ac:chgData name="Yiqun Dai" userId="360a2182-b97f-4635-b990-04f846616e33" providerId="ADAL" clId="{8F04EA49-0EFC-48F3-A4D8-E0F0D3B461A8}" dt="2025-11-07T06:08:21.572" v="226648"/>
          <ac:spMkLst>
            <pc:docMk/>
            <pc:sldMk cId="2899142470" sldId="2147483070"/>
            <ac:spMk id="51" creationId="{529D6169-4D5A-5AE8-7E70-B61C46E90E24}"/>
          </ac:spMkLst>
        </pc:spChg>
        <pc:spChg chg="add mod ord">
          <ac:chgData name="Yiqun Dai" userId="360a2182-b97f-4635-b990-04f846616e33" providerId="ADAL" clId="{8F04EA49-0EFC-48F3-A4D8-E0F0D3B461A8}" dt="2025-11-07T06:08:21.572" v="226646"/>
          <ac:spMkLst>
            <pc:docMk/>
            <pc:sldMk cId="2899142470" sldId="2147483070"/>
            <ac:spMk id="52" creationId="{86DD79CF-CE1D-C9D6-A7EA-2DED078E288D}"/>
          </ac:spMkLst>
        </pc:spChg>
        <pc:spChg chg="mod">
          <ac:chgData name="Yiqun Dai" userId="360a2182-b97f-4635-b990-04f846616e33" providerId="ADAL" clId="{8F04EA49-0EFC-48F3-A4D8-E0F0D3B461A8}" dt="2025-11-07T06:08:21.612" v="226683"/>
          <ac:spMkLst>
            <pc:docMk/>
            <pc:sldMk cId="2899142470" sldId="2147483070"/>
            <ac:spMk id="64" creationId="{B5F13B52-F4F0-2A19-1E4F-BCEF2A5F9B22}"/>
          </ac:spMkLst>
        </pc:spChg>
        <pc:spChg chg="mod ord">
          <ac:chgData name="Yiqun Dai" userId="360a2182-b97f-4635-b990-04f846616e33" providerId="ADAL" clId="{8F04EA49-0EFC-48F3-A4D8-E0F0D3B461A8}" dt="2025-11-07T06:08:21.627" v="226705"/>
          <ac:spMkLst>
            <pc:docMk/>
            <pc:sldMk cId="2899142470" sldId="2147483070"/>
            <ac:spMk id="80" creationId="{2E0CBEE1-4736-4D1C-2820-0BE163CA25CA}"/>
          </ac:spMkLst>
        </pc:spChg>
        <pc:spChg chg="mod">
          <ac:chgData name="Yiqun Dai" userId="360a2182-b97f-4635-b990-04f846616e33" providerId="ADAL" clId="{8F04EA49-0EFC-48F3-A4D8-E0F0D3B461A8}" dt="2025-11-07T06:08:21.635" v="226716"/>
          <ac:spMkLst>
            <pc:docMk/>
            <pc:sldMk cId="2899142470" sldId="2147483070"/>
            <ac:spMk id="89" creationId="{3D1D9D56-4EC8-A22E-D468-50F0970298B5}"/>
          </ac:spMkLst>
        </pc:spChg>
        <pc:spChg chg="mod">
          <ac:chgData name="Yiqun Dai" userId="360a2182-b97f-4635-b990-04f846616e33" providerId="ADAL" clId="{8F04EA49-0EFC-48F3-A4D8-E0F0D3B461A8}" dt="2025-11-07T06:08:21.619" v="226703"/>
          <ac:spMkLst>
            <pc:docMk/>
            <pc:sldMk cId="2899142470" sldId="2147483070"/>
            <ac:spMk id="92" creationId="{134F5522-800A-525F-4B1B-2B04B0033C3A}"/>
          </ac:spMkLst>
        </pc:spChg>
        <pc:spChg chg="mod ord">
          <ac:chgData name="Yiqun Dai" userId="360a2182-b97f-4635-b990-04f846616e33" providerId="ADAL" clId="{8F04EA49-0EFC-48F3-A4D8-E0F0D3B461A8}" dt="2025-11-07T06:08:21.612" v="226685"/>
          <ac:spMkLst>
            <pc:docMk/>
            <pc:sldMk cId="2899142470" sldId="2147483070"/>
            <ac:spMk id="96" creationId="{21D065E4-18E5-55EC-CD73-6D9C12A43948}"/>
          </ac:spMkLst>
        </pc:spChg>
        <pc:spChg chg="mod">
          <ac:chgData name="Yiqun Dai" userId="360a2182-b97f-4635-b990-04f846616e33" providerId="ADAL" clId="{8F04EA49-0EFC-48F3-A4D8-E0F0D3B461A8}" dt="2025-11-07T06:08:21.635" v="226717"/>
          <ac:spMkLst>
            <pc:docMk/>
            <pc:sldMk cId="2899142470" sldId="2147483070"/>
            <ac:spMk id="99" creationId="{1B60522C-4EE1-C6B3-6961-F53AC81F1E44}"/>
          </ac:spMkLst>
        </pc:spChg>
        <pc:spChg chg="mod">
          <ac:chgData name="Yiqun Dai" userId="360a2182-b97f-4635-b990-04f846616e33" providerId="ADAL" clId="{8F04EA49-0EFC-48F3-A4D8-E0F0D3B461A8}" dt="2025-11-07T06:08:21.619" v="226693"/>
          <ac:spMkLst>
            <pc:docMk/>
            <pc:sldMk cId="2899142470" sldId="2147483070"/>
            <ac:spMk id="109" creationId="{28CA2BC2-B5BF-82AC-754C-39E25165DB22}"/>
          </ac:spMkLst>
        </pc:spChg>
        <pc:spChg chg="mod">
          <ac:chgData name="Yiqun Dai" userId="360a2182-b97f-4635-b990-04f846616e33" providerId="ADAL" clId="{8F04EA49-0EFC-48F3-A4D8-E0F0D3B461A8}" dt="2025-11-07T06:08:21.619" v="226698"/>
          <ac:spMkLst>
            <pc:docMk/>
            <pc:sldMk cId="2899142470" sldId="2147483070"/>
            <ac:spMk id="110" creationId="{6C90454B-E668-FC76-4B98-9A61B6B1659C}"/>
          </ac:spMkLst>
        </pc:spChg>
        <pc:spChg chg="mod">
          <ac:chgData name="Yiqun Dai" userId="360a2182-b97f-4635-b990-04f846616e33" providerId="ADAL" clId="{8F04EA49-0EFC-48F3-A4D8-E0F0D3B461A8}" dt="2025-11-07T06:08:21.619" v="226699"/>
          <ac:spMkLst>
            <pc:docMk/>
            <pc:sldMk cId="2899142470" sldId="2147483070"/>
            <ac:spMk id="111" creationId="{522D9FBB-BB58-316D-8D19-214726CB035F}"/>
          </ac:spMkLst>
        </pc:spChg>
        <pc:spChg chg="mod ord">
          <ac:chgData name="Yiqun Dai" userId="360a2182-b97f-4635-b990-04f846616e33" providerId="ADAL" clId="{8F04EA49-0EFC-48F3-A4D8-E0F0D3B461A8}" dt="2025-11-07T06:08:21.619" v="226695"/>
          <ac:spMkLst>
            <pc:docMk/>
            <pc:sldMk cId="2899142470" sldId="2147483070"/>
            <ac:spMk id="112" creationId="{24A1FFE6-8D96-4E15-B7C9-E9A3BFDDDD52}"/>
          </ac:spMkLst>
        </pc:spChg>
        <pc:spChg chg="mod ord">
          <ac:chgData name="Yiqun Dai" userId="360a2182-b97f-4635-b990-04f846616e33" providerId="ADAL" clId="{8F04EA49-0EFC-48F3-A4D8-E0F0D3B461A8}" dt="2025-11-07T06:08:21.612" v="226688"/>
          <ac:spMkLst>
            <pc:docMk/>
            <pc:sldMk cId="2899142470" sldId="2147483070"/>
            <ac:spMk id="113" creationId="{F4C3979E-DC1D-C357-5278-9D5FF15DF2FF}"/>
          </ac:spMkLst>
        </pc:spChg>
        <pc:spChg chg="mod">
          <ac:chgData name="Yiqun Dai" userId="360a2182-b97f-4635-b990-04f846616e33" providerId="ADAL" clId="{8F04EA49-0EFC-48F3-A4D8-E0F0D3B461A8}" dt="2025-11-07T06:08:21.635" v="226718"/>
          <ac:spMkLst>
            <pc:docMk/>
            <pc:sldMk cId="2899142470" sldId="2147483070"/>
            <ac:spMk id="114" creationId="{F04DAA5B-105D-2D81-B966-008575863DA2}"/>
          </ac:spMkLst>
        </pc:spChg>
        <pc:spChg chg="mod ord">
          <ac:chgData name="Yiqun Dai" userId="360a2182-b97f-4635-b990-04f846616e33" providerId="ADAL" clId="{8F04EA49-0EFC-48F3-A4D8-E0F0D3B461A8}" dt="2025-11-07T06:08:21.612" v="226692"/>
          <ac:spMkLst>
            <pc:docMk/>
            <pc:sldMk cId="2899142470" sldId="2147483070"/>
            <ac:spMk id="115" creationId="{A39353FD-130E-4BD2-D00F-C2D920172FCC}"/>
          </ac:spMkLst>
        </pc:spChg>
        <pc:spChg chg="mod">
          <ac:chgData name="Yiqun Dai" userId="360a2182-b97f-4635-b990-04f846616e33" providerId="ADAL" clId="{8F04EA49-0EFC-48F3-A4D8-E0F0D3B461A8}" dt="2025-11-07T06:08:21.612" v="226690"/>
          <ac:spMkLst>
            <pc:docMk/>
            <pc:sldMk cId="2899142470" sldId="2147483070"/>
            <ac:spMk id="116" creationId="{6829D84E-CDED-641B-CC0E-E66F0E760088}"/>
          </ac:spMkLst>
        </pc:spChg>
        <pc:spChg chg="mod">
          <ac:chgData name="Yiqun Dai" userId="360a2182-b97f-4635-b990-04f846616e33" providerId="ADAL" clId="{8F04EA49-0EFC-48F3-A4D8-E0F0D3B461A8}" dt="2025-11-07T06:08:21.635" v="226719"/>
          <ac:spMkLst>
            <pc:docMk/>
            <pc:sldMk cId="2899142470" sldId="2147483070"/>
            <ac:spMk id="117" creationId="{6E01674C-187D-802D-33E0-DBA25D3A74B1}"/>
          </ac:spMkLst>
        </pc:spChg>
        <pc:spChg chg="mod ord">
          <ac:chgData name="Yiqun Dai" userId="360a2182-b97f-4635-b990-04f846616e33" providerId="ADAL" clId="{8F04EA49-0EFC-48F3-A4D8-E0F0D3B461A8}" dt="2025-11-07T06:08:21.619" v="226697"/>
          <ac:spMkLst>
            <pc:docMk/>
            <pc:sldMk cId="2899142470" sldId="2147483070"/>
            <ac:spMk id="118" creationId="{52B366F1-B509-A1EB-B02B-6769F6A27CD4}"/>
          </ac:spMkLst>
        </pc:spChg>
        <pc:spChg chg="mod ord">
          <ac:chgData name="Yiqun Dai" userId="360a2182-b97f-4635-b990-04f846616e33" providerId="ADAL" clId="{8F04EA49-0EFC-48F3-A4D8-E0F0D3B461A8}" dt="2025-11-07T06:08:21.619" v="226702"/>
          <ac:spMkLst>
            <pc:docMk/>
            <pc:sldMk cId="2899142470" sldId="2147483070"/>
            <ac:spMk id="119" creationId="{039F5F12-257E-7850-16FB-5A2198BFBA0C}"/>
          </ac:spMkLst>
        </pc:spChg>
        <pc:spChg chg="mod">
          <ac:chgData name="Yiqun Dai" userId="360a2182-b97f-4635-b990-04f846616e33" providerId="ADAL" clId="{8F04EA49-0EFC-48F3-A4D8-E0F0D3B461A8}" dt="2025-11-07T06:08:21.635" v="226720"/>
          <ac:spMkLst>
            <pc:docMk/>
            <pc:sldMk cId="2899142470" sldId="2147483070"/>
            <ac:spMk id="121" creationId="{10493DA9-A7C0-7A79-B80C-06510CD31FBC}"/>
          </ac:spMkLst>
        </pc:spChg>
        <pc:spChg chg="mod ord">
          <ac:chgData name="Yiqun Dai" userId="360a2182-b97f-4635-b990-04f846616e33" providerId="ADAL" clId="{8F04EA49-0EFC-48F3-A4D8-E0F0D3B461A8}" dt="2025-11-07T06:08:21.603" v="226676"/>
          <ac:spMkLst>
            <pc:docMk/>
            <pc:sldMk cId="2899142470" sldId="2147483070"/>
            <ac:spMk id="122" creationId="{03E99C6E-7AEF-4D74-9DDC-282257EF8E8D}"/>
          </ac:spMkLst>
        </pc:spChg>
        <pc:spChg chg="mod">
          <ac:chgData name="Yiqun Dai" userId="360a2182-b97f-4635-b990-04f846616e33" providerId="ADAL" clId="{8F04EA49-0EFC-48F3-A4D8-E0F0D3B461A8}" dt="2025-11-07T06:08:21.635" v="226729"/>
          <ac:spMkLst>
            <pc:docMk/>
            <pc:sldMk cId="2899142470" sldId="2147483070"/>
            <ac:spMk id="170" creationId="{BA009F32-E119-5715-5F25-15AC64D221FD}"/>
          </ac:spMkLst>
        </pc:spChg>
        <pc:spChg chg="mod">
          <ac:chgData name="Yiqun Dai" userId="360a2182-b97f-4635-b990-04f846616e33" providerId="ADAL" clId="{8F04EA49-0EFC-48F3-A4D8-E0F0D3B461A8}" dt="2025-11-07T06:08:21.635" v="226730"/>
          <ac:spMkLst>
            <pc:docMk/>
            <pc:sldMk cId="2899142470" sldId="2147483070"/>
            <ac:spMk id="171" creationId="{94F72F5D-1932-C98A-1615-F0B7F407AAE7}"/>
          </ac:spMkLst>
        </pc:spChg>
        <pc:spChg chg="mod">
          <ac:chgData name="Yiqun Dai" userId="360a2182-b97f-4635-b990-04f846616e33" providerId="ADAL" clId="{8F04EA49-0EFC-48F3-A4D8-E0F0D3B461A8}" dt="2025-11-07T06:08:21.635" v="226731"/>
          <ac:spMkLst>
            <pc:docMk/>
            <pc:sldMk cId="2899142470" sldId="2147483070"/>
            <ac:spMk id="172" creationId="{B9CBB5DB-A91F-5CCD-6746-3BA52FA70582}"/>
          </ac:spMkLst>
        </pc:spChg>
        <pc:spChg chg="mod">
          <ac:chgData name="Yiqun Dai" userId="360a2182-b97f-4635-b990-04f846616e33" providerId="ADAL" clId="{8F04EA49-0EFC-48F3-A4D8-E0F0D3B461A8}" dt="2025-11-07T06:08:21.635" v="226732"/>
          <ac:spMkLst>
            <pc:docMk/>
            <pc:sldMk cId="2899142470" sldId="2147483070"/>
            <ac:spMk id="173" creationId="{03CFB7AB-735E-CE8E-8894-842403C37730}"/>
          </ac:spMkLst>
        </pc:spChg>
        <pc:spChg chg="mod ord">
          <ac:chgData name="Yiqun Dai" userId="360a2182-b97f-4635-b990-04f846616e33" providerId="ADAL" clId="{8F04EA49-0EFC-48F3-A4D8-E0F0D3B461A8}" dt="2025-11-07T06:08:21.635" v="226723"/>
          <ac:spMkLst>
            <pc:docMk/>
            <pc:sldMk cId="2899142470" sldId="2147483070"/>
            <ac:spMk id="176" creationId="{835E8DBD-1374-796E-629B-0D430EEB2AF5}"/>
          </ac:spMkLst>
        </pc:spChg>
        <pc:spChg chg="mod">
          <ac:chgData name="Yiqun Dai" userId="360a2182-b97f-4635-b990-04f846616e33" providerId="ADAL" clId="{8F04EA49-0EFC-48F3-A4D8-E0F0D3B461A8}" dt="2025-11-07T06:08:21.635" v="226724"/>
          <ac:spMkLst>
            <pc:docMk/>
            <pc:sldMk cId="2899142470" sldId="2147483070"/>
            <ac:spMk id="177" creationId="{D0A01F52-8E9F-23A3-8EE6-64DEF879542C}"/>
          </ac:spMkLst>
        </pc:spChg>
        <pc:spChg chg="mod ord">
          <ac:chgData name="Yiqun Dai" userId="360a2182-b97f-4635-b990-04f846616e33" providerId="ADAL" clId="{8F04EA49-0EFC-48F3-A4D8-E0F0D3B461A8}" dt="2025-11-07T06:08:21.635" v="226726"/>
          <ac:spMkLst>
            <pc:docMk/>
            <pc:sldMk cId="2899142470" sldId="2147483070"/>
            <ac:spMk id="178" creationId="{C6F98829-DF4B-60A0-A708-F248DBBAEF80}"/>
          </ac:spMkLst>
        </pc:spChg>
        <pc:spChg chg="mod ord">
          <ac:chgData name="Yiqun Dai" userId="360a2182-b97f-4635-b990-04f846616e33" providerId="ADAL" clId="{8F04EA49-0EFC-48F3-A4D8-E0F0D3B461A8}" dt="2025-11-07T06:08:21.635" v="226728"/>
          <ac:spMkLst>
            <pc:docMk/>
            <pc:sldMk cId="2899142470" sldId="2147483070"/>
            <ac:spMk id="179" creationId="{3D6149BD-E7A4-D497-728B-2EE891EAC5B5}"/>
          </ac:spMkLst>
        </pc:spChg>
        <pc:spChg chg="mod ord">
          <ac:chgData name="Yiqun Dai" userId="360a2182-b97f-4635-b990-04f846616e33" providerId="ADAL" clId="{8F04EA49-0EFC-48F3-A4D8-E0F0D3B461A8}" dt="2025-11-07T06:08:21.650" v="226736"/>
          <ac:spMkLst>
            <pc:docMk/>
            <pc:sldMk cId="2899142470" sldId="2147483070"/>
            <ac:spMk id="204" creationId="{E5227704-8CEA-435B-BE82-B61FF2B57A38}"/>
          </ac:spMkLst>
        </pc:spChg>
        <pc:spChg chg="mod ord">
          <ac:chgData name="Yiqun Dai" userId="360a2182-b97f-4635-b990-04f846616e33" providerId="ADAL" clId="{8F04EA49-0EFC-48F3-A4D8-E0F0D3B461A8}" dt="2025-11-07T06:08:21.587" v="226654"/>
          <ac:spMkLst>
            <pc:docMk/>
            <pc:sldMk cId="2899142470" sldId="2147483070"/>
            <ac:spMk id="206" creationId="{965C08AB-35C9-9D09-F887-06754399F298}"/>
          </ac:spMkLst>
        </pc:spChg>
        <pc:spChg chg="mod ord">
          <ac:chgData name="Yiqun Dai" userId="360a2182-b97f-4635-b990-04f846616e33" providerId="ADAL" clId="{8F04EA49-0EFC-48F3-A4D8-E0F0D3B461A8}" dt="2025-11-07T06:08:21.572" v="226652"/>
          <ac:spMkLst>
            <pc:docMk/>
            <pc:sldMk cId="2899142470" sldId="2147483070"/>
            <ac:spMk id="259" creationId="{0E43A164-0C61-6CC6-7BE5-B2B0652DACA3}"/>
          </ac:spMkLst>
        </pc:spChg>
        <pc:graphicFrameChg chg="mod">
          <ac:chgData name="Yiqun Dai" userId="360a2182-b97f-4635-b990-04f846616e33" providerId="ADAL" clId="{8F04EA49-0EFC-48F3-A4D8-E0F0D3B461A8}" dt="2025-11-07T06:08:21.650" v="226740"/>
          <ac:graphicFrameMkLst>
            <pc:docMk/>
            <pc:sldMk cId="2899142470" sldId="2147483070"/>
            <ac:graphicFrameMk id="11" creationId="{8E81C663-9DB5-FBD4-6B79-7CD9480F8838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6:08:21.605" v="226678"/>
          <ac:graphicFrameMkLst>
            <pc:docMk/>
            <pc:sldMk cId="2899142470" sldId="2147483070"/>
            <ac:graphicFrameMk id="61" creationId="{11FC952D-283A-7B65-A0A2-E286FD5D6CFF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6:09:15.687" v="226760" actId="1036"/>
          <ac:graphicFrameMkLst>
            <pc:docMk/>
            <pc:sldMk cId="2899142470" sldId="2147483070"/>
            <ac:graphicFrameMk id="198" creationId="{F7A98337-A579-E109-A2D9-D492192C8C30}"/>
          </ac:graphicFrameMkLst>
        </pc:graphicFrameChg>
        <pc:cxnChg chg="mod ord">
          <ac:chgData name="Yiqun Dai" userId="360a2182-b97f-4635-b990-04f846616e33" providerId="ADAL" clId="{8F04EA49-0EFC-48F3-A4D8-E0F0D3B461A8}" dt="2025-11-07T06:08:21.591" v="226660"/>
          <ac:cxnSpMkLst>
            <pc:docMk/>
            <pc:sldMk cId="2899142470" sldId="2147483070"/>
            <ac:cxnSpMk id="8" creationId="{25EB9732-E67B-C248-6AD8-D00470CCB046}"/>
          </ac:cxnSpMkLst>
        </pc:cxnChg>
        <pc:cxnChg chg="mod ord">
          <ac:chgData name="Yiqun Dai" userId="360a2182-b97f-4635-b990-04f846616e33" providerId="ADAL" clId="{8F04EA49-0EFC-48F3-A4D8-E0F0D3B461A8}" dt="2025-11-07T06:08:21.591" v="226658"/>
          <ac:cxnSpMkLst>
            <pc:docMk/>
            <pc:sldMk cId="2899142470" sldId="2147483070"/>
            <ac:cxnSpMk id="9" creationId="{4534B96B-2614-E7A9-C620-EF11D883364C}"/>
          </ac:cxnSpMkLst>
        </pc:cxnChg>
        <pc:cxnChg chg="add mod ord">
          <ac:chgData name="Yiqun Dai" userId="360a2182-b97f-4635-b990-04f846616e33" providerId="ADAL" clId="{8F04EA49-0EFC-48F3-A4D8-E0F0D3B461A8}" dt="2025-11-07T06:08:21.591" v="226662"/>
          <ac:cxnSpMkLst>
            <pc:docMk/>
            <pc:sldMk cId="2899142470" sldId="2147483070"/>
            <ac:cxnSpMk id="25" creationId="{F86E53D6-2D3D-0252-C947-8E8E7CC1703D}"/>
          </ac:cxnSpMkLst>
        </pc:cxnChg>
        <pc:cxnChg chg="add mod ord">
          <ac:chgData name="Yiqun Dai" userId="360a2182-b97f-4635-b990-04f846616e33" providerId="ADAL" clId="{8F04EA49-0EFC-48F3-A4D8-E0F0D3B461A8}" dt="2025-11-07T06:08:21.591" v="226664"/>
          <ac:cxnSpMkLst>
            <pc:docMk/>
            <pc:sldMk cId="2899142470" sldId="2147483070"/>
            <ac:cxnSpMk id="26" creationId="{40171344-2F18-5419-BB3E-AFE0C7DE17B1}"/>
          </ac:cxnSpMkLst>
        </pc:cxnChg>
        <pc:cxnChg chg="mod ord">
          <ac:chgData name="Yiqun Dai" userId="360a2182-b97f-4635-b990-04f846616e33" providerId="ADAL" clId="{8F04EA49-0EFC-48F3-A4D8-E0F0D3B461A8}" dt="2025-11-07T06:08:21.591" v="226668"/>
          <ac:cxnSpMkLst>
            <pc:docMk/>
            <pc:sldMk cId="2899142470" sldId="2147483070"/>
            <ac:cxnSpMk id="48" creationId="{7C84072E-7101-5ADA-AA75-2DCFE4F24ABC}"/>
          </ac:cxnSpMkLst>
        </pc:cxnChg>
        <pc:cxnChg chg="mod ord">
          <ac:chgData name="Yiqun Dai" userId="360a2182-b97f-4635-b990-04f846616e33" providerId="ADAL" clId="{8F04EA49-0EFC-48F3-A4D8-E0F0D3B461A8}" dt="2025-11-07T06:08:21.591" v="226666"/>
          <ac:cxnSpMkLst>
            <pc:docMk/>
            <pc:sldMk cId="2899142470" sldId="2147483070"/>
            <ac:cxnSpMk id="81" creationId="{E0D3C553-FAAA-0C49-9E66-A8564F1F2714}"/>
          </ac:cxnSpMkLst>
        </pc:cxnChg>
        <pc:cxnChg chg="mod ord">
          <ac:chgData name="Yiqun Dai" userId="360a2182-b97f-4635-b990-04f846616e33" providerId="ADAL" clId="{8F04EA49-0EFC-48F3-A4D8-E0F0D3B461A8}" dt="2025-11-07T06:08:21.591" v="226670"/>
          <ac:cxnSpMkLst>
            <pc:docMk/>
            <pc:sldMk cId="2899142470" sldId="2147483070"/>
            <ac:cxnSpMk id="123" creationId="{4E84099C-3E02-95BA-27AA-5178282C4813}"/>
          </ac:cxnSpMkLst>
        </pc:cxnChg>
        <pc:cxnChg chg="mod ord">
          <ac:chgData name="Yiqun Dai" userId="360a2182-b97f-4635-b990-04f846616e33" providerId="ADAL" clId="{8F04EA49-0EFC-48F3-A4D8-E0F0D3B461A8}" dt="2025-11-07T06:08:21.591" v="226672"/>
          <ac:cxnSpMkLst>
            <pc:docMk/>
            <pc:sldMk cId="2899142470" sldId="2147483070"/>
            <ac:cxnSpMk id="124" creationId="{E05252FB-02CB-9693-9BCB-8CBF95CA6E93}"/>
          </ac:cxnSpMkLst>
        </pc:cxnChg>
        <pc:cxnChg chg="mod ord">
          <ac:chgData name="Yiqun Dai" userId="360a2182-b97f-4635-b990-04f846616e33" providerId="ADAL" clId="{8F04EA49-0EFC-48F3-A4D8-E0F0D3B461A8}" dt="2025-11-07T06:08:21.601" v="226674"/>
          <ac:cxnSpMkLst>
            <pc:docMk/>
            <pc:sldMk cId="2899142470" sldId="2147483070"/>
            <ac:cxnSpMk id="125" creationId="{47CA4F17-2C06-D4E5-8E7A-5108161F01BE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420030622" sldId="2147483071"/>
        </pc:sldMkLst>
        <pc:spChg chg="mod ord">
          <ac:chgData name="Yiqun Dai" userId="360a2182-b97f-4635-b990-04f846616e33" providerId="ADAL" clId="{8F04EA49-0EFC-48F3-A4D8-E0F0D3B461A8}" dt="2025-11-07T06:21:27.389" v="229223" actId="948"/>
          <ac:spMkLst>
            <pc:docMk/>
            <pc:sldMk cId="2420030622" sldId="2147483071"/>
            <ac:spMk id="2" creationId="{FC3A8BB8-3EBD-0585-6768-E5075687A67E}"/>
          </ac:spMkLst>
        </pc:spChg>
        <pc:spChg chg="mod">
          <ac:chgData name="Yiqun Dai" userId="360a2182-b97f-4635-b990-04f846616e33" providerId="ADAL" clId="{8F04EA49-0EFC-48F3-A4D8-E0F0D3B461A8}" dt="2025-11-07T06:15:39.306" v="229017"/>
          <ac:spMkLst>
            <pc:docMk/>
            <pc:sldMk cId="2420030622" sldId="2147483071"/>
            <ac:spMk id="3" creationId="{5CF0807B-9091-66F8-32F5-065ABC89D514}"/>
          </ac:spMkLst>
        </pc:spChg>
        <pc:spChg chg="mod">
          <ac:chgData name="Yiqun Dai" userId="360a2182-b97f-4635-b990-04f846616e33" providerId="ADAL" clId="{8F04EA49-0EFC-48F3-A4D8-E0F0D3B461A8}" dt="2025-11-07T06:15:39.324" v="229038"/>
          <ac:spMkLst>
            <pc:docMk/>
            <pc:sldMk cId="2420030622" sldId="2147483071"/>
            <ac:spMk id="4" creationId="{38472373-41AB-ACDD-3005-A4A588501F00}"/>
          </ac:spMkLst>
        </pc:spChg>
        <pc:spChg chg="mod">
          <ac:chgData name="Yiqun Dai" userId="360a2182-b97f-4635-b990-04f846616e33" providerId="ADAL" clId="{8F04EA49-0EFC-48F3-A4D8-E0F0D3B461A8}" dt="2025-11-07T06:15:39.306" v="229020"/>
          <ac:spMkLst>
            <pc:docMk/>
            <pc:sldMk cId="2420030622" sldId="2147483071"/>
            <ac:spMk id="5" creationId="{D2615113-734F-F8FD-FA80-B4034067B527}"/>
          </ac:spMkLst>
        </pc:spChg>
        <pc:spChg chg="mod">
          <ac:chgData name="Yiqun Dai" userId="360a2182-b97f-4635-b990-04f846616e33" providerId="ADAL" clId="{8F04EA49-0EFC-48F3-A4D8-E0F0D3B461A8}" dt="2025-11-07T06:15:39.335" v="229043"/>
          <ac:spMkLst>
            <pc:docMk/>
            <pc:sldMk cId="2420030622" sldId="2147483071"/>
            <ac:spMk id="6" creationId="{EAB8D05B-7C71-C1A0-58D6-CBC366CFFE92}"/>
          </ac:spMkLst>
        </pc:spChg>
        <pc:spChg chg="mod">
          <ac:chgData name="Yiqun Dai" userId="360a2182-b97f-4635-b990-04f846616e33" providerId="ADAL" clId="{8F04EA49-0EFC-48F3-A4D8-E0F0D3B461A8}" dt="2025-11-07T06:15:39.335" v="229046"/>
          <ac:spMkLst>
            <pc:docMk/>
            <pc:sldMk cId="2420030622" sldId="2147483071"/>
            <ac:spMk id="7" creationId="{C6A472B1-8880-B241-1F86-CC6849EA151E}"/>
          </ac:spMkLst>
        </pc:spChg>
        <pc:spChg chg="mod">
          <ac:chgData name="Yiqun Dai" userId="360a2182-b97f-4635-b990-04f846616e33" providerId="ADAL" clId="{8F04EA49-0EFC-48F3-A4D8-E0F0D3B461A8}" dt="2025-11-07T06:15:39.341" v="229051"/>
          <ac:spMkLst>
            <pc:docMk/>
            <pc:sldMk cId="2420030622" sldId="2147483071"/>
            <ac:spMk id="10" creationId="{81B74854-CBD6-498A-798B-2EA340655780}"/>
          </ac:spMkLst>
        </pc:spChg>
        <pc:spChg chg="mod">
          <ac:chgData name="Yiqun Dai" userId="360a2182-b97f-4635-b990-04f846616e33" providerId="ADAL" clId="{8F04EA49-0EFC-48F3-A4D8-E0F0D3B461A8}" dt="2025-11-07T06:15:39.323" v="229024"/>
          <ac:spMkLst>
            <pc:docMk/>
            <pc:sldMk cId="2420030622" sldId="2147483071"/>
            <ac:spMk id="12" creationId="{41A28105-11C5-BDCA-DF59-0D1F243A168A}"/>
          </ac:spMkLst>
        </pc:spChg>
        <pc:spChg chg="mod">
          <ac:chgData name="Yiqun Dai" userId="360a2182-b97f-4635-b990-04f846616e33" providerId="ADAL" clId="{8F04EA49-0EFC-48F3-A4D8-E0F0D3B461A8}" dt="2025-11-07T06:15:39.324" v="229035"/>
          <ac:spMkLst>
            <pc:docMk/>
            <pc:sldMk cId="2420030622" sldId="2147483071"/>
            <ac:spMk id="13" creationId="{1CA4E950-CB0D-66DE-37AD-71A95B14872E}"/>
          </ac:spMkLst>
        </pc:spChg>
        <pc:spChg chg="mod">
          <ac:chgData name="Yiqun Dai" userId="360a2182-b97f-4635-b990-04f846616e33" providerId="ADAL" clId="{8F04EA49-0EFC-48F3-A4D8-E0F0D3B461A8}" dt="2025-11-07T06:15:39.335" v="229048"/>
          <ac:spMkLst>
            <pc:docMk/>
            <pc:sldMk cId="2420030622" sldId="2147483071"/>
            <ac:spMk id="14" creationId="{312E9F23-3845-BF84-D9D1-5F5B28620283}"/>
          </ac:spMkLst>
        </pc:spChg>
        <pc:spChg chg="mod">
          <ac:chgData name="Yiqun Dai" userId="360a2182-b97f-4635-b990-04f846616e33" providerId="ADAL" clId="{8F04EA49-0EFC-48F3-A4D8-E0F0D3B461A8}" dt="2025-11-07T06:15:39.335" v="229047"/>
          <ac:spMkLst>
            <pc:docMk/>
            <pc:sldMk cId="2420030622" sldId="2147483071"/>
            <ac:spMk id="15" creationId="{AD9C284B-AE82-C292-6FB1-443A2F6AE516}"/>
          </ac:spMkLst>
        </pc:spChg>
        <pc:spChg chg="mod">
          <ac:chgData name="Yiqun Dai" userId="360a2182-b97f-4635-b990-04f846616e33" providerId="ADAL" clId="{8F04EA49-0EFC-48F3-A4D8-E0F0D3B461A8}" dt="2025-11-07T06:15:39.341" v="229052"/>
          <ac:spMkLst>
            <pc:docMk/>
            <pc:sldMk cId="2420030622" sldId="2147483071"/>
            <ac:spMk id="16" creationId="{F10352A0-C9D6-903C-D01D-86D55B93CDD9}"/>
          </ac:spMkLst>
        </pc:spChg>
        <pc:spChg chg="mod">
          <ac:chgData name="Yiqun Dai" userId="360a2182-b97f-4635-b990-04f846616e33" providerId="ADAL" clId="{8F04EA49-0EFC-48F3-A4D8-E0F0D3B461A8}" dt="2025-11-07T06:15:39.306" v="229019"/>
          <ac:spMkLst>
            <pc:docMk/>
            <pc:sldMk cId="2420030622" sldId="2147483071"/>
            <ac:spMk id="17" creationId="{C26E350A-E873-F703-8F30-47270B6D0247}"/>
          </ac:spMkLst>
        </pc:spChg>
        <pc:spChg chg="mod">
          <ac:chgData name="Yiqun Dai" userId="360a2182-b97f-4635-b990-04f846616e33" providerId="ADAL" clId="{8F04EA49-0EFC-48F3-A4D8-E0F0D3B461A8}" dt="2025-11-07T06:15:39.306" v="229018"/>
          <ac:spMkLst>
            <pc:docMk/>
            <pc:sldMk cId="2420030622" sldId="2147483071"/>
            <ac:spMk id="18" creationId="{66578DE9-6ED3-6F5A-F7BA-717947BED489}"/>
          </ac:spMkLst>
        </pc:spChg>
        <pc:spChg chg="mod">
          <ac:chgData name="Yiqun Dai" userId="360a2182-b97f-4635-b990-04f846616e33" providerId="ADAL" clId="{8F04EA49-0EFC-48F3-A4D8-E0F0D3B461A8}" dt="2025-11-07T06:15:39.335" v="229049"/>
          <ac:spMkLst>
            <pc:docMk/>
            <pc:sldMk cId="2420030622" sldId="2147483071"/>
            <ac:spMk id="19" creationId="{7BF066A0-86C0-2A15-9352-78D98AE0C67A}"/>
          </ac:spMkLst>
        </pc:spChg>
        <pc:spChg chg="mod">
          <ac:chgData name="Yiqun Dai" userId="360a2182-b97f-4635-b990-04f846616e33" providerId="ADAL" clId="{8F04EA49-0EFC-48F3-A4D8-E0F0D3B461A8}" dt="2025-11-07T06:15:39.335" v="229044"/>
          <ac:spMkLst>
            <pc:docMk/>
            <pc:sldMk cId="2420030622" sldId="2147483071"/>
            <ac:spMk id="20" creationId="{528C83AC-D46C-8C49-0101-250C654E6412}"/>
          </ac:spMkLst>
        </pc:spChg>
        <pc:spChg chg="mod">
          <ac:chgData name="Yiqun Dai" userId="360a2182-b97f-4635-b990-04f846616e33" providerId="ADAL" clId="{8F04EA49-0EFC-48F3-A4D8-E0F0D3B461A8}" dt="2025-11-07T06:15:39.335" v="229045"/>
          <ac:spMkLst>
            <pc:docMk/>
            <pc:sldMk cId="2420030622" sldId="2147483071"/>
            <ac:spMk id="21" creationId="{32D6A438-4B51-A653-36CB-D8D43A62C724}"/>
          </ac:spMkLst>
        </pc:spChg>
        <pc:spChg chg="mod">
          <ac:chgData name="Yiqun Dai" userId="360a2182-b97f-4635-b990-04f846616e33" providerId="ADAL" clId="{8F04EA49-0EFC-48F3-A4D8-E0F0D3B461A8}" dt="2025-11-07T06:15:39.341" v="229050"/>
          <ac:spMkLst>
            <pc:docMk/>
            <pc:sldMk cId="2420030622" sldId="2147483071"/>
            <ac:spMk id="22" creationId="{542045D9-BBA8-17DC-F090-237679670CB0}"/>
          </ac:spMkLst>
        </pc:spChg>
        <pc:spChg chg="mod">
          <ac:chgData name="Yiqun Dai" userId="360a2182-b97f-4635-b990-04f846616e33" providerId="ADAL" clId="{8F04EA49-0EFC-48F3-A4D8-E0F0D3B461A8}" dt="2025-11-07T06:15:39.341" v="229058"/>
          <ac:spMkLst>
            <pc:docMk/>
            <pc:sldMk cId="2420030622" sldId="2147483071"/>
            <ac:spMk id="24" creationId="{E0E4929B-228D-0A59-668C-DBFE77BB2C9E}"/>
          </ac:spMkLst>
        </pc:spChg>
        <pc:spChg chg="mod ord">
          <ac:chgData name="Yiqun Dai" userId="360a2182-b97f-4635-b990-04f846616e33" providerId="ADAL" clId="{8F04EA49-0EFC-48F3-A4D8-E0F0D3B461A8}" dt="2025-11-07T06:15:39.288" v="228990"/>
          <ac:spMkLst>
            <pc:docMk/>
            <pc:sldMk cId="2420030622" sldId="2147483071"/>
            <ac:spMk id="35" creationId="{67C4E31F-8213-C571-D938-6CF5D2BEFC1D}"/>
          </ac:spMkLst>
        </pc:spChg>
        <pc:spChg chg="mod ord">
          <ac:chgData name="Yiqun Dai" userId="360a2182-b97f-4635-b990-04f846616e33" providerId="ADAL" clId="{8F04EA49-0EFC-48F3-A4D8-E0F0D3B461A8}" dt="2025-11-07T06:15:39.288" v="228988"/>
          <ac:spMkLst>
            <pc:docMk/>
            <pc:sldMk cId="2420030622" sldId="2147483071"/>
            <ac:spMk id="51" creationId="{A440E514-0483-F03A-2E84-1D7800A267B4}"/>
          </ac:spMkLst>
        </pc:spChg>
        <pc:spChg chg="mod ord">
          <ac:chgData name="Yiqun Dai" userId="360a2182-b97f-4635-b990-04f846616e33" providerId="ADAL" clId="{8F04EA49-0EFC-48F3-A4D8-E0F0D3B461A8}" dt="2025-11-07T06:15:39.288" v="228986"/>
          <ac:spMkLst>
            <pc:docMk/>
            <pc:sldMk cId="2420030622" sldId="2147483071"/>
            <ac:spMk id="52" creationId="{2D0F9848-5EE5-30DE-59EF-8CAF76C4130E}"/>
          </ac:spMkLst>
        </pc:spChg>
        <pc:spChg chg="mod">
          <ac:chgData name="Yiqun Dai" userId="360a2182-b97f-4635-b990-04f846616e33" providerId="ADAL" clId="{8F04EA49-0EFC-48F3-A4D8-E0F0D3B461A8}" dt="2025-11-07T06:15:39.320" v="229021"/>
          <ac:spMkLst>
            <pc:docMk/>
            <pc:sldMk cId="2420030622" sldId="2147483071"/>
            <ac:spMk id="64" creationId="{9A56840B-FF2C-D3C1-D94B-C409B70F3520}"/>
          </ac:spMkLst>
        </pc:spChg>
        <pc:spChg chg="mod ord">
          <ac:chgData name="Yiqun Dai" userId="360a2182-b97f-4635-b990-04f846616e33" providerId="ADAL" clId="{8F04EA49-0EFC-48F3-A4D8-E0F0D3B461A8}" dt="2025-11-07T06:15:39.324" v="229042"/>
          <ac:spMkLst>
            <pc:docMk/>
            <pc:sldMk cId="2420030622" sldId="2147483071"/>
            <ac:spMk id="80" creationId="{7DAEE334-AA5F-A413-8038-5AA0B69194ED}"/>
          </ac:spMkLst>
        </pc:spChg>
        <pc:spChg chg="mod">
          <ac:chgData name="Yiqun Dai" userId="360a2182-b97f-4635-b990-04f846616e33" providerId="ADAL" clId="{8F04EA49-0EFC-48F3-A4D8-E0F0D3B461A8}" dt="2025-11-07T06:15:39.341" v="229053"/>
          <ac:spMkLst>
            <pc:docMk/>
            <pc:sldMk cId="2420030622" sldId="2147483071"/>
            <ac:spMk id="89" creationId="{7044104F-B392-E687-8108-BE12D4B92EB8}"/>
          </ac:spMkLst>
        </pc:spChg>
        <pc:spChg chg="mod">
          <ac:chgData name="Yiqun Dai" userId="360a2182-b97f-4635-b990-04f846616e33" providerId="ADAL" clId="{8F04EA49-0EFC-48F3-A4D8-E0F0D3B461A8}" dt="2025-11-07T06:15:39.324" v="229039"/>
          <ac:spMkLst>
            <pc:docMk/>
            <pc:sldMk cId="2420030622" sldId="2147483071"/>
            <ac:spMk id="92" creationId="{23085480-8950-8E7F-0DD8-5C5E4CC27DEA}"/>
          </ac:spMkLst>
        </pc:spChg>
        <pc:spChg chg="mod ord">
          <ac:chgData name="Yiqun Dai" userId="360a2182-b97f-4635-b990-04f846616e33" providerId="ADAL" clId="{8F04EA49-0EFC-48F3-A4D8-E0F0D3B461A8}" dt="2025-11-07T06:15:39.320" v="229023"/>
          <ac:spMkLst>
            <pc:docMk/>
            <pc:sldMk cId="2420030622" sldId="2147483071"/>
            <ac:spMk id="96" creationId="{4FC164C6-58A7-A605-B6F5-F117BFEB7484}"/>
          </ac:spMkLst>
        </pc:spChg>
        <pc:spChg chg="mod">
          <ac:chgData name="Yiqun Dai" userId="360a2182-b97f-4635-b990-04f846616e33" providerId="ADAL" clId="{8F04EA49-0EFC-48F3-A4D8-E0F0D3B461A8}" dt="2025-11-07T06:15:39.341" v="229054"/>
          <ac:spMkLst>
            <pc:docMk/>
            <pc:sldMk cId="2420030622" sldId="2147483071"/>
            <ac:spMk id="99" creationId="{64E90089-BBCD-6136-D33D-2E079519407F}"/>
          </ac:spMkLst>
        </pc:spChg>
        <pc:spChg chg="mod">
          <ac:chgData name="Yiqun Dai" userId="360a2182-b97f-4635-b990-04f846616e33" providerId="ADAL" clId="{8F04EA49-0EFC-48F3-A4D8-E0F0D3B461A8}" dt="2025-11-07T06:15:39.324" v="229032"/>
          <ac:spMkLst>
            <pc:docMk/>
            <pc:sldMk cId="2420030622" sldId="2147483071"/>
            <ac:spMk id="109" creationId="{2C93D1CC-9434-2C2D-6CBE-D7CBE74386A8}"/>
          </ac:spMkLst>
        </pc:spChg>
        <pc:spChg chg="mod">
          <ac:chgData name="Yiqun Dai" userId="360a2182-b97f-4635-b990-04f846616e33" providerId="ADAL" clId="{8F04EA49-0EFC-48F3-A4D8-E0F0D3B461A8}" dt="2025-11-07T06:15:39.324" v="229036"/>
          <ac:spMkLst>
            <pc:docMk/>
            <pc:sldMk cId="2420030622" sldId="2147483071"/>
            <ac:spMk id="110" creationId="{737BAD63-428B-4A2E-2293-D5B7B484B59D}"/>
          </ac:spMkLst>
        </pc:spChg>
        <pc:spChg chg="mod">
          <ac:chgData name="Yiqun Dai" userId="360a2182-b97f-4635-b990-04f846616e33" providerId="ADAL" clId="{8F04EA49-0EFC-48F3-A4D8-E0F0D3B461A8}" dt="2025-11-07T06:15:39.324" v="229037"/>
          <ac:spMkLst>
            <pc:docMk/>
            <pc:sldMk cId="2420030622" sldId="2147483071"/>
            <ac:spMk id="111" creationId="{ACEF0FE1-72E7-0EB8-6CC8-DC34EC5BA14F}"/>
          </ac:spMkLst>
        </pc:spChg>
        <pc:spChg chg="mod ord">
          <ac:chgData name="Yiqun Dai" userId="360a2182-b97f-4635-b990-04f846616e33" providerId="ADAL" clId="{8F04EA49-0EFC-48F3-A4D8-E0F0D3B461A8}" dt="2025-11-07T06:15:39.324" v="229028"/>
          <ac:spMkLst>
            <pc:docMk/>
            <pc:sldMk cId="2420030622" sldId="2147483071"/>
            <ac:spMk id="112" creationId="{A593CB6D-8C80-1DEC-0468-620F83D6B71D}"/>
          </ac:spMkLst>
        </pc:spChg>
        <pc:spChg chg="mod ord">
          <ac:chgData name="Yiqun Dai" userId="360a2182-b97f-4635-b990-04f846616e33" providerId="ADAL" clId="{8F04EA49-0EFC-48F3-A4D8-E0F0D3B461A8}" dt="2025-11-07T06:15:39.324" v="229026"/>
          <ac:spMkLst>
            <pc:docMk/>
            <pc:sldMk cId="2420030622" sldId="2147483071"/>
            <ac:spMk id="113" creationId="{891052DA-A579-6F3F-771A-E41AAD3C8E3E}"/>
          </ac:spMkLst>
        </pc:spChg>
        <pc:spChg chg="mod">
          <ac:chgData name="Yiqun Dai" userId="360a2182-b97f-4635-b990-04f846616e33" providerId="ADAL" clId="{8F04EA49-0EFC-48F3-A4D8-E0F0D3B461A8}" dt="2025-11-07T06:15:39.341" v="229055"/>
          <ac:spMkLst>
            <pc:docMk/>
            <pc:sldMk cId="2420030622" sldId="2147483071"/>
            <ac:spMk id="114" creationId="{668D491D-FFC2-FC00-F346-FFB28F4EEF89}"/>
          </ac:spMkLst>
        </pc:spChg>
        <pc:spChg chg="mod ord">
          <ac:chgData name="Yiqun Dai" userId="360a2182-b97f-4635-b990-04f846616e33" providerId="ADAL" clId="{8F04EA49-0EFC-48F3-A4D8-E0F0D3B461A8}" dt="2025-11-07T06:15:39.324" v="229031"/>
          <ac:spMkLst>
            <pc:docMk/>
            <pc:sldMk cId="2420030622" sldId="2147483071"/>
            <ac:spMk id="115" creationId="{FF732CD7-E3E0-3BD5-B802-3B4F1F94B43D}"/>
          </ac:spMkLst>
        </pc:spChg>
        <pc:spChg chg="mod">
          <ac:chgData name="Yiqun Dai" userId="360a2182-b97f-4635-b990-04f846616e33" providerId="ADAL" clId="{8F04EA49-0EFC-48F3-A4D8-E0F0D3B461A8}" dt="2025-11-07T06:15:39.324" v="229029"/>
          <ac:spMkLst>
            <pc:docMk/>
            <pc:sldMk cId="2420030622" sldId="2147483071"/>
            <ac:spMk id="116" creationId="{71782E58-A952-31E1-8ABD-F62EBA4B6788}"/>
          </ac:spMkLst>
        </pc:spChg>
        <pc:spChg chg="mod">
          <ac:chgData name="Yiqun Dai" userId="360a2182-b97f-4635-b990-04f846616e33" providerId="ADAL" clId="{8F04EA49-0EFC-48F3-A4D8-E0F0D3B461A8}" dt="2025-11-07T06:15:39.341" v="229056"/>
          <ac:spMkLst>
            <pc:docMk/>
            <pc:sldMk cId="2420030622" sldId="2147483071"/>
            <ac:spMk id="117" creationId="{1C746243-CA99-A1A4-160B-CED1A07C9EE1}"/>
          </ac:spMkLst>
        </pc:spChg>
        <pc:spChg chg="mod">
          <ac:chgData name="Yiqun Dai" userId="360a2182-b97f-4635-b990-04f846616e33" providerId="ADAL" clId="{8F04EA49-0EFC-48F3-A4D8-E0F0D3B461A8}" dt="2025-11-07T06:15:39.324" v="229040"/>
          <ac:spMkLst>
            <pc:docMk/>
            <pc:sldMk cId="2420030622" sldId="2147483071"/>
            <ac:spMk id="118" creationId="{D1C0FCBF-CB66-8894-D4F7-CBE8F0369312}"/>
          </ac:spMkLst>
        </pc:spChg>
        <pc:spChg chg="mod ord">
          <ac:chgData name="Yiqun Dai" userId="360a2182-b97f-4635-b990-04f846616e33" providerId="ADAL" clId="{8F04EA49-0EFC-48F3-A4D8-E0F0D3B461A8}" dt="2025-11-07T06:15:39.324" v="229034"/>
          <ac:spMkLst>
            <pc:docMk/>
            <pc:sldMk cId="2420030622" sldId="2147483071"/>
            <ac:spMk id="119" creationId="{F52BDE78-F74B-3D58-9E8B-55712A9F3FDA}"/>
          </ac:spMkLst>
        </pc:spChg>
        <pc:spChg chg="mod">
          <ac:chgData name="Yiqun Dai" userId="360a2182-b97f-4635-b990-04f846616e33" providerId="ADAL" clId="{8F04EA49-0EFC-48F3-A4D8-E0F0D3B461A8}" dt="2025-11-07T06:15:39.341" v="229057"/>
          <ac:spMkLst>
            <pc:docMk/>
            <pc:sldMk cId="2420030622" sldId="2147483071"/>
            <ac:spMk id="121" creationId="{690DE142-DC0B-EF98-E0C3-C4BB7958926A}"/>
          </ac:spMkLst>
        </pc:spChg>
        <pc:spChg chg="mod">
          <ac:chgData name="Yiqun Dai" userId="360a2182-b97f-4635-b990-04f846616e33" providerId="ADAL" clId="{8F04EA49-0EFC-48F3-A4D8-E0F0D3B461A8}" dt="2025-11-07T06:15:39.350" v="229066"/>
          <ac:spMkLst>
            <pc:docMk/>
            <pc:sldMk cId="2420030622" sldId="2147483071"/>
            <ac:spMk id="170" creationId="{E358D877-A0FE-2A59-C40A-2E2673D672E0}"/>
          </ac:spMkLst>
        </pc:spChg>
        <pc:spChg chg="mod">
          <ac:chgData name="Yiqun Dai" userId="360a2182-b97f-4635-b990-04f846616e33" providerId="ADAL" clId="{8F04EA49-0EFC-48F3-A4D8-E0F0D3B461A8}" dt="2025-11-07T06:15:39.350" v="229067"/>
          <ac:spMkLst>
            <pc:docMk/>
            <pc:sldMk cId="2420030622" sldId="2147483071"/>
            <ac:spMk id="171" creationId="{A3B74362-4039-CC36-3A1A-B0E20F20D689}"/>
          </ac:spMkLst>
        </pc:spChg>
        <pc:spChg chg="mod">
          <ac:chgData name="Yiqun Dai" userId="360a2182-b97f-4635-b990-04f846616e33" providerId="ADAL" clId="{8F04EA49-0EFC-48F3-A4D8-E0F0D3B461A8}" dt="2025-11-07T06:15:39.350" v="229068"/>
          <ac:spMkLst>
            <pc:docMk/>
            <pc:sldMk cId="2420030622" sldId="2147483071"/>
            <ac:spMk id="172" creationId="{84979810-8178-49D5-3FE2-5CC9EC240E4B}"/>
          </ac:spMkLst>
        </pc:spChg>
        <pc:spChg chg="mod">
          <ac:chgData name="Yiqun Dai" userId="360a2182-b97f-4635-b990-04f846616e33" providerId="ADAL" clId="{8F04EA49-0EFC-48F3-A4D8-E0F0D3B461A8}" dt="2025-11-07T06:15:39.350" v="229069"/>
          <ac:spMkLst>
            <pc:docMk/>
            <pc:sldMk cId="2420030622" sldId="2147483071"/>
            <ac:spMk id="173" creationId="{DA768C52-B91B-3BE4-2BDA-F8F01CBCA69E}"/>
          </ac:spMkLst>
        </pc:spChg>
        <pc:spChg chg="mod ord">
          <ac:chgData name="Yiqun Dai" userId="360a2182-b97f-4635-b990-04f846616e33" providerId="ADAL" clId="{8F04EA49-0EFC-48F3-A4D8-E0F0D3B461A8}" dt="2025-11-07T06:15:39.341" v="229060"/>
          <ac:spMkLst>
            <pc:docMk/>
            <pc:sldMk cId="2420030622" sldId="2147483071"/>
            <ac:spMk id="176" creationId="{66612E23-F894-2BFB-F8C0-37A24A44C8B6}"/>
          </ac:spMkLst>
        </pc:spChg>
        <pc:spChg chg="mod">
          <ac:chgData name="Yiqun Dai" userId="360a2182-b97f-4635-b990-04f846616e33" providerId="ADAL" clId="{8F04EA49-0EFC-48F3-A4D8-E0F0D3B461A8}" dt="2025-11-07T06:15:39.349" v="229061"/>
          <ac:spMkLst>
            <pc:docMk/>
            <pc:sldMk cId="2420030622" sldId="2147483071"/>
            <ac:spMk id="177" creationId="{500A05E6-A06A-316D-BE6D-B3BBEE579BC3}"/>
          </ac:spMkLst>
        </pc:spChg>
        <pc:spChg chg="mod ord">
          <ac:chgData name="Yiqun Dai" userId="360a2182-b97f-4635-b990-04f846616e33" providerId="ADAL" clId="{8F04EA49-0EFC-48F3-A4D8-E0F0D3B461A8}" dt="2025-11-07T06:15:39.350" v="229063"/>
          <ac:spMkLst>
            <pc:docMk/>
            <pc:sldMk cId="2420030622" sldId="2147483071"/>
            <ac:spMk id="178" creationId="{A9F01272-F414-F68C-8159-79E6296E6C54}"/>
          </ac:spMkLst>
        </pc:spChg>
        <pc:spChg chg="mod ord">
          <ac:chgData name="Yiqun Dai" userId="360a2182-b97f-4635-b990-04f846616e33" providerId="ADAL" clId="{8F04EA49-0EFC-48F3-A4D8-E0F0D3B461A8}" dt="2025-11-07T06:15:39.350" v="229065"/>
          <ac:spMkLst>
            <pc:docMk/>
            <pc:sldMk cId="2420030622" sldId="2147483071"/>
            <ac:spMk id="179" creationId="{A3990936-D508-DC5C-A76E-BABC9AABA379}"/>
          </ac:spMkLst>
        </pc:spChg>
        <pc:spChg chg="mod ord">
          <ac:chgData name="Yiqun Dai" userId="360a2182-b97f-4635-b990-04f846616e33" providerId="ADAL" clId="{8F04EA49-0EFC-48F3-A4D8-E0F0D3B461A8}" dt="2025-11-07T06:22:03.727" v="229250"/>
          <ac:spMkLst>
            <pc:docMk/>
            <pc:sldMk cId="2420030622" sldId="2147483071"/>
            <ac:spMk id="204" creationId="{758FB9C4-4D4A-32E2-69B2-AE89A47C3804}"/>
          </ac:spMkLst>
        </pc:spChg>
        <pc:spChg chg="mod ord">
          <ac:chgData name="Yiqun Dai" userId="360a2182-b97f-4635-b990-04f846616e33" providerId="ADAL" clId="{8F04EA49-0EFC-48F3-A4D8-E0F0D3B461A8}" dt="2025-11-07T06:15:39.288" v="228994"/>
          <ac:spMkLst>
            <pc:docMk/>
            <pc:sldMk cId="2420030622" sldId="2147483071"/>
            <ac:spMk id="206" creationId="{F7582637-83EE-1915-8B65-D3AE91E3C964}"/>
          </ac:spMkLst>
        </pc:spChg>
        <pc:spChg chg="mod ord">
          <ac:chgData name="Yiqun Dai" userId="360a2182-b97f-4635-b990-04f846616e33" providerId="ADAL" clId="{8F04EA49-0EFC-48F3-A4D8-E0F0D3B461A8}" dt="2025-11-07T06:15:39.288" v="228992"/>
          <ac:spMkLst>
            <pc:docMk/>
            <pc:sldMk cId="2420030622" sldId="2147483071"/>
            <ac:spMk id="259" creationId="{FDF958E5-BC6D-723B-4043-148949C15472}"/>
          </ac:spMkLst>
        </pc:spChg>
        <pc:graphicFrameChg chg="mod">
          <ac:chgData name="Yiqun Dai" userId="360a2182-b97f-4635-b990-04f846616e33" providerId="ADAL" clId="{8F04EA49-0EFC-48F3-A4D8-E0F0D3B461A8}" dt="2025-11-07T06:21:27.435" v="229247"/>
          <ac:graphicFrameMkLst>
            <pc:docMk/>
            <pc:sldMk cId="2420030622" sldId="2147483071"/>
            <ac:graphicFrameMk id="11" creationId="{4281C077-2605-6F00-5029-A3BB5A56EDA9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6:15:39.306" v="229016"/>
          <ac:graphicFrameMkLst>
            <pc:docMk/>
            <pc:sldMk cId="2420030622" sldId="2147483071"/>
            <ac:graphicFrameMk id="44" creationId="{9060CA51-B709-FB85-569E-BBA274467940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6:20:04.752" v="229084" actId="255"/>
          <ac:graphicFrameMkLst>
            <pc:docMk/>
            <pc:sldMk cId="2420030622" sldId="2147483071"/>
            <ac:graphicFrameMk id="198" creationId="{8EC02E79-E8B4-5EF5-A8BF-541BB499671C}"/>
          </ac:graphicFrameMkLst>
        </pc:graphicFrameChg>
        <pc:cxnChg chg="mod ord">
          <ac:chgData name="Yiqun Dai" userId="360a2182-b97f-4635-b990-04f846616e33" providerId="ADAL" clId="{8F04EA49-0EFC-48F3-A4D8-E0F0D3B461A8}" dt="2025-11-07T06:15:39.305" v="229000"/>
          <ac:cxnSpMkLst>
            <pc:docMk/>
            <pc:sldMk cId="2420030622" sldId="2147483071"/>
            <ac:cxnSpMk id="8" creationId="{82E67D93-8A61-7505-00B1-02FD9867D1A7}"/>
          </ac:cxnSpMkLst>
        </pc:cxnChg>
        <pc:cxnChg chg="mod ord">
          <ac:chgData name="Yiqun Dai" userId="360a2182-b97f-4635-b990-04f846616e33" providerId="ADAL" clId="{8F04EA49-0EFC-48F3-A4D8-E0F0D3B461A8}" dt="2025-11-07T06:15:39.306" v="229002"/>
          <ac:cxnSpMkLst>
            <pc:docMk/>
            <pc:sldMk cId="2420030622" sldId="2147483071"/>
            <ac:cxnSpMk id="9" creationId="{3B26C26E-C669-7BA6-A7B3-BA17D0F0B1A2}"/>
          </ac:cxnSpMkLst>
        </pc:cxnChg>
        <pc:cxnChg chg="mod ord">
          <ac:chgData name="Yiqun Dai" userId="360a2182-b97f-4635-b990-04f846616e33" providerId="ADAL" clId="{8F04EA49-0EFC-48F3-A4D8-E0F0D3B461A8}" dt="2025-11-07T06:15:39.303" v="228998"/>
          <ac:cxnSpMkLst>
            <pc:docMk/>
            <pc:sldMk cId="2420030622" sldId="2147483071"/>
            <ac:cxnSpMk id="25" creationId="{701AF455-C86B-5B08-18C0-2DEDF7B70A44}"/>
          </ac:cxnSpMkLst>
        </pc:cxnChg>
        <pc:cxnChg chg="mod ord">
          <ac:chgData name="Yiqun Dai" userId="360a2182-b97f-4635-b990-04f846616e33" providerId="ADAL" clId="{8F04EA49-0EFC-48F3-A4D8-E0F0D3B461A8}" dt="2025-11-07T06:15:39.306" v="229004"/>
          <ac:cxnSpMkLst>
            <pc:docMk/>
            <pc:sldMk cId="2420030622" sldId="2147483071"/>
            <ac:cxnSpMk id="26" creationId="{8F826BF2-6246-D6E2-97E5-8A78812522AF}"/>
          </ac:cxnSpMkLst>
        </pc:cxnChg>
        <pc:cxnChg chg="mod ord">
          <ac:chgData name="Yiqun Dai" userId="360a2182-b97f-4635-b990-04f846616e33" providerId="ADAL" clId="{8F04EA49-0EFC-48F3-A4D8-E0F0D3B461A8}" dt="2025-11-07T06:15:39.306" v="229008"/>
          <ac:cxnSpMkLst>
            <pc:docMk/>
            <pc:sldMk cId="2420030622" sldId="2147483071"/>
            <ac:cxnSpMk id="48" creationId="{A40519D6-8887-84C1-E230-44192E995027}"/>
          </ac:cxnSpMkLst>
        </pc:cxnChg>
        <pc:cxnChg chg="mod ord">
          <ac:chgData name="Yiqun Dai" userId="360a2182-b97f-4635-b990-04f846616e33" providerId="ADAL" clId="{8F04EA49-0EFC-48F3-A4D8-E0F0D3B461A8}" dt="2025-11-07T06:15:39.306" v="229006"/>
          <ac:cxnSpMkLst>
            <pc:docMk/>
            <pc:sldMk cId="2420030622" sldId="2147483071"/>
            <ac:cxnSpMk id="81" creationId="{1DFEBAD7-F25E-F3E0-6E05-36BF04AEF434}"/>
          </ac:cxnSpMkLst>
        </pc:cxnChg>
        <pc:cxnChg chg="mod ord">
          <ac:chgData name="Yiqun Dai" userId="360a2182-b97f-4635-b990-04f846616e33" providerId="ADAL" clId="{8F04EA49-0EFC-48F3-A4D8-E0F0D3B461A8}" dt="2025-11-07T06:15:39.306" v="229010"/>
          <ac:cxnSpMkLst>
            <pc:docMk/>
            <pc:sldMk cId="2420030622" sldId="2147483071"/>
            <ac:cxnSpMk id="123" creationId="{BB97F1CE-7AE5-94C2-C1A6-F843E23B8090}"/>
          </ac:cxnSpMkLst>
        </pc:cxnChg>
        <pc:cxnChg chg="mod ord">
          <ac:chgData name="Yiqun Dai" userId="360a2182-b97f-4635-b990-04f846616e33" providerId="ADAL" clId="{8F04EA49-0EFC-48F3-A4D8-E0F0D3B461A8}" dt="2025-11-07T06:15:39.306" v="229012"/>
          <ac:cxnSpMkLst>
            <pc:docMk/>
            <pc:sldMk cId="2420030622" sldId="2147483071"/>
            <ac:cxnSpMk id="124" creationId="{F42F1E05-26C0-F794-F664-A75003F73D01}"/>
          </ac:cxnSpMkLst>
        </pc:cxnChg>
        <pc:cxnChg chg="mod ord">
          <ac:chgData name="Yiqun Dai" userId="360a2182-b97f-4635-b990-04f846616e33" providerId="ADAL" clId="{8F04EA49-0EFC-48F3-A4D8-E0F0D3B461A8}" dt="2025-11-07T06:15:39.306" v="229014"/>
          <ac:cxnSpMkLst>
            <pc:docMk/>
            <pc:sldMk cId="2420030622" sldId="2147483071"/>
            <ac:cxnSpMk id="125" creationId="{0B7C50EC-829E-5264-67A4-3166EA896BC6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1:33:49.411" v="282991"/>
        <pc:sldMkLst>
          <pc:docMk/>
          <pc:sldMk cId="2108781205" sldId="2147483072"/>
        </pc:sldMkLst>
        <pc:spChg chg="mod ord">
          <ac:chgData name="Yiqun Dai" userId="360a2182-b97f-4635-b990-04f846616e33" providerId="ADAL" clId="{8F04EA49-0EFC-48F3-A4D8-E0F0D3B461A8}" dt="2025-11-07T07:08:10.419" v="237373" actId="948"/>
          <ac:spMkLst>
            <pc:docMk/>
            <pc:sldMk cId="2108781205" sldId="2147483072"/>
            <ac:spMk id="2" creationId="{33CE9184-B331-B398-D4C8-430DF229D85C}"/>
          </ac:spMkLst>
        </pc:spChg>
        <pc:spChg chg="mod">
          <ac:chgData name="Yiqun Dai" userId="360a2182-b97f-4635-b990-04f846616e33" providerId="ADAL" clId="{8F04EA49-0EFC-48F3-A4D8-E0F0D3B461A8}" dt="2025-11-07T07:02:13.265" v="236894"/>
          <ac:spMkLst>
            <pc:docMk/>
            <pc:sldMk cId="2108781205" sldId="2147483072"/>
            <ac:spMk id="3" creationId="{431EFF4D-E4FB-3EA0-CACC-694D7B8D5002}"/>
          </ac:spMkLst>
        </pc:spChg>
        <pc:spChg chg="mod">
          <ac:chgData name="Yiqun Dai" userId="360a2182-b97f-4635-b990-04f846616e33" providerId="ADAL" clId="{8F04EA49-0EFC-48F3-A4D8-E0F0D3B461A8}" dt="2025-11-07T07:02:13.284" v="236906"/>
          <ac:spMkLst>
            <pc:docMk/>
            <pc:sldMk cId="2108781205" sldId="2147483072"/>
            <ac:spMk id="4" creationId="{B0F122F9-577E-7600-35D3-531DA79AA0D4}"/>
          </ac:spMkLst>
        </pc:spChg>
        <pc:spChg chg="mod">
          <ac:chgData name="Yiqun Dai" userId="360a2182-b97f-4635-b990-04f846616e33" providerId="ADAL" clId="{8F04EA49-0EFC-48F3-A4D8-E0F0D3B461A8}" dt="2025-11-07T07:02:13.265" v="236897"/>
          <ac:spMkLst>
            <pc:docMk/>
            <pc:sldMk cId="2108781205" sldId="2147483072"/>
            <ac:spMk id="5" creationId="{28D8D37F-28F1-17A0-9DE9-0455C2F0E7C8}"/>
          </ac:spMkLst>
        </pc:spChg>
        <pc:spChg chg="mod">
          <ac:chgData name="Yiqun Dai" userId="360a2182-b97f-4635-b990-04f846616e33" providerId="ADAL" clId="{8F04EA49-0EFC-48F3-A4D8-E0F0D3B461A8}" dt="2025-11-07T07:02:13.284" v="236912"/>
          <ac:spMkLst>
            <pc:docMk/>
            <pc:sldMk cId="2108781205" sldId="2147483072"/>
            <ac:spMk id="6" creationId="{29127BFF-7BA5-E633-6F36-24C6FFAFEF06}"/>
          </ac:spMkLst>
        </pc:spChg>
        <pc:spChg chg="del mod">
          <ac:chgData name="Yiqun Dai" userId="360a2182-b97f-4635-b990-04f846616e33" providerId="ADAL" clId="{8F04EA49-0EFC-48F3-A4D8-E0F0D3B461A8}" dt="2025-11-07T07:02:13.297" v="236915"/>
          <ac:spMkLst>
            <pc:docMk/>
            <pc:sldMk cId="2108781205" sldId="2147483072"/>
            <ac:spMk id="7" creationId="{D8F583C5-0538-A749-7E53-0804FB6299D9}"/>
          </ac:spMkLst>
        </pc:spChg>
        <pc:spChg chg="mod">
          <ac:chgData name="Yiqun Dai" userId="360a2182-b97f-4635-b990-04f846616e33" providerId="ADAL" clId="{8F04EA49-0EFC-48F3-A4D8-E0F0D3B461A8}" dt="2025-11-07T07:02:13.297" v="236926"/>
          <ac:spMkLst>
            <pc:docMk/>
            <pc:sldMk cId="2108781205" sldId="2147483072"/>
            <ac:spMk id="10" creationId="{169854CD-C9E3-3737-DB39-FACFD7F594EF}"/>
          </ac:spMkLst>
        </pc:spChg>
        <pc:spChg chg="mod">
          <ac:chgData name="Yiqun Dai" userId="360a2182-b97f-4635-b990-04f846616e33" providerId="ADAL" clId="{8F04EA49-0EFC-48F3-A4D8-E0F0D3B461A8}" dt="2025-11-07T07:02:13.265" v="236898"/>
          <ac:spMkLst>
            <pc:docMk/>
            <pc:sldMk cId="2108781205" sldId="2147483072"/>
            <ac:spMk id="12" creationId="{377AC7C1-8644-BD84-49BC-A503C6DADC56}"/>
          </ac:spMkLst>
        </pc:spChg>
        <pc:spChg chg="mod">
          <ac:chgData name="Yiqun Dai" userId="360a2182-b97f-4635-b990-04f846616e33" providerId="ADAL" clId="{8F04EA49-0EFC-48F3-A4D8-E0F0D3B461A8}" dt="2025-11-07T07:02:13.297" v="236921"/>
          <ac:spMkLst>
            <pc:docMk/>
            <pc:sldMk cId="2108781205" sldId="2147483072"/>
            <ac:spMk id="13" creationId="{78F53048-A43D-F2E4-8A9E-B8D20C3A983D}"/>
          </ac:spMkLst>
        </pc:spChg>
        <pc:spChg chg="mod">
          <ac:chgData name="Yiqun Dai" userId="360a2182-b97f-4635-b990-04f846616e33" providerId="ADAL" clId="{8F04EA49-0EFC-48F3-A4D8-E0F0D3B461A8}" dt="2025-11-07T07:02:13.297" v="236917"/>
          <ac:spMkLst>
            <pc:docMk/>
            <pc:sldMk cId="2108781205" sldId="2147483072"/>
            <ac:spMk id="14" creationId="{534B98DF-7CDF-2108-5677-81AD9422601C}"/>
          </ac:spMkLst>
        </pc:spChg>
        <pc:spChg chg="mod">
          <ac:chgData name="Yiqun Dai" userId="360a2182-b97f-4635-b990-04f846616e33" providerId="ADAL" clId="{8F04EA49-0EFC-48F3-A4D8-E0F0D3B461A8}" dt="2025-11-07T07:02:13.297" v="236916"/>
          <ac:spMkLst>
            <pc:docMk/>
            <pc:sldMk cId="2108781205" sldId="2147483072"/>
            <ac:spMk id="15" creationId="{32D4C8A4-1E2E-034C-27EB-F4A556F46FD5}"/>
          </ac:spMkLst>
        </pc:spChg>
        <pc:spChg chg="mod ord">
          <ac:chgData name="Yiqun Dai" userId="360a2182-b97f-4635-b990-04f846616e33" providerId="ADAL" clId="{8F04EA49-0EFC-48F3-A4D8-E0F0D3B461A8}" dt="2025-11-07T07:02:13.297" v="236922"/>
          <ac:spMkLst>
            <pc:docMk/>
            <pc:sldMk cId="2108781205" sldId="2147483072"/>
            <ac:spMk id="16" creationId="{8824B208-0BA9-8A76-3BF5-7D5C6A0F9B83}"/>
          </ac:spMkLst>
        </pc:spChg>
        <pc:spChg chg="mod">
          <ac:chgData name="Yiqun Dai" userId="360a2182-b97f-4635-b990-04f846616e33" providerId="ADAL" clId="{8F04EA49-0EFC-48F3-A4D8-E0F0D3B461A8}" dt="2025-11-07T07:02:13.265" v="236896"/>
          <ac:spMkLst>
            <pc:docMk/>
            <pc:sldMk cId="2108781205" sldId="2147483072"/>
            <ac:spMk id="17" creationId="{AA119605-DA75-6186-F1A0-0923DD1BB010}"/>
          </ac:spMkLst>
        </pc:spChg>
        <pc:spChg chg="mod">
          <ac:chgData name="Yiqun Dai" userId="360a2182-b97f-4635-b990-04f846616e33" providerId="ADAL" clId="{8F04EA49-0EFC-48F3-A4D8-E0F0D3B461A8}" dt="2025-11-07T07:02:13.265" v="236895"/>
          <ac:spMkLst>
            <pc:docMk/>
            <pc:sldMk cId="2108781205" sldId="2147483072"/>
            <ac:spMk id="18" creationId="{4ECC6761-DF14-E240-7DCB-263BEEB89774}"/>
          </ac:spMkLst>
        </pc:spChg>
        <pc:spChg chg="mod ord">
          <ac:chgData name="Yiqun Dai" userId="360a2182-b97f-4635-b990-04f846616e33" providerId="ADAL" clId="{8F04EA49-0EFC-48F3-A4D8-E0F0D3B461A8}" dt="2025-11-07T07:02:13.297" v="236919"/>
          <ac:spMkLst>
            <pc:docMk/>
            <pc:sldMk cId="2108781205" sldId="2147483072"/>
            <ac:spMk id="19" creationId="{72110732-454D-0822-DCAD-677063DE8134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" creationId="{5E80E321-6868-777D-11B8-1F9CCAF96DCD}"/>
          </ac:spMkLst>
        </pc:spChg>
        <pc:spChg chg="mod">
          <ac:chgData name="Yiqun Dai" userId="360a2182-b97f-4635-b990-04f846616e33" providerId="ADAL" clId="{8F04EA49-0EFC-48F3-A4D8-E0F0D3B461A8}" dt="2025-11-07T07:02:13.284" v="236903"/>
          <ac:spMkLst>
            <pc:docMk/>
            <pc:sldMk cId="2108781205" sldId="2147483072"/>
            <ac:spMk id="21" creationId="{75D8D60B-12E6-25F1-A3A3-AC7F6E0192D7}"/>
          </ac:spMkLst>
        </pc:spChg>
        <pc:spChg chg="mod ord">
          <ac:chgData name="Yiqun Dai" userId="360a2182-b97f-4635-b990-04f846616e33" providerId="ADAL" clId="{8F04EA49-0EFC-48F3-A4D8-E0F0D3B461A8}" dt="2025-11-07T07:02:13.297" v="236920"/>
          <ac:spMkLst>
            <pc:docMk/>
            <pc:sldMk cId="2108781205" sldId="2147483072"/>
            <ac:spMk id="22" creationId="{2AD12FB5-D908-7201-EF44-8737D447FD64}"/>
          </ac:spMkLst>
        </pc:spChg>
        <pc:spChg chg="add mod ord">
          <ac:chgData name="Yiqun Dai" userId="360a2182-b97f-4635-b990-04f846616e33" providerId="ADAL" clId="{8F04EA49-0EFC-48F3-A4D8-E0F0D3B461A8}" dt="2025-11-07T07:02:23.633" v="236962"/>
          <ac:spMkLst>
            <pc:docMk/>
            <pc:sldMk cId="2108781205" sldId="2147483072"/>
            <ac:spMk id="27" creationId="{654274F1-363A-B34B-16CF-CF402A355363}"/>
          </ac:spMkLst>
        </pc:spChg>
        <pc:spChg chg="add mod ord">
          <ac:chgData name="Yiqun Dai" userId="360a2182-b97f-4635-b990-04f846616e33" providerId="ADAL" clId="{8F04EA49-0EFC-48F3-A4D8-E0F0D3B461A8}" dt="2025-11-07T07:02:23.633" v="236963"/>
          <ac:spMkLst>
            <pc:docMk/>
            <pc:sldMk cId="2108781205" sldId="2147483072"/>
            <ac:spMk id="28" creationId="{B57E643F-C831-6588-2502-5AB7B5BBFA8D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35" creationId="{61F5AAAD-B6CB-5159-B12C-65D153E525FA}"/>
          </ac:spMkLst>
        </pc:spChg>
        <pc:spChg chg="mod ord">
          <ac:chgData name="Yiqun Dai" userId="360a2182-b97f-4635-b990-04f846616e33" providerId="ADAL" clId="{8F04EA49-0EFC-48F3-A4D8-E0F0D3B461A8}" dt="2025-11-07T07:02:23.633" v="236952"/>
          <ac:spMkLst>
            <pc:docMk/>
            <pc:sldMk cId="2108781205" sldId="2147483072"/>
            <ac:spMk id="51" creationId="{FC733DFE-234C-CA7B-A4CE-1862DDB5CCCC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52" creationId="{938AA5CF-95F7-6B8F-101E-5CA12FADF113}"/>
          </ac:spMkLst>
        </pc:spChg>
        <pc:spChg chg="add mod">
          <ac:chgData name="Yiqun Dai" userId="360a2182-b97f-4635-b990-04f846616e33" providerId="ADAL" clId="{8F04EA49-0EFC-48F3-A4D8-E0F0D3B461A8}" dt="2025-11-07T07:02:50.306" v="237003" actId="14100"/>
          <ac:spMkLst>
            <pc:docMk/>
            <pc:sldMk cId="2108781205" sldId="2147483072"/>
            <ac:spMk id="59" creationId="{2B3A04AE-D13A-C0F1-B49C-83AFDFFDAA12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80" creationId="{6BED68E5-5B03-FCCE-9F31-77BDF9BC98B5}"/>
          </ac:spMkLst>
        </pc:spChg>
        <pc:spChg chg="mod ord">
          <ac:chgData name="Yiqun Dai" userId="360a2182-b97f-4635-b990-04f846616e33" providerId="ADAL" clId="{8F04EA49-0EFC-48F3-A4D8-E0F0D3B461A8}" dt="2025-11-07T07:02:13.297" v="236918"/>
          <ac:spMkLst>
            <pc:docMk/>
            <pc:sldMk cId="2108781205" sldId="2147483072"/>
            <ac:spMk id="89" creationId="{DD24389D-BA52-5C26-6918-CF618CFB35F2}"/>
          </ac:spMkLst>
        </pc:spChg>
        <pc:spChg chg="mod">
          <ac:chgData name="Yiqun Dai" userId="360a2182-b97f-4635-b990-04f846616e33" providerId="ADAL" clId="{8F04EA49-0EFC-48F3-A4D8-E0F0D3B461A8}" dt="2025-11-07T07:02:13.284" v="236907"/>
          <ac:spMkLst>
            <pc:docMk/>
            <pc:sldMk cId="2108781205" sldId="2147483072"/>
            <ac:spMk id="92" creationId="{45A27584-DCF1-1367-BEA1-1D63D51AECDA}"/>
          </ac:spMkLst>
        </pc:spChg>
        <pc:spChg chg="mod">
          <ac:chgData name="Yiqun Dai" userId="360a2182-b97f-4635-b990-04f846616e33" providerId="ADAL" clId="{8F04EA49-0EFC-48F3-A4D8-E0F0D3B461A8}" dt="2025-11-07T07:02:13.282" v="236901"/>
          <ac:spMkLst>
            <pc:docMk/>
            <pc:sldMk cId="2108781205" sldId="2147483072"/>
            <ac:spMk id="109" creationId="{4B0A003D-AB0D-915F-973D-24176FB5FABE}"/>
          </ac:spMkLst>
        </pc:spChg>
        <pc:spChg chg="mod">
          <ac:chgData name="Yiqun Dai" userId="360a2182-b97f-4635-b990-04f846616e33" providerId="ADAL" clId="{8F04EA49-0EFC-48F3-A4D8-E0F0D3B461A8}" dt="2025-11-07T07:02:13.284" v="236904"/>
          <ac:spMkLst>
            <pc:docMk/>
            <pc:sldMk cId="2108781205" sldId="2147483072"/>
            <ac:spMk id="110" creationId="{5C06DF48-0BD9-4676-4A3B-367DAE55CDFD}"/>
          </ac:spMkLst>
        </pc:spChg>
        <pc:spChg chg="mod">
          <ac:chgData name="Yiqun Dai" userId="360a2182-b97f-4635-b990-04f846616e33" providerId="ADAL" clId="{8F04EA49-0EFC-48F3-A4D8-E0F0D3B461A8}" dt="2025-11-07T07:02:13.284" v="236905"/>
          <ac:spMkLst>
            <pc:docMk/>
            <pc:sldMk cId="2108781205" sldId="2147483072"/>
            <ac:spMk id="111" creationId="{57908DEC-86D6-D4B5-9F66-E715DC003301}"/>
          </ac:spMkLst>
        </pc:spChg>
        <pc:spChg chg="mod ord">
          <ac:chgData name="Yiqun Dai" userId="360a2182-b97f-4635-b990-04f846616e33" providerId="ADAL" clId="{8F04EA49-0EFC-48F3-A4D8-E0F0D3B461A8}" dt="2025-11-07T07:02:13.297" v="236923"/>
          <ac:spMkLst>
            <pc:docMk/>
            <pc:sldMk cId="2108781205" sldId="2147483072"/>
            <ac:spMk id="114" creationId="{71E85D15-BADC-C53D-67EF-3F5F9F4B4134}"/>
          </ac:spMkLst>
        </pc:spChg>
        <pc:spChg chg="mod">
          <ac:chgData name="Yiqun Dai" userId="360a2182-b97f-4635-b990-04f846616e33" providerId="ADAL" clId="{8F04EA49-0EFC-48F3-A4D8-E0F0D3B461A8}" dt="2025-11-07T07:02:13.281" v="236900"/>
          <ac:spMkLst>
            <pc:docMk/>
            <pc:sldMk cId="2108781205" sldId="2147483072"/>
            <ac:spMk id="115" creationId="{95862B7B-BE92-A965-7914-D438BA31725D}"/>
          </ac:spMkLst>
        </pc:spChg>
        <pc:spChg chg="mod">
          <ac:chgData name="Yiqun Dai" userId="360a2182-b97f-4635-b990-04f846616e33" providerId="ADAL" clId="{8F04EA49-0EFC-48F3-A4D8-E0F0D3B461A8}" dt="2025-11-07T07:02:13.265" v="236899"/>
          <ac:spMkLst>
            <pc:docMk/>
            <pc:sldMk cId="2108781205" sldId="2147483072"/>
            <ac:spMk id="116" creationId="{B82CC920-EFF6-F673-1BCB-675EF39A0AAB}"/>
          </ac:spMkLst>
        </pc:spChg>
        <pc:spChg chg="mod">
          <ac:chgData name="Yiqun Dai" userId="360a2182-b97f-4635-b990-04f846616e33" providerId="ADAL" clId="{8F04EA49-0EFC-48F3-A4D8-E0F0D3B461A8}" dt="2025-11-07T07:02:13.297" v="236924"/>
          <ac:spMkLst>
            <pc:docMk/>
            <pc:sldMk cId="2108781205" sldId="2147483072"/>
            <ac:spMk id="117" creationId="{7F9D3CD0-CC8B-EC29-B223-8E93D1211705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118" creationId="{8CA7AC32-802A-3A93-E541-1A755093241C}"/>
          </ac:spMkLst>
        </pc:spChg>
        <pc:spChg chg="mod">
          <ac:chgData name="Yiqun Dai" userId="360a2182-b97f-4635-b990-04f846616e33" providerId="ADAL" clId="{8F04EA49-0EFC-48F3-A4D8-E0F0D3B461A8}" dt="2025-11-07T07:02:13.284" v="236902"/>
          <ac:spMkLst>
            <pc:docMk/>
            <pc:sldMk cId="2108781205" sldId="2147483072"/>
            <ac:spMk id="119" creationId="{7DA89F1C-2C5C-397F-F967-E093DC55EEBE}"/>
          </ac:spMkLst>
        </pc:spChg>
        <pc:spChg chg="mod">
          <ac:chgData name="Yiqun Dai" userId="360a2182-b97f-4635-b990-04f846616e33" providerId="ADAL" clId="{8F04EA49-0EFC-48F3-A4D8-E0F0D3B461A8}" dt="2025-11-07T07:02:13.297" v="236925"/>
          <ac:spMkLst>
            <pc:docMk/>
            <pc:sldMk cId="2108781205" sldId="2147483072"/>
            <ac:spMk id="121" creationId="{797FD544-E05D-76C0-0BF4-1D53662FB63B}"/>
          </ac:spMkLst>
        </pc:spChg>
        <pc:spChg chg="mod">
          <ac:chgData name="Yiqun Dai" userId="360a2182-b97f-4635-b990-04f846616e33" providerId="ADAL" clId="{8F04EA49-0EFC-48F3-A4D8-E0F0D3B461A8}" dt="2025-11-07T07:03:30.577" v="237005"/>
          <ac:spMkLst>
            <pc:docMk/>
            <pc:sldMk cId="2108781205" sldId="2147483072"/>
            <ac:spMk id="170" creationId="{2FCD4468-349B-C4E5-7314-4EB6283C3FF3}"/>
          </ac:spMkLst>
        </pc:spChg>
        <pc:spChg chg="mod">
          <ac:chgData name="Yiqun Dai" userId="360a2182-b97f-4635-b990-04f846616e33" providerId="ADAL" clId="{8F04EA49-0EFC-48F3-A4D8-E0F0D3B461A8}" dt="2025-11-07T07:03:30.611" v="237026"/>
          <ac:spMkLst>
            <pc:docMk/>
            <pc:sldMk cId="2108781205" sldId="2147483072"/>
            <ac:spMk id="171" creationId="{3DFEE2B9-221A-7D18-1AB5-80017B2D2539}"/>
          </ac:spMkLst>
        </pc:spChg>
        <pc:spChg chg="mod">
          <ac:chgData name="Yiqun Dai" userId="360a2182-b97f-4635-b990-04f846616e33" providerId="ADAL" clId="{8F04EA49-0EFC-48F3-A4D8-E0F0D3B461A8}" dt="2025-11-07T07:03:30.611" v="237029"/>
          <ac:spMkLst>
            <pc:docMk/>
            <pc:sldMk cId="2108781205" sldId="2147483072"/>
            <ac:spMk id="172" creationId="{9479CB2E-C2CB-3C15-98BD-48CF33A2B759}"/>
          </ac:spMkLst>
        </pc:spChg>
        <pc:spChg chg="mod">
          <ac:chgData name="Yiqun Dai" userId="360a2182-b97f-4635-b990-04f846616e33" providerId="ADAL" clId="{8F04EA49-0EFC-48F3-A4D8-E0F0D3B461A8}" dt="2025-11-07T07:03:30.611" v="237032"/>
          <ac:spMkLst>
            <pc:docMk/>
            <pc:sldMk cId="2108781205" sldId="2147483072"/>
            <ac:spMk id="173" creationId="{1767DD01-0D76-C444-3C05-0E855092C956}"/>
          </ac:spMkLst>
        </pc:spChg>
        <pc:spChg chg="mod ord">
          <ac:chgData name="Yiqun Dai" userId="360a2182-b97f-4635-b990-04f846616e33" providerId="ADAL" clId="{8F04EA49-0EFC-48F3-A4D8-E0F0D3B461A8}" dt="2025-11-07T07:02:23.633" v="236957"/>
          <ac:spMkLst>
            <pc:docMk/>
            <pc:sldMk cId="2108781205" sldId="2147483072"/>
            <ac:spMk id="176" creationId="{E70DA91E-6674-6D50-5996-0A162787F6BC}"/>
          </ac:spMkLst>
        </pc:spChg>
        <pc:spChg chg="mod">
          <ac:chgData name="Yiqun Dai" userId="360a2182-b97f-4635-b990-04f846616e33" providerId="ADAL" clId="{8F04EA49-0EFC-48F3-A4D8-E0F0D3B461A8}" dt="2025-11-07T07:02:13.313" v="236929"/>
          <ac:spMkLst>
            <pc:docMk/>
            <pc:sldMk cId="2108781205" sldId="2147483072"/>
            <ac:spMk id="177" creationId="{AB14B7C2-D2EA-6A11-6BCB-F95BBE84AE20}"/>
          </ac:spMkLst>
        </pc:spChg>
        <pc:spChg chg="mod ord">
          <ac:chgData name="Yiqun Dai" userId="360a2182-b97f-4635-b990-04f846616e33" providerId="ADAL" clId="{8F04EA49-0EFC-48F3-A4D8-E0F0D3B461A8}" dt="2025-11-07T07:02:23.633" v="236956"/>
          <ac:spMkLst>
            <pc:docMk/>
            <pc:sldMk cId="2108781205" sldId="2147483072"/>
            <ac:spMk id="178" creationId="{1BE4C0FD-BC6E-3F8F-6199-D4F9C76E635D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179" creationId="{244A2C2A-9EB8-3FA2-B8E0-9F100307B16C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4" creationId="{EEBA4A0D-45F7-2D8B-6C5A-9803EDA44622}"/>
          </ac:spMkLst>
        </pc:spChg>
        <pc:spChg chg="mod ord">
          <ac:chgData name="Yiqun Dai" userId="360a2182-b97f-4635-b990-04f846616e33" providerId="ADAL" clId="{8F04EA49-0EFC-48F3-A4D8-E0F0D3B461A8}" dt="2025-11-07T07:02:23.666" v="236997"/>
          <ac:spMkLst>
            <pc:docMk/>
            <pc:sldMk cId="2108781205" sldId="2147483072"/>
            <ac:spMk id="206" creationId="{30611B49-8564-6CD7-E7E5-C99BACBE6AE1}"/>
          </ac:spMkLst>
        </pc:spChg>
        <pc:spChg chg="mod ord">
          <ac:chgData name="Yiqun Dai" userId="360a2182-b97f-4635-b990-04f846616e33" providerId="ADAL" clId="{8F04EA49-0EFC-48F3-A4D8-E0F0D3B461A8}" dt="2025-11-07T07:02:23.644" v="236975"/>
          <ac:spMkLst>
            <pc:docMk/>
            <pc:sldMk cId="2108781205" sldId="2147483072"/>
            <ac:spMk id="259" creationId="{39438B1C-512A-0E77-247D-6BBF007C06BD}"/>
          </ac:spMkLst>
        </pc:spChg>
        <pc:graphicFrameChg chg="mod">
          <ac:chgData name="Yiqun Dai" userId="360a2182-b97f-4635-b990-04f846616e33" providerId="ADAL" clId="{8F04EA49-0EFC-48F3-A4D8-E0F0D3B461A8}" dt="2025-11-07T07:08:10.438" v="237375"/>
          <ac:graphicFrameMkLst>
            <pc:docMk/>
            <pc:sldMk cId="2108781205" sldId="2147483072"/>
            <ac:graphicFrameMk id="11" creationId="{F870C35C-9049-4C26-7BD0-AD2B7E57110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07T07:02:23.633" v="236961"/>
          <ac:graphicFrameMkLst>
            <pc:docMk/>
            <pc:sldMk cId="2108781205" sldId="2147483072"/>
            <ac:graphicFrameMk id="54" creationId="{B93B8199-E7CE-84E1-8307-292BC4C941CB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7:02:23.633" v="236954"/>
          <ac:graphicFrameMkLst>
            <pc:docMk/>
            <pc:sldMk cId="2108781205" sldId="2147483072"/>
            <ac:graphicFrameMk id="198" creationId="{FFDF8EFF-EC19-A7BE-1409-3EBBD3BAC060}"/>
          </ac:graphicFrameMkLst>
        </pc:graphicFrameChg>
        <pc:cxnChg chg="mod ord">
          <ac:chgData name="Yiqun Dai" userId="360a2182-b97f-4635-b990-04f846616e33" providerId="ADAL" clId="{8F04EA49-0EFC-48F3-A4D8-E0F0D3B461A8}" dt="2025-11-07T07:02:23.644" v="236971"/>
          <ac:cxnSpMkLst>
            <pc:docMk/>
            <pc:sldMk cId="2108781205" sldId="2147483072"/>
            <ac:cxnSpMk id="8" creationId="{7BB59D6A-39C7-DEA6-2DD3-E644C4CA8FE3}"/>
          </ac:cxnSpMkLst>
        </pc:cxnChg>
        <pc:cxnChg chg="mod ord">
          <ac:chgData name="Yiqun Dai" userId="360a2182-b97f-4635-b990-04f846616e33" providerId="ADAL" clId="{8F04EA49-0EFC-48F3-A4D8-E0F0D3B461A8}" dt="2025-11-07T07:02:23.644" v="236970"/>
          <ac:cxnSpMkLst>
            <pc:docMk/>
            <pc:sldMk cId="2108781205" sldId="2147483072"/>
            <ac:cxnSpMk id="9" creationId="{0B405998-B1CC-15E4-9A00-46C66669A02C}"/>
          </ac:cxnSpMkLst>
        </pc:cxnChg>
        <pc:cxnChg chg="mod ord">
          <ac:chgData name="Yiqun Dai" userId="360a2182-b97f-4635-b990-04f846616e33" providerId="ADAL" clId="{8F04EA49-0EFC-48F3-A4D8-E0F0D3B461A8}" dt="2025-11-07T07:02:23.644" v="236972"/>
          <ac:cxnSpMkLst>
            <pc:docMk/>
            <pc:sldMk cId="2108781205" sldId="2147483072"/>
            <ac:cxnSpMk id="25" creationId="{9AB33597-44A0-19FA-FC25-DA358AD4E9E3}"/>
          </ac:cxnSpMkLst>
        </pc:cxnChg>
        <pc:cxnChg chg="mod ord">
          <ac:chgData name="Yiqun Dai" userId="360a2182-b97f-4635-b990-04f846616e33" providerId="ADAL" clId="{8F04EA49-0EFC-48F3-A4D8-E0F0D3B461A8}" dt="2025-11-07T07:02:23.644" v="236969"/>
          <ac:cxnSpMkLst>
            <pc:docMk/>
            <pc:sldMk cId="2108781205" sldId="2147483072"/>
            <ac:cxnSpMk id="26" creationId="{74DAF96B-67CD-F6B4-ACB0-6F47949DA811}"/>
          </ac:cxnSpMkLst>
        </pc:cxnChg>
        <pc:cxnChg chg="mod ord">
          <ac:chgData name="Yiqun Dai" userId="360a2182-b97f-4635-b990-04f846616e33" providerId="ADAL" clId="{8F04EA49-0EFC-48F3-A4D8-E0F0D3B461A8}" dt="2025-11-07T07:02:23.633" v="236967"/>
          <ac:cxnSpMkLst>
            <pc:docMk/>
            <pc:sldMk cId="2108781205" sldId="2147483072"/>
            <ac:cxnSpMk id="48" creationId="{9B4CA144-CCD9-0732-5B14-395DAAA67C17}"/>
          </ac:cxnSpMkLst>
        </pc:cxnChg>
        <pc:cxnChg chg="mod ord">
          <ac:chgData name="Yiqun Dai" userId="360a2182-b97f-4635-b990-04f846616e33" providerId="ADAL" clId="{8F04EA49-0EFC-48F3-A4D8-E0F0D3B461A8}" dt="2025-11-07T07:02:23.644" v="236968"/>
          <ac:cxnSpMkLst>
            <pc:docMk/>
            <pc:sldMk cId="2108781205" sldId="2147483072"/>
            <ac:cxnSpMk id="81" creationId="{38D15DFA-24BA-36C0-D6F8-4E4A9EB131E5}"/>
          </ac:cxnSpMkLst>
        </pc:cxnChg>
        <pc:cxnChg chg="mod ord">
          <ac:chgData name="Yiqun Dai" userId="360a2182-b97f-4635-b990-04f846616e33" providerId="ADAL" clId="{8F04EA49-0EFC-48F3-A4D8-E0F0D3B461A8}" dt="2025-11-07T07:02:23.633" v="236966"/>
          <ac:cxnSpMkLst>
            <pc:docMk/>
            <pc:sldMk cId="2108781205" sldId="2147483072"/>
            <ac:cxnSpMk id="123" creationId="{B9BC6987-32DD-953B-9602-D1C8A2F7C57A}"/>
          </ac:cxnSpMkLst>
        </pc:cxnChg>
        <pc:cxnChg chg="mod ord">
          <ac:chgData name="Yiqun Dai" userId="360a2182-b97f-4635-b990-04f846616e33" providerId="ADAL" clId="{8F04EA49-0EFC-48F3-A4D8-E0F0D3B461A8}" dt="2025-11-07T07:02:23.633" v="236965"/>
          <ac:cxnSpMkLst>
            <pc:docMk/>
            <pc:sldMk cId="2108781205" sldId="2147483072"/>
            <ac:cxnSpMk id="124" creationId="{B4BB84AD-6106-A3E9-4622-14316E79D32E}"/>
          </ac:cxnSpMkLst>
        </pc:cxnChg>
        <pc:cxnChg chg="mod ord">
          <ac:chgData name="Yiqun Dai" userId="360a2182-b97f-4635-b990-04f846616e33" providerId="ADAL" clId="{8F04EA49-0EFC-48F3-A4D8-E0F0D3B461A8}" dt="2025-11-07T07:02:23.633" v="236964"/>
          <ac:cxnSpMkLst>
            <pc:docMk/>
            <pc:sldMk cId="2108781205" sldId="2147483072"/>
            <ac:cxnSpMk id="125" creationId="{41B979AA-AC67-1DE0-5970-FFD1D394336C}"/>
          </ac:cxnSpMkLst>
        </pc:cxnChg>
      </pc:sldChg>
      <pc:sldChg chg="addSp delSp modSp add mod ord">
        <pc:chgData name="Yiqun Dai" userId="360a2182-b97f-4635-b990-04f846616e33" providerId="ADAL" clId="{8F04EA49-0EFC-48F3-A4D8-E0F0D3B461A8}" dt="2025-11-10T02:44:45.497" v="282992" actId="14100"/>
        <pc:sldMkLst>
          <pc:docMk/>
          <pc:sldMk cId="3413339761" sldId="2147483073"/>
        </pc:sldMkLst>
        <pc:spChg chg="mod ord">
          <ac:chgData name="Yiqun Dai" userId="360a2182-b97f-4635-b990-04f846616e33" providerId="ADAL" clId="{8F04EA49-0EFC-48F3-A4D8-E0F0D3B461A8}" dt="2025-11-07T07:17:08.169" v="240269" actId="948"/>
          <ac:spMkLst>
            <pc:docMk/>
            <pc:sldMk cId="3413339761" sldId="2147483073"/>
            <ac:spMk id="2" creationId="{8974724C-00D1-3F33-01C5-8D1814A617C0}"/>
          </ac:spMkLst>
        </pc:spChg>
        <pc:spChg chg="del mod">
          <ac:chgData name="Yiqun Dai" userId="360a2182-b97f-4635-b990-04f846616e33" providerId="ADAL" clId="{8F04EA49-0EFC-48F3-A4D8-E0F0D3B461A8}" dt="2025-11-07T07:09:55.772" v="240041"/>
          <ac:spMkLst>
            <pc:docMk/>
            <pc:sldMk cId="3413339761" sldId="2147483073"/>
            <ac:spMk id="3" creationId="{7BD716FD-56C0-4DA1-1772-5D2BD90A9D92}"/>
          </ac:spMkLst>
        </pc:spChg>
        <pc:spChg chg="del mod">
          <ac:chgData name="Yiqun Dai" userId="360a2182-b97f-4635-b990-04f846616e33" providerId="ADAL" clId="{8F04EA49-0EFC-48F3-A4D8-E0F0D3B461A8}" dt="2025-11-07T07:09:55.772" v="240035"/>
          <ac:spMkLst>
            <pc:docMk/>
            <pc:sldMk cId="3413339761" sldId="2147483073"/>
            <ac:spMk id="4" creationId="{4680589A-177C-580B-2F2E-B78C8E0A9B04}"/>
          </ac:spMkLst>
        </pc:spChg>
        <pc:spChg chg="del mod">
          <ac:chgData name="Yiqun Dai" userId="360a2182-b97f-4635-b990-04f846616e33" providerId="ADAL" clId="{8F04EA49-0EFC-48F3-A4D8-E0F0D3B461A8}" dt="2025-11-07T07:09:55.772" v="240044"/>
          <ac:spMkLst>
            <pc:docMk/>
            <pc:sldMk cId="3413339761" sldId="2147483073"/>
            <ac:spMk id="5" creationId="{5C7BA8F6-7CB7-03BC-1055-6A6F304838A9}"/>
          </ac:spMkLst>
        </pc:spChg>
        <pc:spChg chg="del mod">
          <ac:chgData name="Yiqun Dai" userId="360a2182-b97f-4635-b990-04f846616e33" providerId="ADAL" clId="{8F04EA49-0EFC-48F3-A4D8-E0F0D3B461A8}" dt="2025-11-07T07:09:55.772" v="240036"/>
          <ac:spMkLst>
            <pc:docMk/>
            <pc:sldMk cId="3413339761" sldId="2147483073"/>
            <ac:spMk id="6" creationId="{B6157302-4BD4-18D2-9E8B-D91EF5CC15E1}"/>
          </ac:spMkLst>
        </pc:spChg>
        <pc:spChg chg="del mod">
          <ac:chgData name="Yiqun Dai" userId="360a2182-b97f-4635-b990-04f846616e33" providerId="ADAL" clId="{8F04EA49-0EFC-48F3-A4D8-E0F0D3B461A8}" dt="2025-11-07T07:09:55.772" v="240039"/>
          <ac:spMkLst>
            <pc:docMk/>
            <pc:sldMk cId="3413339761" sldId="2147483073"/>
            <ac:spMk id="7" creationId="{F7AAADF1-9839-C7E7-E6FC-E3D3C87CC286}"/>
          </ac:spMkLst>
        </pc:spChg>
        <pc:spChg chg="del mod">
          <ac:chgData name="Yiqun Dai" userId="360a2182-b97f-4635-b990-04f846616e33" providerId="ADAL" clId="{8F04EA49-0EFC-48F3-A4D8-E0F0D3B461A8}" dt="2025-11-07T07:09:55.788" v="240046"/>
          <ac:spMkLst>
            <pc:docMk/>
            <pc:sldMk cId="3413339761" sldId="2147483073"/>
            <ac:spMk id="10" creationId="{D3CE0FB9-62D5-F69C-A45A-B0C44C07E6E6}"/>
          </ac:spMkLst>
        </pc:spChg>
        <pc:spChg chg="del mod">
          <ac:chgData name="Yiqun Dai" userId="360a2182-b97f-4635-b990-04f846616e33" providerId="ADAL" clId="{8F04EA49-0EFC-48F3-A4D8-E0F0D3B461A8}" dt="2025-11-07T07:09:55.772" v="240024"/>
          <ac:spMkLst>
            <pc:docMk/>
            <pc:sldMk cId="3413339761" sldId="2147483073"/>
            <ac:spMk id="12" creationId="{7B48CF4E-763E-6DA4-BD0C-F18A5FD6AFD4}"/>
          </ac:spMkLst>
        </pc:spChg>
        <pc:spChg chg="del mod">
          <ac:chgData name="Yiqun Dai" userId="360a2182-b97f-4635-b990-04f846616e33" providerId="ADAL" clId="{8F04EA49-0EFC-48F3-A4D8-E0F0D3B461A8}" dt="2025-11-07T07:09:55.789" v="240048"/>
          <ac:spMkLst>
            <pc:docMk/>
            <pc:sldMk cId="3413339761" sldId="2147483073"/>
            <ac:spMk id="13" creationId="{1E77E3DA-A967-AEDC-11CB-1EAA7E909CCA}"/>
          </ac:spMkLst>
        </pc:spChg>
        <pc:spChg chg="del mod ord">
          <ac:chgData name="Yiqun Dai" userId="360a2182-b97f-4635-b990-04f846616e33" providerId="ADAL" clId="{8F04EA49-0EFC-48F3-A4D8-E0F0D3B461A8}" dt="2025-11-07T07:09:55.772" v="240040"/>
          <ac:spMkLst>
            <pc:docMk/>
            <pc:sldMk cId="3413339761" sldId="2147483073"/>
            <ac:spMk id="14" creationId="{DC6B00BA-3BA2-1B8F-505E-DAE7B39C05B9}"/>
          </ac:spMkLst>
        </pc:spChg>
        <pc:spChg chg="del mod">
          <ac:chgData name="Yiqun Dai" userId="360a2182-b97f-4635-b990-04f846616e33" providerId="ADAL" clId="{8F04EA49-0EFC-48F3-A4D8-E0F0D3B461A8}" dt="2025-11-07T07:09:55.772" v="240032"/>
          <ac:spMkLst>
            <pc:docMk/>
            <pc:sldMk cId="3413339761" sldId="2147483073"/>
            <ac:spMk id="15" creationId="{4A447017-3ED5-C846-A63E-BE54079D887C}"/>
          </ac:spMkLst>
        </pc:spChg>
        <pc:spChg chg="del mod">
          <ac:chgData name="Yiqun Dai" userId="360a2182-b97f-4635-b990-04f846616e33" providerId="ADAL" clId="{8F04EA49-0EFC-48F3-A4D8-E0F0D3B461A8}" dt="2025-11-07T07:09:55.789" v="240047"/>
          <ac:spMkLst>
            <pc:docMk/>
            <pc:sldMk cId="3413339761" sldId="2147483073"/>
            <ac:spMk id="16" creationId="{8F445A0B-9DAD-7B07-ECEE-53F22DDC72EC}"/>
          </ac:spMkLst>
        </pc:spChg>
        <pc:spChg chg="del mod ord">
          <ac:chgData name="Yiqun Dai" userId="360a2182-b97f-4635-b990-04f846616e33" providerId="ADAL" clId="{8F04EA49-0EFC-48F3-A4D8-E0F0D3B461A8}" dt="2025-11-07T07:09:55.772" v="240043"/>
          <ac:spMkLst>
            <pc:docMk/>
            <pc:sldMk cId="3413339761" sldId="2147483073"/>
            <ac:spMk id="17" creationId="{55FF86AF-3C2A-47C6-7BCA-9D16CF4AA936}"/>
          </ac:spMkLst>
        </pc:spChg>
        <pc:spChg chg="del mod ord">
          <ac:chgData name="Yiqun Dai" userId="360a2182-b97f-4635-b990-04f846616e33" providerId="ADAL" clId="{8F04EA49-0EFC-48F3-A4D8-E0F0D3B461A8}" dt="2025-11-07T07:09:55.772" v="240042"/>
          <ac:spMkLst>
            <pc:docMk/>
            <pc:sldMk cId="3413339761" sldId="2147483073"/>
            <ac:spMk id="18" creationId="{73A2FFA5-D833-E416-A858-4777730F277F}"/>
          </ac:spMkLst>
        </pc:spChg>
        <pc:spChg chg="mod ord">
          <ac:chgData name="Yiqun Dai" userId="360a2182-b97f-4635-b990-04f846616e33" providerId="ADAL" clId="{8F04EA49-0EFC-48F3-A4D8-E0F0D3B461A8}" dt="2025-11-07T07:09:55.757" v="239990"/>
          <ac:spMkLst>
            <pc:docMk/>
            <pc:sldMk cId="3413339761" sldId="2147483073"/>
            <ac:spMk id="35" creationId="{255E84E4-837E-9640-9DF0-BDB4AA529036}"/>
          </ac:spMkLst>
        </pc:spChg>
        <pc:spChg chg="add del mod">
          <ac:chgData name="Yiqun Dai" userId="360a2182-b97f-4635-b990-04f846616e33" providerId="ADAL" clId="{8F04EA49-0EFC-48F3-A4D8-E0F0D3B461A8}" dt="2025-11-07T07:09:55.789" v="240053"/>
          <ac:spMkLst>
            <pc:docMk/>
            <pc:sldMk cId="3413339761" sldId="2147483073"/>
            <ac:spMk id="46" creationId="{E6319B3A-76F8-91EF-EFEB-3CDB1512D859}"/>
          </ac:spMkLst>
        </pc:spChg>
        <pc:spChg chg="add del mod ord">
          <ac:chgData name="Yiqun Dai" userId="360a2182-b97f-4635-b990-04f846616e33" providerId="ADAL" clId="{8F04EA49-0EFC-48F3-A4D8-E0F0D3B461A8}" dt="2025-11-07T07:09:55.772" v="240023"/>
          <ac:spMkLst>
            <pc:docMk/>
            <pc:sldMk cId="3413339761" sldId="2147483073"/>
            <ac:spMk id="47" creationId="{33C6EA5B-93C6-F7B6-C884-27C3C6FAF429}"/>
          </ac:spMkLst>
        </pc:spChg>
        <pc:spChg chg="add del mod ord">
          <ac:chgData name="Yiqun Dai" userId="360a2182-b97f-4635-b990-04f846616e33" providerId="ADAL" clId="{8F04EA49-0EFC-48F3-A4D8-E0F0D3B461A8}" dt="2025-11-07T07:09:55.772" v="240021"/>
          <ac:spMkLst>
            <pc:docMk/>
            <pc:sldMk cId="3413339761" sldId="2147483073"/>
            <ac:spMk id="49" creationId="{E8DFE116-AA5B-50D5-14E1-66B5CF8B92D7}"/>
          </ac:spMkLst>
        </pc:spChg>
        <pc:spChg chg="add del mod">
          <ac:chgData name="Yiqun Dai" userId="360a2182-b97f-4635-b990-04f846616e33" providerId="ADAL" clId="{8F04EA49-0EFC-48F3-A4D8-E0F0D3B461A8}" dt="2025-11-07T07:09:55.789" v="240049"/>
          <ac:spMkLst>
            <pc:docMk/>
            <pc:sldMk cId="3413339761" sldId="2147483073"/>
            <ac:spMk id="50" creationId="{3E8588B4-A17F-3B4F-6716-35772A8E6E83}"/>
          </ac:spMkLst>
        </pc:spChg>
        <pc:spChg chg="mod ord">
          <ac:chgData name="Yiqun Dai" userId="360a2182-b97f-4635-b990-04f846616e33" providerId="ADAL" clId="{8F04EA49-0EFC-48F3-A4D8-E0F0D3B461A8}" dt="2025-11-07T07:09:55.757" v="239988"/>
          <ac:spMkLst>
            <pc:docMk/>
            <pc:sldMk cId="3413339761" sldId="2147483073"/>
            <ac:spMk id="51" creationId="{EEA5D0DB-CA2C-3FCA-E56B-73312A1DED61}"/>
          </ac:spMkLst>
        </pc:spChg>
        <pc:spChg chg="mod ord">
          <ac:chgData name="Yiqun Dai" userId="360a2182-b97f-4635-b990-04f846616e33" providerId="ADAL" clId="{8F04EA49-0EFC-48F3-A4D8-E0F0D3B461A8}" dt="2025-11-07T07:09:55.757" v="239986"/>
          <ac:spMkLst>
            <pc:docMk/>
            <pc:sldMk cId="3413339761" sldId="2147483073"/>
            <ac:spMk id="52" creationId="{75D5B4AD-2174-399E-44B9-38E24A3D1993}"/>
          </ac:spMkLst>
        </pc:spChg>
        <pc:spChg chg="add del mod ord">
          <ac:chgData name="Yiqun Dai" userId="360a2182-b97f-4635-b990-04f846616e33" providerId="ADAL" clId="{8F04EA49-0EFC-48F3-A4D8-E0F0D3B461A8}" dt="2025-11-07T07:09:55.772" v="240026"/>
          <ac:spMkLst>
            <pc:docMk/>
            <pc:sldMk cId="3413339761" sldId="2147483073"/>
            <ac:spMk id="53" creationId="{43182916-3F09-DE02-8391-4892B73F139B}"/>
          </ac:spMkLst>
        </pc:spChg>
        <pc:spChg chg="add del mod ord">
          <ac:chgData name="Yiqun Dai" userId="360a2182-b97f-4635-b990-04f846616e33" providerId="ADAL" clId="{8F04EA49-0EFC-48F3-A4D8-E0F0D3B461A8}" dt="2025-11-07T07:09:55.772" v="240025"/>
          <ac:spMkLst>
            <pc:docMk/>
            <pc:sldMk cId="3413339761" sldId="2147483073"/>
            <ac:spMk id="55" creationId="{F6E84183-B3F0-8230-EE39-F16C04F3A5BE}"/>
          </ac:spMkLst>
        </pc:spChg>
        <pc:spChg chg="add del mod ord">
          <ac:chgData name="Yiqun Dai" userId="360a2182-b97f-4635-b990-04f846616e33" providerId="ADAL" clId="{8F04EA49-0EFC-48F3-A4D8-E0F0D3B461A8}" dt="2025-11-07T07:09:55.757" v="240016"/>
          <ac:spMkLst>
            <pc:docMk/>
            <pc:sldMk cId="3413339761" sldId="2147483073"/>
            <ac:spMk id="57" creationId="{318CFCE6-962F-2E17-297A-0CFDF6232318}"/>
          </ac:spMkLst>
        </pc:spChg>
        <pc:spChg chg="add del mod ord">
          <ac:chgData name="Yiqun Dai" userId="360a2182-b97f-4635-b990-04f846616e33" providerId="ADAL" clId="{8F04EA49-0EFC-48F3-A4D8-E0F0D3B461A8}" dt="2025-11-07T07:09:55.772" v="240018"/>
          <ac:spMkLst>
            <pc:docMk/>
            <pc:sldMk cId="3413339761" sldId="2147483073"/>
            <ac:spMk id="58" creationId="{DEDB1868-CA67-5439-3975-574265681B77}"/>
          </ac:spMkLst>
        </pc:spChg>
        <pc:spChg chg="del mod">
          <ac:chgData name="Yiqun Dai" userId="360a2182-b97f-4635-b990-04f846616e33" providerId="ADAL" clId="{8F04EA49-0EFC-48F3-A4D8-E0F0D3B461A8}" dt="2025-11-07T07:09:55.772" v="240045"/>
          <ac:spMkLst>
            <pc:docMk/>
            <pc:sldMk cId="3413339761" sldId="2147483073"/>
            <ac:spMk id="89" creationId="{D31C1B46-6AE9-6FF3-2DE2-D42572274034}"/>
          </ac:spMkLst>
        </pc:spChg>
        <pc:spChg chg="add del mod">
          <ac:chgData name="Yiqun Dai" userId="360a2182-b97f-4635-b990-04f846616e33" providerId="ADAL" clId="{8F04EA49-0EFC-48F3-A4D8-E0F0D3B461A8}" dt="2025-11-07T07:09:55.772" v="240029"/>
          <ac:spMkLst>
            <pc:docMk/>
            <pc:sldMk cId="3413339761" sldId="2147483073"/>
            <ac:spMk id="109" creationId="{0E0D9FF2-1DCD-3E3C-7174-3FB7038B0F9A}"/>
          </ac:spMkLst>
        </pc:spChg>
        <pc:spChg chg="del mod">
          <ac:chgData name="Yiqun Dai" userId="360a2182-b97f-4635-b990-04f846616e33" providerId="ADAL" clId="{8F04EA49-0EFC-48F3-A4D8-E0F0D3B461A8}" dt="2025-11-07T07:09:55.772" v="240033"/>
          <ac:spMkLst>
            <pc:docMk/>
            <pc:sldMk cId="3413339761" sldId="2147483073"/>
            <ac:spMk id="110" creationId="{9727EFA2-8BF9-1B05-B3A4-ABFF9BDBA2CC}"/>
          </ac:spMkLst>
        </pc:spChg>
        <pc:spChg chg="del mod">
          <ac:chgData name="Yiqun Dai" userId="360a2182-b97f-4635-b990-04f846616e33" providerId="ADAL" clId="{8F04EA49-0EFC-48F3-A4D8-E0F0D3B461A8}" dt="2025-11-07T07:09:55.772" v="240034"/>
          <ac:spMkLst>
            <pc:docMk/>
            <pc:sldMk cId="3413339761" sldId="2147483073"/>
            <ac:spMk id="111" creationId="{7CD06F8B-66C7-C011-A348-B7CC405AE8D6}"/>
          </ac:spMkLst>
        </pc:spChg>
        <pc:spChg chg="del mod">
          <ac:chgData name="Yiqun Dai" userId="360a2182-b97f-4635-b990-04f846616e33" providerId="ADAL" clId="{8F04EA49-0EFC-48F3-A4D8-E0F0D3B461A8}" dt="2025-11-07T07:09:55.789" v="240050"/>
          <ac:spMkLst>
            <pc:docMk/>
            <pc:sldMk cId="3413339761" sldId="2147483073"/>
            <ac:spMk id="114" creationId="{437E3542-770A-5A78-F929-D60000CF4D4E}"/>
          </ac:spMkLst>
        </pc:spChg>
        <pc:spChg chg="add del mod ord">
          <ac:chgData name="Yiqun Dai" userId="360a2182-b97f-4635-b990-04f846616e33" providerId="ADAL" clId="{8F04EA49-0EFC-48F3-A4D8-E0F0D3B461A8}" dt="2025-11-07T07:09:55.772" v="240028"/>
          <ac:spMkLst>
            <pc:docMk/>
            <pc:sldMk cId="3413339761" sldId="2147483073"/>
            <ac:spMk id="115" creationId="{C93260AF-04E3-FCE7-E416-D913951540A0}"/>
          </ac:spMkLst>
        </pc:spChg>
        <pc:spChg chg="del mod ord">
          <ac:chgData name="Yiqun Dai" userId="360a2182-b97f-4635-b990-04f846616e33" providerId="ADAL" clId="{8F04EA49-0EFC-48F3-A4D8-E0F0D3B461A8}" dt="2025-11-07T07:09:55.772" v="240027"/>
          <ac:spMkLst>
            <pc:docMk/>
            <pc:sldMk cId="3413339761" sldId="2147483073"/>
            <ac:spMk id="116" creationId="{D1C0EBE9-3FD3-8655-7236-FD36AD36C68A}"/>
          </ac:spMkLst>
        </pc:spChg>
        <pc:spChg chg="add del mod">
          <ac:chgData name="Yiqun Dai" userId="360a2182-b97f-4635-b990-04f846616e33" providerId="ADAL" clId="{8F04EA49-0EFC-48F3-A4D8-E0F0D3B461A8}" dt="2025-11-07T07:09:55.789" v="240051"/>
          <ac:spMkLst>
            <pc:docMk/>
            <pc:sldMk cId="3413339761" sldId="2147483073"/>
            <ac:spMk id="117" creationId="{481C25F6-DBCC-9D4F-B1B0-04343D99D10F}"/>
          </ac:spMkLst>
        </pc:spChg>
        <pc:spChg chg="add del mod ord">
          <ac:chgData name="Yiqun Dai" userId="360a2182-b97f-4635-b990-04f846616e33" providerId="ADAL" clId="{8F04EA49-0EFC-48F3-A4D8-E0F0D3B461A8}" dt="2025-11-07T07:09:55.772" v="240038"/>
          <ac:spMkLst>
            <pc:docMk/>
            <pc:sldMk cId="3413339761" sldId="2147483073"/>
            <ac:spMk id="118" creationId="{8E7920FB-7EF7-6D75-782C-B35F47D7CCBE}"/>
          </ac:spMkLst>
        </pc:spChg>
        <pc:spChg chg="add del mod ord">
          <ac:chgData name="Yiqun Dai" userId="360a2182-b97f-4635-b990-04f846616e33" providerId="ADAL" clId="{8F04EA49-0EFC-48F3-A4D8-E0F0D3B461A8}" dt="2025-11-07T07:09:55.772" v="240031"/>
          <ac:spMkLst>
            <pc:docMk/>
            <pc:sldMk cId="3413339761" sldId="2147483073"/>
            <ac:spMk id="119" creationId="{733CE515-F843-B39F-2306-BF067C2C1529}"/>
          </ac:spMkLst>
        </pc:spChg>
        <pc:spChg chg="del mod">
          <ac:chgData name="Yiqun Dai" userId="360a2182-b97f-4635-b990-04f846616e33" providerId="ADAL" clId="{8F04EA49-0EFC-48F3-A4D8-E0F0D3B461A8}" dt="2025-11-07T07:09:55.789" v="240052"/>
          <ac:spMkLst>
            <pc:docMk/>
            <pc:sldMk cId="3413339761" sldId="2147483073"/>
            <ac:spMk id="121" creationId="{53EF45FE-42B1-DC7D-A875-232F5F23A770}"/>
          </ac:spMkLst>
        </pc:spChg>
        <pc:spChg chg="add mod">
          <ac:chgData name="Yiqun Dai" userId="360a2182-b97f-4635-b990-04f846616e33" providerId="ADAL" clId="{8F04EA49-0EFC-48F3-A4D8-E0F0D3B461A8}" dt="2025-11-10T02:44:45.497" v="282992" actId="14100"/>
          <ac:spMkLst>
            <pc:docMk/>
            <pc:sldMk cId="3413339761" sldId="2147483073"/>
            <ac:spMk id="122" creationId="{7FFF5C18-FAD5-98B4-8033-B85B1FC36050}"/>
          </ac:spMkLst>
        </pc:spChg>
        <pc:spChg chg="del mod">
          <ac:chgData name="Yiqun Dai" userId="360a2182-b97f-4635-b990-04f846616e33" providerId="ADAL" clId="{8F04EA49-0EFC-48F3-A4D8-E0F0D3B461A8}" dt="2025-11-07T07:09:55.789" v="240061"/>
          <ac:spMkLst>
            <pc:docMk/>
            <pc:sldMk cId="3413339761" sldId="2147483073"/>
            <ac:spMk id="170" creationId="{34D85DB6-C6F3-8F23-0FB1-EE9C474393B4}"/>
          </ac:spMkLst>
        </pc:spChg>
        <pc:spChg chg="del mod">
          <ac:chgData name="Yiqun Dai" userId="360a2182-b97f-4635-b990-04f846616e33" providerId="ADAL" clId="{8F04EA49-0EFC-48F3-A4D8-E0F0D3B461A8}" dt="2025-11-07T07:09:55.789" v="240062"/>
          <ac:spMkLst>
            <pc:docMk/>
            <pc:sldMk cId="3413339761" sldId="2147483073"/>
            <ac:spMk id="171" creationId="{64305884-2A46-DD1E-CF9D-64CA4F5076D2}"/>
          </ac:spMkLst>
        </pc:spChg>
        <pc:spChg chg="del mod">
          <ac:chgData name="Yiqun Dai" userId="360a2182-b97f-4635-b990-04f846616e33" providerId="ADAL" clId="{8F04EA49-0EFC-48F3-A4D8-E0F0D3B461A8}" dt="2025-11-07T07:09:55.789" v="240063"/>
          <ac:spMkLst>
            <pc:docMk/>
            <pc:sldMk cId="3413339761" sldId="2147483073"/>
            <ac:spMk id="172" creationId="{0B3F9256-484E-B44F-894B-F7A026459BDE}"/>
          </ac:spMkLst>
        </pc:spChg>
        <pc:spChg chg="del mod">
          <ac:chgData name="Yiqun Dai" userId="360a2182-b97f-4635-b990-04f846616e33" providerId="ADAL" clId="{8F04EA49-0EFC-48F3-A4D8-E0F0D3B461A8}" dt="2025-11-07T07:09:55.789" v="240064"/>
          <ac:spMkLst>
            <pc:docMk/>
            <pc:sldMk cId="3413339761" sldId="2147483073"/>
            <ac:spMk id="173" creationId="{103C1631-3488-67C0-55F6-34676A8AC457}"/>
          </ac:spMkLst>
        </pc:spChg>
        <pc:spChg chg="add del mod ord">
          <ac:chgData name="Yiqun Dai" userId="360a2182-b97f-4635-b990-04f846616e33" providerId="ADAL" clId="{8F04EA49-0EFC-48F3-A4D8-E0F0D3B461A8}" dt="2025-11-07T07:09:55.789" v="240055"/>
          <ac:spMkLst>
            <pc:docMk/>
            <pc:sldMk cId="3413339761" sldId="2147483073"/>
            <ac:spMk id="176" creationId="{A190CD30-2FF5-460F-4A50-91C3DBB75628}"/>
          </ac:spMkLst>
        </pc:spChg>
        <pc:spChg chg="del mod">
          <ac:chgData name="Yiqun Dai" userId="360a2182-b97f-4635-b990-04f846616e33" providerId="ADAL" clId="{8F04EA49-0EFC-48F3-A4D8-E0F0D3B461A8}" dt="2025-11-07T07:09:55.789" v="240056"/>
          <ac:spMkLst>
            <pc:docMk/>
            <pc:sldMk cId="3413339761" sldId="2147483073"/>
            <ac:spMk id="177" creationId="{B4D8E606-6737-6F3D-2F8C-D8DBBCEBC0DC}"/>
          </ac:spMkLst>
        </pc:spChg>
        <pc:spChg chg="add del mod ord">
          <ac:chgData name="Yiqun Dai" userId="360a2182-b97f-4635-b990-04f846616e33" providerId="ADAL" clId="{8F04EA49-0EFC-48F3-A4D8-E0F0D3B461A8}" dt="2025-11-07T07:09:55.789" v="240058"/>
          <ac:spMkLst>
            <pc:docMk/>
            <pc:sldMk cId="3413339761" sldId="2147483073"/>
            <ac:spMk id="178" creationId="{4AB893D8-A47C-3FFA-399C-3B064ABB22B9}"/>
          </ac:spMkLst>
        </pc:spChg>
        <pc:spChg chg="add del mod ord">
          <ac:chgData name="Yiqun Dai" userId="360a2182-b97f-4635-b990-04f846616e33" providerId="ADAL" clId="{8F04EA49-0EFC-48F3-A4D8-E0F0D3B461A8}" dt="2025-11-07T07:09:55.789" v="240060"/>
          <ac:spMkLst>
            <pc:docMk/>
            <pc:sldMk cId="3413339761" sldId="2147483073"/>
            <ac:spMk id="179" creationId="{265B2FEF-2E36-EACF-6B26-38D100EDABCD}"/>
          </ac:spMkLst>
        </pc:spChg>
        <pc:spChg chg="mod ord">
          <ac:chgData name="Yiqun Dai" userId="360a2182-b97f-4635-b990-04f846616e33" providerId="ADAL" clId="{8F04EA49-0EFC-48F3-A4D8-E0F0D3B461A8}" dt="2025-11-07T07:11:58.920" v="240184"/>
          <ac:spMkLst>
            <pc:docMk/>
            <pc:sldMk cId="3413339761" sldId="2147483073"/>
            <ac:spMk id="204" creationId="{D18C2478-1769-2FB5-6C1B-5A688F351D68}"/>
          </ac:spMkLst>
        </pc:spChg>
        <pc:spChg chg="mod ord">
          <ac:chgData name="Yiqun Dai" userId="360a2182-b97f-4635-b990-04f846616e33" providerId="ADAL" clId="{8F04EA49-0EFC-48F3-A4D8-E0F0D3B461A8}" dt="2025-11-07T07:09:55.757" v="239994"/>
          <ac:spMkLst>
            <pc:docMk/>
            <pc:sldMk cId="3413339761" sldId="2147483073"/>
            <ac:spMk id="206" creationId="{EBDD1E46-CFF6-EC56-2911-3E99E92744F5}"/>
          </ac:spMkLst>
        </pc:spChg>
        <pc:spChg chg="mod ord">
          <ac:chgData name="Yiqun Dai" userId="360a2182-b97f-4635-b990-04f846616e33" providerId="ADAL" clId="{8F04EA49-0EFC-48F3-A4D8-E0F0D3B461A8}" dt="2025-11-07T07:09:55.757" v="239992"/>
          <ac:spMkLst>
            <pc:docMk/>
            <pc:sldMk cId="3413339761" sldId="2147483073"/>
            <ac:spMk id="259" creationId="{539357EF-50EB-AE54-295E-F3693E70F335}"/>
          </ac:spMkLst>
        </pc:spChg>
        <pc:graphicFrameChg chg="mod">
          <ac:chgData name="Yiqun Dai" userId="360a2182-b97f-4635-b990-04f846616e33" providerId="ADAL" clId="{8F04EA49-0EFC-48F3-A4D8-E0F0D3B461A8}" dt="2025-11-07T07:17:08.182" v="240271"/>
          <ac:graphicFrameMkLst>
            <pc:docMk/>
            <pc:sldMk cId="3413339761" sldId="2147483073"/>
            <ac:graphicFrameMk id="11" creationId="{D5B2AD06-3C63-52DA-607F-DE2E05FE3590}"/>
          </ac:graphicFrameMkLst>
        </pc:graphicFrameChg>
        <pc:graphicFrameChg chg="add mod ord">
          <ac:chgData name="Yiqun Dai" userId="360a2182-b97f-4635-b990-04f846616e33" providerId="ADAL" clId="{8F04EA49-0EFC-48F3-A4D8-E0F0D3B461A8}" dt="2025-11-07T07:09:55.772" v="240020"/>
          <ac:graphicFrameMkLst>
            <pc:docMk/>
            <pc:sldMk cId="3413339761" sldId="2147483073"/>
            <ac:graphicFrameMk id="120" creationId="{255B8697-F512-513C-3322-9C863A2CA40D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7T07:11:20.652" v="240177"/>
          <ac:graphicFrameMkLst>
            <pc:docMk/>
            <pc:sldMk cId="3413339761" sldId="2147483073"/>
            <ac:graphicFrameMk id="198" creationId="{4B969EF1-17FA-6C38-5435-9E02ABEA89F9}"/>
          </ac:graphicFrameMkLst>
        </pc:graphicFrameChg>
        <pc:cxnChg chg="add del mod ord">
          <ac:chgData name="Yiqun Dai" userId="360a2182-b97f-4635-b990-04f846616e33" providerId="ADAL" clId="{8F04EA49-0EFC-48F3-A4D8-E0F0D3B461A8}" dt="2025-11-07T07:09:55.757" v="240002"/>
          <ac:cxnSpMkLst>
            <pc:docMk/>
            <pc:sldMk cId="3413339761" sldId="2147483073"/>
            <ac:cxnSpMk id="9" creationId="{3D935503-FF16-B275-E872-1EF5231FB80D}"/>
          </ac:cxnSpMkLst>
        </pc:cxnChg>
        <pc:cxnChg chg="add del mod ord">
          <ac:chgData name="Yiqun Dai" userId="360a2182-b97f-4635-b990-04f846616e33" providerId="ADAL" clId="{8F04EA49-0EFC-48F3-A4D8-E0F0D3B461A8}" dt="2025-11-07T07:09:55.757" v="239998"/>
          <ac:cxnSpMkLst>
            <pc:docMk/>
            <pc:sldMk cId="3413339761" sldId="2147483073"/>
            <ac:cxnSpMk id="25" creationId="{AB6957C8-7617-3D58-2BED-CC56A584F93A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4"/>
          <ac:cxnSpMkLst>
            <pc:docMk/>
            <pc:sldMk cId="3413339761" sldId="2147483073"/>
            <ac:cxnSpMk id="26" creationId="{F4EEDD22-1155-5C64-3019-185083033A7E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0"/>
          <ac:cxnSpMkLst>
            <pc:docMk/>
            <pc:sldMk cId="3413339761" sldId="2147483073"/>
            <ac:cxnSpMk id="40" creationId="{C8D8368D-467D-C6BA-A444-BBC91CB2CC67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8"/>
          <ac:cxnSpMkLst>
            <pc:docMk/>
            <pc:sldMk cId="3413339761" sldId="2147483073"/>
            <ac:cxnSpMk id="48" creationId="{0F22AC41-7D56-A134-3842-12738EB42854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06"/>
          <ac:cxnSpMkLst>
            <pc:docMk/>
            <pc:sldMk cId="3413339761" sldId="2147483073"/>
            <ac:cxnSpMk id="81" creationId="{CCD24C00-ABF8-6D03-A3E0-4923F3D39164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0"/>
          <ac:cxnSpMkLst>
            <pc:docMk/>
            <pc:sldMk cId="3413339761" sldId="2147483073"/>
            <ac:cxnSpMk id="123" creationId="{D458536C-D91E-32EA-DA27-5D4F91A7370F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2"/>
          <ac:cxnSpMkLst>
            <pc:docMk/>
            <pc:sldMk cId="3413339761" sldId="2147483073"/>
            <ac:cxnSpMk id="124" creationId="{01F46A4E-6AA8-B0DD-A02E-82E8954A5BE2}"/>
          </ac:cxnSpMkLst>
        </pc:cxnChg>
        <pc:cxnChg chg="add del mod ord">
          <ac:chgData name="Yiqun Dai" userId="360a2182-b97f-4635-b990-04f846616e33" providerId="ADAL" clId="{8F04EA49-0EFC-48F3-A4D8-E0F0D3B461A8}" dt="2025-11-07T07:09:55.757" v="240014"/>
          <ac:cxnSpMkLst>
            <pc:docMk/>
            <pc:sldMk cId="3413339761" sldId="2147483073"/>
            <ac:cxnSpMk id="125" creationId="{22DF29A9-8B17-5518-25C7-0F37A0B6DFEA}"/>
          </ac:cxnSpMkLst>
        </pc:cxnChg>
      </pc:sldChg>
      <pc:sldChg chg="new del">
        <pc:chgData name="Yiqun Dai" userId="360a2182-b97f-4635-b990-04f846616e33" providerId="ADAL" clId="{8F04EA49-0EFC-48F3-A4D8-E0F0D3B461A8}" dt="2025-11-17T01:55:16.247" v="466874" actId="47"/>
        <pc:sldMkLst>
          <pc:docMk/>
          <pc:sldMk cId="4255977996" sldId="2147483074"/>
        </pc:sldMkLst>
      </pc:sldChg>
      <pc:sldChg chg="add del mod ord">
        <pc:chgData name="Yiqun Dai" userId="360a2182-b97f-4635-b990-04f846616e33" providerId="ADAL" clId="{8F04EA49-0EFC-48F3-A4D8-E0F0D3B461A8}" dt="2025-11-17T01:55:16.247" v="466874" actId="47"/>
        <pc:sldMkLst>
          <pc:docMk/>
          <pc:sldMk cId="4112128120" sldId="2147483076"/>
        </pc:sldMkLst>
      </pc:sldChg>
      <pc:sldChg chg="addSp modSp new del mod">
        <pc:chgData name="Yiqun Dai" userId="360a2182-b97f-4635-b990-04f846616e33" providerId="ADAL" clId="{8F04EA49-0EFC-48F3-A4D8-E0F0D3B461A8}" dt="2025-11-17T01:55:16.247" v="466874" actId="47"/>
        <pc:sldMkLst>
          <pc:docMk/>
          <pc:sldMk cId="1299715710" sldId="2147483077"/>
        </pc:sldMkLst>
      </pc:sldChg>
      <pc:sldChg chg="addSp delSp modSp new mod ord">
        <pc:chgData name="Yiqun Dai" userId="360a2182-b97f-4635-b990-04f846616e33" providerId="ADAL" clId="{8F04EA49-0EFC-48F3-A4D8-E0F0D3B461A8}" dt="2025-11-13T06:44:14.646" v="305806"/>
        <pc:sldMkLst>
          <pc:docMk/>
          <pc:sldMk cId="3782203074" sldId="2147483078"/>
        </pc:sldMkLst>
        <pc:spChg chg="mod ord">
          <ac:chgData name="Yiqun Dai" userId="360a2182-b97f-4635-b990-04f846616e33" providerId="ADAL" clId="{8F04EA49-0EFC-48F3-A4D8-E0F0D3B461A8}" dt="2025-11-09T04:28:21.520" v="280325" actId="948"/>
          <ac:spMkLst>
            <pc:docMk/>
            <pc:sldMk cId="3782203074" sldId="2147483078"/>
            <ac:spMk id="2" creationId="{55FB879D-49C4-3AD6-1024-6EF4C4A1F55B}"/>
          </ac:spMkLst>
        </pc:spChg>
        <pc:spChg chg="add mod">
          <ac:chgData name="Yiqun Dai" userId="360a2182-b97f-4635-b990-04f846616e33" providerId="ADAL" clId="{8F04EA49-0EFC-48F3-A4D8-E0F0D3B461A8}" dt="2025-11-09T04:27:10.944" v="280207"/>
          <ac:spMkLst>
            <pc:docMk/>
            <pc:sldMk cId="3782203074" sldId="2147483078"/>
            <ac:spMk id="5" creationId="{AA3ABC07-BAC6-D2CF-C122-D311E39F42E1}"/>
          </ac:spMkLst>
        </pc:spChg>
        <pc:spChg chg="add mod">
          <ac:chgData name="Yiqun Dai" userId="360a2182-b97f-4635-b990-04f846616e33" providerId="ADAL" clId="{8F04EA49-0EFC-48F3-A4D8-E0F0D3B461A8}" dt="2025-11-09T04:27:10.960" v="280214"/>
          <ac:spMkLst>
            <pc:docMk/>
            <pc:sldMk cId="3782203074" sldId="2147483078"/>
            <ac:spMk id="6" creationId="{8CF938BD-1A32-283E-FFB3-7F782FE332A2}"/>
          </ac:spMkLst>
        </pc:spChg>
        <pc:spChg chg="add mod">
          <ac:chgData name="Yiqun Dai" userId="360a2182-b97f-4635-b990-04f846616e33" providerId="ADAL" clId="{8F04EA49-0EFC-48F3-A4D8-E0F0D3B461A8}" dt="2025-11-09T04:27:10.976" v="280232"/>
          <ac:spMkLst>
            <pc:docMk/>
            <pc:sldMk cId="3782203074" sldId="2147483078"/>
            <ac:spMk id="120" creationId="{69FF4D9B-F53F-ACB4-166C-D14DB4F0F507}"/>
          </ac:spMkLst>
        </pc:spChg>
        <pc:spChg chg="add mod">
          <ac:chgData name="Yiqun Dai" userId="360a2182-b97f-4635-b990-04f846616e33" providerId="ADAL" clId="{8F04EA49-0EFC-48F3-A4D8-E0F0D3B461A8}" dt="2025-11-09T04:27:10.976" v="280233"/>
          <ac:spMkLst>
            <pc:docMk/>
            <pc:sldMk cId="3782203074" sldId="2147483078"/>
            <ac:spMk id="122" creationId="{BBA79E20-9229-BDDD-5D71-AC278B3550B3}"/>
          </ac:spMkLst>
        </pc:spChg>
        <pc:spChg chg="add mod">
          <ac:chgData name="Yiqun Dai" userId="360a2182-b97f-4635-b990-04f846616e33" providerId="ADAL" clId="{8F04EA49-0EFC-48F3-A4D8-E0F0D3B461A8}" dt="2025-11-09T04:27:10.976" v="280234"/>
          <ac:spMkLst>
            <pc:docMk/>
            <pc:sldMk cId="3782203074" sldId="2147483078"/>
            <ac:spMk id="123" creationId="{0845FA76-57BF-1C64-D308-80DEBA64A5D4}"/>
          </ac:spMkLst>
        </pc:spChg>
        <pc:spChg chg="add mod ord">
          <ac:chgData name="Yiqun Dai" userId="360a2182-b97f-4635-b990-04f846616e33" providerId="ADAL" clId="{8F04EA49-0EFC-48F3-A4D8-E0F0D3B461A8}" dt="2025-11-09T04:27:10.973" v="280227"/>
          <ac:spMkLst>
            <pc:docMk/>
            <pc:sldMk cId="3782203074" sldId="2147483078"/>
            <ac:spMk id="124" creationId="{73F51571-3D31-BB8F-096E-3CC0B86B3E53}"/>
          </ac:spMkLst>
        </pc:spChg>
        <pc:spChg chg="add mod ord">
          <ac:chgData name="Yiqun Dai" userId="360a2182-b97f-4635-b990-04f846616e33" providerId="ADAL" clId="{8F04EA49-0EFC-48F3-A4D8-E0F0D3B461A8}" dt="2025-11-09T04:27:10.973" v="280229"/>
          <ac:spMkLst>
            <pc:docMk/>
            <pc:sldMk cId="3782203074" sldId="2147483078"/>
            <ac:spMk id="125" creationId="{0343D8F9-65A3-A260-B28A-B492B2202015}"/>
          </ac:spMkLst>
        </pc:spChg>
        <pc:spChg chg="add mod ord">
          <ac:chgData name="Yiqun Dai" userId="360a2182-b97f-4635-b990-04f846616e33" providerId="ADAL" clId="{8F04EA49-0EFC-48F3-A4D8-E0F0D3B461A8}" dt="2025-11-09T04:27:10.976" v="280231"/>
          <ac:spMkLst>
            <pc:docMk/>
            <pc:sldMk cId="3782203074" sldId="2147483078"/>
            <ac:spMk id="126" creationId="{BA8B0477-AD56-8E70-0395-1ADF15E447F4}"/>
          </ac:spMkLst>
        </pc:spChg>
        <pc:spChg chg="add mod ord">
          <ac:chgData name="Yiqun Dai" userId="360a2182-b97f-4635-b990-04f846616e33" providerId="ADAL" clId="{8F04EA49-0EFC-48F3-A4D8-E0F0D3B461A8}" dt="2025-11-09T04:27:10.960" v="280215"/>
          <ac:spMkLst>
            <pc:docMk/>
            <pc:sldMk cId="3782203074" sldId="2147483078"/>
            <ac:spMk id="264" creationId="{42D37D27-F5B5-79CC-237C-0FE97EE50339}"/>
          </ac:spMkLst>
        </pc:spChg>
        <pc:spChg chg="add mod ord">
          <ac:chgData name="Yiqun Dai" userId="360a2182-b97f-4635-b990-04f846616e33" providerId="ADAL" clId="{8F04EA49-0EFC-48F3-A4D8-E0F0D3B461A8}" dt="2025-11-09T04:27:10.960" v="280216"/>
          <ac:spMkLst>
            <pc:docMk/>
            <pc:sldMk cId="3782203074" sldId="2147483078"/>
            <ac:spMk id="265" creationId="{5FB799B1-0A35-BC5A-A1E2-F73DABAC4F82}"/>
          </ac:spMkLst>
        </pc:spChg>
        <pc:spChg chg="add mod ord">
          <ac:chgData name="Yiqun Dai" userId="360a2182-b97f-4635-b990-04f846616e33" providerId="ADAL" clId="{8F04EA49-0EFC-48F3-A4D8-E0F0D3B461A8}" dt="2025-11-09T04:27:10.960" v="280217"/>
          <ac:spMkLst>
            <pc:docMk/>
            <pc:sldMk cId="3782203074" sldId="2147483078"/>
            <ac:spMk id="266" creationId="{E3DAA97C-387C-68CA-023E-5F36FDA219E7}"/>
          </ac:spMkLst>
        </pc:spChg>
        <pc:spChg chg="add mod ord">
          <ac:chgData name="Yiqun Dai" userId="360a2182-b97f-4635-b990-04f846616e33" providerId="ADAL" clId="{8F04EA49-0EFC-48F3-A4D8-E0F0D3B461A8}" dt="2025-11-09T04:27:10.960" v="280218"/>
          <ac:spMkLst>
            <pc:docMk/>
            <pc:sldMk cId="3782203074" sldId="2147483078"/>
            <ac:spMk id="267" creationId="{00CCF0FF-677C-9338-B2D6-90E0C0B9787B}"/>
          </ac:spMkLst>
        </pc:spChg>
        <pc:spChg chg="add mod ord">
          <ac:chgData name="Yiqun Dai" userId="360a2182-b97f-4635-b990-04f846616e33" providerId="ADAL" clId="{8F04EA49-0EFC-48F3-A4D8-E0F0D3B461A8}" dt="2025-11-09T04:27:10.960" v="280220"/>
          <ac:spMkLst>
            <pc:docMk/>
            <pc:sldMk cId="3782203074" sldId="2147483078"/>
            <ac:spMk id="268" creationId="{B1F67D94-A55F-6E87-F56B-AA047B69AA3B}"/>
          </ac:spMkLst>
        </pc:spChg>
        <pc:spChg chg="add mod ord">
          <ac:chgData name="Yiqun Dai" userId="360a2182-b97f-4635-b990-04f846616e33" providerId="ADAL" clId="{8F04EA49-0EFC-48F3-A4D8-E0F0D3B461A8}" dt="2025-11-09T04:27:10.960" v="280221"/>
          <ac:spMkLst>
            <pc:docMk/>
            <pc:sldMk cId="3782203074" sldId="2147483078"/>
            <ac:spMk id="269" creationId="{CCD82100-CFBF-6D5A-1C7B-EB538DAF629C}"/>
          </ac:spMkLst>
        </pc:spChg>
        <pc:spChg chg="add mod ord">
          <ac:chgData name="Yiqun Dai" userId="360a2182-b97f-4635-b990-04f846616e33" providerId="ADAL" clId="{8F04EA49-0EFC-48F3-A4D8-E0F0D3B461A8}" dt="2025-11-09T04:27:10.960" v="280222"/>
          <ac:spMkLst>
            <pc:docMk/>
            <pc:sldMk cId="3782203074" sldId="2147483078"/>
            <ac:spMk id="270" creationId="{F212CDA8-C9F1-586D-4BF6-0BAAE3E9060E}"/>
          </ac:spMkLst>
        </pc:spChg>
        <pc:spChg chg="add mod ord">
          <ac:chgData name="Yiqun Dai" userId="360a2182-b97f-4635-b990-04f846616e33" providerId="ADAL" clId="{8F04EA49-0EFC-48F3-A4D8-E0F0D3B461A8}" dt="2025-11-09T04:27:10.960" v="280223"/>
          <ac:spMkLst>
            <pc:docMk/>
            <pc:sldMk cId="3782203074" sldId="2147483078"/>
            <ac:spMk id="271" creationId="{781F84A9-0E53-0126-5FAF-B7CFE5A6728F}"/>
          </ac:spMkLst>
        </pc:spChg>
        <pc:spChg chg="add mod ord">
          <ac:chgData name="Yiqun Dai" userId="360a2182-b97f-4635-b990-04f846616e33" providerId="ADAL" clId="{8F04EA49-0EFC-48F3-A4D8-E0F0D3B461A8}" dt="2025-11-09T04:27:10.944" v="280199"/>
          <ac:spMkLst>
            <pc:docMk/>
            <pc:sldMk cId="3782203074" sldId="2147483078"/>
            <ac:spMk id="272" creationId="{4BCC02E0-7A1B-A9E8-B374-610A79F00D10}"/>
          </ac:spMkLst>
        </pc:spChg>
        <pc:spChg chg="add mod ord">
          <ac:chgData name="Yiqun Dai" userId="360a2182-b97f-4635-b990-04f846616e33" providerId="ADAL" clId="{8F04EA49-0EFC-48F3-A4D8-E0F0D3B461A8}" dt="2025-11-09T04:27:10.944" v="280200"/>
          <ac:spMkLst>
            <pc:docMk/>
            <pc:sldMk cId="3782203074" sldId="2147483078"/>
            <ac:spMk id="273" creationId="{E4AB7981-F4E2-70D2-6383-5142E58AF47C}"/>
          </ac:spMkLst>
        </pc:spChg>
        <pc:spChg chg="add mod ord">
          <ac:chgData name="Yiqun Dai" userId="360a2182-b97f-4635-b990-04f846616e33" providerId="ADAL" clId="{8F04EA49-0EFC-48F3-A4D8-E0F0D3B461A8}" dt="2025-11-09T04:27:10.944" v="280201"/>
          <ac:spMkLst>
            <pc:docMk/>
            <pc:sldMk cId="3782203074" sldId="2147483078"/>
            <ac:spMk id="274" creationId="{CFB7C5EB-6C59-BF57-D4E2-2885D5174A89}"/>
          </ac:spMkLst>
        </pc:spChg>
        <pc:spChg chg="add mod ord">
          <ac:chgData name="Yiqun Dai" userId="360a2182-b97f-4635-b990-04f846616e33" providerId="ADAL" clId="{8F04EA49-0EFC-48F3-A4D8-E0F0D3B461A8}" dt="2025-11-09T04:27:10.944" v="280202"/>
          <ac:spMkLst>
            <pc:docMk/>
            <pc:sldMk cId="3782203074" sldId="2147483078"/>
            <ac:spMk id="413" creationId="{17F3B7F0-5584-8227-872C-6509F8A69F5D}"/>
          </ac:spMkLst>
        </pc:spChg>
        <pc:spChg chg="add mod ord">
          <ac:chgData name="Yiqun Dai" userId="360a2182-b97f-4635-b990-04f846616e33" providerId="ADAL" clId="{8F04EA49-0EFC-48F3-A4D8-E0F0D3B461A8}" dt="2025-11-09T04:27:10.944" v="280203"/>
          <ac:spMkLst>
            <pc:docMk/>
            <pc:sldMk cId="3782203074" sldId="2147483078"/>
            <ac:spMk id="417" creationId="{CF5E2072-AED3-420D-DCA4-97F70D26F374}"/>
          </ac:spMkLst>
        </pc:spChg>
        <pc:spChg chg="add mod ord">
          <ac:chgData name="Yiqun Dai" userId="360a2182-b97f-4635-b990-04f846616e33" providerId="ADAL" clId="{8F04EA49-0EFC-48F3-A4D8-E0F0D3B461A8}" dt="2025-11-09T04:27:10.944" v="280205"/>
          <ac:spMkLst>
            <pc:docMk/>
            <pc:sldMk cId="3782203074" sldId="2147483078"/>
            <ac:spMk id="418" creationId="{6490860E-ADED-5197-D44B-4EDC913D0765}"/>
          </ac:spMkLst>
        </pc:spChg>
        <pc:spChg chg="add mod ord">
          <ac:chgData name="Yiqun Dai" userId="360a2182-b97f-4635-b990-04f846616e33" providerId="ADAL" clId="{8F04EA49-0EFC-48F3-A4D8-E0F0D3B461A8}" dt="2025-11-09T04:27:10.944" v="280206"/>
          <ac:spMkLst>
            <pc:docMk/>
            <pc:sldMk cId="3782203074" sldId="2147483078"/>
            <ac:spMk id="419" creationId="{79CF372C-5DD3-74C1-81D8-E66DACA9B57C}"/>
          </ac:spMkLst>
        </pc:spChg>
        <pc:spChg chg="add mod ord">
          <ac:chgData name="Yiqun Dai" userId="360a2182-b97f-4635-b990-04f846616e33" providerId="ADAL" clId="{8F04EA49-0EFC-48F3-A4D8-E0F0D3B461A8}" dt="2025-11-09T04:27:10.973" v="280225"/>
          <ac:spMkLst>
            <pc:docMk/>
            <pc:sldMk cId="3782203074" sldId="2147483078"/>
            <ac:spMk id="420" creationId="{FF50771F-D43A-AB6A-733E-9A2A14FF01AF}"/>
          </ac:spMkLst>
        </pc:spChg>
        <pc:spChg chg="add mod ord">
          <ac:chgData name="Yiqun Dai" userId="360a2182-b97f-4635-b990-04f846616e33" providerId="ADAL" clId="{8F04EA49-0EFC-48F3-A4D8-E0F0D3B461A8}" dt="2025-11-09T04:27:10.960" v="280208"/>
          <ac:spMkLst>
            <pc:docMk/>
            <pc:sldMk cId="3782203074" sldId="2147483078"/>
            <ac:spMk id="421" creationId="{C1AA4B55-1758-5947-0740-4D60275A18EB}"/>
          </ac:spMkLst>
        </pc:spChg>
        <pc:spChg chg="add mod ord">
          <ac:chgData name="Yiqun Dai" userId="360a2182-b97f-4635-b990-04f846616e33" providerId="ADAL" clId="{8F04EA49-0EFC-48F3-A4D8-E0F0D3B461A8}" dt="2025-11-09T04:27:10.960" v="280209"/>
          <ac:spMkLst>
            <pc:docMk/>
            <pc:sldMk cId="3782203074" sldId="2147483078"/>
            <ac:spMk id="422" creationId="{222F8A2A-0A36-A85E-9EFA-93443FE189E6}"/>
          </ac:spMkLst>
        </pc:spChg>
        <pc:spChg chg="add mod ord">
          <ac:chgData name="Yiqun Dai" userId="360a2182-b97f-4635-b990-04f846616e33" providerId="ADAL" clId="{8F04EA49-0EFC-48F3-A4D8-E0F0D3B461A8}" dt="2025-11-09T04:27:10.960" v="280210"/>
          <ac:spMkLst>
            <pc:docMk/>
            <pc:sldMk cId="3782203074" sldId="2147483078"/>
            <ac:spMk id="423" creationId="{2B883216-9479-468A-72D0-F2F15B88F25E}"/>
          </ac:spMkLst>
        </pc:spChg>
        <pc:spChg chg="add mod ord">
          <ac:chgData name="Yiqun Dai" userId="360a2182-b97f-4635-b990-04f846616e33" providerId="ADAL" clId="{8F04EA49-0EFC-48F3-A4D8-E0F0D3B461A8}" dt="2025-11-09T04:27:10.960" v="280211"/>
          <ac:spMkLst>
            <pc:docMk/>
            <pc:sldMk cId="3782203074" sldId="2147483078"/>
            <ac:spMk id="424" creationId="{AC38DB3E-0982-3AF6-4ACF-3772ADA5FE14}"/>
          </ac:spMkLst>
        </pc:spChg>
        <pc:spChg chg="add mod ord">
          <ac:chgData name="Yiqun Dai" userId="360a2182-b97f-4635-b990-04f846616e33" providerId="ADAL" clId="{8F04EA49-0EFC-48F3-A4D8-E0F0D3B461A8}" dt="2025-11-09T04:27:10.960" v="280212"/>
          <ac:spMkLst>
            <pc:docMk/>
            <pc:sldMk cId="3782203074" sldId="2147483078"/>
            <ac:spMk id="425" creationId="{213CB26B-BD65-6613-AFAD-5C24261206F3}"/>
          </ac:spMkLst>
        </pc:spChg>
        <pc:spChg chg="add mod ord">
          <ac:chgData name="Yiqun Dai" userId="360a2182-b97f-4635-b990-04f846616e33" providerId="ADAL" clId="{8F04EA49-0EFC-48F3-A4D8-E0F0D3B461A8}" dt="2025-11-09T04:27:10.960" v="280213"/>
          <ac:spMkLst>
            <pc:docMk/>
            <pc:sldMk cId="3782203074" sldId="2147483078"/>
            <ac:spMk id="426" creationId="{1AE7992E-D6A9-0457-1738-E4059D76E0BA}"/>
          </ac:spMkLst>
        </pc:spChg>
        <pc:spChg chg="add mod">
          <ac:chgData name="Yiqun Dai" userId="360a2182-b97f-4635-b990-04f846616e33" providerId="ADAL" clId="{8F04EA49-0EFC-48F3-A4D8-E0F0D3B461A8}" dt="2025-11-09T04:27:10.976" v="280236"/>
          <ac:spMkLst>
            <pc:docMk/>
            <pc:sldMk cId="3782203074" sldId="2147483078"/>
            <ac:spMk id="555" creationId="{6F0A8082-0442-A78D-992A-1F2952291069}"/>
          </ac:spMkLst>
        </pc:spChg>
        <pc:spChg chg="add mod">
          <ac:chgData name="Yiqun Dai" userId="360a2182-b97f-4635-b990-04f846616e33" providerId="ADAL" clId="{8F04EA49-0EFC-48F3-A4D8-E0F0D3B461A8}" dt="2025-11-09T04:27:10.976" v="280235"/>
          <ac:spMkLst>
            <pc:docMk/>
            <pc:sldMk cId="3782203074" sldId="2147483078"/>
            <ac:spMk id="557" creationId="{F9A5B3FB-2117-EDB9-3358-ABAA8B800EF7}"/>
          </ac:spMkLst>
        </pc:spChg>
        <pc:spChg chg="add mod ord">
          <ac:chgData name="Yiqun Dai" userId="360a2182-b97f-4635-b990-04f846616e33" providerId="ADAL" clId="{8F04EA49-0EFC-48F3-A4D8-E0F0D3B461A8}" dt="2025-11-09T04:27:10.976" v="280238"/>
          <ac:spMkLst>
            <pc:docMk/>
            <pc:sldMk cId="3782203074" sldId="2147483078"/>
            <ac:spMk id="576" creationId="{31A080CC-9697-5E52-78B5-505FD44A5672}"/>
          </ac:spMkLst>
        </pc:spChg>
        <pc:graphicFrameChg chg="add mod ord modVis">
          <ac:chgData name="Yiqun Dai" userId="360a2182-b97f-4635-b990-04f846616e33" providerId="ADAL" clId="{8F04EA49-0EFC-48F3-A4D8-E0F0D3B461A8}" dt="2025-11-09T04:28:21.535" v="280327"/>
          <ac:graphicFrameMkLst>
            <pc:docMk/>
            <pc:sldMk cId="3782203074" sldId="2147483078"/>
            <ac:graphicFrameMk id="11" creationId="{C305DA93-495D-3429-0D23-05A991A8D5AB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4:27:10.944" v="280188"/>
          <ac:graphicFrameMkLst>
            <pc:docMk/>
            <pc:sldMk cId="3782203074" sldId="2147483078"/>
            <ac:graphicFrameMk id="610" creationId="{981F4461-F41E-3025-2835-FB147EC0FC3C}"/>
          </ac:graphicFrameMkLst>
        </pc:graphicFrameChg>
        <pc:cxnChg chg="add mod ord">
          <ac:chgData name="Yiqun Dai" userId="360a2182-b97f-4635-b990-04f846616e33" providerId="ADAL" clId="{8F04EA49-0EFC-48F3-A4D8-E0F0D3B461A8}" dt="2025-11-09T04:27:10.929" v="280180"/>
          <ac:cxnSpMkLst>
            <pc:docMk/>
            <pc:sldMk cId="3782203074" sldId="2147483078"/>
            <ac:cxnSpMk id="465" creationId="{7EF523CD-E21C-FAAD-5B43-E08707863EA9}"/>
          </ac:cxnSpMkLst>
        </pc:cxnChg>
        <pc:cxnChg chg="add mod ord">
          <ac:chgData name="Yiqun Dai" userId="360a2182-b97f-4635-b990-04f846616e33" providerId="ADAL" clId="{8F04EA49-0EFC-48F3-A4D8-E0F0D3B461A8}" dt="2025-11-09T04:27:10.944" v="280182"/>
          <ac:cxnSpMkLst>
            <pc:docMk/>
            <pc:sldMk cId="3782203074" sldId="2147483078"/>
            <ac:cxnSpMk id="471" creationId="{1C276F67-F41B-7B92-73E6-D386EA641EC7}"/>
          </ac:cxnSpMkLst>
        </pc:cxnChg>
        <pc:cxnChg chg="add mod ord">
          <ac:chgData name="Yiqun Dai" userId="360a2182-b97f-4635-b990-04f846616e33" providerId="ADAL" clId="{8F04EA49-0EFC-48F3-A4D8-E0F0D3B461A8}" dt="2025-11-09T04:27:10.944" v="280184"/>
          <ac:cxnSpMkLst>
            <pc:docMk/>
            <pc:sldMk cId="3782203074" sldId="2147483078"/>
            <ac:cxnSpMk id="530" creationId="{C29C918B-6808-5F67-A303-F181759D99B1}"/>
          </ac:cxnSpMkLst>
        </pc:cxnChg>
        <pc:cxnChg chg="add mod ord">
          <ac:chgData name="Yiqun Dai" userId="360a2182-b97f-4635-b990-04f846616e33" providerId="ADAL" clId="{8F04EA49-0EFC-48F3-A4D8-E0F0D3B461A8}" dt="2025-11-09T04:27:10.944" v="280186"/>
          <ac:cxnSpMkLst>
            <pc:docMk/>
            <pc:sldMk cId="3782203074" sldId="2147483078"/>
            <ac:cxnSpMk id="531" creationId="{17AFF1CF-EAF7-C1F8-E9A5-F96D165B9F23}"/>
          </ac:cxnSpMkLst>
        </pc:cxnChg>
        <pc:cxnChg chg="add mod ord">
          <ac:chgData name="Yiqun Dai" userId="360a2182-b97f-4635-b990-04f846616e33" providerId="ADAL" clId="{8F04EA49-0EFC-48F3-A4D8-E0F0D3B461A8}" dt="2025-11-09T04:27:10.944" v="280190"/>
          <ac:cxnSpMkLst>
            <pc:docMk/>
            <pc:sldMk cId="3782203074" sldId="2147483078"/>
            <ac:cxnSpMk id="605" creationId="{4963DAD4-8E28-64DD-4AAD-14E4EA1C018C}"/>
          </ac:cxnSpMkLst>
        </pc:cxnChg>
        <pc:cxnChg chg="add mod ord">
          <ac:chgData name="Yiqun Dai" userId="360a2182-b97f-4635-b990-04f846616e33" providerId="ADAL" clId="{8F04EA49-0EFC-48F3-A4D8-E0F0D3B461A8}" dt="2025-11-09T04:27:10.944" v="280192"/>
          <ac:cxnSpMkLst>
            <pc:docMk/>
            <pc:sldMk cId="3782203074" sldId="2147483078"/>
            <ac:cxnSpMk id="606" creationId="{DFFD9DB4-EB8E-669B-070F-C439A7F13BD0}"/>
          </ac:cxnSpMkLst>
        </pc:cxnChg>
        <pc:cxnChg chg="add mod ord">
          <ac:chgData name="Yiqun Dai" userId="360a2182-b97f-4635-b990-04f846616e33" providerId="ADAL" clId="{8F04EA49-0EFC-48F3-A4D8-E0F0D3B461A8}" dt="2025-11-09T04:27:10.944" v="280194"/>
          <ac:cxnSpMkLst>
            <pc:docMk/>
            <pc:sldMk cId="3782203074" sldId="2147483078"/>
            <ac:cxnSpMk id="607" creationId="{AF5CF4D7-6E1A-8663-8B2A-815F7A357785}"/>
          </ac:cxnSpMkLst>
        </pc:cxnChg>
        <pc:cxnChg chg="add mod ord">
          <ac:chgData name="Yiqun Dai" userId="360a2182-b97f-4635-b990-04f846616e33" providerId="ADAL" clId="{8F04EA49-0EFC-48F3-A4D8-E0F0D3B461A8}" dt="2025-11-09T04:27:10.944" v="280196"/>
          <ac:cxnSpMkLst>
            <pc:docMk/>
            <pc:sldMk cId="3782203074" sldId="2147483078"/>
            <ac:cxnSpMk id="608" creationId="{EBFC9F46-268E-2972-4244-0E957E722E67}"/>
          </ac:cxnSpMkLst>
        </pc:cxnChg>
        <pc:cxnChg chg="add mod ord">
          <ac:chgData name="Yiqun Dai" userId="360a2182-b97f-4635-b990-04f846616e33" providerId="ADAL" clId="{8F04EA49-0EFC-48F3-A4D8-E0F0D3B461A8}" dt="2025-11-09T04:27:10.944" v="280198"/>
          <ac:cxnSpMkLst>
            <pc:docMk/>
            <pc:sldMk cId="3782203074" sldId="2147483078"/>
            <ac:cxnSpMk id="609" creationId="{2069D993-7E35-29AF-54DF-CEAD38CC318F}"/>
          </ac:cxnSpMkLst>
        </pc:cxnChg>
      </pc:sldChg>
      <pc:sldChg chg="addSp delSp modSp add mod modNotesTx">
        <pc:chgData name="Yiqun Dai" userId="360a2182-b97f-4635-b990-04f846616e33" providerId="ADAL" clId="{8F04EA49-0EFC-48F3-A4D8-E0F0D3B461A8}" dt="2025-11-09T07:09:17.271" v="282985" actId="403"/>
        <pc:sldMkLst>
          <pc:docMk/>
          <pc:sldMk cId="3643436976" sldId="2147483079"/>
        </pc:sldMkLst>
        <pc:spChg chg="mod ord">
          <ac:chgData name="Yiqun Dai" userId="360a2182-b97f-4635-b990-04f846616e33" providerId="ADAL" clId="{8F04EA49-0EFC-48F3-A4D8-E0F0D3B461A8}" dt="2025-11-09T07:09:00.352" v="282865"/>
          <ac:spMkLst>
            <pc:docMk/>
            <pc:sldMk cId="3643436976" sldId="2147483079"/>
            <ac:spMk id="2" creationId="{EF827EB1-8B3E-15EC-6D27-7199C273ABA1}"/>
          </ac:spMkLst>
        </pc:spChg>
        <pc:spChg chg="add mod ord">
          <ac:chgData name="Yiqun Dai" userId="360a2182-b97f-4635-b990-04f846616e33" providerId="ADAL" clId="{8F04EA49-0EFC-48F3-A4D8-E0F0D3B461A8}" dt="2025-11-09T07:09:00.416" v="282977"/>
          <ac:spMkLst>
            <pc:docMk/>
            <pc:sldMk cId="3643436976" sldId="2147483079"/>
            <ac:spMk id="3" creationId="{AA380B36-B163-1730-F306-E37B050DCBB3}"/>
          </ac:spMkLst>
        </pc:spChg>
        <pc:spChg chg="mod">
          <ac:chgData name="Yiqun Dai" userId="360a2182-b97f-4635-b990-04f846616e33" providerId="ADAL" clId="{8F04EA49-0EFC-48F3-A4D8-E0F0D3B461A8}" dt="2025-11-09T07:09:00.416" v="282970"/>
          <ac:spMkLst>
            <pc:docMk/>
            <pc:sldMk cId="3643436976" sldId="2147483079"/>
            <ac:spMk id="6" creationId="{E1168A9D-D8E5-6780-B420-5ADC9BC269E4}"/>
          </ac:spMkLst>
        </pc:spChg>
        <pc:spChg chg="mod">
          <ac:chgData name="Yiqun Dai" userId="360a2182-b97f-4635-b990-04f846616e33" providerId="ADAL" clId="{8F04EA49-0EFC-48F3-A4D8-E0F0D3B461A8}" dt="2025-11-09T07:09:00.416" v="282971"/>
          <ac:spMkLst>
            <pc:docMk/>
            <pc:sldMk cId="3643436976" sldId="2147483079"/>
            <ac:spMk id="7" creationId="{EF55E82B-D7B5-1B1A-F01C-40BF6D72BC46}"/>
          </ac:spMkLst>
        </pc:spChg>
        <pc:spChg chg="mod">
          <ac:chgData name="Yiqun Dai" userId="360a2182-b97f-4635-b990-04f846616e33" providerId="ADAL" clId="{8F04EA49-0EFC-48F3-A4D8-E0F0D3B461A8}" dt="2025-11-09T07:09:00.416" v="282972"/>
          <ac:spMkLst>
            <pc:docMk/>
            <pc:sldMk cId="3643436976" sldId="2147483079"/>
            <ac:spMk id="8" creationId="{E27CAE76-D2DA-D7F0-DBF1-ED96C62A6343}"/>
          </ac:spMkLst>
        </pc:spChg>
        <pc:spChg chg="mod">
          <ac:chgData name="Yiqun Dai" userId="360a2182-b97f-4635-b990-04f846616e33" providerId="ADAL" clId="{8F04EA49-0EFC-48F3-A4D8-E0F0D3B461A8}" dt="2025-11-09T07:09:00.416" v="282973"/>
          <ac:spMkLst>
            <pc:docMk/>
            <pc:sldMk cId="3643436976" sldId="2147483079"/>
            <ac:spMk id="9" creationId="{F1419304-BF4C-2D37-987D-A5627D776682}"/>
          </ac:spMkLst>
        </pc:spChg>
        <pc:spChg chg="mod">
          <ac:chgData name="Yiqun Dai" userId="360a2182-b97f-4635-b990-04f846616e33" providerId="ADAL" clId="{8F04EA49-0EFC-48F3-A4D8-E0F0D3B461A8}" dt="2025-11-09T07:09:00.416" v="282974"/>
          <ac:spMkLst>
            <pc:docMk/>
            <pc:sldMk cId="3643436976" sldId="2147483079"/>
            <ac:spMk id="10" creationId="{9A6112D8-BC20-6BF8-05DB-D0684F4664EE}"/>
          </ac:spMkLst>
        </pc:spChg>
        <pc:spChg chg="mod">
          <ac:chgData name="Yiqun Dai" userId="360a2182-b97f-4635-b990-04f846616e33" providerId="ADAL" clId="{8F04EA49-0EFC-48F3-A4D8-E0F0D3B461A8}" dt="2025-11-09T07:09:00.416" v="282975"/>
          <ac:spMkLst>
            <pc:docMk/>
            <pc:sldMk cId="3643436976" sldId="2147483079"/>
            <ac:spMk id="11" creationId="{2253F0E0-EF86-D294-15EF-A6A0151708C9}"/>
          </ac:spMkLst>
        </pc:spChg>
        <pc:spChg chg="mod">
          <ac:chgData name="Yiqun Dai" userId="360a2182-b97f-4635-b990-04f846616e33" providerId="ADAL" clId="{8F04EA49-0EFC-48F3-A4D8-E0F0D3B461A8}" dt="2025-11-09T07:09:00.370" v="282878"/>
          <ac:spMkLst>
            <pc:docMk/>
            <pc:sldMk cId="3643436976" sldId="2147483079"/>
            <ac:spMk id="14" creationId="{D3EE5BB7-3102-5868-653B-8D0223F492D3}"/>
          </ac:spMkLst>
        </pc:spChg>
        <pc:spChg chg="mod ord">
          <ac:chgData name="Yiqun Dai" userId="360a2182-b97f-4635-b990-04f846616e33" providerId="ADAL" clId="{8F04EA49-0EFC-48F3-A4D8-E0F0D3B461A8}" dt="2025-11-09T07:09:00.370" v="282880"/>
          <ac:spMkLst>
            <pc:docMk/>
            <pc:sldMk cId="3643436976" sldId="2147483079"/>
            <ac:spMk id="15" creationId="{388ABE05-A9E5-8CF6-DA4E-7802B287E58B}"/>
          </ac:spMkLst>
        </pc:spChg>
        <pc:spChg chg="mod ord">
          <ac:chgData name="Yiqun Dai" userId="360a2182-b97f-4635-b990-04f846616e33" providerId="ADAL" clId="{8F04EA49-0EFC-48F3-A4D8-E0F0D3B461A8}" dt="2025-11-09T07:09:00.370" v="282882"/>
          <ac:spMkLst>
            <pc:docMk/>
            <pc:sldMk cId="3643436976" sldId="2147483079"/>
            <ac:spMk id="17" creationId="{664BC61D-FB73-E3DC-8BBE-4681D77FA21C}"/>
          </ac:spMkLst>
        </pc:spChg>
        <pc:spChg chg="mod">
          <ac:chgData name="Yiqun Dai" userId="360a2182-b97f-4635-b990-04f846616e33" providerId="ADAL" clId="{8F04EA49-0EFC-48F3-A4D8-E0F0D3B461A8}" dt="2025-11-09T07:09:00.370" v="282886"/>
          <ac:spMkLst>
            <pc:docMk/>
            <pc:sldMk cId="3643436976" sldId="2147483079"/>
            <ac:spMk id="18" creationId="{969D9F1E-8FC8-E71B-72D0-1AF1290A2AAA}"/>
          </ac:spMkLst>
        </pc:spChg>
        <pc:spChg chg="mod">
          <ac:chgData name="Yiqun Dai" userId="360a2182-b97f-4635-b990-04f846616e33" providerId="ADAL" clId="{8F04EA49-0EFC-48F3-A4D8-E0F0D3B461A8}" dt="2025-11-09T07:09:00.370" v="282883"/>
          <ac:spMkLst>
            <pc:docMk/>
            <pc:sldMk cId="3643436976" sldId="2147483079"/>
            <ac:spMk id="19" creationId="{45D0FAEE-58AD-C5AC-6CF7-63FFEAA3609F}"/>
          </ac:spMkLst>
        </pc:spChg>
        <pc:spChg chg="mod">
          <ac:chgData name="Yiqun Dai" userId="360a2182-b97f-4635-b990-04f846616e33" providerId="ADAL" clId="{8F04EA49-0EFC-48F3-A4D8-E0F0D3B461A8}" dt="2025-11-09T07:09:00.383" v="282894"/>
          <ac:spMkLst>
            <pc:docMk/>
            <pc:sldMk cId="3643436976" sldId="2147483079"/>
            <ac:spMk id="20" creationId="{A5F41E36-2010-F6EC-8376-5C5B59FAEFD8}"/>
          </ac:spMkLst>
        </pc:spChg>
        <pc:spChg chg="mod">
          <ac:chgData name="Yiqun Dai" userId="360a2182-b97f-4635-b990-04f846616e33" providerId="ADAL" clId="{8F04EA49-0EFC-48F3-A4D8-E0F0D3B461A8}" dt="2025-11-09T07:09:00.370" v="282884"/>
          <ac:spMkLst>
            <pc:docMk/>
            <pc:sldMk cId="3643436976" sldId="2147483079"/>
            <ac:spMk id="21" creationId="{74FCAF79-A649-6495-DA66-E931BE1C762C}"/>
          </ac:spMkLst>
        </pc:spChg>
        <pc:spChg chg="mod">
          <ac:chgData name="Yiqun Dai" userId="360a2182-b97f-4635-b990-04f846616e33" providerId="ADAL" clId="{8F04EA49-0EFC-48F3-A4D8-E0F0D3B461A8}" dt="2025-11-09T07:09:00.370" v="282885"/>
          <ac:spMkLst>
            <pc:docMk/>
            <pc:sldMk cId="3643436976" sldId="2147483079"/>
            <ac:spMk id="22" creationId="{7BC465C6-F86D-C40A-F7B6-82CD00B5AACA}"/>
          </ac:spMkLst>
        </pc:spChg>
        <pc:spChg chg="mod">
          <ac:chgData name="Yiqun Dai" userId="360a2182-b97f-4635-b990-04f846616e33" providerId="ADAL" clId="{8F04EA49-0EFC-48F3-A4D8-E0F0D3B461A8}" dt="2025-11-09T07:09:00.384" v="282895"/>
          <ac:spMkLst>
            <pc:docMk/>
            <pc:sldMk cId="3643436976" sldId="2147483079"/>
            <ac:spMk id="25" creationId="{73E83A37-2AAA-8D28-40B3-DB98F3EF701B}"/>
          </ac:spMkLst>
        </pc:spChg>
        <pc:spChg chg="mod">
          <ac:chgData name="Yiqun Dai" userId="360a2182-b97f-4635-b990-04f846616e33" providerId="ADAL" clId="{8F04EA49-0EFC-48F3-A4D8-E0F0D3B461A8}" dt="2025-11-09T07:09:00.370" v="282887"/>
          <ac:spMkLst>
            <pc:docMk/>
            <pc:sldMk cId="3643436976" sldId="2147483079"/>
            <ac:spMk id="26" creationId="{A8C6B2AD-9A15-5247-9D21-D73EDEDFCFD3}"/>
          </ac:spMkLst>
        </pc:spChg>
        <pc:spChg chg="mod ord">
          <ac:chgData name="Yiqun Dai" userId="360a2182-b97f-4635-b990-04f846616e33" providerId="ADAL" clId="{8F04EA49-0EFC-48F3-A4D8-E0F0D3B461A8}" dt="2025-11-09T07:09:00.370" v="282889"/>
          <ac:spMkLst>
            <pc:docMk/>
            <pc:sldMk cId="3643436976" sldId="2147483079"/>
            <ac:spMk id="27" creationId="{6465CC20-AB97-7597-F850-34FA5C4FA6E0}"/>
          </ac:spMkLst>
        </pc:spChg>
        <pc:spChg chg="mod ord">
          <ac:chgData name="Yiqun Dai" userId="360a2182-b97f-4635-b990-04f846616e33" providerId="ADAL" clId="{8F04EA49-0EFC-48F3-A4D8-E0F0D3B461A8}" dt="2025-11-09T07:09:00.370" v="282890"/>
          <ac:spMkLst>
            <pc:docMk/>
            <pc:sldMk cId="3643436976" sldId="2147483079"/>
            <ac:spMk id="28" creationId="{258F9345-DE60-DCB2-33F9-FD5956AD8F0A}"/>
          </ac:spMkLst>
        </pc:spChg>
        <pc:spChg chg="mod">
          <ac:chgData name="Yiqun Dai" userId="360a2182-b97f-4635-b990-04f846616e33" providerId="ADAL" clId="{8F04EA49-0EFC-48F3-A4D8-E0F0D3B461A8}" dt="2025-11-09T07:09:00.370" v="282891"/>
          <ac:spMkLst>
            <pc:docMk/>
            <pc:sldMk cId="3643436976" sldId="2147483079"/>
            <ac:spMk id="29" creationId="{7D87C531-FBB9-3BEC-2DBB-34D8B8C593D1}"/>
          </ac:spMkLst>
        </pc:spChg>
        <pc:spChg chg="mod">
          <ac:chgData name="Yiqun Dai" userId="360a2182-b97f-4635-b990-04f846616e33" providerId="ADAL" clId="{8F04EA49-0EFC-48F3-A4D8-E0F0D3B461A8}" dt="2025-11-09T07:09:00.370" v="282892"/>
          <ac:spMkLst>
            <pc:docMk/>
            <pc:sldMk cId="3643436976" sldId="2147483079"/>
            <ac:spMk id="30" creationId="{40149F21-47A0-3A2B-0381-301B245955FD}"/>
          </ac:spMkLst>
        </pc:spChg>
        <pc:spChg chg="mod">
          <ac:chgData name="Yiqun Dai" userId="360a2182-b97f-4635-b990-04f846616e33" providerId="ADAL" clId="{8F04EA49-0EFC-48F3-A4D8-E0F0D3B461A8}" dt="2025-11-09T07:09:00.370" v="282893"/>
          <ac:spMkLst>
            <pc:docMk/>
            <pc:sldMk cId="3643436976" sldId="2147483079"/>
            <ac:spMk id="31" creationId="{2DEFB97E-AE34-FCC9-D92D-75D4B188EB9F}"/>
          </ac:spMkLst>
        </pc:spChg>
        <pc:spChg chg="mod">
          <ac:chgData name="Yiqun Dai" userId="360a2182-b97f-4635-b990-04f846616e33" providerId="ADAL" clId="{8F04EA49-0EFC-48F3-A4D8-E0F0D3B461A8}" dt="2025-11-09T07:09:00.384" v="282896"/>
          <ac:spMkLst>
            <pc:docMk/>
            <pc:sldMk cId="3643436976" sldId="2147483079"/>
            <ac:spMk id="34" creationId="{BD3CB925-0765-BC32-9FC8-324956E52D47}"/>
          </ac:spMkLst>
        </pc:spChg>
        <pc:spChg chg="mod ord">
          <ac:chgData name="Yiqun Dai" userId="360a2182-b97f-4635-b990-04f846616e33" providerId="ADAL" clId="{8F04EA49-0EFC-48F3-A4D8-E0F0D3B461A8}" dt="2025-11-09T07:09:00.416" v="282959"/>
          <ac:spMkLst>
            <pc:docMk/>
            <pc:sldMk cId="3643436976" sldId="2147483079"/>
            <ac:spMk id="54" creationId="{C75AB386-E421-ADC1-639D-C3396010E0E2}"/>
          </ac:spMkLst>
        </pc:spChg>
        <pc:spChg chg="mod ord">
          <ac:chgData name="Yiqun Dai" userId="360a2182-b97f-4635-b990-04f846616e33" providerId="ADAL" clId="{8F04EA49-0EFC-48F3-A4D8-E0F0D3B461A8}" dt="2025-11-09T07:09:00.416" v="282961"/>
          <ac:spMkLst>
            <pc:docMk/>
            <pc:sldMk cId="3643436976" sldId="2147483079"/>
            <ac:spMk id="55" creationId="{6FDC2A2F-A9B2-DD3D-F833-58C71A3A5E8B}"/>
          </ac:spMkLst>
        </pc:spChg>
        <pc:spChg chg="mod ord">
          <ac:chgData name="Yiqun Dai" userId="360a2182-b97f-4635-b990-04f846616e33" providerId="ADAL" clId="{8F04EA49-0EFC-48F3-A4D8-E0F0D3B461A8}" dt="2025-11-09T07:09:00.416" v="282963"/>
          <ac:spMkLst>
            <pc:docMk/>
            <pc:sldMk cId="3643436976" sldId="2147483079"/>
            <ac:spMk id="56" creationId="{546A5674-3916-B0E8-D452-E5B9AB9F078E}"/>
          </ac:spMkLst>
        </pc:spChg>
        <pc:spChg chg="mod ord">
          <ac:chgData name="Yiqun Dai" userId="360a2182-b97f-4635-b990-04f846616e33" providerId="ADAL" clId="{8F04EA49-0EFC-48F3-A4D8-E0F0D3B461A8}" dt="2025-11-09T07:09:00.416" v="282965"/>
          <ac:spMkLst>
            <pc:docMk/>
            <pc:sldMk cId="3643436976" sldId="2147483079"/>
            <ac:spMk id="57" creationId="{9C30E9B6-62E4-5E4E-FAFB-43B3988D8EAF}"/>
          </ac:spMkLst>
        </pc:spChg>
        <pc:spChg chg="mod ord">
          <ac:chgData name="Yiqun Dai" userId="360a2182-b97f-4635-b990-04f846616e33" providerId="ADAL" clId="{8F04EA49-0EFC-48F3-A4D8-E0F0D3B461A8}" dt="2025-11-09T07:09:00.416" v="282967"/>
          <ac:spMkLst>
            <pc:docMk/>
            <pc:sldMk cId="3643436976" sldId="2147483079"/>
            <ac:spMk id="58" creationId="{3884CECB-5CCD-924D-3413-E06E3E128A64}"/>
          </ac:spMkLst>
        </pc:spChg>
        <pc:spChg chg="mod ord">
          <ac:chgData name="Yiqun Dai" userId="360a2182-b97f-4635-b990-04f846616e33" providerId="ADAL" clId="{8F04EA49-0EFC-48F3-A4D8-E0F0D3B461A8}" dt="2025-11-09T07:09:00.416" v="282969"/>
          <ac:spMkLst>
            <pc:docMk/>
            <pc:sldMk cId="3643436976" sldId="2147483079"/>
            <ac:spMk id="59" creationId="{2971643F-F89A-CF6D-A2B2-A972464B5D02}"/>
          </ac:spMkLst>
        </pc:spChg>
        <pc:spChg chg="mod ord">
          <ac:chgData name="Yiqun Dai" userId="360a2182-b97f-4635-b990-04f846616e33" providerId="ADAL" clId="{8F04EA49-0EFC-48F3-A4D8-E0F0D3B461A8}" dt="2025-11-09T07:09:00.385" v="282898"/>
          <ac:spMkLst>
            <pc:docMk/>
            <pc:sldMk cId="3643436976" sldId="2147483079"/>
            <ac:spMk id="62" creationId="{47814182-7D76-64A4-933E-BEE92D5A3C20}"/>
          </ac:spMkLst>
        </pc:spChg>
        <pc:spChg chg="add mod">
          <ac:chgData name="Yiqun Dai" userId="360a2182-b97f-4635-b990-04f846616e33" providerId="ADAL" clId="{8F04EA49-0EFC-48F3-A4D8-E0F0D3B461A8}" dt="2025-11-09T07:09:00.403" v="282943"/>
          <ac:spMkLst>
            <pc:docMk/>
            <pc:sldMk cId="3643436976" sldId="2147483079"/>
            <ac:spMk id="63" creationId="{AC9425F2-4488-B5F5-0B82-E6957EA31CE0}"/>
          </ac:spMkLst>
        </pc:spChg>
        <pc:spChg chg="mod">
          <ac:chgData name="Yiqun Dai" userId="360a2182-b97f-4635-b990-04f846616e33" providerId="ADAL" clId="{8F04EA49-0EFC-48F3-A4D8-E0F0D3B461A8}" dt="2025-11-09T07:09:00.388" v="282907"/>
          <ac:spMkLst>
            <pc:docMk/>
            <pc:sldMk cId="3643436976" sldId="2147483079"/>
            <ac:spMk id="133" creationId="{0288F4D8-8ACE-4D7F-AB02-9C95C6F921B2}"/>
          </ac:spMkLst>
        </pc:spChg>
        <pc:spChg chg="mod">
          <ac:chgData name="Yiqun Dai" userId="360a2182-b97f-4635-b990-04f846616e33" providerId="ADAL" clId="{8F04EA49-0EFC-48F3-A4D8-E0F0D3B461A8}" dt="2025-11-09T07:09:00.388" v="282908"/>
          <ac:spMkLst>
            <pc:docMk/>
            <pc:sldMk cId="3643436976" sldId="2147483079"/>
            <ac:spMk id="134" creationId="{8A685CE3-3AA8-512C-ADCE-D7DC792AC56C}"/>
          </ac:spMkLst>
        </pc:spChg>
        <pc:spChg chg="mod">
          <ac:chgData name="Yiqun Dai" userId="360a2182-b97f-4635-b990-04f846616e33" providerId="ADAL" clId="{8F04EA49-0EFC-48F3-A4D8-E0F0D3B461A8}" dt="2025-11-09T07:09:00.388" v="282909"/>
          <ac:spMkLst>
            <pc:docMk/>
            <pc:sldMk cId="3643436976" sldId="2147483079"/>
            <ac:spMk id="135" creationId="{9CDA0D0B-7D86-7D59-DF73-3EA4C48C79EC}"/>
          </ac:spMkLst>
        </pc:spChg>
        <pc:spChg chg="mod">
          <ac:chgData name="Yiqun Dai" userId="360a2182-b97f-4635-b990-04f846616e33" providerId="ADAL" clId="{8F04EA49-0EFC-48F3-A4D8-E0F0D3B461A8}" dt="2025-11-09T07:09:00.388" v="282910"/>
          <ac:spMkLst>
            <pc:docMk/>
            <pc:sldMk cId="3643436976" sldId="2147483079"/>
            <ac:spMk id="136" creationId="{55B81F4D-93E1-8D70-4335-D8C708933BF5}"/>
          </ac:spMkLst>
        </pc:spChg>
        <pc:spChg chg="mod">
          <ac:chgData name="Yiqun Dai" userId="360a2182-b97f-4635-b990-04f846616e33" providerId="ADAL" clId="{8F04EA49-0EFC-48F3-A4D8-E0F0D3B461A8}" dt="2025-11-09T07:09:00.388" v="282911"/>
          <ac:spMkLst>
            <pc:docMk/>
            <pc:sldMk cId="3643436976" sldId="2147483079"/>
            <ac:spMk id="137" creationId="{8E873A77-360B-E7EB-5A16-8B21DDA8407A}"/>
          </ac:spMkLst>
        </pc:spChg>
        <pc:spChg chg="mod">
          <ac:chgData name="Yiqun Dai" userId="360a2182-b97f-4635-b990-04f846616e33" providerId="ADAL" clId="{8F04EA49-0EFC-48F3-A4D8-E0F0D3B461A8}" dt="2025-11-09T07:09:00.388" v="282912"/>
          <ac:spMkLst>
            <pc:docMk/>
            <pc:sldMk cId="3643436976" sldId="2147483079"/>
            <ac:spMk id="138" creationId="{A65B85F6-0D9A-C6B8-91DC-9FB296D252BB}"/>
          </ac:spMkLst>
        </pc:spChg>
        <pc:spChg chg="mod">
          <ac:chgData name="Yiqun Dai" userId="360a2182-b97f-4635-b990-04f846616e33" providerId="ADAL" clId="{8F04EA49-0EFC-48F3-A4D8-E0F0D3B461A8}" dt="2025-11-09T07:09:00.388" v="282913"/>
          <ac:spMkLst>
            <pc:docMk/>
            <pc:sldMk cId="3643436976" sldId="2147483079"/>
            <ac:spMk id="139" creationId="{92D71912-E81E-AC68-F12D-4242D3434426}"/>
          </ac:spMkLst>
        </pc:spChg>
        <pc:spChg chg="mod">
          <ac:chgData name="Yiqun Dai" userId="360a2182-b97f-4635-b990-04f846616e33" providerId="ADAL" clId="{8F04EA49-0EFC-48F3-A4D8-E0F0D3B461A8}" dt="2025-11-09T07:09:00.388" v="282914"/>
          <ac:spMkLst>
            <pc:docMk/>
            <pc:sldMk cId="3643436976" sldId="2147483079"/>
            <ac:spMk id="140" creationId="{BB48C049-F87D-2570-628B-4EDDAC57BDA3}"/>
          </ac:spMkLst>
        </pc:spChg>
        <pc:spChg chg="mod">
          <ac:chgData name="Yiqun Dai" userId="360a2182-b97f-4635-b990-04f846616e33" providerId="ADAL" clId="{8F04EA49-0EFC-48F3-A4D8-E0F0D3B461A8}" dt="2025-11-09T07:09:00.388" v="282915"/>
          <ac:spMkLst>
            <pc:docMk/>
            <pc:sldMk cId="3643436976" sldId="2147483079"/>
            <ac:spMk id="141" creationId="{C17E1A7B-130E-8A38-E554-BC2862E364E9}"/>
          </ac:spMkLst>
        </pc:spChg>
        <pc:spChg chg="mod">
          <ac:chgData name="Yiqun Dai" userId="360a2182-b97f-4635-b990-04f846616e33" providerId="ADAL" clId="{8F04EA49-0EFC-48F3-A4D8-E0F0D3B461A8}" dt="2025-11-09T07:09:00.388" v="282916"/>
          <ac:spMkLst>
            <pc:docMk/>
            <pc:sldMk cId="3643436976" sldId="2147483079"/>
            <ac:spMk id="142" creationId="{AF995D7A-89B5-3E52-624D-90709DC2F234}"/>
          </ac:spMkLst>
        </pc:spChg>
        <pc:spChg chg="mod">
          <ac:chgData name="Yiqun Dai" userId="360a2182-b97f-4635-b990-04f846616e33" providerId="ADAL" clId="{8F04EA49-0EFC-48F3-A4D8-E0F0D3B461A8}" dt="2025-11-09T07:09:00.388" v="282917"/>
          <ac:spMkLst>
            <pc:docMk/>
            <pc:sldMk cId="3643436976" sldId="2147483079"/>
            <ac:spMk id="143" creationId="{28C17417-D901-B5AE-6A27-140B1E371ACB}"/>
          </ac:spMkLst>
        </pc:spChg>
        <pc:spChg chg="mod">
          <ac:chgData name="Yiqun Dai" userId="360a2182-b97f-4635-b990-04f846616e33" providerId="ADAL" clId="{8F04EA49-0EFC-48F3-A4D8-E0F0D3B461A8}" dt="2025-11-09T07:09:00.388" v="282918"/>
          <ac:spMkLst>
            <pc:docMk/>
            <pc:sldMk cId="3643436976" sldId="2147483079"/>
            <ac:spMk id="144" creationId="{2DC73AD9-0CB3-CF37-7894-4AB1C59A912D}"/>
          </ac:spMkLst>
        </pc:spChg>
        <pc:spChg chg="mod">
          <ac:chgData name="Yiqun Dai" userId="360a2182-b97f-4635-b990-04f846616e33" providerId="ADAL" clId="{8F04EA49-0EFC-48F3-A4D8-E0F0D3B461A8}" dt="2025-11-09T07:09:00.388" v="282919"/>
          <ac:spMkLst>
            <pc:docMk/>
            <pc:sldMk cId="3643436976" sldId="2147483079"/>
            <ac:spMk id="145" creationId="{B12833B9-C2C7-47D4-C144-08A9CAC87D44}"/>
          </ac:spMkLst>
        </pc:spChg>
        <pc:spChg chg="mod">
          <ac:chgData name="Yiqun Dai" userId="360a2182-b97f-4635-b990-04f846616e33" providerId="ADAL" clId="{8F04EA49-0EFC-48F3-A4D8-E0F0D3B461A8}" dt="2025-11-09T07:09:00.399" v="282920"/>
          <ac:spMkLst>
            <pc:docMk/>
            <pc:sldMk cId="3643436976" sldId="2147483079"/>
            <ac:spMk id="146" creationId="{E8976CB7-CFD3-27C8-602C-07FE685DE6BD}"/>
          </ac:spMkLst>
        </pc:spChg>
        <pc:spChg chg="mod ord">
          <ac:chgData name="Yiqun Dai" userId="360a2182-b97f-4635-b990-04f846616e33" providerId="ADAL" clId="{8F04EA49-0EFC-48F3-A4D8-E0F0D3B461A8}" dt="2025-11-09T07:09:00.402" v="282926"/>
          <ac:spMkLst>
            <pc:docMk/>
            <pc:sldMk cId="3643436976" sldId="2147483079"/>
            <ac:spMk id="147" creationId="{362C2E1D-F123-1560-C87B-3E5FB176F6C7}"/>
          </ac:spMkLst>
        </pc:spChg>
        <pc:spChg chg="mod ord">
          <ac:chgData name="Yiqun Dai" userId="360a2182-b97f-4635-b990-04f846616e33" providerId="ADAL" clId="{8F04EA49-0EFC-48F3-A4D8-E0F0D3B461A8}" dt="2025-11-09T07:09:00.403" v="282928"/>
          <ac:spMkLst>
            <pc:docMk/>
            <pc:sldMk cId="3643436976" sldId="2147483079"/>
            <ac:spMk id="148" creationId="{B9F90135-EE27-C14C-47EE-90C914E3701F}"/>
          </ac:spMkLst>
        </pc:spChg>
        <pc:spChg chg="mod ord">
          <ac:chgData name="Yiqun Dai" userId="360a2182-b97f-4635-b990-04f846616e33" providerId="ADAL" clId="{8F04EA49-0EFC-48F3-A4D8-E0F0D3B461A8}" dt="2025-11-09T07:09:00.403" v="282930"/>
          <ac:spMkLst>
            <pc:docMk/>
            <pc:sldMk cId="3643436976" sldId="2147483079"/>
            <ac:spMk id="149" creationId="{1A9F7D60-12C1-5401-2842-63F704324016}"/>
          </ac:spMkLst>
        </pc:spChg>
        <pc:spChg chg="mod ord">
          <ac:chgData name="Yiqun Dai" userId="360a2182-b97f-4635-b990-04f846616e33" providerId="ADAL" clId="{8F04EA49-0EFC-48F3-A4D8-E0F0D3B461A8}" dt="2025-11-09T07:09:00.403" v="282932"/>
          <ac:spMkLst>
            <pc:docMk/>
            <pc:sldMk cId="3643436976" sldId="2147483079"/>
            <ac:spMk id="150" creationId="{8C8487C6-E4C3-9100-F8C4-9C8BC5FFE7D8}"/>
          </ac:spMkLst>
        </pc:spChg>
        <pc:spChg chg="mod ord">
          <ac:chgData name="Yiqun Dai" userId="360a2182-b97f-4635-b990-04f846616e33" providerId="ADAL" clId="{8F04EA49-0EFC-48F3-A4D8-E0F0D3B461A8}" dt="2025-11-09T07:09:00.403" v="282934"/>
          <ac:spMkLst>
            <pc:docMk/>
            <pc:sldMk cId="3643436976" sldId="2147483079"/>
            <ac:spMk id="151" creationId="{054119D2-B65C-6D85-4EDF-5669B67546F3}"/>
          </ac:spMkLst>
        </pc:spChg>
        <pc:spChg chg="mod ord">
          <ac:chgData name="Yiqun Dai" userId="360a2182-b97f-4635-b990-04f846616e33" providerId="ADAL" clId="{8F04EA49-0EFC-48F3-A4D8-E0F0D3B461A8}" dt="2025-11-09T07:09:00.403" v="282936"/>
          <ac:spMkLst>
            <pc:docMk/>
            <pc:sldMk cId="3643436976" sldId="2147483079"/>
            <ac:spMk id="152" creationId="{B0767968-8A44-A1E1-70A8-605492EE2456}"/>
          </ac:spMkLst>
        </pc:spChg>
        <pc:spChg chg="mod">
          <ac:chgData name="Yiqun Dai" userId="360a2182-b97f-4635-b990-04f846616e33" providerId="ADAL" clId="{8F04EA49-0EFC-48F3-A4D8-E0F0D3B461A8}" dt="2025-11-09T07:09:00.403" v="282938"/>
          <ac:spMkLst>
            <pc:docMk/>
            <pc:sldMk cId="3643436976" sldId="2147483079"/>
            <ac:spMk id="153" creationId="{41B51256-9EB6-A09A-ADDC-FD4B3D65E741}"/>
          </ac:spMkLst>
        </pc:spChg>
        <pc:spChg chg="mod">
          <ac:chgData name="Yiqun Dai" userId="360a2182-b97f-4635-b990-04f846616e33" providerId="ADAL" clId="{8F04EA49-0EFC-48F3-A4D8-E0F0D3B461A8}" dt="2025-11-09T07:09:00.403" v="282939"/>
          <ac:spMkLst>
            <pc:docMk/>
            <pc:sldMk cId="3643436976" sldId="2147483079"/>
            <ac:spMk id="154" creationId="{886257FF-2484-EE84-E99C-9E9B3314B324}"/>
          </ac:spMkLst>
        </pc:spChg>
        <pc:spChg chg="mod">
          <ac:chgData name="Yiqun Dai" userId="360a2182-b97f-4635-b990-04f846616e33" providerId="ADAL" clId="{8F04EA49-0EFC-48F3-A4D8-E0F0D3B461A8}" dt="2025-11-09T07:09:00.403" v="282940"/>
          <ac:spMkLst>
            <pc:docMk/>
            <pc:sldMk cId="3643436976" sldId="2147483079"/>
            <ac:spMk id="155" creationId="{59D8A832-0883-5ED2-0859-0AFDF1A9827B}"/>
          </ac:spMkLst>
        </pc:spChg>
        <pc:spChg chg="mod">
          <ac:chgData name="Yiqun Dai" userId="360a2182-b97f-4635-b990-04f846616e33" providerId="ADAL" clId="{8F04EA49-0EFC-48F3-A4D8-E0F0D3B461A8}" dt="2025-11-09T07:09:00.403" v="282941"/>
          <ac:spMkLst>
            <pc:docMk/>
            <pc:sldMk cId="3643436976" sldId="2147483079"/>
            <ac:spMk id="156" creationId="{9FE30C96-9FD8-03B0-6680-8C5C81588C06}"/>
          </ac:spMkLst>
        </pc:spChg>
        <pc:spChg chg="mod">
          <ac:chgData name="Yiqun Dai" userId="360a2182-b97f-4635-b990-04f846616e33" providerId="ADAL" clId="{8F04EA49-0EFC-48F3-A4D8-E0F0D3B461A8}" dt="2025-11-09T07:09:00.403" v="282942"/>
          <ac:spMkLst>
            <pc:docMk/>
            <pc:sldMk cId="3643436976" sldId="2147483079"/>
            <ac:spMk id="157" creationId="{676220BC-41A2-97C6-CE7C-96C25CC186AC}"/>
          </ac:spMkLst>
        </pc:spChg>
        <pc:spChg chg="add mod ord">
          <ac:chgData name="Yiqun Dai" userId="360a2182-b97f-4635-b990-04f846616e33" providerId="ADAL" clId="{8F04EA49-0EFC-48F3-A4D8-E0F0D3B461A8}" dt="2025-11-09T07:09:00.400" v="282922"/>
          <ac:spMkLst>
            <pc:docMk/>
            <pc:sldMk cId="3643436976" sldId="2147483079"/>
            <ac:spMk id="159" creationId="{885A18A9-7940-F158-31E1-2F68AD70E9F4}"/>
          </ac:spMkLst>
        </pc:spChg>
        <pc:spChg chg="add mod ord">
          <ac:chgData name="Yiqun Dai" userId="360a2182-b97f-4635-b990-04f846616e33" providerId="ADAL" clId="{8F04EA49-0EFC-48F3-A4D8-E0F0D3B461A8}" dt="2025-11-09T07:09:00.401" v="282924"/>
          <ac:spMkLst>
            <pc:docMk/>
            <pc:sldMk cId="3643436976" sldId="2147483079"/>
            <ac:spMk id="160" creationId="{8DB74715-D2FA-B9F1-B3C2-B73C78248751}"/>
          </ac:spMkLst>
        </pc:spChg>
        <pc:spChg chg="add mod">
          <ac:chgData name="Yiqun Dai" userId="360a2182-b97f-4635-b990-04f846616e33" providerId="ADAL" clId="{8F04EA49-0EFC-48F3-A4D8-E0F0D3B461A8}" dt="2025-11-09T07:09:00.403" v="282937"/>
          <ac:spMkLst>
            <pc:docMk/>
            <pc:sldMk cId="3643436976" sldId="2147483079"/>
            <ac:spMk id="164" creationId="{A45DEC8D-506C-D780-D568-43A23B1D1D0F}"/>
          </ac:spMkLst>
        </pc:spChg>
        <pc:spChg chg="mod ord">
          <ac:chgData name="Yiqun Dai" userId="360a2182-b97f-4635-b990-04f846616e33" providerId="ADAL" clId="{8F04EA49-0EFC-48F3-A4D8-E0F0D3B461A8}" dt="2025-11-09T07:09:00.403" v="282949"/>
          <ac:spMkLst>
            <pc:docMk/>
            <pc:sldMk cId="3643436976" sldId="2147483079"/>
            <ac:spMk id="171" creationId="{293E5EAB-9897-53B8-CA79-F72C2974461D}"/>
          </ac:spMkLst>
        </pc:spChg>
        <pc:spChg chg="mod ord">
          <ac:chgData name="Yiqun Dai" userId="360a2182-b97f-4635-b990-04f846616e33" providerId="ADAL" clId="{8F04EA49-0EFC-48F3-A4D8-E0F0D3B461A8}" dt="2025-11-09T07:09:00.403" v="282951"/>
          <ac:spMkLst>
            <pc:docMk/>
            <pc:sldMk cId="3643436976" sldId="2147483079"/>
            <ac:spMk id="172" creationId="{ADD7E32B-9B7B-83D7-95EF-2A06B8DAAE95}"/>
          </ac:spMkLst>
        </pc:spChg>
        <pc:spChg chg="mod ord">
          <ac:chgData name="Yiqun Dai" userId="360a2182-b97f-4635-b990-04f846616e33" providerId="ADAL" clId="{8F04EA49-0EFC-48F3-A4D8-E0F0D3B461A8}" dt="2025-11-09T07:09:00.415" v="282957"/>
          <ac:spMkLst>
            <pc:docMk/>
            <pc:sldMk cId="3643436976" sldId="2147483079"/>
            <ac:spMk id="238" creationId="{7BDF4C2D-F3BF-9D11-A519-5543E8E4F8A0}"/>
          </ac:spMkLst>
        </pc:spChg>
        <pc:graphicFrameChg chg="mod">
          <ac:chgData name="Yiqun Dai" userId="360a2182-b97f-4635-b990-04f846616e33" providerId="ADAL" clId="{8F04EA49-0EFC-48F3-A4D8-E0F0D3B461A8}" dt="2025-11-09T07:09:08.867" v="282983"/>
          <ac:graphicFrameMkLst>
            <pc:docMk/>
            <pc:sldMk cId="3643436976" sldId="2147483079"/>
            <ac:graphicFrameMk id="16" creationId="{8942CFD7-34E4-FCB6-B23A-45126ABAC89E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7:09:00.352" v="282867"/>
          <ac:graphicFrameMkLst>
            <pc:docMk/>
            <pc:sldMk cId="3643436976" sldId="2147483079"/>
            <ac:graphicFrameMk id="53" creationId="{4D8DB602-469E-8E4B-2BA7-41B8A3430A31}"/>
          </ac:graphicFrameMkLst>
        </pc:graphicFrameChg>
        <pc:graphicFrameChg chg="add mod ord">
          <ac:chgData name="Yiqun Dai" userId="360a2182-b97f-4635-b990-04f846616e33" providerId="ADAL" clId="{8F04EA49-0EFC-48F3-A4D8-E0F0D3B461A8}" dt="2025-11-09T07:09:00.388" v="282900"/>
          <ac:graphicFrameMkLst>
            <pc:docMk/>
            <pc:sldMk cId="3643436976" sldId="2147483079"/>
            <ac:graphicFrameMk id="163" creationId="{D247357F-2681-EF8A-C4CF-D16FE4EA5EFC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9T07:09:00.403" v="282945"/>
          <ac:graphicFrameMkLst>
            <pc:docMk/>
            <pc:sldMk cId="3643436976" sldId="2147483079"/>
            <ac:graphicFrameMk id="168" creationId="{D2ED8A93-A64F-842C-9362-B936615B9546}"/>
          </ac:graphicFrameMkLst>
        </pc:graphicFrameChg>
        <pc:graphicFrameChg chg="mod ord modGraphic">
          <ac:chgData name="Yiqun Dai" userId="360a2182-b97f-4635-b990-04f846616e33" providerId="ADAL" clId="{8F04EA49-0EFC-48F3-A4D8-E0F0D3B461A8}" dt="2025-11-09T07:09:17.271" v="282985" actId="403"/>
          <ac:graphicFrameMkLst>
            <pc:docMk/>
            <pc:sldMk cId="3643436976" sldId="2147483079"/>
            <ac:graphicFrameMk id="170" creationId="{D9801C33-6079-305D-D6C9-6FA181383F4A}"/>
          </ac:graphicFrameMkLst>
        </pc:graphicFrameChg>
        <pc:cxnChg chg="mod ord">
          <ac:chgData name="Yiqun Dai" userId="360a2182-b97f-4635-b990-04f846616e33" providerId="ADAL" clId="{8F04EA49-0EFC-48F3-A4D8-E0F0D3B461A8}" dt="2025-11-09T07:09:00.367" v="282875"/>
          <ac:cxnSpMkLst>
            <pc:docMk/>
            <pc:sldMk cId="3643436976" sldId="2147483079"/>
            <ac:cxnSpMk id="37" creationId="{C297F3C5-D9A0-5DCA-2872-D91A3FEFC79A}"/>
          </ac:cxnSpMkLst>
        </pc:cxnChg>
        <pc:cxnChg chg="mod ord">
          <ac:chgData name="Yiqun Dai" userId="360a2182-b97f-4635-b990-04f846616e33" providerId="ADAL" clId="{8F04EA49-0EFC-48F3-A4D8-E0F0D3B461A8}" dt="2025-11-09T07:09:00.370" v="282877"/>
          <ac:cxnSpMkLst>
            <pc:docMk/>
            <pc:sldMk cId="3643436976" sldId="2147483079"/>
            <ac:cxnSpMk id="39" creationId="{8BA22BF7-1526-7870-2CD2-FA63B3D2563A}"/>
          </ac:cxnSpMkLst>
        </pc:cxnChg>
        <pc:cxnChg chg="mod ord">
          <ac:chgData name="Yiqun Dai" userId="360a2182-b97f-4635-b990-04f846616e33" providerId="ADAL" clId="{8F04EA49-0EFC-48F3-A4D8-E0F0D3B461A8}" dt="2025-11-09T07:09:00.352" v="282869"/>
          <ac:cxnSpMkLst>
            <pc:docMk/>
            <pc:sldMk cId="3643436976" sldId="2147483079"/>
            <ac:cxnSpMk id="128" creationId="{DDA9C43F-300F-C244-B518-B9572F3123C6}"/>
          </ac:cxnSpMkLst>
        </pc:cxnChg>
        <pc:cxnChg chg="mod ord">
          <ac:chgData name="Yiqun Dai" userId="360a2182-b97f-4635-b990-04f846616e33" providerId="ADAL" clId="{8F04EA49-0EFC-48F3-A4D8-E0F0D3B461A8}" dt="2025-11-09T07:09:00.352" v="282871"/>
          <ac:cxnSpMkLst>
            <pc:docMk/>
            <pc:sldMk cId="3643436976" sldId="2147483079"/>
            <ac:cxnSpMk id="129" creationId="{F1392CDD-C776-74B7-E3E7-CF51E02E6730}"/>
          </ac:cxnSpMkLst>
        </pc:cxnChg>
        <pc:cxnChg chg="mod ord">
          <ac:chgData name="Yiqun Dai" userId="360a2182-b97f-4635-b990-04f846616e33" providerId="ADAL" clId="{8F04EA49-0EFC-48F3-A4D8-E0F0D3B461A8}" dt="2025-11-09T07:09:00.388" v="282902"/>
          <ac:cxnSpMkLst>
            <pc:docMk/>
            <pc:sldMk cId="3643436976" sldId="2147483079"/>
            <ac:cxnSpMk id="130" creationId="{1561A093-01E9-B26D-B5F6-5B8D9ACC39CE}"/>
          </ac:cxnSpMkLst>
        </pc:cxnChg>
        <pc:cxnChg chg="mod ord">
          <ac:chgData name="Yiqun Dai" userId="360a2182-b97f-4635-b990-04f846616e33" providerId="ADAL" clId="{8F04EA49-0EFC-48F3-A4D8-E0F0D3B461A8}" dt="2025-11-09T07:09:00.388" v="282904"/>
          <ac:cxnSpMkLst>
            <pc:docMk/>
            <pc:sldMk cId="3643436976" sldId="2147483079"/>
            <ac:cxnSpMk id="131" creationId="{32D54986-8E29-793D-4A16-0D566F266C8D}"/>
          </ac:cxnSpMkLst>
        </pc:cxnChg>
        <pc:cxnChg chg="mod ord">
          <ac:chgData name="Yiqun Dai" userId="360a2182-b97f-4635-b990-04f846616e33" providerId="ADAL" clId="{8F04EA49-0EFC-48F3-A4D8-E0F0D3B461A8}" dt="2025-11-09T07:09:00.388" v="282906"/>
          <ac:cxnSpMkLst>
            <pc:docMk/>
            <pc:sldMk cId="3643436976" sldId="2147483079"/>
            <ac:cxnSpMk id="132" creationId="{9D17D95F-9273-45DB-6D14-7CDFBCFB0CAC}"/>
          </ac:cxnSpMkLst>
        </pc:cxnChg>
        <pc:cxnChg chg="mod ord">
          <ac:chgData name="Yiqun Dai" userId="360a2182-b97f-4635-b990-04f846616e33" providerId="ADAL" clId="{8F04EA49-0EFC-48F3-A4D8-E0F0D3B461A8}" dt="2025-11-09T07:09:00.367" v="282873"/>
          <ac:cxnSpMkLst>
            <pc:docMk/>
            <pc:sldMk cId="3643436976" sldId="2147483079"/>
            <ac:cxnSpMk id="158" creationId="{65E51F99-40E3-36BA-6DE9-88252C28E8BA}"/>
          </ac:cxnSpMkLst>
        </pc:cxnChg>
        <pc:cxnChg chg="mod ord">
          <ac:chgData name="Yiqun Dai" userId="360a2182-b97f-4635-b990-04f846616e33" providerId="ADAL" clId="{8F04EA49-0EFC-48F3-A4D8-E0F0D3B461A8}" dt="2025-11-09T07:09:00.403" v="282953"/>
          <ac:cxnSpMkLst>
            <pc:docMk/>
            <pc:sldMk cId="3643436976" sldId="2147483079"/>
            <ac:cxnSpMk id="176" creationId="{DA362408-D075-4A20-6545-487AB4E7D63A}"/>
          </ac:cxnSpMkLst>
        </pc:cxnChg>
        <pc:cxnChg chg="mod ord">
          <ac:chgData name="Yiqun Dai" userId="360a2182-b97f-4635-b990-04f846616e33" providerId="ADAL" clId="{8F04EA49-0EFC-48F3-A4D8-E0F0D3B461A8}" dt="2025-11-09T07:09:00.403" v="282955"/>
          <ac:cxnSpMkLst>
            <pc:docMk/>
            <pc:sldMk cId="3643436976" sldId="2147483079"/>
            <ac:cxnSpMk id="178" creationId="{F53C3740-50A0-C913-EB10-F57942B9DD43}"/>
          </ac:cxnSpMkLst>
        </pc:cxnChg>
      </pc:sldChg>
      <pc:sldChg chg="addSp delSp modSp new mod">
        <pc:chgData name="Yiqun Dai" userId="360a2182-b97f-4635-b990-04f846616e33" providerId="ADAL" clId="{8F04EA49-0EFC-48F3-A4D8-E0F0D3B461A8}" dt="2025-11-15T11:02:53.319" v="379370"/>
        <pc:sldMkLst>
          <pc:docMk/>
          <pc:sldMk cId="786263190" sldId="2147483081"/>
        </pc:sldMkLst>
        <pc:spChg chg="mod ord">
          <ac:chgData name="Yiqun Dai" userId="360a2182-b97f-4635-b990-04f846616e33" providerId="ADAL" clId="{8F04EA49-0EFC-48F3-A4D8-E0F0D3B461A8}" dt="2025-11-15T11:02:37.023" v="379103"/>
          <ac:spMkLst>
            <pc:docMk/>
            <pc:sldMk cId="786263190" sldId="2147483081"/>
            <ac:spMk id="2" creationId="{8E52A761-8683-2BFB-D010-1A1A16C9FCC6}"/>
          </ac:spMkLst>
        </pc:spChg>
        <pc:spChg chg="add mod">
          <ac:chgData name="Yiqun Dai" userId="360a2182-b97f-4635-b990-04f846616e33" providerId="ADAL" clId="{8F04EA49-0EFC-48F3-A4D8-E0F0D3B461A8}" dt="2025-11-15T11:02:37.040" v="379143"/>
          <ac:spMkLst>
            <pc:docMk/>
            <pc:sldMk cId="786263190" sldId="2147483081"/>
            <ac:spMk id="185" creationId="{7B392ED1-DF91-9C24-966B-BD658BC39453}"/>
          </ac:spMkLst>
        </pc:spChg>
        <pc:spChg chg="add del mod">
          <ac:chgData name="Yiqun Dai" userId="360a2182-b97f-4635-b990-04f846616e33" providerId="ADAL" clId="{8F04EA49-0EFC-48F3-A4D8-E0F0D3B461A8}" dt="2025-11-15T11:02:37.040" v="379157"/>
          <ac:spMkLst>
            <pc:docMk/>
            <pc:sldMk cId="786263190" sldId="2147483081"/>
            <ac:spMk id="186" creationId="{B7003476-9DF3-03C1-5FC4-BA7753FAA30D}"/>
          </ac:spMkLst>
        </pc:spChg>
        <pc:spChg chg="add mod ord">
          <ac:chgData name="Yiqun Dai" userId="360a2182-b97f-4635-b990-04f846616e33" providerId="ADAL" clId="{8F04EA49-0EFC-48F3-A4D8-E0F0D3B461A8}" dt="2025-11-15T11:02:37.040" v="379158"/>
          <ac:spMkLst>
            <pc:docMk/>
            <pc:sldMk cId="786263190" sldId="2147483081"/>
            <ac:spMk id="317" creationId="{9842E34A-9407-3B6C-AFE2-BEC3C6F73054}"/>
          </ac:spMkLst>
        </pc:spChg>
        <pc:spChg chg="add mod ord">
          <ac:chgData name="Yiqun Dai" userId="360a2182-b97f-4635-b990-04f846616e33" providerId="ADAL" clId="{8F04EA49-0EFC-48F3-A4D8-E0F0D3B461A8}" dt="2025-11-15T11:02:37.040" v="379159"/>
          <ac:spMkLst>
            <pc:docMk/>
            <pc:sldMk cId="786263190" sldId="2147483081"/>
            <ac:spMk id="318" creationId="{2FF371D5-3778-8EAF-BD33-2D6E54E2CFA4}"/>
          </ac:spMkLst>
        </pc:spChg>
        <pc:spChg chg="add mod">
          <ac:chgData name="Yiqun Dai" userId="360a2182-b97f-4635-b990-04f846616e33" providerId="ADAL" clId="{8F04EA49-0EFC-48F3-A4D8-E0F0D3B461A8}" dt="2025-11-15T11:02:37.040" v="379160"/>
          <ac:spMkLst>
            <pc:docMk/>
            <pc:sldMk cId="786263190" sldId="2147483081"/>
            <ac:spMk id="319" creationId="{4491AE7E-B66D-702F-06E7-5206EFFABD58}"/>
          </ac:spMkLst>
        </pc:spChg>
        <pc:spChg chg="add mod ord">
          <ac:chgData name="Yiqun Dai" userId="360a2182-b97f-4635-b990-04f846616e33" providerId="ADAL" clId="{8F04EA49-0EFC-48F3-A4D8-E0F0D3B461A8}" dt="2025-11-15T11:02:37.053" v="379161"/>
          <ac:spMkLst>
            <pc:docMk/>
            <pc:sldMk cId="786263190" sldId="2147483081"/>
            <ac:spMk id="320" creationId="{A743D566-A3A4-495B-1CFB-1FF62907C248}"/>
          </ac:spMkLst>
        </pc:spChg>
        <pc:spChg chg="add mod ord">
          <ac:chgData name="Yiqun Dai" userId="360a2182-b97f-4635-b990-04f846616e33" providerId="ADAL" clId="{8F04EA49-0EFC-48F3-A4D8-E0F0D3B461A8}" dt="2025-11-15T11:02:37.053" v="379164"/>
          <ac:spMkLst>
            <pc:docMk/>
            <pc:sldMk cId="786263190" sldId="2147483081"/>
            <ac:spMk id="321" creationId="{BE4F9D77-B24D-381D-16F9-028B31A7BECF}"/>
          </ac:spMkLst>
        </pc:spChg>
        <pc:spChg chg="add mod ord">
          <ac:chgData name="Yiqun Dai" userId="360a2182-b97f-4635-b990-04f846616e33" providerId="ADAL" clId="{8F04EA49-0EFC-48F3-A4D8-E0F0D3B461A8}" dt="2025-11-15T11:02:37.053" v="379165"/>
          <ac:spMkLst>
            <pc:docMk/>
            <pc:sldMk cId="786263190" sldId="2147483081"/>
            <ac:spMk id="322" creationId="{B35925B5-C656-5C1D-E9C2-B0F7BF52E9CD}"/>
          </ac:spMkLst>
        </pc:spChg>
        <pc:spChg chg="add mod ord">
          <ac:chgData name="Yiqun Dai" userId="360a2182-b97f-4635-b990-04f846616e33" providerId="ADAL" clId="{8F04EA49-0EFC-48F3-A4D8-E0F0D3B461A8}" dt="2025-11-15T11:02:37.053" v="379166"/>
          <ac:spMkLst>
            <pc:docMk/>
            <pc:sldMk cId="786263190" sldId="2147483081"/>
            <ac:spMk id="323" creationId="{2601CC85-0CF4-D370-8A07-11013B3BC8C6}"/>
          </ac:spMkLst>
        </pc:spChg>
        <pc:spChg chg="add mod ord">
          <ac:chgData name="Yiqun Dai" userId="360a2182-b97f-4635-b990-04f846616e33" providerId="ADAL" clId="{8F04EA49-0EFC-48F3-A4D8-E0F0D3B461A8}" dt="2025-11-15T11:02:37.053" v="379167"/>
          <ac:spMkLst>
            <pc:docMk/>
            <pc:sldMk cId="786263190" sldId="2147483081"/>
            <ac:spMk id="324" creationId="{DCF6DA0A-4952-C5F5-0DB9-E35AFC3E5C3C}"/>
          </ac:spMkLst>
        </pc:spChg>
        <pc:spChg chg="add mod ord">
          <ac:chgData name="Yiqun Dai" userId="360a2182-b97f-4635-b990-04f846616e33" providerId="ADAL" clId="{8F04EA49-0EFC-48F3-A4D8-E0F0D3B461A8}" dt="2025-11-15T11:02:37.053" v="379168"/>
          <ac:spMkLst>
            <pc:docMk/>
            <pc:sldMk cId="786263190" sldId="2147483081"/>
            <ac:spMk id="325" creationId="{1C158A22-D501-8833-0347-44A89FBF1FE7}"/>
          </ac:spMkLst>
        </pc:spChg>
        <pc:spChg chg="add mod ord">
          <ac:chgData name="Yiqun Dai" userId="360a2182-b97f-4635-b990-04f846616e33" providerId="ADAL" clId="{8F04EA49-0EFC-48F3-A4D8-E0F0D3B461A8}" dt="2025-11-15T11:02:37.037" v="379134"/>
          <ac:spMkLst>
            <pc:docMk/>
            <pc:sldMk cId="786263190" sldId="2147483081"/>
            <ac:spMk id="326" creationId="{F4538D24-56B6-63D4-5524-11F89B53EB5C}"/>
          </ac:spMkLst>
        </pc:spChg>
        <pc:spChg chg="add mod ord">
          <ac:chgData name="Yiqun Dai" userId="360a2182-b97f-4635-b990-04f846616e33" providerId="ADAL" clId="{8F04EA49-0EFC-48F3-A4D8-E0F0D3B461A8}" dt="2025-11-15T11:02:37.038" v="379135"/>
          <ac:spMkLst>
            <pc:docMk/>
            <pc:sldMk cId="786263190" sldId="2147483081"/>
            <ac:spMk id="327" creationId="{69CCA63A-6387-4520-897C-AF345575CD27}"/>
          </ac:spMkLst>
        </pc:spChg>
        <pc:spChg chg="add mod ord">
          <ac:chgData name="Yiqun Dai" userId="360a2182-b97f-4635-b990-04f846616e33" providerId="ADAL" clId="{8F04EA49-0EFC-48F3-A4D8-E0F0D3B461A8}" dt="2025-11-15T11:02:37.039" v="379136"/>
          <ac:spMkLst>
            <pc:docMk/>
            <pc:sldMk cId="786263190" sldId="2147483081"/>
            <ac:spMk id="328" creationId="{2E4D9609-9BDB-5A78-A2D2-941268390851}"/>
          </ac:spMkLst>
        </pc:spChg>
        <pc:spChg chg="add mod ord">
          <ac:chgData name="Yiqun Dai" userId="360a2182-b97f-4635-b990-04f846616e33" providerId="ADAL" clId="{8F04EA49-0EFC-48F3-A4D8-E0F0D3B461A8}" dt="2025-11-15T11:02:37.040" v="379137"/>
          <ac:spMkLst>
            <pc:docMk/>
            <pc:sldMk cId="786263190" sldId="2147483081"/>
            <ac:spMk id="329" creationId="{7362575B-2B2B-C5A0-F83E-52D1F4BA3BFC}"/>
          </ac:spMkLst>
        </pc:spChg>
        <pc:spChg chg="add mod ord">
          <ac:chgData name="Yiqun Dai" userId="360a2182-b97f-4635-b990-04f846616e33" providerId="ADAL" clId="{8F04EA49-0EFC-48F3-A4D8-E0F0D3B461A8}" dt="2025-11-15T11:02:37.040" v="379139"/>
          <ac:spMkLst>
            <pc:docMk/>
            <pc:sldMk cId="786263190" sldId="2147483081"/>
            <ac:spMk id="330" creationId="{30707AD6-1793-A34F-63BD-8D4F28BBAA12}"/>
          </ac:spMkLst>
        </pc:spChg>
        <pc:spChg chg="add mod">
          <ac:chgData name="Yiqun Dai" userId="360a2182-b97f-4635-b990-04f846616e33" providerId="ADAL" clId="{8F04EA49-0EFC-48F3-A4D8-E0F0D3B461A8}" dt="2025-11-15T11:02:37.040" v="379140"/>
          <ac:spMkLst>
            <pc:docMk/>
            <pc:sldMk cId="786263190" sldId="2147483081"/>
            <ac:spMk id="331" creationId="{615BBF85-A88D-2292-2559-E9C608A47FD5}"/>
          </ac:spMkLst>
        </pc:spChg>
        <pc:spChg chg="add mod ord">
          <ac:chgData name="Yiqun Dai" userId="360a2182-b97f-4635-b990-04f846616e33" providerId="ADAL" clId="{8F04EA49-0EFC-48F3-A4D8-E0F0D3B461A8}" dt="2025-11-15T11:02:37.040" v="379141"/>
          <ac:spMkLst>
            <pc:docMk/>
            <pc:sldMk cId="786263190" sldId="2147483081"/>
            <ac:spMk id="332" creationId="{A98EA30E-A521-5CE2-E3EB-99D715128DB3}"/>
          </ac:spMkLst>
        </pc:spChg>
        <pc:spChg chg="add mod ord">
          <ac:chgData name="Yiqun Dai" userId="360a2182-b97f-4635-b990-04f846616e33" providerId="ADAL" clId="{8F04EA49-0EFC-48F3-A4D8-E0F0D3B461A8}" dt="2025-11-15T11:02:37.040" v="379142"/>
          <ac:spMkLst>
            <pc:docMk/>
            <pc:sldMk cId="786263190" sldId="2147483081"/>
            <ac:spMk id="333" creationId="{54CF79EE-034D-7259-5197-3093871C9BDF}"/>
          </ac:spMkLst>
        </pc:spChg>
        <pc:spChg chg="add mod ord">
          <ac:chgData name="Yiqun Dai" userId="360a2182-b97f-4635-b990-04f846616e33" providerId="ADAL" clId="{8F04EA49-0EFC-48F3-A4D8-E0F0D3B461A8}" dt="2025-11-15T11:02:37.053" v="379162"/>
          <ac:spMkLst>
            <pc:docMk/>
            <pc:sldMk cId="786263190" sldId="2147483081"/>
            <ac:spMk id="334" creationId="{E0CBA69B-20D3-0256-AAE4-2144B659679F}"/>
          </ac:spMkLst>
        </pc:spChg>
        <pc:spChg chg="add mod ord">
          <ac:chgData name="Yiqun Dai" userId="360a2182-b97f-4635-b990-04f846616e33" providerId="ADAL" clId="{8F04EA49-0EFC-48F3-A4D8-E0F0D3B461A8}" dt="2025-11-15T11:02:37.040" v="379145"/>
          <ac:spMkLst>
            <pc:docMk/>
            <pc:sldMk cId="786263190" sldId="2147483081"/>
            <ac:spMk id="335" creationId="{902F4ECD-9214-191D-6027-035B1E1FCE7A}"/>
          </ac:spMkLst>
        </pc:spChg>
        <pc:spChg chg="add mod ord">
          <ac:chgData name="Yiqun Dai" userId="360a2182-b97f-4635-b990-04f846616e33" providerId="ADAL" clId="{8F04EA49-0EFC-48F3-A4D8-E0F0D3B461A8}" dt="2025-11-15T11:02:37.040" v="379147"/>
          <ac:spMkLst>
            <pc:docMk/>
            <pc:sldMk cId="786263190" sldId="2147483081"/>
            <ac:spMk id="336" creationId="{1DCBCCC5-9338-0E52-87C2-06F9AF24FA88}"/>
          </ac:spMkLst>
        </pc:spChg>
        <pc:spChg chg="add mod ord">
          <ac:chgData name="Yiqun Dai" userId="360a2182-b97f-4635-b990-04f846616e33" providerId="ADAL" clId="{8F04EA49-0EFC-48F3-A4D8-E0F0D3B461A8}" dt="2025-11-15T11:02:37.040" v="379148"/>
          <ac:spMkLst>
            <pc:docMk/>
            <pc:sldMk cId="786263190" sldId="2147483081"/>
            <ac:spMk id="337" creationId="{B8EC7D37-BF43-731A-186C-43040B70B246}"/>
          </ac:spMkLst>
        </pc:spChg>
        <pc:spChg chg="add mod ord">
          <ac:chgData name="Yiqun Dai" userId="360a2182-b97f-4635-b990-04f846616e33" providerId="ADAL" clId="{8F04EA49-0EFC-48F3-A4D8-E0F0D3B461A8}" dt="2025-11-15T11:02:37.040" v="379149"/>
          <ac:spMkLst>
            <pc:docMk/>
            <pc:sldMk cId="786263190" sldId="2147483081"/>
            <ac:spMk id="338" creationId="{8A4A7482-9ADA-B10F-CE98-7A47B3453722}"/>
          </ac:spMkLst>
        </pc:spChg>
        <pc:spChg chg="add mod ord">
          <ac:chgData name="Yiqun Dai" userId="360a2182-b97f-4635-b990-04f846616e33" providerId="ADAL" clId="{8F04EA49-0EFC-48F3-A4D8-E0F0D3B461A8}" dt="2025-11-15T11:02:37.040" v="379150"/>
          <ac:spMkLst>
            <pc:docMk/>
            <pc:sldMk cId="786263190" sldId="2147483081"/>
            <ac:spMk id="339" creationId="{59A9233E-8898-FEE1-33B8-C5DD98D75210}"/>
          </ac:spMkLst>
        </pc:spChg>
        <pc:spChg chg="add mod ord">
          <ac:chgData name="Yiqun Dai" userId="360a2182-b97f-4635-b990-04f846616e33" providerId="ADAL" clId="{8F04EA49-0EFC-48F3-A4D8-E0F0D3B461A8}" dt="2025-11-15T11:02:37.040" v="379151"/>
          <ac:spMkLst>
            <pc:docMk/>
            <pc:sldMk cId="786263190" sldId="2147483081"/>
            <ac:spMk id="340" creationId="{072160FC-F141-9B51-16AD-29022143DEB3}"/>
          </ac:spMkLst>
        </pc:spChg>
        <pc:spChg chg="add mod ord">
          <ac:chgData name="Yiqun Dai" userId="360a2182-b97f-4635-b990-04f846616e33" providerId="ADAL" clId="{8F04EA49-0EFC-48F3-A4D8-E0F0D3B461A8}" dt="2025-11-15T11:02:37.040" v="379152"/>
          <ac:spMkLst>
            <pc:docMk/>
            <pc:sldMk cId="786263190" sldId="2147483081"/>
            <ac:spMk id="341" creationId="{DAC8F95B-C021-E965-A443-DE310F54A28F}"/>
          </ac:spMkLst>
        </pc:spChg>
        <pc:spChg chg="add mod ord">
          <ac:chgData name="Yiqun Dai" userId="360a2182-b97f-4635-b990-04f846616e33" providerId="ADAL" clId="{8F04EA49-0EFC-48F3-A4D8-E0F0D3B461A8}" dt="2025-11-15T11:02:37.040" v="379153"/>
          <ac:spMkLst>
            <pc:docMk/>
            <pc:sldMk cId="786263190" sldId="2147483081"/>
            <ac:spMk id="342" creationId="{1C037676-7B13-E784-0E09-2D4888844B5B}"/>
          </ac:spMkLst>
        </pc:spChg>
        <pc:spChg chg="add mod ord">
          <ac:chgData name="Yiqun Dai" userId="360a2182-b97f-4635-b990-04f846616e33" providerId="ADAL" clId="{8F04EA49-0EFC-48F3-A4D8-E0F0D3B461A8}" dt="2025-11-15T11:02:37.040" v="379154"/>
          <ac:spMkLst>
            <pc:docMk/>
            <pc:sldMk cId="786263190" sldId="2147483081"/>
            <ac:spMk id="343" creationId="{25B1A29C-A96D-293A-6322-011E7796D7CF}"/>
          </ac:spMkLst>
        </pc:spChg>
        <pc:spChg chg="add mod ord">
          <ac:chgData name="Yiqun Dai" userId="360a2182-b97f-4635-b990-04f846616e33" providerId="ADAL" clId="{8F04EA49-0EFC-48F3-A4D8-E0F0D3B461A8}" dt="2025-11-15T11:02:37.040" v="379155"/>
          <ac:spMkLst>
            <pc:docMk/>
            <pc:sldMk cId="786263190" sldId="2147483081"/>
            <ac:spMk id="344" creationId="{9BD8098A-30EE-9DF6-6005-E5EBE48FE62A}"/>
          </ac:spMkLst>
        </pc:spChg>
        <pc:spChg chg="add mod ord">
          <ac:chgData name="Yiqun Dai" userId="360a2182-b97f-4635-b990-04f846616e33" providerId="ADAL" clId="{8F04EA49-0EFC-48F3-A4D8-E0F0D3B461A8}" dt="2025-11-15T11:02:37.040" v="379156"/>
          <ac:spMkLst>
            <pc:docMk/>
            <pc:sldMk cId="786263190" sldId="2147483081"/>
            <ac:spMk id="345" creationId="{4B11A754-14C1-2687-F1AA-DACDDE23CD24}"/>
          </ac:spMkLst>
        </pc:spChg>
        <pc:spChg chg="add mod">
          <ac:chgData name="Yiqun Dai" userId="360a2182-b97f-4635-b990-04f846616e33" providerId="ADAL" clId="{8F04EA49-0EFC-48F3-A4D8-E0F0D3B461A8}" dt="2025-11-15T11:02:37.069" v="379201"/>
          <ac:spMkLst>
            <pc:docMk/>
            <pc:sldMk cId="786263190" sldId="2147483081"/>
            <ac:spMk id="713" creationId="{1D239880-A986-6CB3-E7DD-5A0734D08613}"/>
          </ac:spMkLst>
        </pc:spChg>
        <pc:spChg chg="mod ord">
          <ac:chgData name="Yiqun Dai" userId="360a2182-b97f-4635-b990-04f846616e33" providerId="ADAL" clId="{8F04EA49-0EFC-48F3-A4D8-E0F0D3B461A8}" dt="2025-11-15T11:02:37.069" v="379202"/>
          <ac:spMkLst>
            <pc:docMk/>
            <pc:sldMk cId="786263190" sldId="2147483081"/>
            <ac:spMk id="714" creationId="{22F20BE0-436E-25E9-7738-4D838C706863}"/>
          </ac:spMkLst>
        </pc:spChg>
        <pc:spChg chg="add mod">
          <ac:chgData name="Yiqun Dai" userId="360a2182-b97f-4635-b990-04f846616e33" providerId="ADAL" clId="{8F04EA49-0EFC-48F3-A4D8-E0F0D3B461A8}" dt="2025-11-15T11:02:37.069" v="379203"/>
          <ac:spMkLst>
            <pc:docMk/>
            <pc:sldMk cId="786263190" sldId="2147483081"/>
            <ac:spMk id="715" creationId="{92048F63-7955-8CB3-8A53-2E0E3B31F9A4}"/>
          </ac:spMkLst>
        </pc:spChg>
        <pc:spChg chg="mod">
          <ac:chgData name="Yiqun Dai" userId="360a2182-b97f-4635-b990-04f846616e33" providerId="ADAL" clId="{8F04EA49-0EFC-48F3-A4D8-E0F0D3B461A8}" dt="2025-11-15T11:02:37.069" v="379204"/>
          <ac:spMkLst>
            <pc:docMk/>
            <pc:sldMk cId="786263190" sldId="2147483081"/>
            <ac:spMk id="716" creationId="{8C227E20-0EC5-C3D9-E332-00BF421EBCEA}"/>
          </ac:spMkLst>
        </pc:spChg>
        <pc:spChg chg="mod ord">
          <ac:chgData name="Yiqun Dai" userId="360a2182-b97f-4635-b990-04f846616e33" providerId="ADAL" clId="{8F04EA49-0EFC-48F3-A4D8-E0F0D3B461A8}" dt="2025-11-15T11:02:37.069" v="379205"/>
          <ac:spMkLst>
            <pc:docMk/>
            <pc:sldMk cId="786263190" sldId="2147483081"/>
            <ac:spMk id="717" creationId="{8142AF65-3D12-419E-780B-D2D910657901}"/>
          </ac:spMkLst>
        </pc:spChg>
        <pc:spChg chg="mod">
          <ac:chgData name="Yiqun Dai" userId="360a2182-b97f-4635-b990-04f846616e33" providerId="ADAL" clId="{8F04EA49-0EFC-48F3-A4D8-E0F0D3B461A8}" dt="2025-11-15T11:02:37.069" v="379222"/>
          <ac:spMkLst>
            <pc:docMk/>
            <pc:sldMk cId="786263190" sldId="2147483081"/>
            <ac:spMk id="718" creationId="{1ABCCF8D-69A0-4D6F-1F8B-E731E3AB6D62}"/>
          </ac:spMkLst>
        </pc:spChg>
        <pc:spChg chg="mod ord">
          <ac:chgData name="Yiqun Dai" userId="360a2182-b97f-4635-b990-04f846616e33" providerId="ADAL" clId="{8F04EA49-0EFC-48F3-A4D8-E0F0D3B461A8}" dt="2025-11-15T11:02:37.069" v="379208"/>
          <ac:spMkLst>
            <pc:docMk/>
            <pc:sldMk cId="786263190" sldId="2147483081"/>
            <ac:spMk id="719" creationId="{7B41B6B8-E55A-DFA2-E294-AC2A39B1CEE3}"/>
          </ac:spMkLst>
        </pc:spChg>
        <pc:spChg chg="mod ord">
          <ac:chgData name="Yiqun Dai" userId="360a2182-b97f-4635-b990-04f846616e33" providerId="ADAL" clId="{8F04EA49-0EFC-48F3-A4D8-E0F0D3B461A8}" dt="2025-11-15T11:02:37.069" v="379209"/>
          <ac:spMkLst>
            <pc:docMk/>
            <pc:sldMk cId="786263190" sldId="2147483081"/>
            <ac:spMk id="720" creationId="{86176549-0566-33EA-6056-E88330A59EFC}"/>
          </ac:spMkLst>
        </pc:spChg>
        <pc:spChg chg="mod ord">
          <ac:chgData name="Yiqun Dai" userId="360a2182-b97f-4635-b990-04f846616e33" providerId="ADAL" clId="{8F04EA49-0EFC-48F3-A4D8-E0F0D3B461A8}" dt="2025-11-15T11:02:37.069" v="379210"/>
          <ac:spMkLst>
            <pc:docMk/>
            <pc:sldMk cId="786263190" sldId="2147483081"/>
            <ac:spMk id="721" creationId="{56D8AEDB-41C0-D8EF-675C-EA1AFF833BE9}"/>
          </ac:spMkLst>
        </pc:spChg>
        <pc:spChg chg="mod ord">
          <ac:chgData name="Yiqun Dai" userId="360a2182-b97f-4635-b990-04f846616e33" providerId="ADAL" clId="{8F04EA49-0EFC-48F3-A4D8-E0F0D3B461A8}" dt="2025-11-15T11:02:37.069" v="379212"/>
          <ac:spMkLst>
            <pc:docMk/>
            <pc:sldMk cId="786263190" sldId="2147483081"/>
            <ac:spMk id="722" creationId="{5E97BC9E-3B3C-1651-0CC8-BAD6FB859EBF}"/>
          </ac:spMkLst>
        </pc:spChg>
        <pc:spChg chg="mod ord">
          <ac:chgData name="Yiqun Dai" userId="360a2182-b97f-4635-b990-04f846616e33" providerId="ADAL" clId="{8F04EA49-0EFC-48F3-A4D8-E0F0D3B461A8}" dt="2025-11-15T11:02:37.069" v="379213"/>
          <ac:spMkLst>
            <pc:docMk/>
            <pc:sldMk cId="786263190" sldId="2147483081"/>
            <ac:spMk id="723" creationId="{02AB522D-A02C-85E1-AD87-9FB910BFBF6C}"/>
          </ac:spMkLst>
        </pc:spChg>
        <pc:spChg chg="mod">
          <ac:chgData name="Yiqun Dai" userId="360a2182-b97f-4635-b990-04f846616e33" providerId="ADAL" clId="{8F04EA49-0EFC-48F3-A4D8-E0F0D3B461A8}" dt="2025-11-15T11:02:37.069" v="379214"/>
          <ac:spMkLst>
            <pc:docMk/>
            <pc:sldMk cId="786263190" sldId="2147483081"/>
            <ac:spMk id="724" creationId="{F1FE524A-1A1C-7B21-2923-4891AF5DFBBB}"/>
          </ac:spMkLst>
        </pc:spChg>
        <pc:spChg chg="add mod ord">
          <ac:chgData name="Yiqun Dai" userId="360a2182-b97f-4635-b990-04f846616e33" providerId="ADAL" clId="{8F04EA49-0EFC-48F3-A4D8-E0F0D3B461A8}" dt="2025-11-15T11:02:37.069" v="379216"/>
          <ac:spMkLst>
            <pc:docMk/>
            <pc:sldMk cId="786263190" sldId="2147483081"/>
            <ac:spMk id="725" creationId="{61F00C7E-C822-446A-0CE2-99776C75518B}"/>
          </ac:spMkLst>
        </pc:spChg>
        <pc:spChg chg="add mod ord">
          <ac:chgData name="Yiqun Dai" userId="360a2182-b97f-4635-b990-04f846616e33" providerId="ADAL" clId="{8F04EA49-0EFC-48F3-A4D8-E0F0D3B461A8}" dt="2025-11-15T11:02:37.069" v="379218"/>
          <ac:spMkLst>
            <pc:docMk/>
            <pc:sldMk cId="786263190" sldId="2147483081"/>
            <ac:spMk id="726" creationId="{CE07FBCE-F6FD-0B79-5A25-BE4DA5A1FCF2}"/>
          </ac:spMkLst>
        </pc:spChg>
        <pc:spChg chg="mod">
          <ac:chgData name="Yiqun Dai" userId="360a2182-b97f-4635-b990-04f846616e33" providerId="ADAL" clId="{8F04EA49-0EFC-48F3-A4D8-E0F0D3B461A8}" dt="2025-11-15T11:02:37.069" v="379220"/>
          <ac:spMkLst>
            <pc:docMk/>
            <pc:sldMk cId="786263190" sldId="2147483081"/>
            <ac:spMk id="727" creationId="{3069FCC7-2411-DCC5-002F-3084A8461476}"/>
          </ac:spMkLst>
        </pc:spChg>
        <pc:spChg chg="mod">
          <ac:chgData name="Yiqun Dai" userId="360a2182-b97f-4635-b990-04f846616e33" providerId="ADAL" clId="{8F04EA49-0EFC-48F3-A4D8-E0F0D3B461A8}" dt="2025-11-15T11:02:37.069" v="379221"/>
          <ac:spMkLst>
            <pc:docMk/>
            <pc:sldMk cId="786263190" sldId="2147483081"/>
            <ac:spMk id="728" creationId="{F9AA9CF3-5221-B778-1BE0-EBEE8BF16267}"/>
          </ac:spMkLst>
        </pc:spChg>
        <pc:spChg chg="add mod ord">
          <ac:chgData name="Yiqun Dai" userId="360a2182-b97f-4635-b990-04f846616e33" providerId="ADAL" clId="{8F04EA49-0EFC-48F3-A4D8-E0F0D3B461A8}" dt="2025-11-15T11:02:37.053" v="379187"/>
          <ac:spMkLst>
            <pc:docMk/>
            <pc:sldMk cId="786263190" sldId="2147483081"/>
            <ac:spMk id="729" creationId="{2B95ED45-F93A-5011-582D-79A26A6260EF}"/>
          </ac:spMkLst>
        </pc:spChg>
        <pc:spChg chg="mod">
          <ac:chgData name="Yiqun Dai" userId="360a2182-b97f-4635-b990-04f846616e33" providerId="ADAL" clId="{8F04EA49-0EFC-48F3-A4D8-E0F0D3B461A8}" dt="2025-11-15T11:02:37.053" v="379188"/>
          <ac:spMkLst>
            <pc:docMk/>
            <pc:sldMk cId="786263190" sldId="2147483081"/>
            <ac:spMk id="730" creationId="{4F818353-5A7F-014B-4C0A-C7A55E68CABD}"/>
          </ac:spMkLst>
        </pc:spChg>
        <pc:spChg chg="add mod ord">
          <ac:chgData name="Yiqun Dai" userId="360a2182-b97f-4635-b990-04f846616e33" providerId="ADAL" clId="{8F04EA49-0EFC-48F3-A4D8-E0F0D3B461A8}" dt="2025-11-15T11:02:37.053" v="379189"/>
          <ac:spMkLst>
            <pc:docMk/>
            <pc:sldMk cId="786263190" sldId="2147483081"/>
            <ac:spMk id="731" creationId="{17F1F383-8B90-EAA2-31BB-B5805CCFDF1D}"/>
          </ac:spMkLst>
        </pc:spChg>
        <pc:spChg chg="add mod ord">
          <ac:chgData name="Yiqun Dai" userId="360a2182-b97f-4635-b990-04f846616e33" providerId="ADAL" clId="{8F04EA49-0EFC-48F3-A4D8-E0F0D3B461A8}" dt="2025-11-15T11:02:37.053" v="379190"/>
          <ac:spMkLst>
            <pc:docMk/>
            <pc:sldMk cId="786263190" sldId="2147483081"/>
            <ac:spMk id="732" creationId="{E81EAD49-30FE-9C0C-A72B-B74BC7935447}"/>
          </ac:spMkLst>
        </pc:spChg>
        <pc:spChg chg="add mod ord">
          <ac:chgData name="Yiqun Dai" userId="360a2182-b97f-4635-b990-04f846616e33" providerId="ADAL" clId="{8F04EA49-0EFC-48F3-A4D8-E0F0D3B461A8}" dt="2025-11-15T11:02:37.053" v="379191"/>
          <ac:spMkLst>
            <pc:docMk/>
            <pc:sldMk cId="786263190" sldId="2147483081"/>
            <ac:spMk id="733" creationId="{56192282-31AE-EA8E-B45C-F8C382B2E35B}"/>
          </ac:spMkLst>
        </pc:spChg>
        <pc:spChg chg="mod ord">
          <ac:chgData name="Yiqun Dai" userId="360a2182-b97f-4635-b990-04f846616e33" providerId="ADAL" clId="{8F04EA49-0EFC-48F3-A4D8-E0F0D3B461A8}" dt="2025-11-15T11:02:37.053" v="379192"/>
          <ac:spMkLst>
            <pc:docMk/>
            <pc:sldMk cId="786263190" sldId="2147483081"/>
            <ac:spMk id="734" creationId="{CEE58164-9812-E38D-532A-8E72C5435E05}"/>
          </ac:spMkLst>
        </pc:spChg>
        <pc:spChg chg="mod">
          <ac:chgData name="Yiqun Dai" userId="360a2182-b97f-4635-b990-04f846616e33" providerId="ADAL" clId="{8F04EA49-0EFC-48F3-A4D8-E0F0D3B461A8}" dt="2025-11-15T11:02:37.053" v="379193"/>
          <ac:spMkLst>
            <pc:docMk/>
            <pc:sldMk cId="786263190" sldId="2147483081"/>
            <ac:spMk id="735" creationId="{BCAAB8B1-27BF-C151-D8CF-2A930ABDC74E}"/>
          </ac:spMkLst>
        </pc:spChg>
        <pc:spChg chg="add mod">
          <ac:chgData name="Yiqun Dai" userId="360a2182-b97f-4635-b990-04f846616e33" providerId="ADAL" clId="{8F04EA49-0EFC-48F3-A4D8-E0F0D3B461A8}" dt="2025-11-15T11:02:37.053" v="379194"/>
          <ac:spMkLst>
            <pc:docMk/>
            <pc:sldMk cId="786263190" sldId="2147483081"/>
            <ac:spMk id="736" creationId="{4840FB03-4620-A721-F981-E1EF739A6EDF}"/>
          </ac:spMkLst>
        </pc:spChg>
        <pc:spChg chg="add mod">
          <ac:chgData name="Yiqun Dai" userId="360a2182-b97f-4635-b990-04f846616e33" providerId="ADAL" clId="{8F04EA49-0EFC-48F3-A4D8-E0F0D3B461A8}" dt="2025-11-15T11:02:37.069" v="379206"/>
          <ac:spMkLst>
            <pc:docMk/>
            <pc:sldMk cId="786263190" sldId="2147483081"/>
            <ac:spMk id="737" creationId="{B1272A7D-A517-8E2D-7101-1DA7F5B1120D}"/>
          </ac:spMkLst>
        </pc:spChg>
        <pc:spChg chg="mod ord">
          <ac:chgData name="Yiqun Dai" userId="360a2182-b97f-4635-b990-04f846616e33" providerId="ADAL" clId="{8F04EA49-0EFC-48F3-A4D8-E0F0D3B461A8}" dt="2025-11-15T11:02:37.053" v="379195"/>
          <ac:spMkLst>
            <pc:docMk/>
            <pc:sldMk cId="786263190" sldId="2147483081"/>
            <ac:spMk id="738" creationId="{7804832B-23D0-8CD7-13EB-EC5DFE6655FD}"/>
          </ac:spMkLst>
        </pc:spChg>
        <pc:spChg chg="mod ord">
          <ac:chgData name="Yiqun Dai" userId="360a2182-b97f-4635-b990-04f846616e33" providerId="ADAL" clId="{8F04EA49-0EFC-48F3-A4D8-E0F0D3B461A8}" dt="2025-11-15T11:02:37.069" v="379197"/>
          <ac:spMkLst>
            <pc:docMk/>
            <pc:sldMk cId="786263190" sldId="2147483081"/>
            <ac:spMk id="739" creationId="{D74EB83D-C54A-84E6-3D5A-B65B8B898863}"/>
          </ac:spMkLst>
        </pc:spChg>
        <pc:spChg chg="mod ord">
          <ac:chgData name="Yiqun Dai" userId="360a2182-b97f-4635-b990-04f846616e33" providerId="ADAL" clId="{8F04EA49-0EFC-48F3-A4D8-E0F0D3B461A8}" dt="2025-11-15T11:02:37.069" v="379199"/>
          <ac:spMkLst>
            <pc:docMk/>
            <pc:sldMk cId="786263190" sldId="2147483081"/>
            <ac:spMk id="740" creationId="{0948DCA7-C504-B71E-DD52-5678689D1ED2}"/>
          </ac:spMkLst>
        </pc:spChg>
        <pc:spChg chg="mod">
          <ac:chgData name="Yiqun Dai" userId="360a2182-b97f-4635-b990-04f846616e33" providerId="ADAL" clId="{8F04EA49-0EFC-48F3-A4D8-E0F0D3B461A8}" dt="2025-11-15T11:02:37.069" v="379200"/>
          <ac:spMkLst>
            <pc:docMk/>
            <pc:sldMk cId="786263190" sldId="2147483081"/>
            <ac:spMk id="741" creationId="{87B02D5F-A9C7-CF40-280C-0705FD5A3756}"/>
          </ac:spMkLst>
        </pc:spChg>
        <pc:spChg chg="mod ord">
          <ac:chgData name="Yiqun Dai" userId="360a2182-b97f-4635-b990-04f846616e33" providerId="ADAL" clId="{8F04EA49-0EFC-48F3-A4D8-E0F0D3B461A8}" dt="2025-11-15T11:02:37.069" v="379219"/>
          <ac:spMkLst>
            <pc:docMk/>
            <pc:sldMk cId="786263190" sldId="2147483081"/>
            <ac:spMk id="742" creationId="{44EF7F64-C92E-2A50-F30D-AC6752F20C7F}"/>
          </ac:spMkLst>
        </pc:spChg>
        <pc:spChg chg="mod ord">
          <ac:chgData name="Yiqun Dai" userId="360a2182-b97f-4635-b990-04f846616e33" providerId="ADAL" clId="{8F04EA49-0EFC-48F3-A4D8-E0F0D3B461A8}" dt="2025-11-15T11:02:37.069" v="379223"/>
          <ac:spMkLst>
            <pc:docMk/>
            <pc:sldMk cId="786263190" sldId="2147483081"/>
            <ac:spMk id="743" creationId="{CF323E17-19D2-0C91-4661-D93089AE6594}"/>
          </ac:spMkLst>
        </pc:spChg>
        <pc:spChg chg="add mod ord">
          <ac:chgData name="Yiqun Dai" userId="360a2182-b97f-4635-b990-04f846616e33" providerId="ADAL" clId="{8F04EA49-0EFC-48F3-A4D8-E0F0D3B461A8}" dt="2025-11-15T11:02:37.100" v="379259"/>
          <ac:spMkLst>
            <pc:docMk/>
            <pc:sldMk cId="786263190" sldId="2147483081"/>
            <ac:spMk id="769" creationId="{14AEDA33-C544-E6F2-E7B3-7E0C661C9123}"/>
          </ac:spMkLst>
        </pc:spChg>
        <pc:spChg chg="add mod ord">
          <ac:chgData name="Yiqun Dai" userId="360a2182-b97f-4635-b990-04f846616e33" providerId="ADAL" clId="{8F04EA49-0EFC-48F3-A4D8-E0F0D3B461A8}" dt="2025-11-15T11:02:37.100" v="379260"/>
          <ac:spMkLst>
            <pc:docMk/>
            <pc:sldMk cId="786263190" sldId="2147483081"/>
            <ac:spMk id="770" creationId="{40BE8E48-0B08-59F7-CAE5-A39E2B4D37CC}"/>
          </ac:spMkLst>
        </pc:spChg>
        <pc:spChg chg="mod">
          <ac:chgData name="Yiqun Dai" userId="360a2182-b97f-4635-b990-04f846616e33" providerId="ADAL" clId="{8F04EA49-0EFC-48F3-A4D8-E0F0D3B461A8}" dt="2025-11-15T11:02:37.100" v="379261"/>
          <ac:spMkLst>
            <pc:docMk/>
            <pc:sldMk cId="786263190" sldId="2147483081"/>
            <ac:spMk id="771" creationId="{74537682-1FA1-B504-DD33-2F9299360284}"/>
          </ac:spMkLst>
        </pc:spChg>
        <pc:spChg chg="mod">
          <ac:chgData name="Yiqun Dai" userId="360a2182-b97f-4635-b990-04f846616e33" providerId="ADAL" clId="{8F04EA49-0EFC-48F3-A4D8-E0F0D3B461A8}" dt="2025-11-15T11:02:37.100" v="379283"/>
          <ac:spMkLst>
            <pc:docMk/>
            <pc:sldMk cId="786263190" sldId="2147483081"/>
            <ac:spMk id="772" creationId="{CF815AAC-5553-9661-BF63-A07EBA887459}"/>
          </ac:spMkLst>
        </pc:spChg>
        <pc:spChg chg="add mod ord">
          <ac:chgData name="Yiqun Dai" userId="360a2182-b97f-4635-b990-04f846616e33" providerId="ADAL" clId="{8F04EA49-0EFC-48F3-A4D8-E0F0D3B461A8}" dt="2025-11-15T11:02:37.100" v="379265"/>
          <ac:spMkLst>
            <pc:docMk/>
            <pc:sldMk cId="786263190" sldId="2147483081"/>
            <ac:spMk id="773" creationId="{F2A7DF55-3711-A261-C55E-E79DBC0F562B}"/>
          </ac:spMkLst>
        </pc:spChg>
        <pc:spChg chg="mod ord">
          <ac:chgData name="Yiqun Dai" userId="360a2182-b97f-4635-b990-04f846616e33" providerId="ADAL" clId="{8F04EA49-0EFC-48F3-A4D8-E0F0D3B461A8}" dt="2025-11-15T11:02:37.100" v="379278"/>
          <ac:spMkLst>
            <pc:docMk/>
            <pc:sldMk cId="786263190" sldId="2147483081"/>
            <ac:spMk id="774" creationId="{04F7F132-CC7B-24E5-9D03-8A010636A5DB}"/>
          </ac:spMkLst>
        </pc:spChg>
        <pc:spChg chg="add mod ord">
          <ac:chgData name="Yiqun Dai" userId="360a2182-b97f-4635-b990-04f846616e33" providerId="ADAL" clId="{8F04EA49-0EFC-48F3-A4D8-E0F0D3B461A8}" dt="2025-11-15T11:02:37.100" v="379270"/>
          <ac:spMkLst>
            <pc:docMk/>
            <pc:sldMk cId="786263190" sldId="2147483081"/>
            <ac:spMk id="775" creationId="{5FA50E59-1ED7-587D-6525-3816DFACA82A}"/>
          </ac:spMkLst>
        </pc:spChg>
        <pc:spChg chg="mod ord">
          <ac:chgData name="Yiqun Dai" userId="360a2182-b97f-4635-b990-04f846616e33" providerId="ADAL" clId="{8F04EA49-0EFC-48F3-A4D8-E0F0D3B461A8}" dt="2025-11-15T11:02:37.100" v="379271"/>
          <ac:spMkLst>
            <pc:docMk/>
            <pc:sldMk cId="786263190" sldId="2147483081"/>
            <ac:spMk id="776" creationId="{92F41448-4C13-479D-8C02-26976FA157B7}"/>
          </ac:spMkLst>
        </pc:spChg>
        <pc:spChg chg="mod ord">
          <ac:chgData name="Yiqun Dai" userId="360a2182-b97f-4635-b990-04f846616e33" providerId="ADAL" clId="{8F04EA49-0EFC-48F3-A4D8-E0F0D3B461A8}" dt="2025-11-15T11:02:37.100" v="379272"/>
          <ac:spMkLst>
            <pc:docMk/>
            <pc:sldMk cId="786263190" sldId="2147483081"/>
            <ac:spMk id="777" creationId="{8B062FB7-CDC2-48C6-7853-8CBB7D20041A}"/>
          </ac:spMkLst>
        </pc:spChg>
        <pc:spChg chg="add mod ord">
          <ac:chgData name="Yiqun Dai" userId="360a2182-b97f-4635-b990-04f846616e33" providerId="ADAL" clId="{8F04EA49-0EFC-48F3-A4D8-E0F0D3B461A8}" dt="2025-11-15T11:02:37.100" v="379274"/>
          <ac:spMkLst>
            <pc:docMk/>
            <pc:sldMk cId="786263190" sldId="2147483081"/>
            <ac:spMk id="778" creationId="{67483B42-A7F4-F3D5-4B4D-D0194B6B59F1}"/>
          </ac:spMkLst>
        </pc:spChg>
        <pc:spChg chg="mod ord">
          <ac:chgData name="Yiqun Dai" userId="360a2182-b97f-4635-b990-04f846616e33" providerId="ADAL" clId="{8F04EA49-0EFC-48F3-A4D8-E0F0D3B461A8}" dt="2025-11-15T11:02:37.100" v="379275"/>
          <ac:spMkLst>
            <pc:docMk/>
            <pc:sldMk cId="786263190" sldId="2147483081"/>
            <ac:spMk id="779" creationId="{BC8C681D-5AF6-D979-E52B-5182F2DF1D5C}"/>
          </ac:spMkLst>
        </pc:spChg>
        <pc:spChg chg="mod">
          <ac:chgData name="Yiqun Dai" userId="360a2182-b97f-4635-b990-04f846616e33" providerId="ADAL" clId="{8F04EA49-0EFC-48F3-A4D8-E0F0D3B461A8}" dt="2025-11-15T11:02:37.100" v="379276"/>
          <ac:spMkLst>
            <pc:docMk/>
            <pc:sldMk cId="786263190" sldId="2147483081"/>
            <ac:spMk id="780" creationId="{C42A9833-D4C7-4792-9C77-346FAAA8A4F1}"/>
          </ac:spMkLst>
        </pc:spChg>
        <pc:spChg chg="add mod ord">
          <ac:chgData name="Yiqun Dai" userId="360a2182-b97f-4635-b990-04f846616e33" providerId="ADAL" clId="{8F04EA49-0EFC-48F3-A4D8-E0F0D3B461A8}" dt="2025-11-15T11:02:37.100" v="379277"/>
          <ac:spMkLst>
            <pc:docMk/>
            <pc:sldMk cId="786263190" sldId="2147483081"/>
            <ac:spMk id="781" creationId="{584BE9EA-BD67-CA44-C137-2377382F7C3C}"/>
          </ac:spMkLst>
        </pc:spChg>
        <pc:spChg chg="mod">
          <ac:chgData name="Yiqun Dai" userId="360a2182-b97f-4635-b990-04f846616e33" providerId="ADAL" clId="{8F04EA49-0EFC-48F3-A4D8-E0F0D3B461A8}" dt="2025-11-15T11:02:37.116" v="379288"/>
          <ac:spMkLst>
            <pc:docMk/>
            <pc:sldMk cId="786263190" sldId="2147483081"/>
            <ac:spMk id="782" creationId="{9B38A324-2A23-79A5-31B4-01A55EC2712D}"/>
          </ac:spMkLst>
        </pc:spChg>
        <pc:spChg chg="mod">
          <ac:chgData name="Yiqun Dai" userId="360a2182-b97f-4635-b990-04f846616e33" providerId="ADAL" clId="{8F04EA49-0EFC-48F3-A4D8-E0F0D3B461A8}" dt="2025-11-15T11:02:37.100" v="379266"/>
          <ac:spMkLst>
            <pc:docMk/>
            <pc:sldMk cId="786263190" sldId="2147483081"/>
            <ac:spMk id="783" creationId="{B52D3F94-54E2-7195-2657-6672D64A5C49}"/>
          </ac:spMkLst>
        </pc:spChg>
        <pc:spChg chg="mod">
          <ac:chgData name="Yiqun Dai" userId="360a2182-b97f-4635-b990-04f846616e33" providerId="ADAL" clId="{8F04EA49-0EFC-48F3-A4D8-E0F0D3B461A8}" dt="2025-11-15T11:02:37.100" v="379269"/>
          <ac:spMkLst>
            <pc:docMk/>
            <pc:sldMk cId="786263190" sldId="2147483081"/>
            <ac:spMk id="784" creationId="{17C41692-DFEA-909F-4F1A-8BD3E1DDA073}"/>
          </ac:spMkLst>
        </pc:spChg>
        <pc:spChg chg="mod ord">
          <ac:chgData name="Yiqun Dai" userId="360a2182-b97f-4635-b990-04f846616e33" providerId="ADAL" clId="{8F04EA49-0EFC-48F3-A4D8-E0F0D3B461A8}" dt="2025-11-15T11:02:37.100" v="379263"/>
          <ac:spMkLst>
            <pc:docMk/>
            <pc:sldMk cId="786263190" sldId="2147483081"/>
            <ac:spMk id="785" creationId="{EE200ED8-4990-6ACA-C22E-1A2514BA3DCD}"/>
          </ac:spMkLst>
        </pc:spChg>
        <pc:spChg chg="mod ord">
          <ac:chgData name="Yiqun Dai" userId="360a2182-b97f-4635-b990-04f846616e33" providerId="ADAL" clId="{8F04EA49-0EFC-48F3-A4D8-E0F0D3B461A8}" dt="2025-11-15T11:02:37.100" v="379279"/>
          <ac:spMkLst>
            <pc:docMk/>
            <pc:sldMk cId="786263190" sldId="2147483081"/>
            <ac:spMk id="786" creationId="{FDE17A77-320A-94D9-953F-83F4BBAB6DF1}"/>
          </ac:spMkLst>
        </pc:spChg>
        <pc:spChg chg="mod ord">
          <ac:chgData name="Yiqun Dai" userId="360a2182-b97f-4635-b990-04f846616e33" providerId="ADAL" clId="{8F04EA49-0EFC-48F3-A4D8-E0F0D3B461A8}" dt="2025-11-15T11:02:37.100" v="379280"/>
          <ac:spMkLst>
            <pc:docMk/>
            <pc:sldMk cId="786263190" sldId="2147483081"/>
            <ac:spMk id="787" creationId="{18F20C57-DA7B-B97F-0E5E-4C4CAECE709E}"/>
          </ac:spMkLst>
        </pc:spChg>
        <pc:spChg chg="mod ord">
          <ac:chgData name="Yiqun Dai" userId="360a2182-b97f-4635-b990-04f846616e33" providerId="ADAL" clId="{8F04EA49-0EFC-48F3-A4D8-E0F0D3B461A8}" dt="2025-11-15T11:02:37.100" v="379281"/>
          <ac:spMkLst>
            <pc:docMk/>
            <pc:sldMk cId="786263190" sldId="2147483081"/>
            <ac:spMk id="788" creationId="{84C1443F-6F85-9ED1-A0CE-7D941004CE00}"/>
          </ac:spMkLst>
        </pc:spChg>
        <pc:spChg chg="add mod">
          <ac:chgData name="Yiqun Dai" userId="360a2182-b97f-4635-b990-04f846616e33" providerId="ADAL" clId="{8F04EA49-0EFC-48F3-A4D8-E0F0D3B461A8}" dt="2025-11-15T11:02:37.100" v="379282"/>
          <ac:spMkLst>
            <pc:docMk/>
            <pc:sldMk cId="786263190" sldId="2147483081"/>
            <ac:spMk id="789" creationId="{D1820747-EC8A-37C1-E471-6A0FCE4F99A1}"/>
          </ac:spMkLst>
        </pc:spChg>
        <pc:spChg chg="mod ord">
          <ac:chgData name="Yiqun Dai" userId="360a2182-b97f-4635-b990-04f846616e33" providerId="ADAL" clId="{8F04EA49-0EFC-48F3-A4D8-E0F0D3B461A8}" dt="2025-11-15T11:02:37.100" v="379284"/>
          <ac:spMkLst>
            <pc:docMk/>
            <pc:sldMk cId="786263190" sldId="2147483081"/>
            <ac:spMk id="790" creationId="{E8005835-6D1E-AD24-44AB-8EDB9D843C46}"/>
          </ac:spMkLst>
        </pc:spChg>
        <pc:spChg chg="mod">
          <ac:chgData name="Yiqun Dai" userId="360a2182-b97f-4635-b990-04f846616e33" providerId="ADAL" clId="{8F04EA49-0EFC-48F3-A4D8-E0F0D3B461A8}" dt="2025-11-15T11:02:37.100" v="379285"/>
          <ac:spMkLst>
            <pc:docMk/>
            <pc:sldMk cId="786263190" sldId="2147483081"/>
            <ac:spMk id="791" creationId="{80B25D19-2A48-4E45-EA63-63E8B120571E}"/>
          </ac:spMkLst>
        </pc:spChg>
        <pc:spChg chg="mod ord">
          <ac:chgData name="Yiqun Dai" userId="360a2182-b97f-4635-b990-04f846616e33" providerId="ADAL" clId="{8F04EA49-0EFC-48F3-A4D8-E0F0D3B461A8}" dt="2025-11-15T11:02:37.116" v="379286"/>
          <ac:spMkLst>
            <pc:docMk/>
            <pc:sldMk cId="786263190" sldId="2147483081"/>
            <ac:spMk id="792" creationId="{C52CCA79-D37C-EB54-FA48-178C8C63CD34}"/>
          </ac:spMkLst>
        </pc:spChg>
        <pc:spChg chg="mod ord">
          <ac:chgData name="Yiqun Dai" userId="360a2182-b97f-4635-b990-04f846616e33" providerId="ADAL" clId="{8F04EA49-0EFC-48F3-A4D8-E0F0D3B461A8}" dt="2025-11-15T11:02:37.100" v="379268"/>
          <ac:spMkLst>
            <pc:docMk/>
            <pc:sldMk cId="786263190" sldId="2147483081"/>
            <ac:spMk id="793" creationId="{33A66618-BFC3-E473-FB55-2678B3043B55}"/>
          </ac:spMkLst>
        </pc:spChg>
        <pc:spChg chg="mod ord">
          <ac:chgData name="Yiqun Dai" userId="360a2182-b97f-4635-b990-04f846616e33" providerId="ADAL" clId="{8F04EA49-0EFC-48F3-A4D8-E0F0D3B461A8}" dt="2025-11-15T11:02:37.116" v="379287"/>
          <ac:spMkLst>
            <pc:docMk/>
            <pc:sldMk cId="786263190" sldId="2147483081"/>
            <ac:spMk id="794" creationId="{C030198B-D505-CA50-566A-3D0124D21CD8}"/>
          </ac:spMkLst>
        </pc:spChg>
        <pc:spChg chg="mod">
          <ac:chgData name="Yiqun Dai" userId="360a2182-b97f-4635-b990-04f846616e33" providerId="ADAL" clId="{8F04EA49-0EFC-48F3-A4D8-E0F0D3B461A8}" dt="2025-11-15T11:02:37.085" v="379254"/>
          <ac:spMkLst>
            <pc:docMk/>
            <pc:sldMk cId="786263190" sldId="2147483081"/>
            <ac:spMk id="795" creationId="{08948B60-9133-E5AB-4136-A675ACA9362C}"/>
          </ac:spMkLst>
        </pc:spChg>
        <pc:spChg chg="add mod ord">
          <ac:chgData name="Yiqun Dai" userId="360a2182-b97f-4635-b990-04f846616e33" providerId="ADAL" clId="{8F04EA49-0EFC-48F3-A4D8-E0F0D3B461A8}" dt="2025-11-15T11:02:37.085" v="379255"/>
          <ac:spMkLst>
            <pc:docMk/>
            <pc:sldMk cId="786263190" sldId="2147483081"/>
            <ac:spMk id="796" creationId="{53ABBF72-9E96-68F7-8EAC-EA4B95733FB5}"/>
          </ac:spMkLst>
        </pc:spChg>
        <pc:spChg chg="mod">
          <ac:chgData name="Yiqun Dai" userId="360a2182-b97f-4635-b990-04f846616e33" providerId="ADAL" clId="{8F04EA49-0EFC-48F3-A4D8-E0F0D3B461A8}" dt="2025-11-15T11:02:37.085" v="379256"/>
          <ac:spMkLst>
            <pc:docMk/>
            <pc:sldMk cId="786263190" sldId="2147483081"/>
            <ac:spMk id="797" creationId="{3AEF0010-BA0E-F44B-80D8-C956F1B39EEE}"/>
          </ac:spMkLst>
        </pc:spChg>
        <pc:spChg chg="add mod ord">
          <ac:chgData name="Yiqun Dai" userId="360a2182-b97f-4635-b990-04f846616e33" providerId="ADAL" clId="{8F04EA49-0EFC-48F3-A4D8-E0F0D3B461A8}" dt="2025-11-15T11:02:37.085" v="379257"/>
          <ac:spMkLst>
            <pc:docMk/>
            <pc:sldMk cId="786263190" sldId="2147483081"/>
            <ac:spMk id="798" creationId="{0144055F-7214-3FF1-6A98-135F4FB5C8E6}"/>
          </ac:spMkLst>
        </pc:spChg>
        <pc:spChg chg="add mod ord">
          <ac:chgData name="Yiqun Dai" userId="360a2182-b97f-4635-b990-04f846616e33" providerId="ADAL" clId="{8F04EA49-0EFC-48F3-A4D8-E0F0D3B461A8}" dt="2025-11-15T11:02:37.085" v="379258"/>
          <ac:spMkLst>
            <pc:docMk/>
            <pc:sldMk cId="786263190" sldId="2147483081"/>
            <ac:spMk id="799" creationId="{3FA2EDA6-982B-16C6-3EB4-BE6B9D1F8A6D}"/>
          </ac:spMkLst>
        </pc:spChg>
        <pc:spChg chg="add mod ord">
          <ac:chgData name="Yiqun Dai" userId="360a2182-b97f-4635-b990-04f846616e33" providerId="ADAL" clId="{8F04EA49-0EFC-48F3-A4D8-E0F0D3B461A8}" dt="2025-11-15T11:02:37.116" v="379290"/>
          <ac:spMkLst>
            <pc:docMk/>
            <pc:sldMk cId="786263190" sldId="2147483081"/>
            <ac:spMk id="869" creationId="{0B0546A7-C3C3-10E8-FE11-561AC542590F}"/>
          </ac:spMkLst>
        </pc:spChg>
        <pc:spChg chg="add mod ord">
          <ac:chgData name="Yiqun Dai" userId="360a2182-b97f-4635-b990-04f846616e33" providerId="ADAL" clId="{8F04EA49-0EFC-48F3-A4D8-E0F0D3B461A8}" dt="2025-11-15T11:02:37.116" v="379292"/>
          <ac:spMkLst>
            <pc:docMk/>
            <pc:sldMk cId="786263190" sldId="2147483081"/>
            <ac:spMk id="870" creationId="{2E5EB3C9-5DAB-0668-128C-D54AD70CBCAF}"/>
          </ac:spMkLst>
        </pc:spChg>
        <pc:spChg chg="add mod ord">
          <ac:chgData name="Yiqun Dai" userId="360a2182-b97f-4635-b990-04f846616e33" providerId="ADAL" clId="{8F04EA49-0EFC-48F3-A4D8-E0F0D3B461A8}" dt="2025-11-15T11:02:37.116" v="379296"/>
          <ac:spMkLst>
            <pc:docMk/>
            <pc:sldMk cId="786263190" sldId="2147483081"/>
            <ac:spMk id="907" creationId="{AC704396-E815-DDD6-55DC-711DCDCE8B54}"/>
          </ac:spMkLst>
        </pc:spChg>
        <pc:spChg chg="add mod ord">
          <ac:chgData name="Yiqun Dai" userId="360a2182-b97f-4635-b990-04f846616e33" providerId="ADAL" clId="{8F04EA49-0EFC-48F3-A4D8-E0F0D3B461A8}" dt="2025-11-15T11:02:37.116" v="379300"/>
          <ac:spMkLst>
            <pc:docMk/>
            <pc:sldMk cId="786263190" sldId="2147483081"/>
            <ac:spMk id="909" creationId="{B60A2D6D-9CFF-3CD3-0099-45CC8870879E}"/>
          </ac:spMkLst>
        </pc:spChg>
        <pc:spChg chg="add mod ord">
          <ac:chgData name="Yiqun Dai" userId="360a2182-b97f-4635-b990-04f846616e33" providerId="ADAL" clId="{8F04EA49-0EFC-48F3-A4D8-E0F0D3B461A8}" dt="2025-11-15T11:02:37.023" v="379101"/>
          <ac:spMkLst>
            <pc:docMk/>
            <pc:sldMk cId="786263190" sldId="2147483081"/>
            <ac:spMk id="911" creationId="{9CD2C2D8-5F1E-04B2-0D73-7E5D28027AF8}"/>
          </ac:spMkLst>
        </pc:spChg>
        <pc:spChg chg="add mod ord">
          <ac:chgData name="Yiqun Dai" userId="360a2182-b97f-4635-b990-04f846616e33" providerId="ADAL" clId="{8F04EA49-0EFC-48F3-A4D8-E0F0D3B461A8}" dt="2025-11-15T11:02:37.022" v="379097"/>
          <ac:spMkLst>
            <pc:docMk/>
            <pc:sldMk cId="786263190" sldId="2147483081"/>
            <ac:spMk id="912" creationId="{8DE8DDD8-719D-6304-F5B0-CFF4EA403D4C}"/>
          </ac:spMkLst>
        </pc:spChg>
        <pc:spChg chg="add mod ord">
          <ac:chgData name="Yiqun Dai" userId="360a2182-b97f-4635-b990-04f846616e33" providerId="ADAL" clId="{8F04EA49-0EFC-48F3-A4D8-E0F0D3B461A8}" dt="2025-11-15T11:02:37.023" v="379099"/>
          <ac:spMkLst>
            <pc:docMk/>
            <pc:sldMk cId="786263190" sldId="2147483081"/>
            <ac:spMk id="913" creationId="{EEBB7017-0062-810B-2CD9-9C7EE45CBFAA}"/>
          </ac:spMkLst>
        </pc:spChg>
        <pc:spChg chg="add mod">
          <ac:chgData name="Yiqun Dai" userId="360a2182-b97f-4635-b990-04f846616e33" providerId="ADAL" clId="{8F04EA49-0EFC-48F3-A4D8-E0F0D3B461A8}" dt="2025-11-15T11:02:37.127" v="379311"/>
          <ac:spMkLst>
            <pc:docMk/>
            <pc:sldMk cId="786263190" sldId="2147483081"/>
            <ac:spMk id="914" creationId="{FA0A96ED-03F8-1105-06A6-1EDA369A2298}"/>
          </ac:spMkLst>
        </pc:spChg>
        <pc:spChg chg="add mod">
          <ac:chgData name="Yiqun Dai" userId="360a2182-b97f-4635-b990-04f846616e33" providerId="ADAL" clId="{8F04EA49-0EFC-48F3-A4D8-E0F0D3B461A8}" dt="2025-11-15T11:02:37.127" v="379312"/>
          <ac:spMkLst>
            <pc:docMk/>
            <pc:sldMk cId="786263190" sldId="2147483081"/>
            <ac:spMk id="916" creationId="{A2CB9A7C-B796-8687-5013-D15FC36BEBD3}"/>
          </ac:spMkLst>
        </pc:spChg>
        <pc:spChg chg="add mod">
          <ac:chgData name="Yiqun Dai" userId="360a2182-b97f-4635-b990-04f846616e33" providerId="ADAL" clId="{8F04EA49-0EFC-48F3-A4D8-E0F0D3B461A8}" dt="2025-11-15T11:02:37.127" v="379313"/>
          <ac:spMkLst>
            <pc:docMk/>
            <pc:sldMk cId="786263190" sldId="2147483081"/>
            <ac:spMk id="917" creationId="{D3F90DF9-91D5-9662-871B-660EE7063C5A}"/>
          </ac:spMkLst>
        </pc:spChg>
        <pc:spChg chg="add mod">
          <ac:chgData name="Yiqun Dai" userId="360a2182-b97f-4635-b990-04f846616e33" providerId="ADAL" clId="{8F04EA49-0EFC-48F3-A4D8-E0F0D3B461A8}" dt="2025-11-15T11:02:37.132" v="379314"/>
          <ac:spMkLst>
            <pc:docMk/>
            <pc:sldMk cId="786263190" sldId="2147483081"/>
            <ac:spMk id="918" creationId="{DFC8DFFB-091C-2F17-0174-53A86B1372A6}"/>
          </ac:spMkLst>
        </pc:spChg>
        <pc:spChg chg="add mod ord">
          <ac:chgData name="Yiqun Dai" userId="360a2182-b97f-4635-b990-04f846616e33" providerId="ADAL" clId="{8F04EA49-0EFC-48F3-A4D8-E0F0D3B461A8}" dt="2025-11-15T11:02:37.116" v="379304"/>
          <ac:spMkLst>
            <pc:docMk/>
            <pc:sldMk cId="786263190" sldId="2147483081"/>
            <ac:spMk id="919" creationId="{E3BC5448-8FD4-039A-21C3-8FF325639FBC}"/>
          </ac:spMkLst>
        </pc:spChg>
        <pc:spChg chg="add mod ord">
          <ac:chgData name="Yiqun Dai" userId="360a2182-b97f-4635-b990-04f846616e33" providerId="ADAL" clId="{8F04EA49-0EFC-48F3-A4D8-E0F0D3B461A8}" dt="2025-11-15T11:02:37.127" v="379306"/>
          <ac:spMkLst>
            <pc:docMk/>
            <pc:sldMk cId="786263190" sldId="2147483081"/>
            <ac:spMk id="920" creationId="{2E3762C4-6F9F-E31E-D877-8A4F3CD776A4}"/>
          </ac:spMkLst>
        </pc:spChg>
        <pc:spChg chg="add mod ord">
          <ac:chgData name="Yiqun Dai" userId="360a2182-b97f-4635-b990-04f846616e33" providerId="ADAL" clId="{8F04EA49-0EFC-48F3-A4D8-E0F0D3B461A8}" dt="2025-11-15T11:02:37.127" v="379308"/>
          <ac:spMkLst>
            <pc:docMk/>
            <pc:sldMk cId="786263190" sldId="2147483081"/>
            <ac:spMk id="921" creationId="{CE61A70D-58DF-D8A4-DAEF-707953F09724}"/>
          </ac:spMkLst>
        </pc:spChg>
        <pc:spChg chg="add mod ord">
          <ac:chgData name="Yiqun Dai" userId="360a2182-b97f-4635-b990-04f846616e33" providerId="ADAL" clId="{8F04EA49-0EFC-48F3-A4D8-E0F0D3B461A8}" dt="2025-11-15T11:02:37.127" v="379310"/>
          <ac:spMkLst>
            <pc:docMk/>
            <pc:sldMk cId="786263190" sldId="2147483081"/>
            <ac:spMk id="922" creationId="{B0FADF50-9423-4625-E871-0D8CCB105A84}"/>
          </ac:spMkLst>
        </pc:spChg>
        <pc:graphicFrameChg chg="add mod ord modVis">
          <ac:chgData name="Yiqun Dai" userId="360a2182-b97f-4635-b990-04f846616e33" providerId="ADAL" clId="{8F04EA49-0EFC-48F3-A4D8-E0F0D3B461A8}" dt="2025-11-15T11:02:53.319" v="379370"/>
          <ac:graphicFrameMkLst>
            <pc:docMk/>
            <pc:sldMk cId="786263190" sldId="2147483081"/>
            <ac:graphicFrameMk id="48" creationId="{8D051EF3-80E6-4405-B158-4AEE3A44A352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02:37.053" v="379178"/>
          <ac:graphicFrameMkLst>
            <pc:docMk/>
            <pc:sldMk cId="786263190" sldId="2147483081"/>
            <ac:graphicFrameMk id="934" creationId="{C7B9AB63-68D6-D700-5D02-3BA40860A711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02:37.085" v="379233"/>
          <ac:graphicFrameMkLst>
            <pc:docMk/>
            <pc:sldMk cId="786263190" sldId="2147483081"/>
            <ac:graphicFrameMk id="985" creationId="{1C76078F-F47B-8B28-AF32-C9FDD0E7EC14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02:37.027" v="379113"/>
          <ac:graphicFrameMkLst>
            <pc:docMk/>
            <pc:sldMk cId="786263190" sldId="2147483081"/>
            <ac:graphicFrameMk id="993" creationId="{F31F9DC6-A248-8FBF-B4EF-BE219D445C1E}"/>
          </ac:graphicFrameMkLst>
        </pc:graphicFrameChg>
        <pc:cxnChg chg="add mod ord">
          <ac:chgData name="Yiqun Dai" userId="360a2182-b97f-4635-b990-04f846616e33" providerId="ADAL" clId="{8F04EA49-0EFC-48F3-A4D8-E0F0D3B461A8}" dt="2025-11-15T11:02:37.027" v="379109"/>
          <ac:cxnSpMkLst>
            <pc:docMk/>
            <pc:sldMk cId="786263190" sldId="2147483081"/>
            <ac:cxnSpMk id="294" creationId="{626390E3-7192-89E1-9E6A-A4A460A0CC72}"/>
          </ac:cxnSpMkLst>
        </pc:cxnChg>
        <pc:cxnChg chg="add mod ord">
          <ac:chgData name="Yiqun Dai" userId="360a2182-b97f-4635-b990-04f846616e33" providerId="ADAL" clId="{8F04EA49-0EFC-48F3-A4D8-E0F0D3B461A8}" dt="2025-11-15T11:02:37.027" v="379111"/>
          <ac:cxnSpMkLst>
            <pc:docMk/>
            <pc:sldMk cId="786263190" sldId="2147483081"/>
            <ac:cxnSpMk id="295" creationId="{C7966303-D714-9BFA-A953-709245611F09}"/>
          </ac:cxnSpMkLst>
        </pc:cxnChg>
        <pc:cxnChg chg="add mod ord">
          <ac:chgData name="Yiqun Dai" userId="360a2182-b97f-4635-b990-04f846616e33" providerId="ADAL" clId="{8F04EA49-0EFC-48F3-A4D8-E0F0D3B461A8}" dt="2025-11-15T11:02:37.027" v="379107"/>
          <ac:cxnSpMkLst>
            <pc:docMk/>
            <pc:sldMk cId="786263190" sldId="2147483081"/>
            <ac:cxnSpMk id="305" creationId="{A485C707-4BE0-340A-A52A-9F6ABD615FFB}"/>
          </ac:cxnSpMkLst>
        </pc:cxnChg>
        <pc:cxnChg chg="add mod ord">
          <ac:chgData name="Yiqun Dai" userId="360a2182-b97f-4635-b990-04f846616e33" providerId="ADAL" clId="{8F04EA49-0EFC-48F3-A4D8-E0F0D3B461A8}" dt="2025-11-15T11:02:37.027" v="379105"/>
          <ac:cxnSpMkLst>
            <pc:docMk/>
            <pc:sldMk cId="786263190" sldId="2147483081"/>
            <ac:cxnSpMk id="308" creationId="{5B8F6CF6-0480-2335-687B-8595346C5044}"/>
          </ac:cxnSpMkLst>
        </pc:cxnChg>
        <pc:cxnChg chg="add mod ord">
          <ac:chgData name="Yiqun Dai" userId="360a2182-b97f-4635-b990-04f846616e33" providerId="ADAL" clId="{8F04EA49-0EFC-48F3-A4D8-E0F0D3B461A8}" dt="2025-11-15T11:02:37.027" v="379115"/>
          <ac:cxnSpMkLst>
            <pc:docMk/>
            <pc:sldMk cId="786263190" sldId="2147483081"/>
            <ac:cxnSpMk id="348" creationId="{52489DAA-2A86-C7EB-5FCF-B79648BCE518}"/>
          </ac:cxnSpMkLst>
        </pc:cxnChg>
        <pc:cxnChg chg="add mod ord">
          <ac:chgData name="Yiqun Dai" userId="360a2182-b97f-4635-b990-04f846616e33" providerId="ADAL" clId="{8F04EA49-0EFC-48F3-A4D8-E0F0D3B461A8}" dt="2025-11-15T11:02:37.027" v="379117"/>
          <ac:cxnSpMkLst>
            <pc:docMk/>
            <pc:sldMk cId="786263190" sldId="2147483081"/>
            <ac:cxnSpMk id="356" creationId="{81B6A11C-7F11-D71E-D7F7-4B8C6CB75A6F}"/>
          </ac:cxnSpMkLst>
        </pc:cxnChg>
        <pc:cxnChg chg="add mod ord">
          <ac:chgData name="Yiqun Dai" userId="360a2182-b97f-4635-b990-04f846616e33" providerId="ADAL" clId="{8F04EA49-0EFC-48F3-A4D8-E0F0D3B461A8}" dt="2025-11-15T11:02:37.027" v="379119"/>
          <ac:cxnSpMkLst>
            <pc:docMk/>
            <pc:sldMk cId="786263190" sldId="2147483081"/>
            <ac:cxnSpMk id="357" creationId="{3C0FD275-D2F9-B5FA-546B-99F9FAC8CA7C}"/>
          </ac:cxnSpMkLst>
        </pc:cxnChg>
        <pc:cxnChg chg="add mod ord">
          <ac:chgData name="Yiqun Dai" userId="360a2182-b97f-4635-b990-04f846616e33" providerId="ADAL" clId="{8F04EA49-0EFC-48F3-A4D8-E0F0D3B461A8}" dt="2025-11-15T11:02:37.027" v="379121"/>
          <ac:cxnSpMkLst>
            <pc:docMk/>
            <pc:sldMk cId="786263190" sldId="2147483081"/>
            <ac:cxnSpMk id="359" creationId="{DBBB1C50-C81E-C86D-4388-3FD9BB166A15}"/>
          </ac:cxnSpMkLst>
        </pc:cxnChg>
        <pc:cxnChg chg="add mod ord">
          <ac:chgData name="Yiqun Dai" userId="360a2182-b97f-4635-b990-04f846616e33" providerId="ADAL" clId="{8F04EA49-0EFC-48F3-A4D8-E0F0D3B461A8}" dt="2025-11-15T11:02:37.027" v="379123"/>
          <ac:cxnSpMkLst>
            <pc:docMk/>
            <pc:sldMk cId="786263190" sldId="2147483081"/>
            <ac:cxnSpMk id="372" creationId="{D5B6A0CC-F63D-C1F4-5A8C-0A0D18769F5B}"/>
          </ac:cxnSpMkLst>
        </pc:cxnChg>
        <pc:cxnChg chg="add mod ord">
          <ac:chgData name="Yiqun Dai" userId="360a2182-b97f-4635-b990-04f846616e33" providerId="ADAL" clId="{8F04EA49-0EFC-48F3-A4D8-E0F0D3B461A8}" dt="2025-11-15T11:02:37.027" v="379133"/>
          <ac:cxnSpMkLst>
            <pc:docMk/>
            <pc:sldMk cId="786263190" sldId="2147483081"/>
            <ac:cxnSpMk id="498" creationId="{3E4B2BAE-3287-849C-E84D-241E48F9FA5D}"/>
          </ac:cxnSpMkLst>
        </pc:cxnChg>
        <pc:cxnChg chg="add mod ord">
          <ac:chgData name="Yiqun Dai" userId="360a2182-b97f-4635-b990-04f846616e33" providerId="ADAL" clId="{8F04EA49-0EFC-48F3-A4D8-E0F0D3B461A8}" dt="2025-11-15T11:02:37.027" v="379125"/>
          <ac:cxnSpMkLst>
            <pc:docMk/>
            <pc:sldMk cId="786263190" sldId="2147483081"/>
            <ac:cxnSpMk id="501" creationId="{87E58E4F-C9A2-DCE7-0106-1911C6991FB5}"/>
          </ac:cxnSpMkLst>
        </pc:cxnChg>
        <pc:cxnChg chg="add mod ord">
          <ac:chgData name="Yiqun Dai" userId="360a2182-b97f-4635-b990-04f846616e33" providerId="ADAL" clId="{8F04EA49-0EFC-48F3-A4D8-E0F0D3B461A8}" dt="2025-11-15T11:02:37.027" v="379127"/>
          <ac:cxnSpMkLst>
            <pc:docMk/>
            <pc:sldMk cId="786263190" sldId="2147483081"/>
            <ac:cxnSpMk id="508" creationId="{93C14BC9-E6AF-B1E3-2FDF-B83804F18584}"/>
          </ac:cxnSpMkLst>
        </pc:cxnChg>
        <pc:cxnChg chg="add mod ord">
          <ac:chgData name="Yiqun Dai" userId="360a2182-b97f-4635-b990-04f846616e33" providerId="ADAL" clId="{8F04EA49-0EFC-48F3-A4D8-E0F0D3B461A8}" dt="2025-11-15T11:02:37.027" v="379129"/>
          <ac:cxnSpMkLst>
            <pc:docMk/>
            <pc:sldMk cId="786263190" sldId="2147483081"/>
            <ac:cxnSpMk id="573" creationId="{632BB24D-C393-D2E7-63A0-5A8892DB44D4}"/>
          </ac:cxnSpMkLst>
        </pc:cxnChg>
        <pc:cxnChg chg="add mod ord">
          <ac:chgData name="Yiqun Dai" userId="360a2182-b97f-4635-b990-04f846616e33" providerId="ADAL" clId="{8F04EA49-0EFC-48F3-A4D8-E0F0D3B461A8}" dt="2025-11-15T11:02:37.027" v="379131"/>
          <ac:cxnSpMkLst>
            <pc:docMk/>
            <pc:sldMk cId="786263190" sldId="2147483081"/>
            <ac:cxnSpMk id="575" creationId="{103945CB-0349-C4D0-C1AD-7286A18E9490}"/>
          </ac:cxnSpMkLst>
        </pc:cxnChg>
        <pc:cxnChg chg="mod ord">
          <ac:chgData name="Yiqun Dai" userId="360a2182-b97f-4635-b990-04f846616e33" providerId="ADAL" clId="{8F04EA49-0EFC-48F3-A4D8-E0F0D3B461A8}" dt="2025-11-15T11:02:37.053" v="379170"/>
          <ac:cxnSpMkLst>
            <pc:docMk/>
            <pc:sldMk cId="786263190" sldId="2147483081"/>
            <ac:cxnSpMk id="693" creationId="{E9A98F0E-2A73-7EBD-6E48-E6666834B50F}"/>
          </ac:cxnSpMkLst>
        </pc:cxnChg>
        <pc:cxnChg chg="mod ord">
          <ac:chgData name="Yiqun Dai" userId="360a2182-b97f-4635-b990-04f846616e33" providerId="ADAL" clId="{8F04EA49-0EFC-48F3-A4D8-E0F0D3B461A8}" dt="2025-11-15T11:02:37.053" v="379174"/>
          <ac:cxnSpMkLst>
            <pc:docMk/>
            <pc:sldMk cId="786263190" sldId="2147483081"/>
            <ac:cxnSpMk id="694" creationId="{F4875230-3F8B-0B63-AF8A-568FF56225A2}"/>
          </ac:cxnSpMkLst>
        </pc:cxnChg>
        <pc:cxnChg chg="mod ord">
          <ac:chgData name="Yiqun Dai" userId="360a2182-b97f-4635-b990-04f846616e33" providerId="ADAL" clId="{8F04EA49-0EFC-48F3-A4D8-E0F0D3B461A8}" dt="2025-11-15T11:02:37.053" v="379176"/>
          <ac:cxnSpMkLst>
            <pc:docMk/>
            <pc:sldMk cId="786263190" sldId="2147483081"/>
            <ac:cxnSpMk id="695" creationId="{C5971D71-A03F-F092-5CE1-DED38EDE3E8F}"/>
          </ac:cxnSpMkLst>
        </pc:cxnChg>
        <pc:cxnChg chg="mod ord">
          <ac:chgData name="Yiqun Dai" userId="360a2182-b97f-4635-b990-04f846616e33" providerId="ADAL" clId="{8F04EA49-0EFC-48F3-A4D8-E0F0D3B461A8}" dt="2025-11-15T11:02:37.053" v="379180"/>
          <ac:cxnSpMkLst>
            <pc:docMk/>
            <pc:sldMk cId="786263190" sldId="2147483081"/>
            <ac:cxnSpMk id="701" creationId="{F90A7621-3D8B-89FD-BC04-7870B1FB60DB}"/>
          </ac:cxnSpMkLst>
        </pc:cxnChg>
        <pc:cxnChg chg="mod ord">
          <ac:chgData name="Yiqun Dai" userId="360a2182-b97f-4635-b990-04f846616e33" providerId="ADAL" clId="{8F04EA49-0EFC-48F3-A4D8-E0F0D3B461A8}" dt="2025-11-15T11:02:37.085" v="379225"/>
          <ac:cxnSpMkLst>
            <pc:docMk/>
            <pc:sldMk cId="786263190" sldId="2147483081"/>
            <ac:cxnSpMk id="749" creationId="{069B8E94-AF77-AA0F-0EE6-D2ACA8128148}"/>
          </ac:cxnSpMkLst>
        </pc:cxnChg>
        <pc:cxnChg chg="mod ord">
          <ac:chgData name="Yiqun Dai" userId="360a2182-b97f-4635-b990-04f846616e33" providerId="ADAL" clId="{8F04EA49-0EFC-48F3-A4D8-E0F0D3B461A8}" dt="2025-11-15T11:02:37.085" v="379229"/>
          <ac:cxnSpMkLst>
            <pc:docMk/>
            <pc:sldMk cId="786263190" sldId="2147483081"/>
            <ac:cxnSpMk id="750" creationId="{CD0D9484-976D-8B1F-1E50-453FC654FC38}"/>
          </ac:cxnSpMkLst>
        </pc:cxnChg>
        <pc:cxnChg chg="mod ord">
          <ac:chgData name="Yiqun Dai" userId="360a2182-b97f-4635-b990-04f846616e33" providerId="ADAL" clId="{8F04EA49-0EFC-48F3-A4D8-E0F0D3B461A8}" dt="2025-11-15T11:02:37.085" v="379235"/>
          <ac:cxnSpMkLst>
            <pc:docMk/>
            <pc:sldMk cId="786263190" sldId="2147483081"/>
            <ac:cxnSpMk id="759" creationId="{03576A18-58F3-ADDD-2141-42712DEF0BB6}"/>
          </ac:cxnSpMkLst>
        </pc:cxnChg>
        <pc:cxnChg chg="mod ord">
          <ac:chgData name="Yiqun Dai" userId="360a2182-b97f-4635-b990-04f846616e33" providerId="ADAL" clId="{8F04EA49-0EFC-48F3-A4D8-E0F0D3B461A8}" dt="2025-11-15T11:02:37.085" v="379241"/>
          <ac:cxnSpMkLst>
            <pc:docMk/>
            <pc:sldMk cId="786263190" sldId="2147483081"/>
            <ac:cxnSpMk id="760" creationId="{B782DAB6-B8B9-34B4-A088-A0AFD48BFDE7}"/>
          </ac:cxnSpMkLst>
        </pc:cxnChg>
        <pc:cxnChg chg="mod ord">
          <ac:chgData name="Yiqun Dai" userId="360a2182-b97f-4635-b990-04f846616e33" providerId="ADAL" clId="{8F04EA49-0EFC-48F3-A4D8-E0F0D3B461A8}" dt="2025-11-15T11:02:37.085" v="379239"/>
          <ac:cxnSpMkLst>
            <pc:docMk/>
            <pc:sldMk cId="786263190" sldId="2147483081"/>
            <ac:cxnSpMk id="766" creationId="{54C74FCC-A619-9F5F-F659-33822C5297D5}"/>
          </ac:cxnSpMkLst>
        </pc:cxnChg>
        <pc:cxnChg chg="add mod ord">
          <ac:chgData name="Yiqun Dai" userId="360a2182-b97f-4635-b990-04f846616e33" providerId="ADAL" clId="{8F04EA49-0EFC-48F3-A4D8-E0F0D3B461A8}" dt="2025-11-15T11:02:37.053" v="379172"/>
          <ac:cxnSpMkLst>
            <pc:docMk/>
            <pc:sldMk cId="786263190" sldId="2147483081"/>
            <ac:cxnSpMk id="819" creationId="{7FE2DDE5-D180-7B3B-526A-232BDA160EE5}"/>
          </ac:cxnSpMkLst>
        </pc:cxnChg>
        <pc:cxnChg chg="add mod ord">
          <ac:chgData name="Yiqun Dai" userId="360a2182-b97f-4635-b990-04f846616e33" providerId="ADAL" clId="{8F04EA49-0EFC-48F3-A4D8-E0F0D3B461A8}" dt="2025-11-15T11:02:37.053" v="379182"/>
          <ac:cxnSpMkLst>
            <pc:docMk/>
            <pc:sldMk cId="786263190" sldId="2147483081"/>
            <ac:cxnSpMk id="822" creationId="{B67E3F3D-11EC-C4D1-2572-3BFDC0C00528}"/>
          </ac:cxnSpMkLst>
        </pc:cxnChg>
        <pc:cxnChg chg="add mod ord">
          <ac:chgData name="Yiqun Dai" userId="360a2182-b97f-4635-b990-04f846616e33" providerId="ADAL" clId="{8F04EA49-0EFC-48F3-A4D8-E0F0D3B461A8}" dt="2025-11-15T11:02:37.053" v="379184"/>
          <ac:cxnSpMkLst>
            <pc:docMk/>
            <pc:sldMk cId="786263190" sldId="2147483081"/>
            <ac:cxnSpMk id="823" creationId="{FA49DE08-E55E-52B2-A422-B1920C3D33A0}"/>
          </ac:cxnSpMkLst>
        </pc:cxnChg>
        <pc:cxnChg chg="add mod ord">
          <ac:chgData name="Yiqun Dai" userId="360a2182-b97f-4635-b990-04f846616e33" providerId="ADAL" clId="{8F04EA49-0EFC-48F3-A4D8-E0F0D3B461A8}" dt="2025-11-15T11:02:37.053" v="379186"/>
          <ac:cxnSpMkLst>
            <pc:docMk/>
            <pc:sldMk cId="786263190" sldId="2147483081"/>
            <ac:cxnSpMk id="824" creationId="{C0790316-95E5-D5C0-8904-61F737943F9B}"/>
          </ac:cxnSpMkLst>
        </pc:cxnChg>
        <pc:cxnChg chg="add mod ord">
          <ac:chgData name="Yiqun Dai" userId="360a2182-b97f-4635-b990-04f846616e33" providerId="ADAL" clId="{8F04EA49-0EFC-48F3-A4D8-E0F0D3B461A8}" dt="2025-11-15T11:02:37.085" v="379227"/>
          <ac:cxnSpMkLst>
            <pc:docMk/>
            <pc:sldMk cId="786263190" sldId="2147483081"/>
            <ac:cxnSpMk id="830" creationId="{00DBE03C-F8C2-84D6-DB7D-58E63493318D}"/>
          </ac:cxnSpMkLst>
        </pc:cxnChg>
        <pc:cxnChg chg="add mod ord">
          <ac:chgData name="Yiqun Dai" userId="360a2182-b97f-4635-b990-04f846616e33" providerId="ADAL" clId="{8F04EA49-0EFC-48F3-A4D8-E0F0D3B461A8}" dt="2025-11-15T11:02:37.085" v="379231"/>
          <ac:cxnSpMkLst>
            <pc:docMk/>
            <pc:sldMk cId="786263190" sldId="2147483081"/>
            <ac:cxnSpMk id="834" creationId="{32454C57-019A-8056-4EA5-12836B2A85A3}"/>
          </ac:cxnSpMkLst>
        </pc:cxnChg>
        <pc:cxnChg chg="add mod ord">
          <ac:chgData name="Yiqun Dai" userId="360a2182-b97f-4635-b990-04f846616e33" providerId="ADAL" clId="{8F04EA49-0EFC-48F3-A4D8-E0F0D3B461A8}" dt="2025-11-15T11:02:37.085" v="379243"/>
          <ac:cxnSpMkLst>
            <pc:docMk/>
            <pc:sldMk cId="786263190" sldId="2147483081"/>
            <ac:cxnSpMk id="837" creationId="{35B7AE0E-87E2-17BC-5670-DBCCB2869D2E}"/>
          </ac:cxnSpMkLst>
        </pc:cxnChg>
        <pc:cxnChg chg="add mod ord">
          <ac:chgData name="Yiqun Dai" userId="360a2182-b97f-4635-b990-04f846616e33" providerId="ADAL" clId="{8F04EA49-0EFC-48F3-A4D8-E0F0D3B461A8}" dt="2025-11-15T11:02:37.085" v="379245"/>
          <ac:cxnSpMkLst>
            <pc:docMk/>
            <pc:sldMk cId="786263190" sldId="2147483081"/>
            <ac:cxnSpMk id="838" creationId="{35ED821C-ACD1-744D-717E-B99802AC661E}"/>
          </ac:cxnSpMkLst>
        </pc:cxnChg>
        <pc:cxnChg chg="add mod ord">
          <ac:chgData name="Yiqun Dai" userId="360a2182-b97f-4635-b990-04f846616e33" providerId="ADAL" clId="{8F04EA49-0EFC-48F3-A4D8-E0F0D3B461A8}" dt="2025-11-15T11:02:37.085" v="379237"/>
          <ac:cxnSpMkLst>
            <pc:docMk/>
            <pc:sldMk cId="786263190" sldId="2147483081"/>
            <ac:cxnSpMk id="839" creationId="{8160B9DA-FA9D-8BAC-EE89-DCD064F3180B}"/>
          </ac:cxnSpMkLst>
        </pc:cxnChg>
        <pc:cxnChg chg="add mod ord">
          <ac:chgData name="Yiqun Dai" userId="360a2182-b97f-4635-b990-04f846616e33" providerId="ADAL" clId="{8F04EA49-0EFC-48F3-A4D8-E0F0D3B461A8}" dt="2025-11-15T11:02:37.085" v="379247"/>
          <ac:cxnSpMkLst>
            <pc:docMk/>
            <pc:sldMk cId="786263190" sldId="2147483081"/>
            <ac:cxnSpMk id="840" creationId="{6DFBF9BA-FF62-27E6-F7E5-31B977B3EE95}"/>
          </ac:cxnSpMkLst>
        </pc:cxnChg>
        <pc:cxnChg chg="add mod ord">
          <ac:chgData name="Yiqun Dai" userId="360a2182-b97f-4635-b990-04f846616e33" providerId="ADAL" clId="{8F04EA49-0EFC-48F3-A4D8-E0F0D3B461A8}" dt="2025-11-15T11:02:37.085" v="379249"/>
          <ac:cxnSpMkLst>
            <pc:docMk/>
            <pc:sldMk cId="786263190" sldId="2147483081"/>
            <ac:cxnSpMk id="841" creationId="{1926F2A7-83E5-B04A-4A62-060A9307711C}"/>
          </ac:cxnSpMkLst>
        </pc:cxnChg>
        <pc:cxnChg chg="add mod ord">
          <ac:chgData name="Yiqun Dai" userId="360a2182-b97f-4635-b990-04f846616e33" providerId="ADAL" clId="{8F04EA49-0EFC-48F3-A4D8-E0F0D3B461A8}" dt="2025-11-15T11:02:37.085" v="379251"/>
          <ac:cxnSpMkLst>
            <pc:docMk/>
            <pc:sldMk cId="786263190" sldId="2147483081"/>
            <ac:cxnSpMk id="842" creationId="{AEB7C93C-8111-4B24-0987-14539EC4945A}"/>
          </ac:cxnSpMkLst>
        </pc:cxnChg>
        <pc:cxnChg chg="add mod ord">
          <ac:chgData name="Yiqun Dai" userId="360a2182-b97f-4635-b990-04f846616e33" providerId="ADAL" clId="{8F04EA49-0EFC-48F3-A4D8-E0F0D3B461A8}" dt="2025-11-15T11:02:37.085" v="379253"/>
          <ac:cxnSpMkLst>
            <pc:docMk/>
            <pc:sldMk cId="786263190" sldId="2147483081"/>
            <ac:cxnSpMk id="843" creationId="{BD5DB7BF-02B1-225D-8754-7F727993DDAD}"/>
          </ac:cxnSpMkLst>
        </pc:cxnChg>
        <pc:cxnChg chg="add mod ord">
          <ac:chgData name="Yiqun Dai" userId="360a2182-b97f-4635-b990-04f846616e33" providerId="ADAL" clId="{8F04EA49-0EFC-48F3-A4D8-E0F0D3B461A8}" dt="2025-11-15T11:02:37.116" v="379294"/>
          <ac:cxnSpMkLst>
            <pc:docMk/>
            <pc:sldMk cId="786263190" sldId="2147483081"/>
            <ac:cxnSpMk id="871" creationId="{C72F0EA6-DA77-E64E-F22E-005D05858C7E}"/>
          </ac:cxnSpMkLst>
        </pc:cxnChg>
        <pc:cxnChg chg="add mod ord">
          <ac:chgData name="Yiqun Dai" userId="360a2182-b97f-4635-b990-04f846616e33" providerId="ADAL" clId="{8F04EA49-0EFC-48F3-A4D8-E0F0D3B461A8}" dt="2025-11-15T11:02:37.116" v="379298"/>
          <ac:cxnSpMkLst>
            <pc:docMk/>
            <pc:sldMk cId="786263190" sldId="2147483081"/>
            <ac:cxnSpMk id="908" creationId="{2B8ECB60-CDA4-5E5D-EE61-8CBB973402A8}"/>
          </ac:cxnSpMkLst>
        </pc:cxnChg>
        <pc:cxnChg chg="add mod ord">
          <ac:chgData name="Yiqun Dai" userId="360a2182-b97f-4635-b990-04f846616e33" providerId="ADAL" clId="{8F04EA49-0EFC-48F3-A4D8-E0F0D3B461A8}" dt="2025-11-15T11:02:37.116" v="379302"/>
          <ac:cxnSpMkLst>
            <pc:docMk/>
            <pc:sldMk cId="786263190" sldId="2147483081"/>
            <ac:cxnSpMk id="910" creationId="{7D02A684-A642-218E-B27E-C5B30F451829}"/>
          </ac:cxnSpMkLst>
        </pc:cxnChg>
      </pc:sldChg>
      <pc:sldChg chg="new del">
        <pc:chgData name="Yiqun Dai" userId="360a2182-b97f-4635-b990-04f846616e33" providerId="ADAL" clId="{8F04EA49-0EFC-48F3-A4D8-E0F0D3B461A8}" dt="2025-11-16T03:02:03.647" v="466869" actId="47"/>
        <pc:sldMkLst>
          <pc:docMk/>
          <pc:sldMk cId="3692566229" sldId="2147483082"/>
        </pc:sldMkLst>
      </pc:sldChg>
      <pc:sldChg chg="addSp delSp modSp add mod">
        <pc:chgData name="Yiqun Dai" userId="360a2182-b97f-4635-b990-04f846616e33" providerId="ADAL" clId="{8F04EA49-0EFC-48F3-A4D8-E0F0D3B461A8}" dt="2025-11-15T11:28:27.757" v="400931"/>
        <pc:sldMkLst>
          <pc:docMk/>
          <pc:sldMk cId="3367204664" sldId="2147483083"/>
        </pc:sldMkLst>
        <pc:spChg chg="mod ord">
          <ac:chgData name="Yiqun Dai" userId="360a2182-b97f-4635-b990-04f846616e33" providerId="ADAL" clId="{8F04EA49-0EFC-48F3-A4D8-E0F0D3B461A8}" dt="2025-11-15T11:28:27.742" v="400929" actId="948"/>
          <ac:spMkLst>
            <pc:docMk/>
            <pc:sldMk cId="3367204664" sldId="2147483083"/>
            <ac:spMk id="2" creationId="{1580BF06-6E86-6DE1-FF86-CD5217331F02}"/>
          </ac:spMkLst>
        </pc:spChg>
        <pc:spChg chg="mod">
          <ac:chgData name="Yiqun Dai" userId="360a2182-b97f-4635-b990-04f846616e33" providerId="ADAL" clId="{8F04EA49-0EFC-48F3-A4D8-E0F0D3B461A8}" dt="2025-11-15T11:22:22.445" v="400674"/>
          <ac:spMkLst>
            <pc:docMk/>
            <pc:sldMk cId="3367204664" sldId="2147483083"/>
            <ac:spMk id="185" creationId="{29AA321F-CD13-316C-2E20-89BEC4CF4310}"/>
          </ac:spMkLst>
        </pc:spChg>
        <pc:spChg chg="mod">
          <ac:chgData name="Yiqun Dai" userId="360a2182-b97f-4635-b990-04f846616e33" providerId="ADAL" clId="{8F04EA49-0EFC-48F3-A4D8-E0F0D3B461A8}" dt="2025-11-15T11:22:22.445" v="400675"/>
          <ac:spMkLst>
            <pc:docMk/>
            <pc:sldMk cId="3367204664" sldId="2147483083"/>
            <ac:spMk id="186" creationId="{820C0B50-2AF1-FE5D-29EE-EDFA4150AAB9}"/>
          </ac:spMkLst>
        </pc:spChg>
        <pc:spChg chg="mod ord">
          <ac:chgData name="Yiqun Dai" userId="360a2182-b97f-4635-b990-04f846616e33" providerId="ADAL" clId="{8F04EA49-0EFC-48F3-A4D8-E0F0D3B461A8}" dt="2025-11-15T11:22:22.445" v="400676"/>
          <ac:spMkLst>
            <pc:docMk/>
            <pc:sldMk cId="3367204664" sldId="2147483083"/>
            <ac:spMk id="317" creationId="{600FC47B-227C-0C50-12E1-93BEEE73CDAA}"/>
          </ac:spMkLst>
        </pc:spChg>
        <pc:spChg chg="mod ord">
          <ac:chgData name="Yiqun Dai" userId="360a2182-b97f-4635-b990-04f846616e33" providerId="ADAL" clId="{8F04EA49-0EFC-48F3-A4D8-E0F0D3B461A8}" dt="2025-11-15T11:22:22.445" v="400662"/>
          <ac:spMkLst>
            <pc:docMk/>
            <pc:sldMk cId="3367204664" sldId="2147483083"/>
            <ac:spMk id="318" creationId="{56CFD53E-CCBB-8B69-84EC-8116202608C1}"/>
          </ac:spMkLst>
        </pc:spChg>
        <pc:spChg chg="mod ord">
          <ac:chgData name="Yiqun Dai" userId="360a2182-b97f-4635-b990-04f846616e33" providerId="ADAL" clId="{8F04EA49-0EFC-48F3-A4D8-E0F0D3B461A8}" dt="2025-11-15T11:22:22.445" v="400677"/>
          <ac:spMkLst>
            <pc:docMk/>
            <pc:sldMk cId="3367204664" sldId="2147483083"/>
            <ac:spMk id="319" creationId="{3BF05AD7-6B67-1120-A4B7-55F2129EC39D}"/>
          </ac:spMkLst>
        </pc:spChg>
        <pc:spChg chg="mod ord">
          <ac:chgData name="Yiqun Dai" userId="360a2182-b97f-4635-b990-04f846616e33" providerId="ADAL" clId="{8F04EA49-0EFC-48F3-A4D8-E0F0D3B461A8}" dt="2025-11-15T11:22:22.445" v="400678"/>
          <ac:spMkLst>
            <pc:docMk/>
            <pc:sldMk cId="3367204664" sldId="2147483083"/>
            <ac:spMk id="320" creationId="{E2AFE803-7C52-329C-7406-8C0EEEDA8406}"/>
          </ac:spMkLst>
        </pc:spChg>
        <pc:spChg chg="mod ord">
          <ac:chgData name="Yiqun Dai" userId="360a2182-b97f-4635-b990-04f846616e33" providerId="ADAL" clId="{8F04EA49-0EFC-48F3-A4D8-E0F0D3B461A8}" dt="2025-11-15T11:22:22.445" v="400679"/>
          <ac:spMkLst>
            <pc:docMk/>
            <pc:sldMk cId="3367204664" sldId="2147483083"/>
            <ac:spMk id="321" creationId="{81190318-998F-9723-2B90-70E6A5A91CAA}"/>
          </ac:spMkLst>
        </pc:spChg>
        <pc:spChg chg="mod ord">
          <ac:chgData name="Yiqun Dai" userId="360a2182-b97f-4635-b990-04f846616e33" providerId="ADAL" clId="{8F04EA49-0EFC-48F3-A4D8-E0F0D3B461A8}" dt="2025-11-15T11:22:22.445" v="400680"/>
          <ac:spMkLst>
            <pc:docMk/>
            <pc:sldMk cId="3367204664" sldId="2147483083"/>
            <ac:spMk id="322" creationId="{B3535FB5-510F-0B50-EADA-702579DA142F}"/>
          </ac:spMkLst>
        </pc:spChg>
        <pc:spChg chg="mod ord">
          <ac:chgData name="Yiqun Dai" userId="360a2182-b97f-4635-b990-04f846616e33" providerId="ADAL" clId="{8F04EA49-0EFC-48F3-A4D8-E0F0D3B461A8}" dt="2025-11-15T11:22:22.445" v="400681"/>
          <ac:spMkLst>
            <pc:docMk/>
            <pc:sldMk cId="3367204664" sldId="2147483083"/>
            <ac:spMk id="323" creationId="{2E586D2E-9600-BCD2-CB4C-186B4FFAC17C}"/>
          </ac:spMkLst>
        </pc:spChg>
        <pc:spChg chg="mod ord">
          <ac:chgData name="Yiqun Dai" userId="360a2182-b97f-4635-b990-04f846616e33" providerId="ADAL" clId="{8F04EA49-0EFC-48F3-A4D8-E0F0D3B461A8}" dt="2025-11-15T11:22:22.461" v="400682"/>
          <ac:spMkLst>
            <pc:docMk/>
            <pc:sldMk cId="3367204664" sldId="2147483083"/>
            <ac:spMk id="324" creationId="{B5B4A66D-E4EA-5B6B-E578-AD9833DB102B}"/>
          </ac:spMkLst>
        </pc:spChg>
        <pc:spChg chg="mod ord">
          <ac:chgData name="Yiqun Dai" userId="360a2182-b97f-4635-b990-04f846616e33" providerId="ADAL" clId="{8F04EA49-0EFC-48F3-A4D8-E0F0D3B461A8}" dt="2025-11-15T11:22:22.461" v="400683"/>
          <ac:spMkLst>
            <pc:docMk/>
            <pc:sldMk cId="3367204664" sldId="2147483083"/>
            <ac:spMk id="325" creationId="{0D0868CB-1951-F76C-3493-6E9BCBD66348}"/>
          </ac:spMkLst>
        </pc:spChg>
        <pc:spChg chg="mod ord">
          <ac:chgData name="Yiqun Dai" userId="360a2182-b97f-4635-b990-04f846616e33" providerId="ADAL" clId="{8F04EA49-0EFC-48F3-A4D8-E0F0D3B461A8}" dt="2025-11-15T11:22:22.461" v="400684"/>
          <ac:spMkLst>
            <pc:docMk/>
            <pc:sldMk cId="3367204664" sldId="2147483083"/>
            <ac:spMk id="326" creationId="{2D8EFE54-2750-C12F-2BC8-52DBE81F313F}"/>
          </ac:spMkLst>
        </pc:spChg>
        <pc:spChg chg="mod ord">
          <ac:chgData name="Yiqun Dai" userId="360a2182-b97f-4635-b990-04f846616e33" providerId="ADAL" clId="{8F04EA49-0EFC-48F3-A4D8-E0F0D3B461A8}" dt="2025-11-15T11:22:22.461" v="400685"/>
          <ac:spMkLst>
            <pc:docMk/>
            <pc:sldMk cId="3367204664" sldId="2147483083"/>
            <ac:spMk id="327" creationId="{9288A764-491A-0F96-30AA-8DA60DB54FD4}"/>
          </ac:spMkLst>
        </pc:spChg>
        <pc:spChg chg="mod">
          <ac:chgData name="Yiqun Dai" userId="360a2182-b97f-4635-b990-04f846616e33" providerId="ADAL" clId="{8F04EA49-0EFC-48F3-A4D8-E0F0D3B461A8}" dt="2025-11-15T11:22:22.461" v="400688"/>
          <ac:spMkLst>
            <pc:docMk/>
            <pc:sldMk cId="3367204664" sldId="2147483083"/>
            <ac:spMk id="328" creationId="{C3E00DD6-C6BB-BEB1-E2FD-0EE9D72860C0}"/>
          </ac:spMkLst>
        </pc:spChg>
        <pc:spChg chg="mod ord">
          <ac:chgData name="Yiqun Dai" userId="360a2182-b97f-4635-b990-04f846616e33" providerId="ADAL" clId="{8F04EA49-0EFC-48F3-A4D8-E0F0D3B461A8}" dt="2025-11-15T11:22:22.461" v="400690"/>
          <ac:spMkLst>
            <pc:docMk/>
            <pc:sldMk cId="3367204664" sldId="2147483083"/>
            <ac:spMk id="329" creationId="{109E288C-F26C-A46C-1D32-CCB20F2C8033}"/>
          </ac:spMkLst>
        </pc:spChg>
        <pc:spChg chg="mod ord">
          <ac:chgData name="Yiqun Dai" userId="360a2182-b97f-4635-b990-04f846616e33" providerId="ADAL" clId="{8F04EA49-0EFC-48F3-A4D8-E0F0D3B461A8}" dt="2025-11-15T11:22:22.461" v="400691"/>
          <ac:spMkLst>
            <pc:docMk/>
            <pc:sldMk cId="3367204664" sldId="2147483083"/>
            <ac:spMk id="330" creationId="{E13213BF-B766-5AFD-A093-A7AF63195082}"/>
          </ac:spMkLst>
        </pc:spChg>
        <pc:spChg chg="mod ord">
          <ac:chgData name="Yiqun Dai" userId="360a2182-b97f-4635-b990-04f846616e33" providerId="ADAL" clId="{8F04EA49-0EFC-48F3-A4D8-E0F0D3B461A8}" dt="2025-11-15T11:22:22.461" v="400692"/>
          <ac:spMkLst>
            <pc:docMk/>
            <pc:sldMk cId="3367204664" sldId="2147483083"/>
            <ac:spMk id="331" creationId="{489F2C24-4C81-53D6-05CB-AAAE50F99F16}"/>
          </ac:spMkLst>
        </pc:spChg>
        <pc:spChg chg="mod ord">
          <ac:chgData name="Yiqun Dai" userId="360a2182-b97f-4635-b990-04f846616e33" providerId="ADAL" clId="{8F04EA49-0EFC-48F3-A4D8-E0F0D3B461A8}" dt="2025-11-15T11:22:22.461" v="400693"/>
          <ac:spMkLst>
            <pc:docMk/>
            <pc:sldMk cId="3367204664" sldId="2147483083"/>
            <ac:spMk id="332" creationId="{33D433CB-E785-0468-35D0-4097D5C22D4F}"/>
          </ac:spMkLst>
        </pc:spChg>
        <pc:spChg chg="mod">
          <ac:chgData name="Yiqun Dai" userId="360a2182-b97f-4635-b990-04f846616e33" providerId="ADAL" clId="{8F04EA49-0EFC-48F3-A4D8-E0F0D3B461A8}" dt="2025-11-15T11:22:22.461" v="400694"/>
          <ac:spMkLst>
            <pc:docMk/>
            <pc:sldMk cId="3367204664" sldId="2147483083"/>
            <ac:spMk id="333" creationId="{9E0AB1A5-1B72-D7F9-5377-3F629561B188}"/>
          </ac:spMkLst>
        </pc:spChg>
        <pc:spChg chg="mod ord">
          <ac:chgData name="Yiqun Dai" userId="360a2182-b97f-4635-b990-04f846616e33" providerId="ADAL" clId="{8F04EA49-0EFC-48F3-A4D8-E0F0D3B461A8}" dt="2025-11-15T11:22:22.461" v="400695"/>
          <ac:spMkLst>
            <pc:docMk/>
            <pc:sldMk cId="3367204664" sldId="2147483083"/>
            <ac:spMk id="334" creationId="{867C521D-A7DC-2501-ADB5-7ACA23CCBF95}"/>
          </ac:spMkLst>
        </pc:spChg>
        <pc:spChg chg="mod ord">
          <ac:chgData name="Yiqun Dai" userId="360a2182-b97f-4635-b990-04f846616e33" providerId="ADAL" clId="{8F04EA49-0EFC-48F3-A4D8-E0F0D3B461A8}" dt="2025-11-15T11:22:22.445" v="400659"/>
          <ac:spMkLst>
            <pc:docMk/>
            <pc:sldMk cId="3367204664" sldId="2147483083"/>
            <ac:spMk id="335" creationId="{C595A024-6A88-C592-EC5F-C0D6087BC0D9}"/>
          </ac:spMkLst>
        </pc:spChg>
        <pc:spChg chg="mod ord">
          <ac:chgData name="Yiqun Dai" userId="360a2182-b97f-4635-b990-04f846616e33" providerId="ADAL" clId="{8F04EA49-0EFC-48F3-A4D8-E0F0D3B461A8}" dt="2025-11-15T11:22:22.445" v="400660"/>
          <ac:spMkLst>
            <pc:docMk/>
            <pc:sldMk cId="3367204664" sldId="2147483083"/>
            <ac:spMk id="336" creationId="{0E8AB1AC-B3E6-28BC-90D3-277BC2EE47D1}"/>
          </ac:spMkLst>
        </pc:spChg>
        <pc:spChg chg="mod ord">
          <ac:chgData name="Yiqun Dai" userId="360a2182-b97f-4635-b990-04f846616e33" providerId="ADAL" clId="{8F04EA49-0EFC-48F3-A4D8-E0F0D3B461A8}" dt="2025-11-15T11:22:22.461" v="400687"/>
          <ac:spMkLst>
            <pc:docMk/>
            <pc:sldMk cId="3367204664" sldId="2147483083"/>
            <ac:spMk id="337" creationId="{6339EBA0-A83C-2821-D5C3-2A8CF4C3678B}"/>
          </ac:spMkLst>
        </pc:spChg>
        <pc:spChg chg="mod ord">
          <ac:chgData name="Yiqun Dai" userId="360a2182-b97f-4635-b990-04f846616e33" providerId="ADAL" clId="{8F04EA49-0EFC-48F3-A4D8-E0F0D3B461A8}" dt="2025-11-15T11:22:22.445" v="400664"/>
          <ac:spMkLst>
            <pc:docMk/>
            <pc:sldMk cId="3367204664" sldId="2147483083"/>
            <ac:spMk id="338" creationId="{0630EAF5-492D-FEE3-7460-F09609936BCF}"/>
          </ac:spMkLst>
        </pc:spChg>
        <pc:spChg chg="mod">
          <ac:chgData name="Yiqun Dai" userId="360a2182-b97f-4635-b990-04f846616e33" providerId="ADAL" clId="{8F04EA49-0EFC-48F3-A4D8-E0F0D3B461A8}" dt="2025-11-15T11:22:22.445" v="400665"/>
          <ac:spMkLst>
            <pc:docMk/>
            <pc:sldMk cId="3367204664" sldId="2147483083"/>
            <ac:spMk id="339" creationId="{DF33A8C0-FDB3-D400-1E7A-194DEA1A51CD}"/>
          </ac:spMkLst>
        </pc:spChg>
        <pc:spChg chg="mod ord">
          <ac:chgData name="Yiqun Dai" userId="360a2182-b97f-4635-b990-04f846616e33" providerId="ADAL" clId="{8F04EA49-0EFC-48F3-A4D8-E0F0D3B461A8}" dt="2025-11-15T11:22:22.445" v="400666"/>
          <ac:spMkLst>
            <pc:docMk/>
            <pc:sldMk cId="3367204664" sldId="2147483083"/>
            <ac:spMk id="340" creationId="{3B4354CE-4605-19C2-2E45-75A212AA0BE3}"/>
          </ac:spMkLst>
        </pc:spChg>
        <pc:spChg chg="mod ord">
          <ac:chgData name="Yiqun Dai" userId="360a2182-b97f-4635-b990-04f846616e33" providerId="ADAL" clId="{8F04EA49-0EFC-48F3-A4D8-E0F0D3B461A8}" dt="2025-11-15T11:22:22.445" v="400667"/>
          <ac:spMkLst>
            <pc:docMk/>
            <pc:sldMk cId="3367204664" sldId="2147483083"/>
            <ac:spMk id="341" creationId="{D9422C09-BF60-36F4-208E-5EC0493256E0}"/>
          </ac:spMkLst>
        </pc:spChg>
        <pc:spChg chg="mod ord">
          <ac:chgData name="Yiqun Dai" userId="360a2182-b97f-4635-b990-04f846616e33" providerId="ADAL" clId="{8F04EA49-0EFC-48F3-A4D8-E0F0D3B461A8}" dt="2025-11-15T11:22:22.445" v="400669"/>
          <ac:spMkLst>
            <pc:docMk/>
            <pc:sldMk cId="3367204664" sldId="2147483083"/>
            <ac:spMk id="342" creationId="{3DF15A64-3CBF-74E3-667C-7A80201B0B7A}"/>
          </ac:spMkLst>
        </pc:spChg>
        <pc:spChg chg="mod ord">
          <ac:chgData name="Yiqun Dai" userId="360a2182-b97f-4635-b990-04f846616e33" providerId="ADAL" clId="{8F04EA49-0EFC-48F3-A4D8-E0F0D3B461A8}" dt="2025-11-15T11:22:22.445" v="400671"/>
          <ac:spMkLst>
            <pc:docMk/>
            <pc:sldMk cId="3367204664" sldId="2147483083"/>
            <ac:spMk id="343" creationId="{A6753685-9B17-6939-3D7D-8EB09DBAE194}"/>
          </ac:spMkLst>
        </pc:spChg>
        <pc:spChg chg="mod ord">
          <ac:chgData name="Yiqun Dai" userId="360a2182-b97f-4635-b990-04f846616e33" providerId="ADAL" clId="{8F04EA49-0EFC-48F3-A4D8-E0F0D3B461A8}" dt="2025-11-15T11:22:22.445" v="400672"/>
          <ac:spMkLst>
            <pc:docMk/>
            <pc:sldMk cId="3367204664" sldId="2147483083"/>
            <ac:spMk id="344" creationId="{609CC8B9-7584-460E-6EEB-B35C10C2B1A4}"/>
          </ac:spMkLst>
        </pc:spChg>
        <pc:spChg chg="mod ord">
          <ac:chgData name="Yiqun Dai" userId="360a2182-b97f-4635-b990-04f846616e33" providerId="ADAL" clId="{8F04EA49-0EFC-48F3-A4D8-E0F0D3B461A8}" dt="2025-11-15T11:22:22.445" v="400673"/>
          <ac:spMkLst>
            <pc:docMk/>
            <pc:sldMk cId="3367204664" sldId="2147483083"/>
            <ac:spMk id="345" creationId="{6AB948C8-1AF8-8225-FFB4-446384939364}"/>
          </ac:spMkLst>
        </pc:spChg>
        <pc:spChg chg="mod ord">
          <ac:chgData name="Yiqun Dai" userId="360a2182-b97f-4635-b990-04f846616e33" providerId="ADAL" clId="{8F04EA49-0EFC-48F3-A4D8-E0F0D3B461A8}" dt="2025-11-15T11:22:22.477" v="400727"/>
          <ac:spMkLst>
            <pc:docMk/>
            <pc:sldMk cId="3367204664" sldId="2147483083"/>
            <ac:spMk id="713" creationId="{C1CC29E3-A4E4-2455-6650-A794D218B744}"/>
          </ac:spMkLst>
        </pc:spChg>
        <pc:spChg chg="mod">
          <ac:chgData name="Yiqun Dai" userId="360a2182-b97f-4635-b990-04f846616e33" providerId="ADAL" clId="{8F04EA49-0EFC-48F3-A4D8-E0F0D3B461A8}" dt="2025-11-15T11:22:22.477" v="400728"/>
          <ac:spMkLst>
            <pc:docMk/>
            <pc:sldMk cId="3367204664" sldId="2147483083"/>
            <ac:spMk id="714" creationId="{F2911595-D826-D5CD-DE62-EEB22B0C30D2}"/>
          </ac:spMkLst>
        </pc:spChg>
        <pc:spChg chg="mod ord">
          <ac:chgData name="Yiqun Dai" userId="360a2182-b97f-4635-b990-04f846616e33" providerId="ADAL" clId="{8F04EA49-0EFC-48F3-A4D8-E0F0D3B461A8}" dt="2025-11-15T11:22:22.477" v="400730"/>
          <ac:spMkLst>
            <pc:docMk/>
            <pc:sldMk cId="3367204664" sldId="2147483083"/>
            <ac:spMk id="715" creationId="{2E6526C8-5335-AEA5-8DCB-85BE560BD72B}"/>
          </ac:spMkLst>
        </pc:spChg>
        <pc:spChg chg="mod ord">
          <ac:chgData name="Yiqun Dai" userId="360a2182-b97f-4635-b990-04f846616e33" providerId="ADAL" clId="{8F04EA49-0EFC-48F3-A4D8-E0F0D3B461A8}" dt="2025-11-15T11:22:22.477" v="400731"/>
          <ac:spMkLst>
            <pc:docMk/>
            <pc:sldMk cId="3367204664" sldId="2147483083"/>
            <ac:spMk id="716" creationId="{A232E357-C91A-97BF-6D96-52DECF5E59D0}"/>
          </ac:spMkLst>
        </pc:spChg>
        <pc:spChg chg="mod ord">
          <ac:chgData name="Yiqun Dai" userId="360a2182-b97f-4635-b990-04f846616e33" providerId="ADAL" clId="{8F04EA49-0EFC-48F3-A4D8-E0F0D3B461A8}" dt="2025-11-15T11:22:22.477" v="400733"/>
          <ac:spMkLst>
            <pc:docMk/>
            <pc:sldMk cId="3367204664" sldId="2147483083"/>
            <ac:spMk id="717" creationId="{2010722F-8B5B-48FC-8062-C95C80DDBA40}"/>
          </ac:spMkLst>
        </pc:spChg>
        <pc:spChg chg="mod ord">
          <ac:chgData name="Yiqun Dai" userId="360a2182-b97f-4635-b990-04f846616e33" providerId="ADAL" clId="{8F04EA49-0EFC-48F3-A4D8-E0F0D3B461A8}" dt="2025-11-15T11:22:22.461" v="400712"/>
          <ac:spMkLst>
            <pc:docMk/>
            <pc:sldMk cId="3367204664" sldId="2147483083"/>
            <ac:spMk id="718" creationId="{F331DDD4-DFB0-81AF-C08F-78C840CF8EE4}"/>
          </ac:spMkLst>
        </pc:spChg>
        <pc:spChg chg="mod ord">
          <ac:chgData name="Yiqun Dai" userId="360a2182-b97f-4635-b990-04f846616e33" providerId="ADAL" clId="{8F04EA49-0EFC-48F3-A4D8-E0F0D3B461A8}" dt="2025-11-15T11:22:22.477" v="400736"/>
          <ac:spMkLst>
            <pc:docMk/>
            <pc:sldMk cId="3367204664" sldId="2147483083"/>
            <ac:spMk id="719" creationId="{5D9464C7-E092-4525-D6A7-855BD84D57DF}"/>
          </ac:spMkLst>
        </pc:spChg>
        <pc:spChg chg="mod">
          <ac:chgData name="Yiqun Dai" userId="360a2182-b97f-4635-b990-04f846616e33" providerId="ADAL" clId="{8F04EA49-0EFC-48F3-A4D8-E0F0D3B461A8}" dt="2025-11-15T11:22:22.477" v="400738"/>
          <ac:spMkLst>
            <pc:docMk/>
            <pc:sldMk cId="3367204664" sldId="2147483083"/>
            <ac:spMk id="720" creationId="{2FBC5E1E-BA20-9AC6-33E0-B04BD4ED1E8C}"/>
          </ac:spMkLst>
        </pc:spChg>
        <pc:spChg chg="mod ord">
          <ac:chgData name="Yiqun Dai" userId="360a2182-b97f-4635-b990-04f846616e33" providerId="ADAL" clId="{8F04EA49-0EFC-48F3-A4D8-E0F0D3B461A8}" dt="2025-11-15T11:22:22.477" v="400739"/>
          <ac:spMkLst>
            <pc:docMk/>
            <pc:sldMk cId="3367204664" sldId="2147483083"/>
            <ac:spMk id="721" creationId="{897FD906-11EF-0BF1-77D0-10501FB2A3B7}"/>
          </ac:spMkLst>
        </pc:spChg>
        <pc:spChg chg="mod ord">
          <ac:chgData name="Yiqun Dai" userId="360a2182-b97f-4635-b990-04f846616e33" providerId="ADAL" clId="{8F04EA49-0EFC-48F3-A4D8-E0F0D3B461A8}" dt="2025-11-15T11:22:22.477" v="400741"/>
          <ac:spMkLst>
            <pc:docMk/>
            <pc:sldMk cId="3367204664" sldId="2147483083"/>
            <ac:spMk id="722" creationId="{2219ED27-C4F9-D184-71DF-4329497C4527}"/>
          </ac:spMkLst>
        </pc:spChg>
        <pc:spChg chg="mod">
          <ac:chgData name="Yiqun Dai" userId="360a2182-b97f-4635-b990-04f846616e33" providerId="ADAL" clId="{8F04EA49-0EFC-48F3-A4D8-E0F0D3B461A8}" dt="2025-11-15T11:22:22.477" v="400742"/>
          <ac:spMkLst>
            <pc:docMk/>
            <pc:sldMk cId="3367204664" sldId="2147483083"/>
            <ac:spMk id="723" creationId="{52B4AFC9-6B50-9281-9A56-83F917289650}"/>
          </ac:spMkLst>
        </pc:spChg>
        <pc:spChg chg="mod ord">
          <ac:chgData name="Yiqun Dai" userId="360a2182-b97f-4635-b990-04f846616e33" providerId="ADAL" clId="{8F04EA49-0EFC-48F3-A4D8-E0F0D3B461A8}" dt="2025-11-15T11:22:22.477" v="400744"/>
          <ac:spMkLst>
            <pc:docMk/>
            <pc:sldMk cId="3367204664" sldId="2147483083"/>
            <ac:spMk id="724" creationId="{93F8E09E-E5CE-44F5-109A-60FA4A9C6867}"/>
          </ac:spMkLst>
        </pc:spChg>
        <pc:spChg chg="mod ord">
          <ac:chgData name="Yiqun Dai" userId="360a2182-b97f-4635-b990-04f846616e33" providerId="ADAL" clId="{8F04EA49-0EFC-48F3-A4D8-E0F0D3B461A8}" dt="2025-11-15T11:22:22.477" v="400745"/>
          <ac:spMkLst>
            <pc:docMk/>
            <pc:sldMk cId="3367204664" sldId="2147483083"/>
            <ac:spMk id="725" creationId="{E95F9413-9890-8FA9-81D2-0BB5682FF3AF}"/>
          </ac:spMkLst>
        </pc:spChg>
        <pc:spChg chg="mod ord">
          <ac:chgData name="Yiqun Dai" userId="360a2182-b97f-4635-b990-04f846616e33" providerId="ADAL" clId="{8F04EA49-0EFC-48F3-A4D8-E0F0D3B461A8}" dt="2025-11-15T11:22:22.477" v="400746"/>
          <ac:spMkLst>
            <pc:docMk/>
            <pc:sldMk cId="3367204664" sldId="2147483083"/>
            <ac:spMk id="726" creationId="{70E5E667-3375-B3A8-7F4A-0B7CDA82B053}"/>
          </ac:spMkLst>
        </pc:spChg>
        <pc:spChg chg="mod">
          <ac:chgData name="Yiqun Dai" userId="360a2182-b97f-4635-b990-04f846616e33" providerId="ADAL" clId="{8F04EA49-0EFC-48F3-A4D8-E0F0D3B461A8}" dt="2025-11-15T11:22:22.477" v="400737"/>
          <ac:spMkLst>
            <pc:docMk/>
            <pc:sldMk cId="3367204664" sldId="2147483083"/>
            <ac:spMk id="727" creationId="{AAAC5D82-A9CC-5F41-3446-8497FB819BF9}"/>
          </ac:spMkLst>
        </pc:spChg>
        <pc:spChg chg="mod">
          <ac:chgData name="Yiqun Dai" userId="360a2182-b97f-4635-b990-04f846616e33" providerId="ADAL" clId="{8F04EA49-0EFC-48F3-A4D8-E0F0D3B461A8}" dt="2025-11-15T11:22:22.477" v="400747"/>
          <ac:spMkLst>
            <pc:docMk/>
            <pc:sldMk cId="3367204664" sldId="2147483083"/>
            <ac:spMk id="728" creationId="{DC65BC1B-ECCF-2392-4AA3-85CAAEF1039B}"/>
          </ac:spMkLst>
        </pc:spChg>
        <pc:spChg chg="mod ord">
          <ac:chgData name="Yiqun Dai" userId="360a2182-b97f-4635-b990-04f846616e33" providerId="ADAL" clId="{8F04EA49-0EFC-48F3-A4D8-E0F0D3B461A8}" dt="2025-11-15T11:22:22.461" v="400714"/>
          <ac:spMkLst>
            <pc:docMk/>
            <pc:sldMk cId="3367204664" sldId="2147483083"/>
            <ac:spMk id="729" creationId="{4CDBEDC5-BE2C-D1D9-B980-7A6DA5275606}"/>
          </ac:spMkLst>
        </pc:spChg>
        <pc:spChg chg="mod">
          <ac:chgData name="Yiqun Dai" userId="360a2182-b97f-4635-b990-04f846616e33" providerId="ADAL" clId="{8F04EA49-0EFC-48F3-A4D8-E0F0D3B461A8}" dt="2025-11-15T11:22:22.461" v="400715"/>
          <ac:spMkLst>
            <pc:docMk/>
            <pc:sldMk cId="3367204664" sldId="2147483083"/>
            <ac:spMk id="730" creationId="{CAED1C8E-88D6-B2D2-D5AB-0CFA428F95E1}"/>
          </ac:spMkLst>
        </pc:spChg>
        <pc:spChg chg="mod">
          <ac:chgData name="Yiqun Dai" userId="360a2182-b97f-4635-b990-04f846616e33" providerId="ADAL" clId="{8F04EA49-0EFC-48F3-A4D8-E0F0D3B461A8}" dt="2025-11-15T11:22:22.461" v="400716"/>
          <ac:spMkLst>
            <pc:docMk/>
            <pc:sldMk cId="3367204664" sldId="2147483083"/>
            <ac:spMk id="731" creationId="{CD0BDFEF-BCE0-6C21-5B2D-C03667E0119A}"/>
          </ac:spMkLst>
        </pc:spChg>
        <pc:spChg chg="mod ord">
          <ac:chgData name="Yiqun Dai" userId="360a2182-b97f-4635-b990-04f846616e33" providerId="ADAL" clId="{8F04EA49-0EFC-48F3-A4D8-E0F0D3B461A8}" dt="2025-11-15T11:22:22.475" v="400717"/>
          <ac:spMkLst>
            <pc:docMk/>
            <pc:sldMk cId="3367204664" sldId="2147483083"/>
            <ac:spMk id="732" creationId="{70D067B3-A3EC-AD93-1E74-9D93481265A6}"/>
          </ac:spMkLst>
        </pc:spChg>
        <pc:spChg chg="mod ord">
          <ac:chgData name="Yiqun Dai" userId="360a2182-b97f-4635-b990-04f846616e33" providerId="ADAL" clId="{8F04EA49-0EFC-48F3-A4D8-E0F0D3B461A8}" dt="2025-11-15T11:22:22.475" v="400718"/>
          <ac:spMkLst>
            <pc:docMk/>
            <pc:sldMk cId="3367204664" sldId="2147483083"/>
            <ac:spMk id="733" creationId="{444DC3A8-5EB8-DEC0-9152-0013D243F6CB}"/>
          </ac:spMkLst>
        </pc:spChg>
        <pc:spChg chg="mod">
          <ac:chgData name="Yiqun Dai" userId="360a2182-b97f-4635-b990-04f846616e33" providerId="ADAL" clId="{8F04EA49-0EFC-48F3-A4D8-E0F0D3B461A8}" dt="2025-11-15T11:22:22.475" v="400719"/>
          <ac:spMkLst>
            <pc:docMk/>
            <pc:sldMk cId="3367204664" sldId="2147483083"/>
            <ac:spMk id="734" creationId="{E2ECE2FD-8F32-2C4A-BB6D-9CC3F1B8D9F4}"/>
          </ac:spMkLst>
        </pc:spChg>
        <pc:spChg chg="mod ord">
          <ac:chgData name="Yiqun Dai" userId="360a2182-b97f-4635-b990-04f846616e33" providerId="ADAL" clId="{8F04EA49-0EFC-48F3-A4D8-E0F0D3B461A8}" dt="2025-11-15T11:22:22.475" v="400720"/>
          <ac:spMkLst>
            <pc:docMk/>
            <pc:sldMk cId="3367204664" sldId="2147483083"/>
            <ac:spMk id="735" creationId="{CDD042DF-11D8-8BBF-DBB7-667D8A2C9ECC}"/>
          </ac:spMkLst>
        </pc:spChg>
        <pc:spChg chg="mod ord">
          <ac:chgData name="Yiqun Dai" userId="360a2182-b97f-4635-b990-04f846616e33" providerId="ADAL" clId="{8F04EA49-0EFC-48F3-A4D8-E0F0D3B461A8}" dt="2025-11-15T11:22:22.477" v="400721"/>
          <ac:spMkLst>
            <pc:docMk/>
            <pc:sldMk cId="3367204664" sldId="2147483083"/>
            <ac:spMk id="736" creationId="{A00DADCF-F413-057C-D12E-EB499D24578E}"/>
          </ac:spMkLst>
        </pc:spChg>
        <pc:spChg chg="mod ord">
          <ac:chgData name="Yiqun Dai" userId="360a2182-b97f-4635-b990-04f846616e33" providerId="ADAL" clId="{8F04EA49-0EFC-48F3-A4D8-E0F0D3B461A8}" dt="2025-11-15T11:22:22.477" v="400734"/>
          <ac:spMkLst>
            <pc:docMk/>
            <pc:sldMk cId="3367204664" sldId="2147483083"/>
            <ac:spMk id="737" creationId="{80F53945-1E20-1535-48DC-4101400DA52F}"/>
          </ac:spMkLst>
        </pc:spChg>
        <pc:spChg chg="mod">
          <ac:chgData name="Yiqun Dai" userId="360a2182-b97f-4635-b990-04f846616e33" providerId="ADAL" clId="{8F04EA49-0EFC-48F3-A4D8-E0F0D3B461A8}" dt="2025-11-15T11:22:22.477" v="400722"/>
          <ac:spMkLst>
            <pc:docMk/>
            <pc:sldMk cId="3367204664" sldId="2147483083"/>
            <ac:spMk id="738" creationId="{F182A9A8-F4C8-007E-62A8-2A0C91DFB9E6}"/>
          </ac:spMkLst>
        </pc:spChg>
        <pc:spChg chg="mod ord">
          <ac:chgData name="Yiqun Dai" userId="360a2182-b97f-4635-b990-04f846616e33" providerId="ADAL" clId="{8F04EA49-0EFC-48F3-A4D8-E0F0D3B461A8}" dt="2025-11-15T11:22:22.477" v="400723"/>
          <ac:spMkLst>
            <pc:docMk/>
            <pc:sldMk cId="3367204664" sldId="2147483083"/>
            <ac:spMk id="739" creationId="{991A9663-4AF8-505E-6F3F-A04749B6A89F}"/>
          </ac:spMkLst>
        </pc:spChg>
        <pc:spChg chg="mod ord">
          <ac:chgData name="Yiqun Dai" userId="360a2182-b97f-4635-b990-04f846616e33" providerId="ADAL" clId="{8F04EA49-0EFC-48F3-A4D8-E0F0D3B461A8}" dt="2025-11-15T11:22:22.477" v="400725"/>
          <ac:spMkLst>
            <pc:docMk/>
            <pc:sldMk cId="3367204664" sldId="2147483083"/>
            <ac:spMk id="740" creationId="{1C55878F-46CE-516D-D796-19986EB4F8D2}"/>
          </ac:spMkLst>
        </pc:spChg>
        <pc:spChg chg="mod ord">
          <ac:chgData name="Yiqun Dai" userId="360a2182-b97f-4635-b990-04f846616e33" providerId="ADAL" clId="{8F04EA49-0EFC-48F3-A4D8-E0F0D3B461A8}" dt="2025-11-15T11:22:22.477" v="400750"/>
          <ac:spMkLst>
            <pc:docMk/>
            <pc:sldMk cId="3367204664" sldId="2147483083"/>
            <ac:spMk id="741" creationId="{CF73EDD3-98B1-A017-35D1-0ADA25017A08}"/>
          </ac:spMkLst>
        </pc:spChg>
        <pc:spChg chg="mod ord">
          <ac:chgData name="Yiqun Dai" userId="360a2182-b97f-4635-b990-04f846616e33" providerId="ADAL" clId="{8F04EA49-0EFC-48F3-A4D8-E0F0D3B461A8}" dt="2025-11-15T11:22:22.477" v="400748"/>
          <ac:spMkLst>
            <pc:docMk/>
            <pc:sldMk cId="3367204664" sldId="2147483083"/>
            <ac:spMk id="742" creationId="{731658A0-4CE3-4B0B-DB19-11333373D698}"/>
          </ac:spMkLst>
        </pc:spChg>
        <pc:spChg chg="mod ord">
          <ac:chgData name="Yiqun Dai" userId="360a2182-b97f-4635-b990-04f846616e33" providerId="ADAL" clId="{8F04EA49-0EFC-48F3-A4D8-E0F0D3B461A8}" dt="2025-11-15T11:22:22.477" v="400751"/>
          <ac:spMkLst>
            <pc:docMk/>
            <pc:sldMk cId="3367204664" sldId="2147483083"/>
            <ac:spMk id="743" creationId="{CCFD32B0-7F1E-0CF1-4175-B48C117BDAAD}"/>
          </ac:spMkLst>
        </pc:spChg>
        <pc:spChg chg="mod ord">
          <ac:chgData name="Yiqun Dai" userId="360a2182-b97f-4635-b990-04f846616e33" providerId="ADAL" clId="{8F04EA49-0EFC-48F3-A4D8-E0F0D3B461A8}" dt="2025-11-15T11:22:22.509" v="400813"/>
          <ac:spMkLst>
            <pc:docMk/>
            <pc:sldMk cId="3367204664" sldId="2147483083"/>
            <ac:spMk id="769" creationId="{79C465A3-C884-3391-E195-D972872691BE}"/>
          </ac:spMkLst>
        </pc:spChg>
        <pc:spChg chg="mod">
          <ac:chgData name="Yiqun Dai" userId="360a2182-b97f-4635-b990-04f846616e33" providerId="ADAL" clId="{8F04EA49-0EFC-48F3-A4D8-E0F0D3B461A8}" dt="2025-11-15T11:22:22.492" v="400796"/>
          <ac:spMkLst>
            <pc:docMk/>
            <pc:sldMk cId="3367204664" sldId="2147483083"/>
            <ac:spMk id="770" creationId="{7F3F2B0B-8C2F-D061-95A1-D00FEFFC5A30}"/>
          </ac:spMkLst>
        </pc:spChg>
        <pc:spChg chg="mod">
          <ac:chgData name="Yiqun Dai" userId="360a2182-b97f-4635-b990-04f846616e33" providerId="ADAL" clId="{8F04EA49-0EFC-48F3-A4D8-E0F0D3B461A8}" dt="2025-11-15T11:22:22.492" v="400797"/>
          <ac:spMkLst>
            <pc:docMk/>
            <pc:sldMk cId="3367204664" sldId="2147483083"/>
            <ac:spMk id="771" creationId="{FB42A624-E79D-F75E-17FA-E071C2DF5432}"/>
          </ac:spMkLst>
        </pc:spChg>
        <pc:spChg chg="mod ord">
          <ac:chgData name="Yiqun Dai" userId="360a2182-b97f-4635-b990-04f846616e33" providerId="ADAL" clId="{8F04EA49-0EFC-48F3-A4D8-E0F0D3B461A8}" dt="2025-11-15T11:22:22.492" v="400798"/>
          <ac:spMkLst>
            <pc:docMk/>
            <pc:sldMk cId="3367204664" sldId="2147483083"/>
            <ac:spMk id="772" creationId="{55FEB434-31BC-4F9F-5FFF-2CA97950FAB0}"/>
          </ac:spMkLst>
        </pc:spChg>
        <pc:spChg chg="mod ord">
          <ac:chgData name="Yiqun Dai" userId="360a2182-b97f-4635-b990-04f846616e33" providerId="ADAL" clId="{8F04EA49-0EFC-48F3-A4D8-E0F0D3B461A8}" dt="2025-11-15T11:22:22.508" v="400800"/>
          <ac:spMkLst>
            <pc:docMk/>
            <pc:sldMk cId="3367204664" sldId="2147483083"/>
            <ac:spMk id="773" creationId="{96F4DFBF-C609-EC36-23F7-E8E66C05186F}"/>
          </ac:spMkLst>
        </pc:spChg>
        <pc:spChg chg="mod ord">
          <ac:chgData name="Yiqun Dai" userId="360a2182-b97f-4635-b990-04f846616e33" providerId="ADAL" clId="{8F04EA49-0EFC-48F3-A4D8-E0F0D3B461A8}" dt="2025-11-15T11:22:22.509" v="400804"/>
          <ac:spMkLst>
            <pc:docMk/>
            <pc:sldMk cId="3367204664" sldId="2147483083"/>
            <ac:spMk id="774" creationId="{CD8F3AB5-70E0-4171-FB47-9BBE19C22C2C}"/>
          </ac:spMkLst>
        </pc:spChg>
        <pc:spChg chg="mod ord">
          <ac:chgData name="Yiqun Dai" userId="360a2182-b97f-4635-b990-04f846616e33" providerId="ADAL" clId="{8F04EA49-0EFC-48F3-A4D8-E0F0D3B461A8}" dt="2025-11-15T11:22:22.509" v="400803"/>
          <ac:spMkLst>
            <pc:docMk/>
            <pc:sldMk cId="3367204664" sldId="2147483083"/>
            <ac:spMk id="775" creationId="{1A6BD526-4570-D023-5A0B-770E7EB86017}"/>
          </ac:spMkLst>
        </pc:spChg>
        <pc:spChg chg="mod">
          <ac:chgData name="Yiqun Dai" userId="360a2182-b97f-4635-b990-04f846616e33" providerId="ADAL" clId="{8F04EA49-0EFC-48F3-A4D8-E0F0D3B461A8}" dt="2025-11-15T11:22:22.509" v="400805"/>
          <ac:spMkLst>
            <pc:docMk/>
            <pc:sldMk cId="3367204664" sldId="2147483083"/>
            <ac:spMk id="776" creationId="{89927198-F7F0-8631-11D0-9A79CE0D8430}"/>
          </ac:spMkLst>
        </pc:spChg>
        <pc:spChg chg="mod ord">
          <ac:chgData name="Yiqun Dai" userId="360a2182-b97f-4635-b990-04f846616e33" providerId="ADAL" clId="{8F04EA49-0EFC-48F3-A4D8-E0F0D3B461A8}" dt="2025-11-15T11:22:22.509" v="400820"/>
          <ac:spMkLst>
            <pc:docMk/>
            <pc:sldMk cId="3367204664" sldId="2147483083"/>
            <ac:spMk id="777" creationId="{881BD580-71F1-7BE8-AF1A-9F9A0FB33CF7}"/>
          </ac:spMkLst>
        </pc:spChg>
        <pc:spChg chg="mod ord">
          <ac:chgData name="Yiqun Dai" userId="360a2182-b97f-4635-b990-04f846616e33" providerId="ADAL" clId="{8F04EA49-0EFC-48F3-A4D8-E0F0D3B461A8}" dt="2025-11-15T11:22:22.509" v="400809"/>
          <ac:spMkLst>
            <pc:docMk/>
            <pc:sldMk cId="3367204664" sldId="2147483083"/>
            <ac:spMk id="778" creationId="{DC0EE3D4-76FB-BE34-DB45-92F05887C27A}"/>
          </ac:spMkLst>
        </pc:spChg>
        <pc:spChg chg="mod">
          <ac:chgData name="Yiqun Dai" userId="360a2182-b97f-4635-b990-04f846616e33" providerId="ADAL" clId="{8F04EA49-0EFC-48F3-A4D8-E0F0D3B461A8}" dt="2025-11-15T11:22:22.509" v="400810"/>
          <ac:spMkLst>
            <pc:docMk/>
            <pc:sldMk cId="3367204664" sldId="2147483083"/>
            <ac:spMk id="779" creationId="{8DA9BE49-0867-8520-8695-6269B436049D}"/>
          </ac:spMkLst>
        </pc:spChg>
        <pc:spChg chg="mod">
          <ac:chgData name="Yiqun Dai" userId="360a2182-b97f-4635-b990-04f846616e33" providerId="ADAL" clId="{8F04EA49-0EFC-48F3-A4D8-E0F0D3B461A8}" dt="2025-11-15T11:22:22.509" v="400811"/>
          <ac:spMkLst>
            <pc:docMk/>
            <pc:sldMk cId="3367204664" sldId="2147483083"/>
            <ac:spMk id="780" creationId="{6C797585-3EAA-D5C1-4B40-1A33EE99169C}"/>
          </ac:spMkLst>
        </pc:spChg>
        <pc:spChg chg="mod ord">
          <ac:chgData name="Yiqun Dai" userId="360a2182-b97f-4635-b990-04f846616e33" providerId="ADAL" clId="{8F04EA49-0EFC-48F3-A4D8-E0F0D3B461A8}" dt="2025-11-15T11:22:22.509" v="400812"/>
          <ac:spMkLst>
            <pc:docMk/>
            <pc:sldMk cId="3367204664" sldId="2147483083"/>
            <ac:spMk id="781" creationId="{461C1DAC-EBE7-86F4-BE7E-A9406A59C922}"/>
          </ac:spMkLst>
        </pc:spChg>
        <pc:spChg chg="mod ord">
          <ac:chgData name="Yiqun Dai" userId="360a2182-b97f-4635-b990-04f846616e33" providerId="ADAL" clId="{8F04EA49-0EFC-48F3-A4D8-E0F0D3B461A8}" dt="2025-11-15T11:22:22.509" v="400814"/>
          <ac:spMkLst>
            <pc:docMk/>
            <pc:sldMk cId="3367204664" sldId="2147483083"/>
            <ac:spMk id="782" creationId="{388A17F6-2D50-1F91-F8B0-7BDD5888728A}"/>
          </ac:spMkLst>
        </pc:spChg>
        <pc:spChg chg="mod">
          <ac:chgData name="Yiqun Dai" userId="360a2182-b97f-4635-b990-04f846616e33" providerId="ADAL" clId="{8F04EA49-0EFC-48F3-A4D8-E0F0D3B461A8}" dt="2025-11-15T11:22:22.492" v="400795"/>
          <ac:spMkLst>
            <pc:docMk/>
            <pc:sldMk cId="3367204664" sldId="2147483083"/>
            <ac:spMk id="783" creationId="{4A155612-36A0-2250-9D3D-003AE1151BCC}"/>
          </ac:spMkLst>
        </pc:spChg>
        <pc:spChg chg="mod">
          <ac:chgData name="Yiqun Dai" userId="360a2182-b97f-4635-b990-04f846616e33" providerId="ADAL" clId="{8F04EA49-0EFC-48F3-A4D8-E0F0D3B461A8}" dt="2025-11-15T11:22:22.492" v="400799"/>
          <ac:spMkLst>
            <pc:docMk/>
            <pc:sldMk cId="3367204664" sldId="2147483083"/>
            <ac:spMk id="784" creationId="{6DDD7D3E-6814-6786-32D7-76CC8985E857}"/>
          </ac:spMkLst>
        </pc:spChg>
        <pc:spChg chg="mod ord">
          <ac:chgData name="Yiqun Dai" userId="360a2182-b97f-4635-b990-04f846616e33" providerId="ADAL" clId="{8F04EA49-0EFC-48F3-A4D8-E0F0D3B461A8}" dt="2025-11-15T11:22:22.492" v="400794"/>
          <ac:spMkLst>
            <pc:docMk/>
            <pc:sldMk cId="3367204664" sldId="2147483083"/>
            <ac:spMk id="785" creationId="{F4098419-33B7-62BA-E17F-1683F711824B}"/>
          </ac:spMkLst>
        </pc:spChg>
        <pc:spChg chg="mod ord">
          <ac:chgData name="Yiqun Dai" userId="360a2182-b97f-4635-b990-04f846616e33" providerId="ADAL" clId="{8F04EA49-0EFC-48F3-A4D8-E0F0D3B461A8}" dt="2025-11-15T11:22:22.509" v="400806"/>
          <ac:spMkLst>
            <pc:docMk/>
            <pc:sldMk cId="3367204664" sldId="2147483083"/>
            <ac:spMk id="786" creationId="{D056461D-DA1B-A362-6920-C45023671DE2}"/>
          </ac:spMkLst>
        </pc:spChg>
        <pc:spChg chg="mod ord">
          <ac:chgData name="Yiqun Dai" userId="360a2182-b97f-4635-b990-04f846616e33" providerId="ADAL" clId="{8F04EA49-0EFC-48F3-A4D8-E0F0D3B461A8}" dt="2025-11-15T11:22:22.509" v="400807"/>
          <ac:spMkLst>
            <pc:docMk/>
            <pc:sldMk cId="3367204664" sldId="2147483083"/>
            <ac:spMk id="787" creationId="{D1703DEA-455D-5C48-CD36-0639A366C0AA}"/>
          </ac:spMkLst>
        </pc:spChg>
        <pc:spChg chg="mod ord">
          <ac:chgData name="Yiqun Dai" userId="360a2182-b97f-4635-b990-04f846616e33" providerId="ADAL" clId="{8F04EA49-0EFC-48F3-A4D8-E0F0D3B461A8}" dt="2025-11-15T11:22:22.509" v="400816"/>
          <ac:spMkLst>
            <pc:docMk/>
            <pc:sldMk cId="3367204664" sldId="2147483083"/>
            <ac:spMk id="788" creationId="{FF6313AD-3646-4B37-F467-3B6D9F4D8C7F}"/>
          </ac:spMkLst>
        </pc:spChg>
        <pc:spChg chg="mod ord">
          <ac:chgData name="Yiqun Dai" userId="360a2182-b97f-4635-b990-04f846616e33" providerId="ADAL" clId="{8F04EA49-0EFC-48F3-A4D8-E0F0D3B461A8}" dt="2025-11-15T11:22:22.509" v="400817"/>
          <ac:spMkLst>
            <pc:docMk/>
            <pc:sldMk cId="3367204664" sldId="2147483083"/>
            <ac:spMk id="789" creationId="{AA76787E-67D3-B727-74C0-3F2BD8A43A45}"/>
          </ac:spMkLst>
        </pc:spChg>
        <pc:spChg chg="mod">
          <ac:chgData name="Yiqun Dai" userId="360a2182-b97f-4635-b990-04f846616e33" providerId="ADAL" clId="{8F04EA49-0EFC-48F3-A4D8-E0F0D3B461A8}" dt="2025-11-15T11:22:22.509" v="400818"/>
          <ac:spMkLst>
            <pc:docMk/>
            <pc:sldMk cId="3367204664" sldId="2147483083"/>
            <ac:spMk id="790" creationId="{CAD136A2-D73F-A1AA-9C0B-BA478564547A}"/>
          </ac:spMkLst>
        </pc:spChg>
        <pc:spChg chg="mod ord">
          <ac:chgData name="Yiqun Dai" userId="360a2182-b97f-4635-b990-04f846616e33" providerId="ADAL" clId="{8F04EA49-0EFC-48F3-A4D8-E0F0D3B461A8}" dt="2025-11-15T11:22:22.509" v="400819"/>
          <ac:spMkLst>
            <pc:docMk/>
            <pc:sldMk cId="3367204664" sldId="2147483083"/>
            <ac:spMk id="791" creationId="{936E80F8-A453-CDFD-5FA0-E1C233D4F443}"/>
          </ac:spMkLst>
        </pc:spChg>
        <pc:spChg chg="mod ord">
          <ac:chgData name="Yiqun Dai" userId="360a2182-b97f-4635-b990-04f846616e33" providerId="ADAL" clId="{8F04EA49-0EFC-48F3-A4D8-E0F0D3B461A8}" dt="2025-11-15T11:22:22.492" v="400787"/>
          <ac:spMkLst>
            <pc:docMk/>
            <pc:sldMk cId="3367204664" sldId="2147483083"/>
            <ac:spMk id="792" creationId="{B8DAC3D3-9E42-50A6-4A21-5E478A98C822}"/>
          </ac:spMkLst>
        </pc:spChg>
        <pc:spChg chg="mod ord">
          <ac:chgData name="Yiqun Dai" userId="360a2182-b97f-4635-b990-04f846616e33" providerId="ADAL" clId="{8F04EA49-0EFC-48F3-A4D8-E0F0D3B461A8}" dt="2025-11-15T11:22:22.509" v="400802"/>
          <ac:spMkLst>
            <pc:docMk/>
            <pc:sldMk cId="3367204664" sldId="2147483083"/>
            <ac:spMk id="793" creationId="{AC243FCD-C66F-FCF6-6D95-C0AB850DE3AC}"/>
          </ac:spMkLst>
        </pc:spChg>
        <pc:spChg chg="mod ord">
          <ac:chgData name="Yiqun Dai" userId="360a2182-b97f-4635-b990-04f846616e33" providerId="ADAL" clId="{8F04EA49-0EFC-48F3-A4D8-E0F0D3B461A8}" dt="2025-11-15T11:22:22.492" v="400788"/>
          <ac:spMkLst>
            <pc:docMk/>
            <pc:sldMk cId="3367204664" sldId="2147483083"/>
            <ac:spMk id="794" creationId="{766946D2-24B6-7B61-1B51-7F431E619C3D}"/>
          </ac:spMkLst>
        </pc:spChg>
        <pc:spChg chg="mod ord">
          <ac:chgData name="Yiqun Dai" userId="360a2182-b97f-4635-b990-04f846616e33" providerId="ADAL" clId="{8F04EA49-0EFC-48F3-A4D8-E0F0D3B461A8}" dt="2025-11-15T11:22:22.492" v="400789"/>
          <ac:spMkLst>
            <pc:docMk/>
            <pc:sldMk cId="3367204664" sldId="2147483083"/>
            <ac:spMk id="795" creationId="{059F3979-8BA9-0CEE-C127-6C2DE7249FA1}"/>
          </ac:spMkLst>
        </pc:spChg>
        <pc:spChg chg="mod ord">
          <ac:chgData name="Yiqun Dai" userId="360a2182-b97f-4635-b990-04f846616e33" providerId="ADAL" clId="{8F04EA49-0EFC-48F3-A4D8-E0F0D3B461A8}" dt="2025-11-15T11:22:22.492" v="400790"/>
          <ac:spMkLst>
            <pc:docMk/>
            <pc:sldMk cId="3367204664" sldId="2147483083"/>
            <ac:spMk id="796" creationId="{A9ED2299-11AB-6647-213D-112EE2275394}"/>
          </ac:spMkLst>
        </pc:spChg>
        <pc:spChg chg="mod">
          <ac:chgData name="Yiqun Dai" userId="360a2182-b97f-4635-b990-04f846616e33" providerId="ADAL" clId="{8F04EA49-0EFC-48F3-A4D8-E0F0D3B461A8}" dt="2025-11-15T11:22:22.492" v="400791"/>
          <ac:spMkLst>
            <pc:docMk/>
            <pc:sldMk cId="3367204664" sldId="2147483083"/>
            <ac:spMk id="797" creationId="{C164DB90-EFD4-0BF7-FE6B-7739DF1B5657}"/>
          </ac:spMkLst>
        </pc:spChg>
        <pc:spChg chg="mod ord">
          <ac:chgData name="Yiqun Dai" userId="360a2182-b97f-4635-b990-04f846616e33" providerId="ADAL" clId="{8F04EA49-0EFC-48F3-A4D8-E0F0D3B461A8}" dt="2025-11-15T11:22:22.492" v="400792"/>
          <ac:spMkLst>
            <pc:docMk/>
            <pc:sldMk cId="3367204664" sldId="2147483083"/>
            <ac:spMk id="798" creationId="{53B52A9D-7FEA-E50A-8777-3358C8297B98}"/>
          </ac:spMkLst>
        </pc:spChg>
        <pc:spChg chg="mod">
          <ac:chgData name="Yiqun Dai" userId="360a2182-b97f-4635-b990-04f846616e33" providerId="ADAL" clId="{8F04EA49-0EFC-48F3-A4D8-E0F0D3B461A8}" dt="2025-11-15T11:22:22.492" v="400793"/>
          <ac:spMkLst>
            <pc:docMk/>
            <pc:sldMk cId="3367204664" sldId="2147483083"/>
            <ac:spMk id="799" creationId="{96E7BCBF-3429-9AE3-3AE4-FA7F25F7EC52}"/>
          </ac:spMkLst>
        </pc:spChg>
        <pc:spChg chg="mod ord">
          <ac:chgData name="Yiqun Dai" userId="360a2182-b97f-4635-b990-04f846616e33" providerId="ADAL" clId="{8F04EA49-0EFC-48F3-A4D8-E0F0D3B461A8}" dt="2025-11-15T11:22:29.045" v="400853"/>
          <ac:spMkLst>
            <pc:docMk/>
            <pc:sldMk cId="3367204664" sldId="2147483083"/>
            <ac:spMk id="869" creationId="{8A5B7BEF-BE82-656F-60AC-F65E58BAA62F}"/>
          </ac:spMkLst>
        </pc:spChg>
        <pc:spChg chg="mod ord">
          <ac:chgData name="Yiqun Dai" userId="360a2182-b97f-4635-b990-04f846616e33" providerId="ADAL" clId="{8F04EA49-0EFC-48F3-A4D8-E0F0D3B461A8}" dt="2025-11-15T11:22:22.509" v="400824"/>
          <ac:spMkLst>
            <pc:docMk/>
            <pc:sldMk cId="3367204664" sldId="2147483083"/>
            <ac:spMk id="870" creationId="{A815F930-9EBB-02B2-E464-57856A824DF4}"/>
          </ac:spMkLst>
        </pc:spChg>
        <pc:spChg chg="mod ord">
          <ac:chgData name="Yiqun Dai" userId="360a2182-b97f-4635-b990-04f846616e33" providerId="ADAL" clId="{8F04EA49-0EFC-48F3-A4D8-E0F0D3B461A8}" dt="2025-11-15T11:22:22.509" v="400828"/>
          <ac:spMkLst>
            <pc:docMk/>
            <pc:sldMk cId="3367204664" sldId="2147483083"/>
            <ac:spMk id="907" creationId="{1F0EE5F2-CD11-D7E7-5381-B2DE5CB56F8C}"/>
          </ac:spMkLst>
        </pc:spChg>
        <pc:spChg chg="mod ord">
          <ac:chgData name="Yiqun Dai" userId="360a2182-b97f-4635-b990-04f846616e33" providerId="ADAL" clId="{8F04EA49-0EFC-48F3-A4D8-E0F0D3B461A8}" dt="2025-11-15T11:22:22.509" v="400832"/>
          <ac:spMkLst>
            <pc:docMk/>
            <pc:sldMk cId="3367204664" sldId="2147483083"/>
            <ac:spMk id="909" creationId="{63690D76-B52D-AABA-DC28-D82D64C666A2}"/>
          </ac:spMkLst>
        </pc:spChg>
        <pc:spChg chg="mod ord">
          <ac:chgData name="Yiqun Dai" userId="360a2182-b97f-4635-b990-04f846616e33" providerId="ADAL" clId="{8F04EA49-0EFC-48F3-A4D8-E0F0D3B461A8}" dt="2025-11-15T11:22:22.429" v="400603"/>
          <ac:spMkLst>
            <pc:docMk/>
            <pc:sldMk cId="3367204664" sldId="2147483083"/>
            <ac:spMk id="911" creationId="{9EF67DB6-3AFC-292C-1B26-AEBE36CC5018}"/>
          </ac:spMkLst>
        </pc:spChg>
        <pc:spChg chg="mod ord">
          <ac:chgData name="Yiqun Dai" userId="360a2182-b97f-4635-b990-04f846616e33" providerId="ADAL" clId="{8F04EA49-0EFC-48F3-A4D8-E0F0D3B461A8}" dt="2025-11-15T11:22:22.429" v="400599"/>
          <ac:spMkLst>
            <pc:docMk/>
            <pc:sldMk cId="3367204664" sldId="2147483083"/>
            <ac:spMk id="912" creationId="{44BDF5FF-2A6F-83EE-5B12-394369AD8E0D}"/>
          </ac:spMkLst>
        </pc:spChg>
        <pc:spChg chg="mod ord">
          <ac:chgData name="Yiqun Dai" userId="360a2182-b97f-4635-b990-04f846616e33" providerId="ADAL" clId="{8F04EA49-0EFC-48F3-A4D8-E0F0D3B461A8}" dt="2025-11-15T11:22:22.429" v="400601"/>
          <ac:spMkLst>
            <pc:docMk/>
            <pc:sldMk cId="3367204664" sldId="2147483083"/>
            <ac:spMk id="913" creationId="{B2E9367F-E839-365A-8F57-B15AEA1D0EFC}"/>
          </ac:spMkLst>
        </pc:spChg>
        <pc:spChg chg="mod">
          <ac:chgData name="Yiqun Dai" userId="360a2182-b97f-4635-b990-04f846616e33" providerId="ADAL" clId="{8F04EA49-0EFC-48F3-A4D8-E0F0D3B461A8}" dt="2025-11-15T11:22:22.525" v="400843"/>
          <ac:spMkLst>
            <pc:docMk/>
            <pc:sldMk cId="3367204664" sldId="2147483083"/>
            <ac:spMk id="914" creationId="{33227F43-475D-76AF-3BB3-9525B8A6EFA4}"/>
          </ac:spMkLst>
        </pc:spChg>
        <pc:spChg chg="mod">
          <ac:chgData name="Yiqun Dai" userId="360a2182-b97f-4635-b990-04f846616e33" providerId="ADAL" clId="{8F04EA49-0EFC-48F3-A4D8-E0F0D3B461A8}" dt="2025-11-15T11:22:22.525" v="400844"/>
          <ac:spMkLst>
            <pc:docMk/>
            <pc:sldMk cId="3367204664" sldId="2147483083"/>
            <ac:spMk id="916" creationId="{D5999CF6-0157-E63A-65A4-EFCF04403D5A}"/>
          </ac:spMkLst>
        </pc:spChg>
        <pc:spChg chg="mod">
          <ac:chgData name="Yiqun Dai" userId="360a2182-b97f-4635-b990-04f846616e33" providerId="ADAL" clId="{8F04EA49-0EFC-48F3-A4D8-E0F0D3B461A8}" dt="2025-11-15T11:22:22.525" v="400845"/>
          <ac:spMkLst>
            <pc:docMk/>
            <pc:sldMk cId="3367204664" sldId="2147483083"/>
            <ac:spMk id="917" creationId="{80D61719-68E9-1FE9-E260-25EAA815BCCB}"/>
          </ac:spMkLst>
        </pc:spChg>
        <pc:spChg chg="mod">
          <ac:chgData name="Yiqun Dai" userId="360a2182-b97f-4635-b990-04f846616e33" providerId="ADAL" clId="{8F04EA49-0EFC-48F3-A4D8-E0F0D3B461A8}" dt="2025-11-15T11:22:22.525" v="400846"/>
          <ac:spMkLst>
            <pc:docMk/>
            <pc:sldMk cId="3367204664" sldId="2147483083"/>
            <ac:spMk id="918" creationId="{8B00A40D-5567-031D-5778-C45BF23D042E}"/>
          </ac:spMkLst>
        </pc:spChg>
        <pc:spChg chg="mod ord">
          <ac:chgData name="Yiqun Dai" userId="360a2182-b97f-4635-b990-04f846616e33" providerId="ADAL" clId="{8F04EA49-0EFC-48F3-A4D8-E0F0D3B461A8}" dt="2025-11-15T11:22:22.509" v="400836"/>
          <ac:spMkLst>
            <pc:docMk/>
            <pc:sldMk cId="3367204664" sldId="2147483083"/>
            <ac:spMk id="919" creationId="{086B4158-F3AC-8192-FD06-7E0EB5B4CCAC}"/>
          </ac:spMkLst>
        </pc:spChg>
        <pc:spChg chg="mod ord">
          <ac:chgData name="Yiqun Dai" userId="360a2182-b97f-4635-b990-04f846616e33" providerId="ADAL" clId="{8F04EA49-0EFC-48F3-A4D8-E0F0D3B461A8}" dt="2025-11-15T11:22:22.524" v="400838"/>
          <ac:spMkLst>
            <pc:docMk/>
            <pc:sldMk cId="3367204664" sldId="2147483083"/>
            <ac:spMk id="920" creationId="{CD78A288-0129-A771-96CE-08913AA70161}"/>
          </ac:spMkLst>
        </pc:spChg>
        <pc:spChg chg="mod ord">
          <ac:chgData name="Yiqun Dai" userId="360a2182-b97f-4635-b990-04f846616e33" providerId="ADAL" clId="{8F04EA49-0EFC-48F3-A4D8-E0F0D3B461A8}" dt="2025-11-15T11:22:22.525" v="400840"/>
          <ac:spMkLst>
            <pc:docMk/>
            <pc:sldMk cId="3367204664" sldId="2147483083"/>
            <ac:spMk id="921" creationId="{CC855AB6-33E4-C131-5B58-4C39CFC3BD5A}"/>
          </ac:spMkLst>
        </pc:spChg>
        <pc:spChg chg="mod ord">
          <ac:chgData name="Yiqun Dai" userId="360a2182-b97f-4635-b990-04f846616e33" providerId="ADAL" clId="{8F04EA49-0EFC-48F3-A4D8-E0F0D3B461A8}" dt="2025-11-15T11:22:22.525" v="400842"/>
          <ac:spMkLst>
            <pc:docMk/>
            <pc:sldMk cId="3367204664" sldId="2147483083"/>
            <ac:spMk id="922" creationId="{730DE8A4-D691-1FC7-EBAF-E295AAAB99EA}"/>
          </ac:spMkLst>
        </pc:spChg>
        <pc:graphicFrameChg chg="mod">
          <ac:chgData name="Yiqun Dai" userId="360a2182-b97f-4635-b990-04f846616e33" providerId="ADAL" clId="{8F04EA49-0EFC-48F3-A4D8-E0F0D3B461A8}" dt="2025-11-15T11:28:27.757" v="400931"/>
          <ac:graphicFrameMkLst>
            <pc:docMk/>
            <pc:sldMk cId="3367204664" sldId="2147483083"/>
            <ac:graphicFrameMk id="48" creationId="{75A50572-C01B-DF99-0C84-C8EA58A67853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22:22.492" v="400761"/>
          <ac:graphicFrameMkLst>
            <pc:docMk/>
            <pc:sldMk cId="3367204664" sldId="2147483083"/>
            <ac:graphicFrameMk id="131" creationId="{035128B0-AD88-C041-331F-7FA3DD655668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22:22.429" v="400621"/>
          <ac:graphicFrameMkLst>
            <pc:docMk/>
            <pc:sldMk cId="3367204664" sldId="2147483083"/>
            <ac:graphicFrameMk id="141" creationId="{4316672E-149A-541F-1B77-02CDBD5240C8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22:22.461" v="400705"/>
          <ac:graphicFrameMkLst>
            <pc:docMk/>
            <pc:sldMk cId="3367204664" sldId="2147483083"/>
            <ac:graphicFrameMk id="151" creationId="{15F4DB9A-2F70-117B-9B2E-3E2441043768}"/>
          </ac:graphicFrameMkLst>
        </pc:graphicFrameChg>
        <pc:cxnChg chg="add mod ord">
          <ac:chgData name="Yiqun Dai" userId="360a2182-b97f-4635-b990-04f846616e33" providerId="ADAL" clId="{8F04EA49-0EFC-48F3-A4D8-E0F0D3B461A8}" dt="2025-11-15T11:22:22.429" v="400627"/>
          <ac:cxnSpMkLst>
            <pc:docMk/>
            <pc:sldMk cId="3367204664" sldId="2147483083"/>
            <ac:cxnSpMk id="8" creationId="{1235E3F4-18B1-A351-4BD6-E4543CC09671}"/>
          </ac:cxnSpMkLst>
        </pc:cxnChg>
        <pc:cxnChg chg="mod ord">
          <ac:chgData name="Yiqun Dai" userId="360a2182-b97f-4635-b990-04f846616e33" providerId="ADAL" clId="{8F04EA49-0EFC-48F3-A4D8-E0F0D3B461A8}" dt="2025-11-15T11:22:22.461" v="400709"/>
          <ac:cxnSpMkLst>
            <pc:docMk/>
            <pc:sldMk cId="3367204664" sldId="2147483083"/>
            <ac:cxnSpMk id="27" creationId="{910AD2D5-C9C1-0E3A-E687-0F9498A14E55}"/>
          </ac:cxnSpMkLst>
        </pc:cxnChg>
        <pc:cxnChg chg="mod ord">
          <ac:chgData name="Yiqun Dai" userId="360a2182-b97f-4635-b990-04f846616e33" providerId="ADAL" clId="{8F04EA49-0EFC-48F3-A4D8-E0F0D3B461A8}" dt="2025-11-15T11:22:22.461" v="400711"/>
          <ac:cxnSpMkLst>
            <pc:docMk/>
            <pc:sldMk cId="3367204664" sldId="2147483083"/>
            <ac:cxnSpMk id="31" creationId="{BF67EDC1-ABB4-DBD6-34FD-EA781839A64E}"/>
          </ac:cxnSpMkLst>
        </pc:cxnChg>
        <pc:cxnChg chg="add mod ord">
          <ac:chgData name="Yiqun Dai" userId="360a2182-b97f-4635-b990-04f846616e33" providerId="ADAL" clId="{8F04EA49-0EFC-48F3-A4D8-E0F0D3B461A8}" dt="2025-11-15T11:22:22.477" v="400755"/>
          <ac:cxnSpMkLst>
            <pc:docMk/>
            <pc:sldMk cId="3367204664" sldId="2147483083"/>
            <ac:cxnSpMk id="34" creationId="{B4610224-C2C1-425F-6FAC-3B54006B5A35}"/>
          </ac:cxnSpMkLst>
        </pc:cxnChg>
        <pc:cxnChg chg="add mod ord">
          <ac:chgData name="Yiqun Dai" userId="360a2182-b97f-4635-b990-04f846616e33" providerId="ADAL" clId="{8F04EA49-0EFC-48F3-A4D8-E0F0D3B461A8}" dt="2025-11-15T11:22:22.492" v="400765"/>
          <ac:cxnSpMkLst>
            <pc:docMk/>
            <pc:sldMk cId="3367204664" sldId="2147483083"/>
            <ac:cxnSpMk id="38" creationId="{A75BB590-ED77-94C6-4A9C-271E91930B6F}"/>
          </ac:cxnSpMkLst>
        </pc:cxnChg>
        <pc:cxnChg chg="add mod ord">
          <ac:chgData name="Yiqun Dai" userId="360a2182-b97f-4635-b990-04f846616e33" providerId="ADAL" clId="{8F04EA49-0EFC-48F3-A4D8-E0F0D3B461A8}" dt="2025-11-15T11:22:22.492" v="400773"/>
          <ac:cxnSpMkLst>
            <pc:docMk/>
            <pc:sldMk cId="3367204664" sldId="2147483083"/>
            <ac:cxnSpMk id="39" creationId="{A5E5FCDC-E487-3851-8E6D-05E368DEBF38}"/>
          </ac:cxnSpMkLst>
        </pc:cxnChg>
        <pc:cxnChg chg="add mod ord">
          <ac:chgData name="Yiqun Dai" userId="360a2182-b97f-4635-b990-04f846616e33" providerId="ADAL" clId="{8F04EA49-0EFC-48F3-A4D8-E0F0D3B461A8}" dt="2025-11-15T11:22:22.492" v="400775"/>
          <ac:cxnSpMkLst>
            <pc:docMk/>
            <pc:sldMk cId="3367204664" sldId="2147483083"/>
            <ac:cxnSpMk id="40" creationId="{B7A3637A-8C32-1B87-A5C6-D6835E4A2E50}"/>
          </ac:cxnSpMkLst>
        </pc:cxnChg>
        <pc:cxnChg chg="add mod ord">
          <ac:chgData name="Yiqun Dai" userId="360a2182-b97f-4635-b990-04f846616e33" providerId="ADAL" clId="{8F04EA49-0EFC-48F3-A4D8-E0F0D3B461A8}" dt="2025-11-15T11:22:22.492" v="400777"/>
          <ac:cxnSpMkLst>
            <pc:docMk/>
            <pc:sldMk cId="3367204664" sldId="2147483083"/>
            <ac:cxnSpMk id="41" creationId="{DDD40A3E-9239-0A32-852C-7DA5F21C80A4}"/>
          </ac:cxnSpMkLst>
        </pc:cxnChg>
        <pc:cxnChg chg="add mod ord">
          <ac:chgData name="Yiqun Dai" userId="360a2182-b97f-4635-b990-04f846616e33" providerId="ADAL" clId="{8F04EA49-0EFC-48F3-A4D8-E0F0D3B461A8}" dt="2025-11-15T11:22:22.492" v="400779"/>
          <ac:cxnSpMkLst>
            <pc:docMk/>
            <pc:sldMk cId="3367204664" sldId="2147483083"/>
            <ac:cxnSpMk id="42" creationId="{62B56C84-1F44-5328-D520-E9391C9B32A1}"/>
          </ac:cxnSpMkLst>
        </pc:cxnChg>
        <pc:cxnChg chg="add mod ord">
          <ac:chgData name="Yiqun Dai" userId="360a2182-b97f-4635-b990-04f846616e33" providerId="ADAL" clId="{8F04EA49-0EFC-48F3-A4D8-E0F0D3B461A8}" dt="2025-11-15T11:22:22.492" v="400769"/>
          <ac:cxnSpMkLst>
            <pc:docMk/>
            <pc:sldMk cId="3367204664" sldId="2147483083"/>
            <ac:cxnSpMk id="43" creationId="{82196F2D-CAEB-0496-7A7A-56FAAAE37A02}"/>
          </ac:cxnSpMkLst>
        </pc:cxnChg>
        <pc:cxnChg chg="add mod ord">
          <ac:chgData name="Yiqun Dai" userId="360a2182-b97f-4635-b990-04f846616e33" providerId="ADAL" clId="{8F04EA49-0EFC-48F3-A4D8-E0F0D3B461A8}" dt="2025-11-15T11:22:22.461" v="400701"/>
          <ac:cxnSpMkLst>
            <pc:docMk/>
            <pc:sldMk cId="3367204664" sldId="2147483083"/>
            <ac:cxnSpMk id="144" creationId="{D9B832C9-6F30-FE57-61F6-5C9D48EBA7F9}"/>
          </ac:cxnSpMkLst>
        </pc:cxnChg>
        <pc:cxnChg chg="add mod ord">
          <ac:chgData name="Yiqun Dai" userId="360a2182-b97f-4635-b990-04f846616e33" providerId="ADAL" clId="{8F04EA49-0EFC-48F3-A4D8-E0F0D3B461A8}" dt="2025-11-15T11:22:22.461" v="400703"/>
          <ac:cxnSpMkLst>
            <pc:docMk/>
            <pc:sldMk cId="3367204664" sldId="2147483083"/>
            <ac:cxnSpMk id="146" creationId="{A09940E3-8004-7E66-4326-658F505CE94B}"/>
          </ac:cxnSpMkLst>
        </pc:cxnChg>
        <pc:cxnChg chg="mod ord">
          <ac:chgData name="Yiqun Dai" userId="360a2182-b97f-4635-b990-04f846616e33" providerId="ADAL" clId="{8F04EA49-0EFC-48F3-A4D8-E0F0D3B461A8}" dt="2025-11-15T11:22:22.429" v="400611"/>
          <ac:cxnSpMkLst>
            <pc:docMk/>
            <pc:sldMk cId="3367204664" sldId="2147483083"/>
            <ac:cxnSpMk id="294" creationId="{53B74368-FE02-1779-32AA-ABA062E5B627}"/>
          </ac:cxnSpMkLst>
        </pc:cxnChg>
        <pc:cxnChg chg="mod ord">
          <ac:chgData name="Yiqun Dai" userId="360a2182-b97f-4635-b990-04f846616e33" providerId="ADAL" clId="{8F04EA49-0EFC-48F3-A4D8-E0F0D3B461A8}" dt="2025-11-15T11:22:22.429" v="400607"/>
          <ac:cxnSpMkLst>
            <pc:docMk/>
            <pc:sldMk cId="3367204664" sldId="2147483083"/>
            <ac:cxnSpMk id="305" creationId="{F169ADF9-0F35-F585-DA4B-2A06EB47909C}"/>
          </ac:cxnSpMkLst>
        </pc:cxnChg>
        <pc:cxnChg chg="mod ord">
          <ac:chgData name="Yiqun Dai" userId="360a2182-b97f-4635-b990-04f846616e33" providerId="ADAL" clId="{8F04EA49-0EFC-48F3-A4D8-E0F0D3B461A8}" dt="2025-11-15T11:22:22.429" v="400609"/>
          <ac:cxnSpMkLst>
            <pc:docMk/>
            <pc:sldMk cId="3367204664" sldId="2147483083"/>
            <ac:cxnSpMk id="308" creationId="{071109EA-0737-93DA-8C60-812FF87CC165}"/>
          </ac:cxnSpMkLst>
        </pc:cxnChg>
        <pc:cxnChg chg="mod ord">
          <ac:chgData name="Yiqun Dai" userId="360a2182-b97f-4635-b990-04f846616e33" providerId="ADAL" clId="{8F04EA49-0EFC-48F3-A4D8-E0F0D3B461A8}" dt="2025-11-15T11:22:22.429" v="400629"/>
          <ac:cxnSpMkLst>
            <pc:docMk/>
            <pc:sldMk cId="3367204664" sldId="2147483083"/>
            <ac:cxnSpMk id="348" creationId="{634C6E17-4FBC-4047-B9D5-DB0FD9DD9B19}"/>
          </ac:cxnSpMkLst>
        </pc:cxnChg>
        <pc:cxnChg chg="mod ord">
          <ac:chgData name="Yiqun Dai" userId="360a2182-b97f-4635-b990-04f846616e33" providerId="ADAL" clId="{8F04EA49-0EFC-48F3-A4D8-E0F0D3B461A8}" dt="2025-11-15T11:22:22.429" v="400625"/>
          <ac:cxnSpMkLst>
            <pc:docMk/>
            <pc:sldMk cId="3367204664" sldId="2147483083"/>
            <ac:cxnSpMk id="356" creationId="{E4AA5756-9CC4-E9C9-C2C8-50D08417D824}"/>
          </ac:cxnSpMkLst>
        </pc:cxnChg>
        <pc:cxnChg chg="add mod ord">
          <ac:chgData name="Yiqun Dai" userId="360a2182-b97f-4635-b990-04f846616e33" providerId="ADAL" clId="{8F04EA49-0EFC-48F3-A4D8-E0F0D3B461A8}" dt="2025-11-15T11:22:22.429" v="400623"/>
          <ac:cxnSpMkLst>
            <pc:docMk/>
            <pc:sldMk cId="3367204664" sldId="2147483083"/>
            <ac:cxnSpMk id="517" creationId="{608291F3-2189-F9BB-AA9C-3DC2988626E0}"/>
          </ac:cxnSpMkLst>
        </pc:cxnChg>
        <pc:cxnChg chg="add mod ord">
          <ac:chgData name="Yiqun Dai" userId="360a2182-b97f-4635-b990-04f846616e33" providerId="ADAL" clId="{8F04EA49-0EFC-48F3-A4D8-E0F0D3B461A8}" dt="2025-11-15T11:22:22.429" v="400641"/>
          <ac:cxnSpMkLst>
            <pc:docMk/>
            <pc:sldMk cId="3367204664" sldId="2147483083"/>
            <ac:cxnSpMk id="518" creationId="{31C849CE-DA9E-C6B5-38CD-DC5B25FE846E}"/>
          </ac:cxnSpMkLst>
        </pc:cxnChg>
        <pc:cxnChg chg="add mod ord">
          <ac:chgData name="Yiqun Dai" userId="360a2182-b97f-4635-b990-04f846616e33" providerId="ADAL" clId="{8F04EA49-0EFC-48F3-A4D8-E0F0D3B461A8}" dt="2025-11-15T11:22:22.429" v="400643"/>
          <ac:cxnSpMkLst>
            <pc:docMk/>
            <pc:sldMk cId="3367204664" sldId="2147483083"/>
            <ac:cxnSpMk id="526" creationId="{D80ACC1C-DC70-5DCE-A9B5-231C07B652DA}"/>
          </ac:cxnSpMkLst>
        </pc:cxnChg>
        <pc:cxnChg chg="add mod ord">
          <ac:chgData name="Yiqun Dai" userId="360a2182-b97f-4635-b990-04f846616e33" providerId="ADAL" clId="{8F04EA49-0EFC-48F3-A4D8-E0F0D3B461A8}" dt="2025-11-15T11:22:22.445" v="400645"/>
          <ac:cxnSpMkLst>
            <pc:docMk/>
            <pc:sldMk cId="3367204664" sldId="2147483083"/>
            <ac:cxnSpMk id="530" creationId="{259B52D2-C757-FC08-DAF4-B5560C74D495}"/>
          </ac:cxnSpMkLst>
        </pc:cxnChg>
        <pc:cxnChg chg="add mod ord">
          <ac:chgData name="Yiqun Dai" userId="360a2182-b97f-4635-b990-04f846616e33" providerId="ADAL" clId="{8F04EA49-0EFC-48F3-A4D8-E0F0D3B461A8}" dt="2025-11-15T11:22:22.429" v="400613"/>
          <ac:cxnSpMkLst>
            <pc:docMk/>
            <pc:sldMk cId="3367204664" sldId="2147483083"/>
            <ac:cxnSpMk id="532" creationId="{24E2E3FD-2BD6-D8EF-4CAA-6116B5DA406C}"/>
          </ac:cxnSpMkLst>
        </pc:cxnChg>
        <pc:cxnChg chg="add mod ord">
          <ac:chgData name="Yiqun Dai" userId="360a2182-b97f-4635-b990-04f846616e33" providerId="ADAL" clId="{8F04EA49-0EFC-48F3-A4D8-E0F0D3B461A8}" dt="2025-11-15T11:22:22.445" v="400647"/>
          <ac:cxnSpMkLst>
            <pc:docMk/>
            <pc:sldMk cId="3367204664" sldId="2147483083"/>
            <ac:cxnSpMk id="535" creationId="{0A140B74-D136-3883-129D-D4FD343DCF3E}"/>
          </ac:cxnSpMkLst>
        </pc:cxnChg>
        <pc:cxnChg chg="add mod ord">
          <ac:chgData name="Yiqun Dai" userId="360a2182-b97f-4635-b990-04f846616e33" providerId="ADAL" clId="{8F04EA49-0EFC-48F3-A4D8-E0F0D3B461A8}" dt="2025-11-15T11:22:22.445" v="400649"/>
          <ac:cxnSpMkLst>
            <pc:docMk/>
            <pc:sldMk cId="3367204664" sldId="2147483083"/>
            <ac:cxnSpMk id="536" creationId="{F405C02F-E7BB-1117-5FBA-5E38581F3CC6}"/>
          </ac:cxnSpMkLst>
        </pc:cxnChg>
        <pc:cxnChg chg="add mod ord">
          <ac:chgData name="Yiqun Dai" userId="360a2182-b97f-4635-b990-04f846616e33" providerId="ADAL" clId="{8F04EA49-0EFC-48F3-A4D8-E0F0D3B461A8}" dt="2025-11-15T11:22:22.445" v="400657"/>
          <ac:cxnSpMkLst>
            <pc:docMk/>
            <pc:sldMk cId="3367204664" sldId="2147483083"/>
            <ac:cxnSpMk id="537" creationId="{08B0A26A-EB74-1200-D2BA-CCAED3C1C566}"/>
          </ac:cxnSpMkLst>
        </pc:cxnChg>
        <pc:cxnChg chg="add mod ord">
          <ac:chgData name="Yiqun Dai" userId="360a2182-b97f-4635-b990-04f846616e33" providerId="ADAL" clId="{8F04EA49-0EFC-48F3-A4D8-E0F0D3B461A8}" dt="2025-11-15T11:22:22.445" v="400651"/>
          <ac:cxnSpMkLst>
            <pc:docMk/>
            <pc:sldMk cId="3367204664" sldId="2147483083"/>
            <ac:cxnSpMk id="538" creationId="{DF38BC52-23CD-FEA2-1BA9-DB163C920372}"/>
          </ac:cxnSpMkLst>
        </pc:cxnChg>
        <pc:cxnChg chg="add mod ord">
          <ac:chgData name="Yiqun Dai" userId="360a2182-b97f-4635-b990-04f846616e33" providerId="ADAL" clId="{8F04EA49-0EFC-48F3-A4D8-E0F0D3B461A8}" dt="2025-11-15T11:22:22.445" v="400653"/>
          <ac:cxnSpMkLst>
            <pc:docMk/>
            <pc:sldMk cId="3367204664" sldId="2147483083"/>
            <ac:cxnSpMk id="539" creationId="{2221086D-786E-BB33-8778-901A3A557C5B}"/>
          </ac:cxnSpMkLst>
        </pc:cxnChg>
        <pc:cxnChg chg="add mod ord">
          <ac:chgData name="Yiqun Dai" userId="360a2182-b97f-4635-b990-04f846616e33" providerId="ADAL" clId="{8F04EA49-0EFC-48F3-A4D8-E0F0D3B461A8}" dt="2025-11-15T11:22:22.445" v="400655"/>
          <ac:cxnSpMkLst>
            <pc:docMk/>
            <pc:sldMk cId="3367204664" sldId="2147483083"/>
            <ac:cxnSpMk id="540" creationId="{773750BD-6D8C-5AA3-0CCD-B14EE533F06E}"/>
          </ac:cxnSpMkLst>
        </pc:cxnChg>
        <pc:cxnChg chg="add mod ord">
          <ac:chgData name="Yiqun Dai" userId="360a2182-b97f-4635-b990-04f846616e33" providerId="ADAL" clId="{8F04EA49-0EFC-48F3-A4D8-E0F0D3B461A8}" dt="2025-11-15T11:22:22.429" v="400615"/>
          <ac:cxnSpMkLst>
            <pc:docMk/>
            <pc:sldMk cId="3367204664" sldId="2147483083"/>
            <ac:cxnSpMk id="541" creationId="{624A6EB8-EE62-9B60-20EF-C6F0EA36B44D}"/>
          </ac:cxnSpMkLst>
        </pc:cxnChg>
        <pc:cxnChg chg="add mod ord">
          <ac:chgData name="Yiqun Dai" userId="360a2182-b97f-4635-b990-04f846616e33" providerId="ADAL" clId="{8F04EA49-0EFC-48F3-A4D8-E0F0D3B461A8}" dt="2025-11-15T11:22:22.429" v="400617"/>
          <ac:cxnSpMkLst>
            <pc:docMk/>
            <pc:sldMk cId="3367204664" sldId="2147483083"/>
            <ac:cxnSpMk id="542" creationId="{96D97C8E-B812-9BE3-AD4E-0C3ACC1EB874}"/>
          </ac:cxnSpMkLst>
        </pc:cxnChg>
        <pc:cxnChg chg="add mod ord">
          <ac:chgData name="Yiqun Dai" userId="360a2182-b97f-4635-b990-04f846616e33" providerId="ADAL" clId="{8F04EA49-0EFC-48F3-A4D8-E0F0D3B461A8}" dt="2025-11-15T11:22:22.429" v="400619"/>
          <ac:cxnSpMkLst>
            <pc:docMk/>
            <pc:sldMk cId="3367204664" sldId="2147483083"/>
            <ac:cxnSpMk id="543" creationId="{310DED1D-8580-A686-3508-71398A69524F}"/>
          </ac:cxnSpMkLst>
        </pc:cxnChg>
        <pc:cxnChg chg="add mod ord">
          <ac:chgData name="Yiqun Dai" userId="360a2182-b97f-4635-b990-04f846616e33" providerId="ADAL" clId="{8F04EA49-0EFC-48F3-A4D8-E0F0D3B461A8}" dt="2025-11-15T11:22:22.492" v="400759"/>
          <ac:cxnSpMkLst>
            <pc:docMk/>
            <pc:sldMk cId="3367204664" sldId="2147483083"/>
            <ac:cxnSpMk id="557" creationId="{FBF88677-9607-BBB0-2962-F516E9B9D991}"/>
          </ac:cxnSpMkLst>
        </pc:cxnChg>
        <pc:cxnChg chg="add mod ord">
          <ac:chgData name="Yiqun Dai" userId="360a2182-b97f-4635-b990-04f846616e33" providerId="ADAL" clId="{8F04EA49-0EFC-48F3-A4D8-E0F0D3B461A8}" dt="2025-11-15T11:22:22.492" v="400781"/>
          <ac:cxnSpMkLst>
            <pc:docMk/>
            <pc:sldMk cId="3367204664" sldId="2147483083"/>
            <ac:cxnSpMk id="560" creationId="{1F63EE80-D75E-20C3-8A19-82AD49842142}"/>
          </ac:cxnSpMkLst>
        </pc:cxnChg>
        <pc:cxnChg chg="add mod ord">
          <ac:chgData name="Yiqun Dai" userId="360a2182-b97f-4635-b990-04f846616e33" providerId="ADAL" clId="{8F04EA49-0EFC-48F3-A4D8-E0F0D3B461A8}" dt="2025-11-15T11:22:22.492" v="400783"/>
          <ac:cxnSpMkLst>
            <pc:docMk/>
            <pc:sldMk cId="3367204664" sldId="2147483083"/>
            <ac:cxnSpMk id="561" creationId="{FF4726C4-A509-7237-2D8F-E9E74E77FFC9}"/>
          </ac:cxnSpMkLst>
        </pc:cxnChg>
        <pc:cxnChg chg="add mod ord">
          <ac:chgData name="Yiqun Dai" userId="360a2182-b97f-4635-b990-04f846616e33" providerId="ADAL" clId="{8F04EA49-0EFC-48F3-A4D8-E0F0D3B461A8}" dt="2025-11-15T11:22:22.492" v="400785"/>
          <ac:cxnSpMkLst>
            <pc:docMk/>
            <pc:sldMk cId="3367204664" sldId="2147483083"/>
            <ac:cxnSpMk id="562" creationId="{B6AD5F5A-32A7-FF68-FF4A-A4A0C0798FF8}"/>
          </ac:cxnSpMkLst>
        </pc:cxnChg>
        <pc:cxnChg chg="mod ord">
          <ac:chgData name="Yiqun Dai" userId="360a2182-b97f-4635-b990-04f846616e33" providerId="ADAL" clId="{8F04EA49-0EFC-48F3-A4D8-E0F0D3B461A8}" dt="2025-11-15T11:22:22.461" v="400697"/>
          <ac:cxnSpMkLst>
            <pc:docMk/>
            <pc:sldMk cId="3367204664" sldId="2147483083"/>
            <ac:cxnSpMk id="693" creationId="{C788FECD-209D-B218-D88F-2F5DDA88EDF1}"/>
          </ac:cxnSpMkLst>
        </pc:cxnChg>
        <pc:cxnChg chg="mod ord">
          <ac:chgData name="Yiqun Dai" userId="360a2182-b97f-4635-b990-04f846616e33" providerId="ADAL" clId="{8F04EA49-0EFC-48F3-A4D8-E0F0D3B461A8}" dt="2025-11-15T11:22:22.477" v="400753"/>
          <ac:cxnSpMkLst>
            <pc:docMk/>
            <pc:sldMk cId="3367204664" sldId="2147483083"/>
            <ac:cxnSpMk id="749" creationId="{C9543D74-90C0-31A6-7768-81F8B6E56B51}"/>
          </ac:cxnSpMkLst>
        </pc:cxnChg>
        <pc:cxnChg chg="mod ord">
          <ac:chgData name="Yiqun Dai" userId="360a2182-b97f-4635-b990-04f846616e33" providerId="ADAL" clId="{8F04EA49-0EFC-48F3-A4D8-E0F0D3B461A8}" dt="2025-11-15T11:22:22.477" v="400757"/>
          <ac:cxnSpMkLst>
            <pc:docMk/>
            <pc:sldMk cId="3367204664" sldId="2147483083"/>
            <ac:cxnSpMk id="750" creationId="{FAEC090B-6E89-20E8-7F6F-0CB62EF06118}"/>
          </ac:cxnSpMkLst>
        </pc:cxnChg>
        <pc:cxnChg chg="mod ord">
          <ac:chgData name="Yiqun Dai" userId="360a2182-b97f-4635-b990-04f846616e33" providerId="ADAL" clId="{8F04EA49-0EFC-48F3-A4D8-E0F0D3B461A8}" dt="2025-11-15T11:22:22.461" v="400699"/>
          <ac:cxnSpMkLst>
            <pc:docMk/>
            <pc:sldMk cId="3367204664" sldId="2147483083"/>
            <ac:cxnSpMk id="819" creationId="{15CD9D7A-42E3-AD67-5914-5CF0B47C1FB6}"/>
          </ac:cxnSpMkLst>
        </pc:cxnChg>
        <pc:cxnChg chg="mod ord">
          <ac:chgData name="Yiqun Dai" userId="360a2182-b97f-4635-b990-04f846616e33" providerId="ADAL" clId="{8F04EA49-0EFC-48F3-A4D8-E0F0D3B461A8}" dt="2025-11-15T11:22:22.461" v="400707"/>
          <ac:cxnSpMkLst>
            <pc:docMk/>
            <pc:sldMk cId="3367204664" sldId="2147483083"/>
            <ac:cxnSpMk id="822" creationId="{4CF71773-3B34-06B7-1F6E-860ADB52DD0C}"/>
          </ac:cxnSpMkLst>
        </pc:cxnChg>
        <pc:cxnChg chg="mod ord">
          <ac:chgData name="Yiqun Dai" userId="360a2182-b97f-4635-b990-04f846616e33" providerId="ADAL" clId="{8F04EA49-0EFC-48F3-A4D8-E0F0D3B461A8}" dt="2025-11-15T11:22:22.492" v="400767"/>
          <ac:cxnSpMkLst>
            <pc:docMk/>
            <pc:sldMk cId="3367204664" sldId="2147483083"/>
            <ac:cxnSpMk id="839" creationId="{9EA0980F-2D3E-CF9E-ADDE-B137BC4FCC76}"/>
          </ac:cxnSpMkLst>
        </pc:cxnChg>
        <pc:cxnChg chg="mod ord">
          <ac:chgData name="Yiqun Dai" userId="360a2182-b97f-4635-b990-04f846616e33" providerId="ADAL" clId="{8F04EA49-0EFC-48F3-A4D8-E0F0D3B461A8}" dt="2025-11-15T11:22:22.492" v="400763"/>
          <ac:cxnSpMkLst>
            <pc:docMk/>
            <pc:sldMk cId="3367204664" sldId="2147483083"/>
            <ac:cxnSpMk id="840" creationId="{21E966F7-755C-FD19-05EA-02A869DE92E3}"/>
          </ac:cxnSpMkLst>
        </pc:cxnChg>
        <pc:cxnChg chg="mod ord">
          <ac:chgData name="Yiqun Dai" userId="360a2182-b97f-4635-b990-04f846616e33" providerId="ADAL" clId="{8F04EA49-0EFC-48F3-A4D8-E0F0D3B461A8}" dt="2025-11-15T11:22:22.492" v="400771"/>
          <ac:cxnSpMkLst>
            <pc:docMk/>
            <pc:sldMk cId="3367204664" sldId="2147483083"/>
            <ac:cxnSpMk id="841" creationId="{3617F551-B0AA-99A9-2CAF-EF7D7C437DA5}"/>
          </ac:cxnSpMkLst>
        </pc:cxnChg>
        <pc:cxnChg chg="mod ord">
          <ac:chgData name="Yiqun Dai" userId="360a2182-b97f-4635-b990-04f846616e33" providerId="ADAL" clId="{8F04EA49-0EFC-48F3-A4D8-E0F0D3B461A8}" dt="2025-11-15T11:22:22.509" v="400826"/>
          <ac:cxnSpMkLst>
            <pc:docMk/>
            <pc:sldMk cId="3367204664" sldId="2147483083"/>
            <ac:cxnSpMk id="871" creationId="{B2DADC31-313B-E343-E9ED-1EC4C15F17A4}"/>
          </ac:cxnSpMkLst>
        </pc:cxnChg>
        <pc:cxnChg chg="mod ord">
          <ac:chgData name="Yiqun Dai" userId="360a2182-b97f-4635-b990-04f846616e33" providerId="ADAL" clId="{8F04EA49-0EFC-48F3-A4D8-E0F0D3B461A8}" dt="2025-11-15T11:22:22.509" v="400830"/>
          <ac:cxnSpMkLst>
            <pc:docMk/>
            <pc:sldMk cId="3367204664" sldId="2147483083"/>
            <ac:cxnSpMk id="908" creationId="{35F280B1-7698-BBB6-6CAA-918D9F9679C4}"/>
          </ac:cxnSpMkLst>
        </pc:cxnChg>
        <pc:cxnChg chg="mod ord">
          <ac:chgData name="Yiqun Dai" userId="360a2182-b97f-4635-b990-04f846616e33" providerId="ADAL" clId="{8F04EA49-0EFC-48F3-A4D8-E0F0D3B461A8}" dt="2025-11-15T11:22:22.509" v="400834"/>
          <ac:cxnSpMkLst>
            <pc:docMk/>
            <pc:sldMk cId="3367204664" sldId="2147483083"/>
            <ac:cxnSpMk id="910" creationId="{0BAE0C7B-E9D1-F6D9-0513-B773799CE429}"/>
          </ac:cxnSpMkLst>
        </pc:cxnChg>
        <pc:cxnChg chg="add mod ord">
          <ac:chgData name="Yiqun Dai" userId="360a2182-b97f-4635-b990-04f846616e33" providerId="ADAL" clId="{8F04EA49-0EFC-48F3-A4D8-E0F0D3B461A8}" dt="2025-11-15T11:22:22.429" v="400631"/>
          <ac:cxnSpMkLst>
            <pc:docMk/>
            <pc:sldMk cId="3367204664" sldId="2147483083"/>
            <ac:cxnSpMk id="945" creationId="{DD00F1B9-5BD9-3339-EABB-040A8FE07057}"/>
          </ac:cxnSpMkLst>
        </pc:cxnChg>
        <pc:cxnChg chg="add mod ord">
          <ac:chgData name="Yiqun Dai" userId="360a2182-b97f-4635-b990-04f846616e33" providerId="ADAL" clId="{8F04EA49-0EFC-48F3-A4D8-E0F0D3B461A8}" dt="2025-11-15T11:22:22.429" v="400633"/>
          <ac:cxnSpMkLst>
            <pc:docMk/>
            <pc:sldMk cId="3367204664" sldId="2147483083"/>
            <ac:cxnSpMk id="948" creationId="{8872F3BE-59BA-E242-5FC2-D4EB4F24D37E}"/>
          </ac:cxnSpMkLst>
        </pc:cxnChg>
        <pc:cxnChg chg="mod ord">
          <ac:chgData name="Yiqun Dai" userId="360a2182-b97f-4635-b990-04f846616e33" providerId="ADAL" clId="{8F04EA49-0EFC-48F3-A4D8-E0F0D3B461A8}" dt="2025-11-15T11:22:22.429" v="400635"/>
          <ac:cxnSpMkLst>
            <pc:docMk/>
            <pc:sldMk cId="3367204664" sldId="2147483083"/>
            <ac:cxnSpMk id="951" creationId="{7CD3D7FA-3FD0-E8CA-835E-31E4EFF65715}"/>
          </ac:cxnSpMkLst>
        </pc:cxnChg>
        <pc:cxnChg chg="mod ord">
          <ac:chgData name="Yiqun Dai" userId="360a2182-b97f-4635-b990-04f846616e33" providerId="ADAL" clId="{8F04EA49-0EFC-48F3-A4D8-E0F0D3B461A8}" dt="2025-11-15T11:22:22.429" v="400637"/>
          <ac:cxnSpMkLst>
            <pc:docMk/>
            <pc:sldMk cId="3367204664" sldId="2147483083"/>
            <ac:cxnSpMk id="952" creationId="{9D7C4841-F4B8-FB51-1090-79E3C9B760C3}"/>
          </ac:cxnSpMkLst>
        </pc:cxnChg>
        <pc:cxnChg chg="mod ord">
          <ac:chgData name="Yiqun Dai" userId="360a2182-b97f-4635-b990-04f846616e33" providerId="ADAL" clId="{8F04EA49-0EFC-48F3-A4D8-E0F0D3B461A8}" dt="2025-11-15T11:22:22.429" v="400639"/>
          <ac:cxnSpMkLst>
            <pc:docMk/>
            <pc:sldMk cId="3367204664" sldId="2147483083"/>
            <ac:cxnSpMk id="954" creationId="{0D46ECA6-A831-0DC0-A74C-8AAEF5673CCB}"/>
          </ac:cxnSpMkLst>
        </pc:cxnChg>
      </pc:sldChg>
      <pc:sldChg chg="addSp delSp modSp add mod">
        <pc:chgData name="Yiqun Dai" userId="360a2182-b97f-4635-b990-04f846616e33" providerId="ADAL" clId="{8F04EA49-0EFC-48F3-A4D8-E0F0D3B461A8}" dt="2025-11-15T12:03:59.907" v="430733"/>
        <pc:sldMkLst>
          <pc:docMk/>
          <pc:sldMk cId="3323175271" sldId="2147483084"/>
        </pc:sldMkLst>
        <pc:spChg chg="mod ord">
          <ac:chgData name="Yiqun Dai" userId="360a2182-b97f-4635-b990-04f846616e33" providerId="ADAL" clId="{8F04EA49-0EFC-48F3-A4D8-E0F0D3B461A8}" dt="2025-11-15T12:03:59.907" v="430731" actId="948"/>
          <ac:spMkLst>
            <pc:docMk/>
            <pc:sldMk cId="3323175271" sldId="2147483084"/>
            <ac:spMk id="2" creationId="{4CDBC283-38B0-D4A6-43BC-3C3326A88F7B}"/>
          </ac:spMkLst>
        </pc:spChg>
        <pc:spChg chg="add mod">
          <ac:chgData name="Yiqun Dai" userId="360a2182-b97f-4635-b990-04f846616e33" providerId="ADAL" clId="{8F04EA49-0EFC-48F3-A4D8-E0F0D3B461A8}" dt="2025-11-15T12:03:47.585" v="430685"/>
          <ac:spMkLst>
            <pc:docMk/>
            <pc:sldMk cId="3323175271" sldId="2147483084"/>
            <ac:spMk id="133" creationId="{7E94BB2C-6676-C47A-11A7-73AC1CB934AD}"/>
          </ac:spMkLst>
        </pc:spChg>
        <pc:spChg chg="add mod">
          <ac:chgData name="Yiqun Dai" userId="360a2182-b97f-4635-b990-04f846616e33" providerId="ADAL" clId="{8F04EA49-0EFC-48F3-A4D8-E0F0D3B461A8}" dt="2025-11-15T12:03:47.601" v="430706"/>
          <ac:spMkLst>
            <pc:docMk/>
            <pc:sldMk cId="3323175271" sldId="2147483084"/>
            <ac:spMk id="135" creationId="{D62C4D38-8861-AE34-8CAD-EFDCA28487B5}"/>
          </ac:spMkLst>
        </pc:spChg>
        <pc:spChg chg="add mod">
          <ac:chgData name="Yiqun Dai" userId="360a2182-b97f-4635-b990-04f846616e33" providerId="ADAL" clId="{8F04EA49-0EFC-48F3-A4D8-E0F0D3B461A8}" dt="2025-11-15T12:03:47.601" v="430709"/>
          <ac:spMkLst>
            <pc:docMk/>
            <pc:sldMk cId="3323175271" sldId="2147483084"/>
            <ac:spMk id="136" creationId="{F341237B-6EEE-781F-D127-D1D8BCC4FE4F}"/>
          </ac:spMkLst>
        </pc:spChg>
        <pc:spChg chg="add mod">
          <ac:chgData name="Yiqun Dai" userId="360a2182-b97f-4635-b990-04f846616e33" providerId="ADAL" clId="{8F04EA49-0EFC-48F3-A4D8-E0F0D3B461A8}" dt="2025-11-15T12:03:47.621" v="430712"/>
          <ac:spMkLst>
            <pc:docMk/>
            <pc:sldMk cId="3323175271" sldId="2147483084"/>
            <ac:spMk id="137" creationId="{76FD0615-7126-B714-DBBA-DCA3569EBB7F}"/>
          </ac:spMkLst>
        </pc:spChg>
        <pc:spChg chg="add mod ord">
          <ac:chgData name="Yiqun Dai" userId="360a2182-b97f-4635-b990-04f846616e33" providerId="ADAL" clId="{8F04EA49-0EFC-48F3-A4D8-E0F0D3B461A8}" dt="2025-11-15T11:58:29.212" v="430469"/>
          <ac:spMkLst>
            <pc:docMk/>
            <pc:sldMk cId="3323175271" sldId="2147483084"/>
            <ac:spMk id="138" creationId="{63E6A10C-F4C0-B8EE-34DE-AFD150BC0530}"/>
          </ac:spMkLst>
        </pc:spChg>
        <pc:spChg chg="add mod ord">
          <ac:chgData name="Yiqun Dai" userId="360a2182-b97f-4635-b990-04f846616e33" providerId="ADAL" clId="{8F04EA49-0EFC-48F3-A4D8-E0F0D3B461A8}" dt="2025-11-15T11:58:29.212" v="430481"/>
          <ac:spMkLst>
            <pc:docMk/>
            <pc:sldMk cId="3323175271" sldId="2147483084"/>
            <ac:spMk id="139" creationId="{7C488830-9EE0-408D-E065-E07E2F7B2B94}"/>
          </ac:spMkLst>
        </pc:spChg>
        <pc:spChg chg="add mod ord">
          <ac:chgData name="Yiqun Dai" userId="360a2182-b97f-4635-b990-04f846616e33" providerId="ADAL" clId="{8F04EA49-0EFC-48F3-A4D8-E0F0D3B461A8}" dt="2025-11-15T11:58:29.212" v="430493"/>
          <ac:spMkLst>
            <pc:docMk/>
            <pc:sldMk cId="3323175271" sldId="2147483084"/>
            <ac:spMk id="140" creationId="{C1E0824E-AF97-0F2F-D89D-79962DDECE83}"/>
          </ac:spMkLst>
        </pc:spChg>
        <pc:spChg chg="add mod ord">
          <ac:chgData name="Yiqun Dai" userId="360a2182-b97f-4635-b990-04f846616e33" providerId="ADAL" clId="{8F04EA49-0EFC-48F3-A4D8-E0F0D3B461A8}" dt="2025-11-15T11:58:29.230" v="430505"/>
          <ac:spMkLst>
            <pc:docMk/>
            <pc:sldMk cId="3323175271" sldId="2147483084"/>
            <ac:spMk id="142" creationId="{3B800394-F73D-79EB-C0DC-DB8EBE810035}"/>
          </ac:spMkLst>
        </pc:spChg>
        <pc:spChg chg="mod">
          <ac:chgData name="Yiqun Dai" userId="360a2182-b97f-4635-b990-04f846616e33" providerId="ADAL" clId="{8F04EA49-0EFC-48F3-A4D8-E0F0D3B461A8}" dt="2025-11-15T11:57:56.350" v="430266"/>
          <ac:spMkLst>
            <pc:docMk/>
            <pc:sldMk cId="3323175271" sldId="2147483084"/>
            <ac:spMk id="185" creationId="{673A5B7D-71A6-4607-4F84-791D2DB5E0BD}"/>
          </ac:spMkLst>
        </pc:spChg>
        <pc:spChg chg="mod">
          <ac:chgData name="Yiqun Dai" userId="360a2182-b97f-4635-b990-04f846616e33" providerId="ADAL" clId="{8F04EA49-0EFC-48F3-A4D8-E0F0D3B461A8}" dt="2025-11-15T11:57:56.368" v="430269"/>
          <ac:spMkLst>
            <pc:docMk/>
            <pc:sldMk cId="3323175271" sldId="2147483084"/>
            <ac:spMk id="186" creationId="{AE98B524-473B-C353-2D5F-0114FF4FF0B7}"/>
          </ac:spMkLst>
        </pc:spChg>
        <pc:spChg chg="mod ord">
          <ac:chgData name="Yiqun Dai" userId="360a2182-b97f-4635-b990-04f846616e33" providerId="ADAL" clId="{8F04EA49-0EFC-48F3-A4D8-E0F0D3B461A8}" dt="2025-11-15T11:57:56.334" v="430232"/>
          <ac:spMkLst>
            <pc:docMk/>
            <pc:sldMk cId="3323175271" sldId="2147483084"/>
            <ac:spMk id="317" creationId="{A50DA8B3-6BA1-5B38-4571-944FFE9E02B5}"/>
          </ac:spMkLst>
        </pc:spChg>
        <pc:spChg chg="mod">
          <ac:chgData name="Yiqun Dai" userId="360a2182-b97f-4635-b990-04f846616e33" providerId="ADAL" clId="{8F04EA49-0EFC-48F3-A4D8-E0F0D3B461A8}" dt="2025-11-15T11:57:56.334" v="430233"/>
          <ac:spMkLst>
            <pc:docMk/>
            <pc:sldMk cId="3323175271" sldId="2147483084"/>
            <ac:spMk id="318" creationId="{25A49547-2537-F89D-C609-1ACAEA419DFF}"/>
          </ac:spMkLst>
        </pc:spChg>
        <pc:spChg chg="mod ord">
          <ac:chgData name="Yiqun Dai" userId="360a2182-b97f-4635-b990-04f846616e33" providerId="ADAL" clId="{8F04EA49-0EFC-48F3-A4D8-E0F0D3B461A8}" dt="2025-11-15T11:57:56.334" v="430234"/>
          <ac:spMkLst>
            <pc:docMk/>
            <pc:sldMk cId="3323175271" sldId="2147483084"/>
            <ac:spMk id="319" creationId="{6A2202F4-833E-E45D-8A45-ABC68F015A13}"/>
          </ac:spMkLst>
        </pc:spChg>
        <pc:spChg chg="mod ord">
          <ac:chgData name="Yiqun Dai" userId="360a2182-b97f-4635-b990-04f846616e33" providerId="ADAL" clId="{8F04EA49-0EFC-48F3-A4D8-E0F0D3B461A8}" dt="2025-11-15T11:57:56.334" v="430235"/>
          <ac:spMkLst>
            <pc:docMk/>
            <pc:sldMk cId="3323175271" sldId="2147483084"/>
            <ac:spMk id="320" creationId="{B568BBA8-9811-E998-E552-CDF8F5FA3BE6}"/>
          </ac:spMkLst>
        </pc:spChg>
        <pc:spChg chg="mod ord">
          <ac:chgData name="Yiqun Dai" userId="360a2182-b97f-4635-b990-04f846616e33" providerId="ADAL" clId="{8F04EA49-0EFC-48F3-A4D8-E0F0D3B461A8}" dt="2025-11-15T11:57:56.334" v="430236"/>
          <ac:spMkLst>
            <pc:docMk/>
            <pc:sldMk cId="3323175271" sldId="2147483084"/>
            <ac:spMk id="321" creationId="{DC257775-4429-B375-9BAF-6495A73474A4}"/>
          </ac:spMkLst>
        </pc:spChg>
        <pc:spChg chg="mod">
          <ac:chgData name="Yiqun Dai" userId="360a2182-b97f-4635-b990-04f846616e33" providerId="ADAL" clId="{8F04EA49-0EFC-48F3-A4D8-E0F0D3B461A8}" dt="2025-11-15T11:57:56.334" v="430237"/>
          <ac:spMkLst>
            <pc:docMk/>
            <pc:sldMk cId="3323175271" sldId="2147483084"/>
            <ac:spMk id="322" creationId="{079DD0C0-EDC9-1EE4-D0FC-1A4CBC44B149}"/>
          </ac:spMkLst>
        </pc:spChg>
        <pc:spChg chg="mod ord">
          <ac:chgData name="Yiqun Dai" userId="360a2182-b97f-4635-b990-04f846616e33" providerId="ADAL" clId="{8F04EA49-0EFC-48F3-A4D8-E0F0D3B461A8}" dt="2025-11-15T11:57:56.334" v="430239"/>
          <ac:spMkLst>
            <pc:docMk/>
            <pc:sldMk cId="3323175271" sldId="2147483084"/>
            <ac:spMk id="323" creationId="{CEF70136-68ED-553F-D685-AFCDDA8E82CA}"/>
          </ac:spMkLst>
        </pc:spChg>
        <pc:spChg chg="mod ord">
          <ac:chgData name="Yiqun Dai" userId="360a2182-b97f-4635-b990-04f846616e33" providerId="ADAL" clId="{8F04EA49-0EFC-48F3-A4D8-E0F0D3B461A8}" dt="2025-11-15T11:57:56.334" v="430240"/>
          <ac:spMkLst>
            <pc:docMk/>
            <pc:sldMk cId="3323175271" sldId="2147483084"/>
            <ac:spMk id="324" creationId="{C1F7FE3D-A192-797C-6725-4BD5E2FBF761}"/>
          </ac:spMkLst>
        </pc:spChg>
        <pc:spChg chg="mod">
          <ac:chgData name="Yiqun Dai" userId="360a2182-b97f-4635-b990-04f846616e33" providerId="ADAL" clId="{8F04EA49-0EFC-48F3-A4D8-E0F0D3B461A8}" dt="2025-11-15T11:57:56.334" v="430241"/>
          <ac:spMkLst>
            <pc:docMk/>
            <pc:sldMk cId="3323175271" sldId="2147483084"/>
            <ac:spMk id="325" creationId="{37A6A2BE-E7A5-2217-AA78-405EF01564D8}"/>
          </ac:spMkLst>
        </pc:spChg>
        <pc:spChg chg="mod ord">
          <ac:chgData name="Yiqun Dai" userId="360a2182-b97f-4635-b990-04f846616e33" providerId="ADAL" clId="{8F04EA49-0EFC-48F3-A4D8-E0F0D3B461A8}" dt="2025-11-15T11:57:56.334" v="430242"/>
          <ac:spMkLst>
            <pc:docMk/>
            <pc:sldMk cId="3323175271" sldId="2147483084"/>
            <ac:spMk id="326" creationId="{5A0F4AD8-4386-2B0E-FEDE-DA2293ECF56B}"/>
          </ac:spMkLst>
        </pc:spChg>
        <pc:spChg chg="mod ord">
          <ac:chgData name="Yiqun Dai" userId="360a2182-b97f-4635-b990-04f846616e33" providerId="ADAL" clId="{8F04EA49-0EFC-48F3-A4D8-E0F0D3B461A8}" dt="2025-11-15T11:57:56.350" v="430244"/>
          <ac:spMkLst>
            <pc:docMk/>
            <pc:sldMk cId="3323175271" sldId="2147483084"/>
            <ac:spMk id="327" creationId="{B9652F66-DDC4-BE85-47E0-650D07C339C8}"/>
          </ac:spMkLst>
        </pc:spChg>
        <pc:spChg chg="mod">
          <ac:chgData name="Yiqun Dai" userId="360a2182-b97f-4635-b990-04f846616e33" providerId="ADAL" clId="{8F04EA49-0EFC-48F3-A4D8-E0F0D3B461A8}" dt="2025-11-15T11:57:56.350" v="430245"/>
          <ac:spMkLst>
            <pc:docMk/>
            <pc:sldMk cId="3323175271" sldId="2147483084"/>
            <ac:spMk id="328" creationId="{9AF0DA72-584E-3CA3-050D-6A3BCF2C5076}"/>
          </ac:spMkLst>
        </pc:spChg>
        <pc:spChg chg="mod ord">
          <ac:chgData name="Yiqun Dai" userId="360a2182-b97f-4635-b990-04f846616e33" providerId="ADAL" clId="{8F04EA49-0EFC-48F3-A4D8-E0F0D3B461A8}" dt="2025-11-15T11:57:56.350" v="430247"/>
          <ac:spMkLst>
            <pc:docMk/>
            <pc:sldMk cId="3323175271" sldId="2147483084"/>
            <ac:spMk id="329" creationId="{F724639B-1DB7-F7C8-D3A5-7423D9757E0B}"/>
          </ac:spMkLst>
        </pc:spChg>
        <pc:spChg chg="mod ord">
          <ac:chgData name="Yiqun Dai" userId="360a2182-b97f-4635-b990-04f846616e33" providerId="ADAL" clId="{8F04EA49-0EFC-48F3-A4D8-E0F0D3B461A8}" dt="2025-11-15T11:57:56.366" v="430268"/>
          <ac:spMkLst>
            <pc:docMk/>
            <pc:sldMk cId="3323175271" sldId="2147483084"/>
            <ac:spMk id="330" creationId="{97848703-C65B-7CB5-96D3-A0FFC2E76579}"/>
          </ac:spMkLst>
        </pc:spChg>
        <pc:spChg chg="mod">
          <ac:chgData name="Yiqun Dai" userId="360a2182-b97f-4635-b990-04f846616e33" providerId="ADAL" clId="{8F04EA49-0EFC-48F3-A4D8-E0F0D3B461A8}" dt="2025-11-15T11:57:56.368" v="430270"/>
          <ac:spMkLst>
            <pc:docMk/>
            <pc:sldMk cId="3323175271" sldId="2147483084"/>
            <ac:spMk id="331" creationId="{51C5CFD9-6D58-115C-D830-C862AFDF25D6}"/>
          </ac:spMkLst>
        </pc:spChg>
        <pc:spChg chg="mod ord">
          <ac:chgData name="Yiqun Dai" userId="360a2182-b97f-4635-b990-04f846616e33" providerId="ADAL" clId="{8F04EA49-0EFC-48F3-A4D8-E0F0D3B461A8}" dt="2025-11-15T11:57:56.350" v="430249"/>
          <ac:spMkLst>
            <pc:docMk/>
            <pc:sldMk cId="3323175271" sldId="2147483084"/>
            <ac:spMk id="332" creationId="{CB1EE45F-9DDB-7EAD-3A9A-43D8444B2544}"/>
          </ac:spMkLst>
        </pc:spChg>
        <pc:spChg chg="mod">
          <ac:chgData name="Yiqun Dai" userId="360a2182-b97f-4635-b990-04f846616e33" providerId="ADAL" clId="{8F04EA49-0EFC-48F3-A4D8-E0F0D3B461A8}" dt="2025-11-15T11:57:56.350" v="430250"/>
          <ac:spMkLst>
            <pc:docMk/>
            <pc:sldMk cId="3323175271" sldId="2147483084"/>
            <ac:spMk id="333" creationId="{2936897C-AB8B-542F-6763-37919CD0F7AC}"/>
          </ac:spMkLst>
        </pc:spChg>
        <pc:spChg chg="mod ord">
          <ac:chgData name="Yiqun Dai" userId="360a2182-b97f-4635-b990-04f846616e33" providerId="ADAL" clId="{8F04EA49-0EFC-48F3-A4D8-E0F0D3B461A8}" dt="2025-11-15T11:57:56.350" v="430252"/>
          <ac:spMkLst>
            <pc:docMk/>
            <pc:sldMk cId="3323175271" sldId="2147483084"/>
            <ac:spMk id="334" creationId="{A1407B04-5FCF-FDB2-97F4-DCDBE288FA2C}"/>
          </ac:spMkLst>
        </pc:spChg>
        <pc:spChg chg="mod ord">
          <ac:chgData name="Yiqun Dai" userId="360a2182-b97f-4635-b990-04f846616e33" providerId="ADAL" clId="{8F04EA49-0EFC-48F3-A4D8-E0F0D3B461A8}" dt="2025-11-15T11:57:56.350" v="430254"/>
          <ac:spMkLst>
            <pc:docMk/>
            <pc:sldMk cId="3323175271" sldId="2147483084"/>
            <ac:spMk id="335" creationId="{FFC69DA2-ADB5-9954-EE06-D85D98D6F4A7}"/>
          </ac:spMkLst>
        </pc:spChg>
        <pc:spChg chg="mod ord">
          <ac:chgData name="Yiqun Dai" userId="360a2182-b97f-4635-b990-04f846616e33" providerId="ADAL" clId="{8F04EA49-0EFC-48F3-A4D8-E0F0D3B461A8}" dt="2025-11-15T11:57:56.350" v="430255"/>
          <ac:spMkLst>
            <pc:docMk/>
            <pc:sldMk cId="3323175271" sldId="2147483084"/>
            <ac:spMk id="336" creationId="{31E1D689-7FBB-4BCD-C510-0F885DF71CCC}"/>
          </ac:spMkLst>
        </pc:spChg>
        <pc:spChg chg="mod">
          <ac:chgData name="Yiqun Dai" userId="360a2182-b97f-4635-b990-04f846616e33" providerId="ADAL" clId="{8F04EA49-0EFC-48F3-A4D8-E0F0D3B461A8}" dt="2025-11-15T11:57:56.350" v="430256"/>
          <ac:spMkLst>
            <pc:docMk/>
            <pc:sldMk cId="3323175271" sldId="2147483084"/>
            <ac:spMk id="337" creationId="{8B1F68A3-AB38-441A-5BFF-C27BF740844D}"/>
          </ac:spMkLst>
        </pc:spChg>
        <pc:spChg chg="mod ord">
          <ac:chgData name="Yiqun Dai" userId="360a2182-b97f-4635-b990-04f846616e33" providerId="ADAL" clId="{8F04EA49-0EFC-48F3-A4D8-E0F0D3B461A8}" dt="2025-11-15T11:57:56.350" v="430257"/>
          <ac:spMkLst>
            <pc:docMk/>
            <pc:sldMk cId="3323175271" sldId="2147483084"/>
            <ac:spMk id="338" creationId="{D03005C9-60B3-45BF-3F5A-4579DF342426}"/>
          </ac:spMkLst>
        </pc:spChg>
        <pc:spChg chg="mod">
          <ac:chgData name="Yiqun Dai" userId="360a2182-b97f-4635-b990-04f846616e33" providerId="ADAL" clId="{8F04EA49-0EFC-48F3-A4D8-E0F0D3B461A8}" dt="2025-11-15T11:57:56.350" v="430258"/>
          <ac:spMkLst>
            <pc:docMk/>
            <pc:sldMk cId="3323175271" sldId="2147483084"/>
            <ac:spMk id="339" creationId="{5FAD2C75-515A-449A-B549-66641A30B520}"/>
          </ac:spMkLst>
        </pc:spChg>
        <pc:spChg chg="mod ord">
          <ac:chgData name="Yiqun Dai" userId="360a2182-b97f-4635-b990-04f846616e33" providerId="ADAL" clId="{8F04EA49-0EFC-48F3-A4D8-E0F0D3B461A8}" dt="2025-11-15T11:57:56.350" v="430260"/>
          <ac:spMkLst>
            <pc:docMk/>
            <pc:sldMk cId="3323175271" sldId="2147483084"/>
            <ac:spMk id="340" creationId="{0985CB23-16A3-5ED6-2FE9-A102B596388C}"/>
          </ac:spMkLst>
        </pc:spChg>
        <pc:spChg chg="mod">
          <ac:chgData name="Yiqun Dai" userId="360a2182-b97f-4635-b990-04f846616e33" providerId="ADAL" clId="{8F04EA49-0EFC-48F3-A4D8-E0F0D3B461A8}" dt="2025-11-15T11:57:56.350" v="430261"/>
          <ac:spMkLst>
            <pc:docMk/>
            <pc:sldMk cId="3323175271" sldId="2147483084"/>
            <ac:spMk id="341" creationId="{98B018DF-A61B-4027-241F-0E94CEC65DFC}"/>
          </ac:spMkLst>
        </pc:spChg>
        <pc:spChg chg="mod">
          <ac:chgData name="Yiqun Dai" userId="360a2182-b97f-4635-b990-04f846616e33" providerId="ADAL" clId="{8F04EA49-0EFC-48F3-A4D8-E0F0D3B461A8}" dt="2025-11-15T11:57:56.350" v="430262"/>
          <ac:spMkLst>
            <pc:docMk/>
            <pc:sldMk cId="3323175271" sldId="2147483084"/>
            <ac:spMk id="342" creationId="{0128CF18-C4F7-C53D-C7EA-CC33822F0061}"/>
          </ac:spMkLst>
        </pc:spChg>
        <pc:spChg chg="mod ord">
          <ac:chgData name="Yiqun Dai" userId="360a2182-b97f-4635-b990-04f846616e33" providerId="ADAL" clId="{8F04EA49-0EFC-48F3-A4D8-E0F0D3B461A8}" dt="2025-11-15T11:57:56.350" v="430263"/>
          <ac:spMkLst>
            <pc:docMk/>
            <pc:sldMk cId="3323175271" sldId="2147483084"/>
            <ac:spMk id="343" creationId="{3EA106B9-868F-FE21-329F-042FC18EEE04}"/>
          </ac:spMkLst>
        </pc:spChg>
        <pc:spChg chg="mod">
          <ac:chgData name="Yiqun Dai" userId="360a2182-b97f-4635-b990-04f846616e33" providerId="ADAL" clId="{8F04EA49-0EFC-48F3-A4D8-E0F0D3B461A8}" dt="2025-11-15T11:57:56.350" v="430264"/>
          <ac:spMkLst>
            <pc:docMk/>
            <pc:sldMk cId="3323175271" sldId="2147483084"/>
            <ac:spMk id="344" creationId="{AA0EBB06-D023-9BE0-2A89-DCB70DF6E1EF}"/>
          </ac:spMkLst>
        </pc:spChg>
        <pc:spChg chg="mod ord">
          <ac:chgData name="Yiqun Dai" userId="360a2182-b97f-4635-b990-04f846616e33" providerId="ADAL" clId="{8F04EA49-0EFC-48F3-A4D8-E0F0D3B461A8}" dt="2025-11-15T11:57:56.350" v="430265"/>
          <ac:spMkLst>
            <pc:docMk/>
            <pc:sldMk cId="3323175271" sldId="2147483084"/>
            <ac:spMk id="345" creationId="{98FBE664-FC46-F470-6D8D-564AA49CB5D6}"/>
          </ac:spMkLst>
        </pc:spChg>
        <pc:spChg chg="mod ord">
          <ac:chgData name="Yiqun Dai" userId="360a2182-b97f-4635-b990-04f846616e33" providerId="ADAL" clId="{8F04EA49-0EFC-48F3-A4D8-E0F0D3B461A8}" dt="2025-11-15T11:57:56.381" v="430303"/>
          <ac:spMkLst>
            <pc:docMk/>
            <pc:sldMk cId="3323175271" sldId="2147483084"/>
            <ac:spMk id="713" creationId="{6D153639-3087-C010-3E83-C2B97128E3EF}"/>
          </ac:spMkLst>
        </pc:spChg>
        <pc:spChg chg="mod ord">
          <ac:chgData name="Yiqun Dai" userId="360a2182-b97f-4635-b990-04f846616e33" providerId="ADAL" clId="{8F04EA49-0EFC-48F3-A4D8-E0F0D3B461A8}" dt="2025-11-15T11:57:56.381" v="430304"/>
          <ac:spMkLst>
            <pc:docMk/>
            <pc:sldMk cId="3323175271" sldId="2147483084"/>
            <ac:spMk id="714" creationId="{669E0C6E-08F0-661B-B965-9CC95A57223B}"/>
          </ac:spMkLst>
        </pc:spChg>
        <pc:spChg chg="mod ord">
          <ac:chgData name="Yiqun Dai" userId="360a2182-b97f-4635-b990-04f846616e33" providerId="ADAL" clId="{8F04EA49-0EFC-48F3-A4D8-E0F0D3B461A8}" dt="2025-11-15T11:57:56.381" v="430305"/>
          <ac:spMkLst>
            <pc:docMk/>
            <pc:sldMk cId="3323175271" sldId="2147483084"/>
            <ac:spMk id="715" creationId="{C8D9801A-B7CE-1349-9EBB-576070BEACF8}"/>
          </ac:spMkLst>
        </pc:spChg>
        <pc:spChg chg="mod ord">
          <ac:chgData name="Yiqun Dai" userId="360a2182-b97f-4635-b990-04f846616e33" providerId="ADAL" clId="{8F04EA49-0EFC-48F3-A4D8-E0F0D3B461A8}" dt="2025-11-15T11:57:56.381" v="430306"/>
          <ac:spMkLst>
            <pc:docMk/>
            <pc:sldMk cId="3323175271" sldId="2147483084"/>
            <ac:spMk id="716" creationId="{1CC27C97-C7EF-5226-37FD-ACAC38D55461}"/>
          </ac:spMkLst>
        </pc:spChg>
        <pc:spChg chg="mod ord">
          <ac:chgData name="Yiqun Dai" userId="360a2182-b97f-4635-b990-04f846616e33" providerId="ADAL" clId="{8F04EA49-0EFC-48F3-A4D8-E0F0D3B461A8}" dt="2025-11-15T11:57:56.400" v="430324"/>
          <ac:spMkLst>
            <pc:docMk/>
            <pc:sldMk cId="3323175271" sldId="2147483084"/>
            <ac:spMk id="717" creationId="{D06979AC-D979-D05D-8B8F-B2A1149664AF}"/>
          </ac:spMkLst>
        </pc:spChg>
        <pc:spChg chg="mod ord">
          <ac:chgData name="Yiqun Dai" userId="360a2182-b97f-4635-b990-04f846616e33" providerId="ADAL" clId="{8F04EA49-0EFC-48F3-A4D8-E0F0D3B461A8}" dt="2025-11-15T11:57:56.381" v="430319"/>
          <ac:spMkLst>
            <pc:docMk/>
            <pc:sldMk cId="3323175271" sldId="2147483084"/>
            <ac:spMk id="718" creationId="{D7325B82-5F34-B9B4-72FB-6F9DB9502127}"/>
          </ac:spMkLst>
        </pc:spChg>
        <pc:spChg chg="mod ord">
          <ac:chgData name="Yiqun Dai" userId="360a2182-b97f-4635-b990-04f846616e33" providerId="ADAL" clId="{8F04EA49-0EFC-48F3-A4D8-E0F0D3B461A8}" dt="2025-11-15T11:57:56.381" v="430310"/>
          <ac:spMkLst>
            <pc:docMk/>
            <pc:sldMk cId="3323175271" sldId="2147483084"/>
            <ac:spMk id="719" creationId="{41650593-5F73-8BD7-632C-C44087AEF7AD}"/>
          </ac:spMkLst>
        </pc:spChg>
        <pc:spChg chg="mod ord">
          <ac:chgData name="Yiqun Dai" userId="360a2182-b97f-4635-b990-04f846616e33" providerId="ADAL" clId="{8F04EA49-0EFC-48F3-A4D8-E0F0D3B461A8}" dt="2025-11-15T11:57:56.381" v="430311"/>
          <ac:spMkLst>
            <pc:docMk/>
            <pc:sldMk cId="3323175271" sldId="2147483084"/>
            <ac:spMk id="720" creationId="{6488793F-9092-060E-8774-C2A218C48A32}"/>
          </ac:spMkLst>
        </pc:spChg>
        <pc:spChg chg="mod ord">
          <ac:chgData name="Yiqun Dai" userId="360a2182-b97f-4635-b990-04f846616e33" providerId="ADAL" clId="{8F04EA49-0EFC-48F3-A4D8-E0F0D3B461A8}" dt="2025-11-15T11:57:56.381" v="430312"/>
          <ac:spMkLst>
            <pc:docMk/>
            <pc:sldMk cId="3323175271" sldId="2147483084"/>
            <ac:spMk id="721" creationId="{F64B97A0-0E3B-DEA2-2503-F3AA9E3EAC4F}"/>
          </ac:spMkLst>
        </pc:spChg>
        <pc:spChg chg="mod ord">
          <ac:chgData name="Yiqun Dai" userId="360a2182-b97f-4635-b990-04f846616e33" providerId="ADAL" clId="{8F04EA49-0EFC-48F3-A4D8-E0F0D3B461A8}" dt="2025-11-15T11:57:56.381" v="430313"/>
          <ac:spMkLst>
            <pc:docMk/>
            <pc:sldMk cId="3323175271" sldId="2147483084"/>
            <ac:spMk id="722" creationId="{6B1A04D0-ED32-082B-472C-9B1F9069EE5F}"/>
          </ac:spMkLst>
        </pc:spChg>
        <pc:spChg chg="mod ord">
          <ac:chgData name="Yiqun Dai" userId="360a2182-b97f-4635-b990-04f846616e33" providerId="ADAL" clId="{8F04EA49-0EFC-48F3-A4D8-E0F0D3B461A8}" dt="2025-11-15T11:57:56.381" v="430314"/>
          <ac:spMkLst>
            <pc:docMk/>
            <pc:sldMk cId="3323175271" sldId="2147483084"/>
            <ac:spMk id="723" creationId="{E731C32A-1E9E-CA25-8733-87C8E24E35BA}"/>
          </ac:spMkLst>
        </pc:spChg>
        <pc:spChg chg="mod ord">
          <ac:chgData name="Yiqun Dai" userId="360a2182-b97f-4635-b990-04f846616e33" providerId="ADAL" clId="{8F04EA49-0EFC-48F3-A4D8-E0F0D3B461A8}" dt="2025-11-15T11:57:56.381" v="430315"/>
          <ac:spMkLst>
            <pc:docMk/>
            <pc:sldMk cId="3323175271" sldId="2147483084"/>
            <ac:spMk id="724" creationId="{1CA5C230-8A2D-6181-0CA5-623667335323}"/>
          </ac:spMkLst>
        </pc:spChg>
        <pc:spChg chg="mod ord">
          <ac:chgData name="Yiqun Dai" userId="360a2182-b97f-4635-b990-04f846616e33" providerId="ADAL" clId="{8F04EA49-0EFC-48F3-A4D8-E0F0D3B461A8}" dt="2025-11-15T11:57:56.381" v="430316"/>
          <ac:spMkLst>
            <pc:docMk/>
            <pc:sldMk cId="3323175271" sldId="2147483084"/>
            <ac:spMk id="726" creationId="{4AC950BE-9023-1016-31DA-A18A8FC05A43}"/>
          </ac:spMkLst>
        </pc:spChg>
        <pc:spChg chg="mod">
          <ac:chgData name="Yiqun Dai" userId="360a2182-b97f-4635-b990-04f846616e33" providerId="ADAL" clId="{8F04EA49-0EFC-48F3-A4D8-E0F0D3B461A8}" dt="2025-11-15T11:57:56.381" v="430317"/>
          <ac:spMkLst>
            <pc:docMk/>
            <pc:sldMk cId="3323175271" sldId="2147483084"/>
            <ac:spMk id="727" creationId="{874197E4-1191-8E5B-40F6-2EC0E234DB92}"/>
          </ac:spMkLst>
        </pc:spChg>
        <pc:spChg chg="mod">
          <ac:chgData name="Yiqun Dai" userId="360a2182-b97f-4635-b990-04f846616e33" providerId="ADAL" clId="{8F04EA49-0EFC-48F3-A4D8-E0F0D3B461A8}" dt="2025-11-15T11:57:56.381" v="430318"/>
          <ac:spMkLst>
            <pc:docMk/>
            <pc:sldMk cId="3323175271" sldId="2147483084"/>
            <ac:spMk id="728" creationId="{A18C5277-1C25-4B37-5F55-0DD83FC35E33}"/>
          </ac:spMkLst>
        </pc:spChg>
        <pc:spChg chg="mod ord">
          <ac:chgData name="Yiqun Dai" userId="360a2182-b97f-4635-b990-04f846616e33" providerId="ADAL" clId="{8F04EA49-0EFC-48F3-A4D8-E0F0D3B461A8}" dt="2025-11-15T11:57:56.396" v="430320"/>
          <ac:spMkLst>
            <pc:docMk/>
            <pc:sldMk cId="3323175271" sldId="2147483084"/>
            <ac:spMk id="729" creationId="{3C151F1D-9F92-3595-8115-A29904D495B8}"/>
          </ac:spMkLst>
        </pc:spChg>
        <pc:spChg chg="mod ord">
          <ac:chgData name="Yiqun Dai" userId="360a2182-b97f-4635-b990-04f846616e33" providerId="ADAL" clId="{8F04EA49-0EFC-48F3-A4D8-E0F0D3B461A8}" dt="2025-11-15T11:57:56.381" v="430307"/>
          <ac:spMkLst>
            <pc:docMk/>
            <pc:sldMk cId="3323175271" sldId="2147483084"/>
            <ac:spMk id="730" creationId="{03E17B7A-A7D8-E497-3F23-492D5BC195F5}"/>
          </ac:spMkLst>
        </pc:spChg>
        <pc:spChg chg="mod ord">
          <ac:chgData name="Yiqun Dai" userId="360a2182-b97f-4635-b990-04f846616e33" providerId="ADAL" clId="{8F04EA49-0EFC-48F3-A4D8-E0F0D3B461A8}" dt="2025-11-15T11:57:56.396" v="430321"/>
          <ac:spMkLst>
            <pc:docMk/>
            <pc:sldMk cId="3323175271" sldId="2147483084"/>
            <ac:spMk id="731" creationId="{E0E392E6-F360-9C56-2ABA-368A34D15386}"/>
          </ac:spMkLst>
        </pc:spChg>
        <pc:spChg chg="mod ord">
          <ac:chgData name="Yiqun Dai" userId="360a2182-b97f-4635-b990-04f846616e33" providerId="ADAL" clId="{8F04EA49-0EFC-48F3-A4D8-E0F0D3B461A8}" dt="2025-11-15T11:57:56.398" v="430322"/>
          <ac:spMkLst>
            <pc:docMk/>
            <pc:sldMk cId="3323175271" sldId="2147483084"/>
            <ac:spMk id="732" creationId="{0816A8A9-7B30-1A9B-9756-1FE0DC24E42D}"/>
          </ac:spMkLst>
        </pc:spChg>
        <pc:spChg chg="mod ord">
          <ac:chgData name="Yiqun Dai" userId="360a2182-b97f-4635-b990-04f846616e33" providerId="ADAL" clId="{8F04EA49-0EFC-48F3-A4D8-E0F0D3B461A8}" dt="2025-11-15T11:57:56.400" v="430323"/>
          <ac:spMkLst>
            <pc:docMk/>
            <pc:sldMk cId="3323175271" sldId="2147483084"/>
            <ac:spMk id="733" creationId="{47167AED-5E9C-ADC4-B9DC-986C1143979A}"/>
          </ac:spMkLst>
        </pc:spChg>
        <pc:spChg chg="mod ord">
          <ac:chgData name="Yiqun Dai" userId="360a2182-b97f-4635-b990-04f846616e33" providerId="ADAL" clId="{8F04EA49-0EFC-48F3-A4D8-E0F0D3B461A8}" dt="2025-11-15T11:57:56.400" v="430325"/>
          <ac:spMkLst>
            <pc:docMk/>
            <pc:sldMk cId="3323175271" sldId="2147483084"/>
            <ac:spMk id="734" creationId="{1768E56F-C084-9448-DCCC-450292DDF09F}"/>
          </ac:spMkLst>
        </pc:spChg>
        <pc:spChg chg="mod ord">
          <ac:chgData name="Yiqun Dai" userId="360a2182-b97f-4635-b990-04f846616e33" providerId="ADAL" clId="{8F04EA49-0EFC-48F3-A4D8-E0F0D3B461A8}" dt="2025-11-15T11:57:56.400" v="430326"/>
          <ac:spMkLst>
            <pc:docMk/>
            <pc:sldMk cId="3323175271" sldId="2147483084"/>
            <ac:spMk id="735" creationId="{36485316-DDF8-1361-A16F-D6A5480C7112}"/>
          </ac:spMkLst>
        </pc:spChg>
        <pc:spChg chg="mod ord">
          <ac:chgData name="Yiqun Dai" userId="360a2182-b97f-4635-b990-04f846616e33" providerId="ADAL" clId="{8F04EA49-0EFC-48F3-A4D8-E0F0D3B461A8}" dt="2025-11-15T11:57:56.400" v="430328"/>
          <ac:spMkLst>
            <pc:docMk/>
            <pc:sldMk cId="3323175271" sldId="2147483084"/>
            <ac:spMk id="736" creationId="{454EB040-36DC-BC74-8F5D-3DF7734B5EEE}"/>
          </ac:spMkLst>
        </pc:spChg>
        <pc:spChg chg="mod ord">
          <ac:chgData name="Yiqun Dai" userId="360a2182-b97f-4635-b990-04f846616e33" providerId="ADAL" clId="{8F04EA49-0EFC-48F3-A4D8-E0F0D3B461A8}" dt="2025-11-15T11:57:56.381" v="430308"/>
          <ac:spMkLst>
            <pc:docMk/>
            <pc:sldMk cId="3323175271" sldId="2147483084"/>
            <ac:spMk id="737" creationId="{B584C184-490C-61DF-A517-CFEE2F650475}"/>
          </ac:spMkLst>
        </pc:spChg>
        <pc:spChg chg="mod ord">
          <ac:chgData name="Yiqun Dai" userId="360a2182-b97f-4635-b990-04f846616e33" providerId="ADAL" clId="{8F04EA49-0EFC-48F3-A4D8-E0F0D3B461A8}" dt="2025-11-15T11:57:56.400" v="430329"/>
          <ac:spMkLst>
            <pc:docMk/>
            <pc:sldMk cId="3323175271" sldId="2147483084"/>
            <ac:spMk id="738" creationId="{6C9B0974-93F7-27D0-D38F-26C76FC5EF55}"/>
          </ac:spMkLst>
        </pc:spChg>
        <pc:spChg chg="mod ord">
          <ac:chgData name="Yiqun Dai" userId="360a2182-b97f-4635-b990-04f846616e33" providerId="ADAL" clId="{8F04EA49-0EFC-48F3-A4D8-E0F0D3B461A8}" dt="2025-11-15T11:57:56.400" v="430330"/>
          <ac:spMkLst>
            <pc:docMk/>
            <pc:sldMk cId="3323175271" sldId="2147483084"/>
            <ac:spMk id="739" creationId="{4BE39877-04FA-F3AF-C7A3-8D449D734B91}"/>
          </ac:spMkLst>
        </pc:spChg>
        <pc:spChg chg="mod ord">
          <ac:chgData name="Yiqun Dai" userId="360a2182-b97f-4635-b990-04f846616e33" providerId="ADAL" clId="{8F04EA49-0EFC-48F3-A4D8-E0F0D3B461A8}" dt="2025-11-15T11:57:56.368" v="430299"/>
          <ac:spMkLst>
            <pc:docMk/>
            <pc:sldMk cId="3323175271" sldId="2147483084"/>
            <ac:spMk id="740" creationId="{B36F095A-B089-A2FE-6396-F0F2E341A40C}"/>
          </ac:spMkLst>
        </pc:spChg>
        <pc:spChg chg="mod ord">
          <ac:chgData name="Yiqun Dai" userId="360a2182-b97f-4635-b990-04f846616e33" providerId="ADAL" clId="{8F04EA49-0EFC-48F3-A4D8-E0F0D3B461A8}" dt="2025-11-15T11:57:56.381" v="430300"/>
          <ac:spMkLst>
            <pc:docMk/>
            <pc:sldMk cId="3323175271" sldId="2147483084"/>
            <ac:spMk id="741" creationId="{F15FB5BD-41D9-FC56-4056-F95BC0214161}"/>
          </ac:spMkLst>
        </pc:spChg>
        <pc:spChg chg="mod ord">
          <ac:chgData name="Yiqun Dai" userId="360a2182-b97f-4635-b990-04f846616e33" providerId="ADAL" clId="{8F04EA49-0EFC-48F3-A4D8-E0F0D3B461A8}" dt="2025-11-15T11:57:56.381" v="430301"/>
          <ac:spMkLst>
            <pc:docMk/>
            <pc:sldMk cId="3323175271" sldId="2147483084"/>
            <ac:spMk id="742" creationId="{3423FDE9-7A62-BAE8-8648-4ECD14F2E4CE}"/>
          </ac:spMkLst>
        </pc:spChg>
        <pc:spChg chg="mod ord">
          <ac:chgData name="Yiqun Dai" userId="360a2182-b97f-4635-b990-04f846616e33" providerId="ADAL" clId="{8F04EA49-0EFC-48F3-A4D8-E0F0D3B461A8}" dt="2025-11-15T11:57:56.381" v="430302"/>
          <ac:spMkLst>
            <pc:docMk/>
            <pc:sldMk cId="3323175271" sldId="2147483084"/>
            <ac:spMk id="743" creationId="{6415C43A-613A-D867-1626-D658795C9A95}"/>
          </ac:spMkLst>
        </pc:spChg>
        <pc:spChg chg="mod ord">
          <ac:chgData name="Yiqun Dai" userId="360a2182-b97f-4635-b990-04f846616e33" providerId="ADAL" clId="{8F04EA49-0EFC-48F3-A4D8-E0F0D3B461A8}" dt="2025-11-15T11:57:56.431" v="430381"/>
          <ac:spMkLst>
            <pc:docMk/>
            <pc:sldMk cId="3323175271" sldId="2147483084"/>
            <ac:spMk id="769" creationId="{5FACE895-04E1-31A3-F2F5-110C48CB07FB}"/>
          </ac:spMkLst>
        </pc:spChg>
        <pc:spChg chg="mod ord">
          <ac:chgData name="Yiqun Dai" userId="360a2182-b97f-4635-b990-04f846616e33" providerId="ADAL" clId="{8F04EA49-0EFC-48F3-A4D8-E0F0D3B461A8}" dt="2025-11-15T11:57:56.431" v="430385"/>
          <ac:spMkLst>
            <pc:docMk/>
            <pc:sldMk cId="3323175271" sldId="2147483084"/>
            <ac:spMk id="770" creationId="{B028AC69-D612-3475-EBA5-FDAF1C941BBF}"/>
          </ac:spMkLst>
        </pc:spChg>
        <pc:spChg chg="mod ord">
          <ac:chgData name="Yiqun Dai" userId="360a2182-b97f-4635-b990-04f846616e33" providerId="ADAL" clId="{8F04EA49-0EFC-48F3-A4D8-E0F0D3B461A8}" dt="2025-11-15T11:57:56.414" v="430366"/>
          <ac:spMkLst>
            <pc:docMk/>
            <pc:sldMk cId="3323175271" sldId="2147483084"/>
            <ac:spMk id="771" creationId="{986C029F-C2C0-25F3-1211-4D7F7B520002}"/>
          </ac:spMkLst>
        </pc:spChg>
        <pc:spChg chg="mod ord">
          <ac:chgData name="Yiqun Dai" userId="360a2182-b97f-4635-b990-04f846616e33" providerId="ADAL" clId="{8F04EA49-0EFC-48F3-A4D8-E0F0D3B461A8}" dt="2025-11-15T11:57:56.414" v="430367"/>
          <ac:spMkLst>
            <pc:docMk/>
            <pc:sldMk cId="3323175271" sldId="2147483084"/>
            <ac:spMk id="772" creationId="{26F0ABD3-E906-DC97-F963-285553D29028}"/>
          </ac:spMkLst>
        </pc:spChg>
        <pc:spChg chg="mod">
          <ac:chgData name="Yiqun Dai" userId="360a2182-b97f-4635-b990-04f846616e33" providerId="ADAL" clId="{8F04EA49-0EFC-48F3-A4D8-E0F0D3B461A8}" dt="2025-11-15T11:57:56.429" v="430368"/>
          <ac:spMkLst>
            <pc:docMk/>
            <pc:sldMk cId="3323175271" sldId="2147483084"/>
            <ac:spMk id="773" creationId="{B015116A-034B-BD9C-F787-D0467FE037B8}"/>
          </ac:spMkLst>
        </pc:spChg>
        <pc:spChg chg="mod ord">
          <ac:chgData name="Yiqun Dai" userId="360a2182-b97f-4635-b990-04f846616e33" providerId="ADAL" clId="{8F04EA49-0EFC-48F3-A4D8-E0F0D3B461A8}" dt="2025-11-15T11:57:56.431" v="430382"/>
          <ac:spMkLst>
            <pc:docMk/>
            <pc:sldMk cId="3323175271" sldId="2147483084"/>
            <ac:spMk id="774" creationId="{319B248F-2EB4-3C61-96FA-73FCFFB50B64}"/>
          </ac:spMkLst>
        </pc:spChg>
        <pc:spChg chg="mod ord">
          <ac:chgData name="Yiqun Dai" userId="360a2182-b97f-4635-b990-04f846616e33" providerId="ADAL" clId="{8F04EA49-0EFC-48F3-A4D8-E0F0D3B461A8}" dt="2025-11-15T11:57:56.431" v="430371"/>
          <ac:spMkLst>
            <pc:docMk/>
            <pc:sldMk cId="3323175271" sldId="2147483084"/>
            <ac:spMk id="775" creationId="{1DF3A903-21F8-6C7D-7CE4-5A67DAAF59C2}"/>
          </ac:spMkLst>
        </pc:spChg>
        <pc:spChg chg="mod ord">
          <ac:chgData name="Yiqun Dai" userId="360a2182-b97f-4635-b990-04f846616e33" providerId="ADAL" clId="{8F04EA49-0EFC-48F3-A4D8-E0F0D3B461A8}" dt="2025-11-15T11:57:56.431" v="430372"/>
          <ac:spMkLst>
            <pc:docMk/>
            <pc:sldMk cId="3323175271" sldId="2147483084"/>
            <ac:spMk id="776" creationId="{AFD63578-60A2-DD58-0FB4-97B7680C4D43}"/>
          </ac:spMkLst>
        </pc:spChg>
        <pc:spChg chg="mod ord">
          <ac:chgData name="Yiqun Dai" userId="360a2182-b97f-4635-b990-04f846616e33" providerId="ADAL" clId="{8F04EA49-0EFC-48F3-A4D8-E0F0D3B461A8}" dt="2025-11-15T11:57:56.431" v="430373"/>
          <ac:spMkLst>
            <pc:docMk/>
            <pc:sldMk cId="3323175271" sldId="2147483084"/>
            <ac:spMk id="777" creationId="{D21BD7E2-280E-2B57-7391-5E492FF06250}"/>
          </ac:spMkLst>
        </pc:spChg>
        <pc:spChg chg="mod ord">
          <ac:chgData name="Yiqun Dai" userId="360a2182-b97f-4635-b990-04f846616e33" providerId="ADAL" clId="{8F04EA49-0EFC-48F3-A4D8-E0F0D3B461A8}" dt="2025-11-15T11:57:56.431" v="430375"/>
          <ac:spMkLst>
            <pc:docMk/>
            <pc:sldMk cId="3323175271" sldId="2147483084"/>
            <ac:spMk id="778" creationId="{2D5A50F2-303C-B5B3-E83E-2B21B0DE4746}"/>
          </ac:spMkLst>
        </pc:spChg>
        <pc:spChg chg="mod">
          <ac:chgData name="Yiqun Dai" userId="360a2182-b97f-4635-b990-04f846616e33" providerId="ADAL" clId="{8F04EA49-0EFC-48F3-A4D8-E0F0D3B461A8}" dt="2025-11-15T11:57:56.431" v="430377"/>
          <ac:spMkLst>
            <pc:docMk/>
            <pc:sldMk cId="3323175271" sldId="2147483084"/>
            <ac:spMk id="779" creationId="{E06377FE-E18D-25D2-770F-A3738171E628}"/>
          </ac:spMkLst>
        </pc:spChg>
        <pc:spChg chg="mod ord">
          <ac:chgData name="Yiqun Dai" userId="360a2182-b97f-4635-b990-04f846616e33" providerId="ADAL" clId="{8F04EA49-0EFC-48F3-A4D8-E0F0D3B461A8}" dt="2025-11-15T11:57:56.431" v="430378"/>
          <ac:spMkLst>
            <pc:docMk/>
            <pc:sldMk cId="3323175271" sldId="2147483084"/>
            <ac:spMk id="780" creationId="{C01DF26D-3919-1EB0-E7C8-540F721BE058}"/>
          </ac:spMkLst>
        </pc:spChg>
        <pc:spChg chg="mod ord">
          <ac:chgData name="Yiqun Dai" userId="360a2182-b97f-4635-b990-04f846616e33" providerId="ADAL" clId="{8F04EA49-0EFC-48F3-A4D8-E0F0D3B461A8}" dt="2025-11-15T11:57:56.431" v="430379"/>
          <ac:spMkLst>
            <pc:docMk/>
            <pc:sldMk cId="3323175271" sldId="2147483084"/>
            <ac:spMk id="781" creationId="{258F8395-90C7-0352-D7D8-1615EE0639DD}"/>
          </ac:spMkLst>
        </pc:spChg>
        <pc:spChg chg="mod">
          <ac:chgData name="Yiqun Dai" userId="360a2182-b97f-4635-b990-04f846616e33" providerId="ADAL" clId="{8F04EA49-0EFC-48F3-A4D8-E0F0D3B461A8}" dt="2025-11-15T11:57:56.431" v="430380"/>
          <ac:spMkLst>
            <pc:docMk/>
            <pc:sldMk cId="3323175271" sldId="2147483084"/>
            <ac:spMk id="782" creationId="{DE74952A-DC18-75DC-AAFD-5BDA3414273B}"/>
          </ac:spMkLst>
        </pc:spChg>
        <pc:spChg chg="mod">
          <ac:chgData name="Yiqun Dai" userId="360a2182-b97f-4635-b990-04f846616e33" providerId="ADAL" clId="{8F04EA49-0EFC-48F3-A4D8-E0F0D3B461A8}" dt="2025-11-15T11:57:56.430" v="430369"/>
          <ac:spMkLst>
            <pc:docMk/>
            <pc:sldMk cId="3323175271" sldId="2147483084"/>
            <ac:spMk id="783" creationId="{854BFB23-AAD4-9855-CDA7-C8B9168B65B9}"/>
          </ac:spMkLst>
        </pc:spChg>
        <pc:spChg chg="mod">
          <ac:chgData name="Yiqun Dai" userId="360a2182-b97f-4635-b990-04f846616e33" providerId="ADAL" clId="{8F04EA49-0EFC-48F3-A4D8-E0F0D3B461A8}" dt="2025-11-15T11:57:56.431" v="430376"/>
          <ac:spMkLst>
            <pc:docMk/>
            <pc:sldMk cId="3323175271" sldId="2147483084"/>
            <ac:spMk id="784" creationId="{A71FF79D-4E07-C481-BD39-21F5F902835A}"/>
          </ac:spMkLst>
        </pc:spChg>
        <pc:spChg chg="mod">
          <ac:chgData name="Yiqun Dai" userId="360a2182-b97f-4635-b990-04f846616e33" providerId="ADAL" clId="{8F04EA49-0EFC-48F3-A4D8-E0F0D3B461A8}" dt="2025-11-15T11:57:56.431" v="430383"/>
          <ac:spMkLst>
            <pc:docMk/>
            <pc:sldMk cId="3323175271" sldId="2147483084"/>
            <ac:spMk id="785" creationId="{05D54567-A863-869A-1C66-6233A68151CC}"/>
          </ac:spMkLst>
        </pc:spChg>
        <pc:spChg chg="mod ord">
          <ac:chgData name="Yiqun Dai" userId="360a2182-b97f-4635-b990-04f846616e33" providerId="ADAL" clId="{8F04EA49-0EFC-48F3-A4D8-E0F0D3B461A8}" dt="2025-11-15T11:57:56.431" v="430384"/>
          <ac:spMkLst>
            <pc:docMk/>
            <pc:sldMk cId="3323175271" sldId="2147483084"/>
            <ac:spMk id="786" creationId="{62B24168-93B8-21EE-DF1F-233C46D3CBE9}"/>
          </ac:spMkLst>
        </pc:spChg>
        <pc:spChg chg="mod ord">
          <ac:chgData name="Yiqun Dai" userId="360a2182-b97f-4635-b990-04f846616e33" providerId="ADAL" clId="{8F04EA49-0EFC-48F3-A4D8-E0F0D3B461A8}" dt="2025-11-15T11:57:56.414" v="430349"/>
          <ac:spMkLst>
            <pc:docMk/>
            <pc:sldMk cId="3323175271" sldId="2147483084"/>
            <ac:spMk id="787" creationId="{A177C4AE-F6A9-DC48-35BA-B2AAB9363747}"/>
          </ac:spMkLst>
        </pc:spChg>
        <pc:spChg chg="mod ord">
          <ac:chgData name="Yiqun Dai" userId="360a2182-b97f-4635-b990-04f846616e33" providerId="ADAL" clId="{8F04EA49-0EFC-48F3-A4D8-E0F0D3B461A8}" dt="2025-11-15T11:57:56.414" v="430351"/>
          <ac:spMkLst>
            <pc:docMk/>
            <pc:sldMk cId="3323175271" sldId="2147483084"/>
            <ac:spMk id="788" creationId="{2B040062-42AA-E312-9EF5-2009E1E014E1}"/>
          </ac:spMkLst>
        </pc:spChg>
        <pc:spChg chg="mod ord">
          <ac:chgData name="Yiqun Dai" userId="360a2182-b97f-4635-b990-04f846616e33" providerId="ADAL" clId="{8F04EA49-0EFC-48F3-A4D8-E0F0D3B461A8}" dt="2025-11-15T11:57:56.414" v="430352"/>
          <ac:spMkLst>
            <pc:docMk/>
            <pc:sldMk cId="3323175271" sldId="2147483084"/>
            <ac:spMk id="789" creationId="{B8D89960-EFAD-DACB-FCDF-EA38AE9A3F79}"/>
          </ac:spMkLst>
        </pc:spChg>
        <pc:spChg chg="mod ord">
          <ac:chgData name="Yiqun Dai" userId="360a2182-b97f-4635-b990-04f846616e33" providerId="ADAL" clId="{8F04EA49-0EFC-48F3-A4D8-E0F0D3B461A8}" dt="2025-11-15T11:57:56.414" v="430353"/>
          <ac:spMkLst>
            <pc:docMk/>
            <pc:sldMk cId="3323175271" sldId="2147483084"/>
            <ac:spMk id="790" creationId="{926CC40A-4B27-EAC5-61E0-F0AE7C27A468}"/>
          </ac:spMkLst>
        </pc:spChg>
        <pc:spChg chg="mod ord">
          <ac:chgData name="Yiqun Dai" userId="360a2182-b97f-4635-b990-04f846616e33" providerId="ADAL" clId="{8F04EA49-0EFC-48F3-A4D8-E0F0D3B461A8}" dt="2025-11-15T11:57:56.414" v="430354"/>
          <ac:spMkLst>
            <pc:docMk/>
            <pc:sldMk cId="3323175271" sldId="2147483084"/>
            <ac:spMk id="791" creationId="{E6E53F77-B171-D80A-73FE-F9CE7F5245C9}"/>
          </ac:spMkLst>
        </pc:spChg>
        <pc:spChg chg="mod ord">
          <ac:chgData name="Yiqun Dai" userId="360a2182-b97f-4635-b990-04f846616e33" providerId="ADAL" clId="{8F04EA49-0EFC-48F3-A4D8-E0F0D3B461A8}" dt="2025-11-15T11:57:56.414" v="430356"/>
          <ac:spMkLst>
            <pc:docMk/>
            <pc:sldMk cId="3323175271" sldId="2147483084"/>
            <ac:spMk id="792" creationId="{18F1605E-3A59-EB36-D44B-79A91E71E1E7}"/>
          </ac:spMkLst>
        </pc:spChg>
        <pc:spChg chg="mod ord">
          <ac:chgData name="Yiqun Dai" userId="360a2182-b97f-4635-b990-04f846616e33" providerId="ADAL" clId="{8F04EA49-0EFC-48F3-A4D8-E0F0D3B461A8}" dt="2025-11-15T11:57:56.431" v="430370"/>
          <ac:spMkLst>
            <pc:docMk/>
            <pc:sldMk cId="3323175271" sldId="2147483084"/>
            <ac:spMk id="793" creationId="{9A51F97C-36F2-FDC5-9663-10E55A136A8F}"/>
          </ac:spMkLst>
        </pc:spChg>
        <pc:spChg chg="mod ord">
          <ac:chgData name="Yiqun Dai" userId="360a2182-b97f-4635-b990-04f846616e33" providerId="ADAL" clId="{8F04EA49-0EFC-48F3-A4D8-E0F0D3B461A8}" dt="2025-11-15T11:57:56.414" v="430358"/>
          <ac:spMkLst>
            <pc:docMk/>
            <pc:sldMk cId="3323175271" sldId="2147483084"/>
            <ac:spMk id="794" creationId="{3A5FE75C-B221-7E18-5898-C46748EAFC85}"/>
          </ac:spMkLst>
        </pc:spChg>
        <pc:spChg chg="mod ord">
          <ac:chgData name="Yiqun Dai" userId="360a2182-b97f-4635-b990-04f846616e33" providerId="ADAL" clId="{8F04EA49-0EFC-48F3-A4D8-E0F0D3B461A8}" dt="2025-11-15T11:57:56.414" v="430359"/>
          <ac:spMkLst>
            <pc:docMk/>
            <pc:sldMk cId="3323175271" sldId="2147483084"/>
            <ac:spMk id="795" creationId="{7F0AE225-7CFD-EE74-8F01-0E0C19DAACFF}"/>
          </ac:spMkLst>
        </pc:spChg>
        <pc:spChg chg="mod ord">
          <ac:chgData name="Yiqun Dai" userId="360a2182-b97f-4635-b990-04f846616e33" providerId="ADAL" clId="{8F04EA49-0EFC-48F3-A4D8-E0F0D3B461A8}" dt="2025-11-15T11:57:56.414" v="430361"/>
          <ac:spMkLst>
            <pc:docMk/>
            <pc:sldMk cId="3323175271" sldId="2147483084"/>
            <ac:spMk id="796" creationId="{77825DD0-45C2-528B-5E2C-55AD1FBEDD27}"/>
          </ac:spMkLst>
        </pc:spChg>
        <pc:spChg chg="mod ord">
          <ac:chgData name="Yiqun Dai" userId="360a2182-b97f-4635-b990-04f846616e33" providerId="ADAL" clId="{8F04EA49-0EFC-48F3-A4D8-E0F0D3B461A8}" dt="2025-11-15T11:57:56.414" v="430362"/>
          <ac:spMkLst>
            <pc:docMk/>
            <pc:sldMk cId="3323175271" sldId="2147483084"/>
            <ac:spMk id="797" creationId="{86FBEDBC-CD30-D72C-1518-3DDEEB6F1FC8}"/>
          </ac:spMkLst>
        </pc:spChg>
        <pc:spChg chg="mod ord">
          <ac:chgData name="Yiqun Dai" userId="360a2182-b97f-4635-b990-04f846616e33" providerId="ADAL" clId="{8F04EA49-0EFC-48F3-A4D8-E0F0D3B461A8}" dt="2025-11-15T11:57:56.414" v="430363"/>
          <ac:spMkLst>
            <pc:docMk/>
            <pc:sldMk cId="3323175271" sldId="2147483084"/>
            <ac:spMk id="798" creationId="{4C315C27-1FED-C812-4DFE-8E488F1BD940}"/>
          </ac:spMkLst>
        </pc:spChg>
        <pc:spChg chg="mod ord">
          <ac:chgData name="Yiqun Dai" userId="360a2182-b97f-4635-b990-04f846616e33" providerId="ADAL" clId="{8F04EA49-0EFC-48F3-A4D8-E0F0D3B461A8}" dt="2025-11-15T11:57:56.414" v="430365"/>
          <ac:spMkLst>
            <pc:docMk/>
            <pc:sldMk cId="3323175271" sldId="2147483084"/>
            <ac:spMk id="799" creationId="{BE556145-90E4-DAB6-4082-AD0DB8587AF6}"/>
          </ac:spMkLst>
        </pc:spChg>
        <pc:spChg chg="mod ord">
          <ac:chgData name="Yiqun Dai" userId="360a2182-b97f-4635-b990-04f846616e33" providerId="ADAL" clId="{8F04EA49-0EFC-48F3-A4D8-E0F0D3B461A8}" dt="2025-11-15T11:57:56.431" v="430387"/>
          <ac:spMkLst>
            <pc:docMk/>
            <pc:sldMk cId="3323175271" sldId="2147483084"/>
            <ac:spMk id="869" creationId="{EDE25651-265E-77FF-1B23-72294DE12BAA}"/>
          </ac:spMkLst>
        </pc:spChg>
        <pc:spChg chg="mod ord">
          <ac:chgData name="Yiqun Dai" userId="360a2182-b97f-4635-b990-04f846616e33" providerId="ADAL" clId="{8F04EA49-0EFC-48F3-A4D8-E0F0D3B461A8}" dt="2025-11-15T11:57:56.431" v="430389"/>
          <ac:spMkLst>
            <pc:docMk/>
            <pc:sldMk cId="3323175271" sldId="2147483084"/>
            <ac:spMk id="870" creationId="{38BD30CA-B81A-0CF2-2B43-C331DCFB6C08}"/>
          </ac:spMkLst>
        </pc:spChg>
        <pc:spChg chg="mod ord">
          <ac:chgData name="Yiqun Dai" userId="360a2182-b97f-4635-b990-04f846616e33" providerId="ADAL" clId="{8F04EA49-0EFC-48F3-A4D8-E0F0D3B461A8}" dt="2025-11-15T11:57:56.446" v="430393"/>
          <ac:spMkLst>
            <pc:docMk/>
            <pc:sldMk cId="3323175271" sldId="2147483084"/>
            <ac:spMk id="907" creationId="{A3D315B0-CD3D-9D44-9FE2-F3A229DA6370}"/>
          </ac:spMkLst>
        </pc:spChg>
        <pc:spChg chg="mod ord">
          <ac:chgData name="Yiqun Dai" userId="360a2182-b97f-4635-b990-04f846616e33" providerId="ADAL" clId="{8F04EA49-0EFC-48F3-A4D8-E0F0D3B461A8}" dt="2025-11-15T11:57:56.446" v="430397"/>
          <ac:spMkLst>
            <pc:docMk/>
            <pc:sldMk cId="3323175271" sldId="2147483084"/>
            <ac:spMk id="909" creationId="{26BEC9F0-2D35-20B3-07EA-574E80EA9FC8}"/>
          </ac:spMkLst>
        </pc:spChg>
        <pc:spChg chg="mod ord">
          <ac:chgData name="Yiqun Dai" userId="360a2182-b97f-4635-b990-04f846616e33" providerId="ADAL" clId="{8F04EA49-0EFC-48F3-A4D8-E0F0D3B461A8}" dt="2025-11-15T11:57:56.322" v="430215"/>
          <ac:spMkLst>
            <pc:docMk/>
            <pc:sldMk cId="3323175271" sldId="2147483084"/>
            <ac:spMk id="911" creationId="{EB438938-C836-BA4C-9CB4-CF59E11CF5BA}"/>
          </ac:spMkLst>
        </pc:spChg>
        <pc:spChg chg="mod ord">
          <ac:chgData name="Yiqun Dai" userId="360a2182-b97f-4635-b990-04f846616e33" providerId="ADAL" clId="{8F04EA49-0EFC-48F3-A4D8-E0F0D3B461A8}" dt="2025-11-15T11:57:56.322" v="430211"/>
          <ac:spMkLst>
            <pc:docMk/>
            <pc:sldMk cId="3323175271" sldId="2147483084"/>
            <ac:spMk id="912" creationId="{DEC44A48-C210-0CBE-D5D0-A5CEFDB47CF8}"/>
          </ac:spMkLst>
        </pc:spChg>
        <pc:spChg chg="mod ord">
          <ac:chgData name="Yiqun Dai" userId="360a2182-b97f-4635-b990-04f846616e33" providerId="ADAL" clId="{8F04EA49-0EFC-48F3-A4D8-E0F0D3B461A8}" dt="2025-11-15T11:57:56.322" v="430213"/>
          <ac:spMkLst>
            <pc:docMk/>
            <pc:sldMk cId="3323175271" sldId="2147483084"/>
            <ac:spMk id="913" creationId="{333286BD-B900-E14D-BF30-22ED40ECA470}"/>
          </ac:spMkLst>
        </pc:spChg>
        <pc:graphicFrameChg chg="mod">
          <ac:chgData name="Yiqun Dai" userId="360a2182-b97f-4635-b990-04f846616e33" providerId="ADAL" clId="{8F04EA49-0EFC-48F3-A4D8-E0F0D3B461A8}" dt="2025-11-15T12:03:59.907" v="430733"/>
          <ac:graphicFrameMkLst>
            <pc:docMk/>
            <pc:sldMk cId="3323175271" sldId="2147483084"/>
            <ac:graphicFrameMk id="48" creationId="{1C438B4C-A07C-E094-A7C7-7E55AE0DBCF9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57:56.368" v="430280"/>
          <ac:graphicFrameMkLst>
            <pc:docMk/>
            <pc:sldMk cId="3323175271" sldId="2147483084"/>
            <ac:graphicFrameMk id="644" creationId="{877EEB05-3924-7215-04F4-629B8F4197F0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57:56.334" v="430227"/>
          <ac:graphicFrameMkLst>
            <pc:docMk/>
            <pc:sldMk cId="3323175271" sldId="2147483084"/>
            <ac:graphicFrameMk id="676" creationId="{819A8F5C-3813-6C7A-AFB1-5834950E5A26}"/>
          </ac:graphicFrameMkLst>
        </pc:graphicFrameChg>
        <pc:graphicFrameChg chg="add mod ord">
          <ac:chgData name="Yiqun Dai" userId="360a2182-b97f-4635-b990-04f846616e33" providerId="ADAL" clId="{8F04EA49-0EFC-48F3-A4D8-E0F0D3B461A8}" dt="2025-11-15T11:57:56.400" v="430338"/>
          <ac:graphicFrameMkLst>
            <pc:docMk/>
            <pc:sldMk cId="3323175271" sldId="2147483084"/>
            <ac:graphicFrameMk id="697" creationId="{DB891BF2-8C63-E20E-130B-13F32B1175C4}"/>
          </ac:graphicFrameMkLst>
        </pc:graphicFrameChg>
        <pc:cxnChg chg="add mod ord">
          <ac:chgData name="Yiqun Dai" userId="360a2182-b97f-4635-b990-04f846616e33" providerId="ADAL" clId="{8F04EA49-0EFC-48F3-A4D8-E0F0D3B461A8}" dt="2025-11-15T11:57:56.334" v="430221"/>
          <ac:cxnSpMkLst>
            <pc:docMk/>
            <pc:sldMk cId="3323175271" sldId="2147483084"/>
            <ac:cxnSpMk id="4" creationId="{1AE68797-B8E9-4E98-D43C-858AF14021F6}"/>
          </ac:cxnSpMkLst>
        </pc:cxnChg>
        <pc:cxnChg chg="add mod ord">
          <ac:chgData name="Yiqun Dai" userId="360a2182-b97f-4635-b990-04f846616e33" providerId="ADAL" clId="{8F04EA49-0EFC-48F3-A4D8-E0F0D3B461A8}" dt="2025-11-15T11:57:56.334" v="430225"/>
          <ac:cxnSpMkLst>
            <pc:docMk/>
            <pc:sldMk cId="3323175271" sldId="2147483084"/>
            <ac:cxnSpMk id="9" creationId="{7754AC60-EDC3-A93C-1B90-9633A3CFCAEB}"/>
          </ac:cxnSpMkLst>
        </pc:cxnChg>
        <pc:cxnChg chg="add mod ord">
          <ac:chgData name="Yiqun Dai" userId="360a2182-b97f-4635-b990-04f846616e33" providerId="ADAL" clId="{8F04EA49-0EFC-48F3-A4D8-E0F0D3B461A8}" dt="2025-11-15T11:57:56.368" v="430278"/>
          <ac:cxnSpMkLst>
            <pc:docMk/>
            <pc:sldMk cId="3323175271" sldId="2147483084"/>
            <ac:cxnSpMk id="19" creationId="{30CECBB9-4E15-E946-8D84-72926B9110AF}"/>
          </ac:cxnSpMkLst>
        </pc:cxnChg>
        <pc:cxnChg chg="add mod ord">
          <ac:chgData name="Yiqun Dai" userId="360a2182-b97f-4635-b990-04f846616e33" providerId="ADAL" clId="{8F04EA49-0EFC-48F3-A4D8-E0F0D3B461A8}" dt="2025-11-15T11:57:56.368" v="430282"/>
          <ac:cxnSpMkLst>
            <pc:docMk/>
            <pc:sldMk cId="3323175271" sldId="2147483084"/>
            <ac:cxnSpMk id="22" creationId="{A2223B67-6505-151D-7BDB-6E92482021CB}"/>
          </ac:cxnSpMkLst>
        </pc:cxnChg>
        <pc:cxnChg chg="add mod ord">
          <ac:chgData name="Yiqun Dai" userId="360a2182-b97f-4635-b990-04f846616e33" providerId="ADAL" clId="{8F04EA49-0EFC-48F3-A4D8-E0F0D3B461A8}" dt="2025-11-15T11:57:56.368" v="430286"/>
          <ac:cxnSpMkLst>
            <pc:docMk/>
            <pc:sldMk cId="3323175271" sldId="2147483084"/>
            <ac:cxnSpMk id="23" creationId="{06272341-AD7B-A94B-D677-151995780183}"/>
          </ac:cxnSpMkLst>
        </pc:cxnChg>
        <pc:cxnChg chg="add mod ord">
          <ac:chgData name="Yiqun Dai" userId="360a2182-b97f-4635-b990-04f846616e33" providerId="ADAL" clId="{8F04EA49-0EFC-48F3-A4D8-E0F0D3B461A8}" dt="2025-11-15T11:57:56.368" v="430288"/>
          <ac:cxnSpMkLst>
            <pc:docMk/>
            <pc:sldMk cId="3323175271" sldId="2147483084"/>
            <ac:cxnSpMk id="24" creationId="{4FE7FE6F-A984-10DB-9F8F-47FA2FC420C2}"/>
          </ac:cxnSpMkLst>
        </pc:cxnChg>
        <pc:cxnChg chg="add mod ord">
          <ac:chgData name="Yiqun Dai" userId="360a2182-b97f-4635-b990-04f846616e33" providerId="ADAL" clId="{8F04EA49-0EFC-48F3-A4D8-E0F0D3B461A8}" dt="2025-11-15T11:57:56.368" v="430290"/>
          <ac:cxnSpMkLst>
            <pc:docMk/>
            <pc:sldMk cId="3323175271" sldId="2147483084"/>
            <ac:cxnSpMk id="25" creationId="{599FAEAA-DD1A-C0A2-D085-6BAE865F7DB3}"/>
          </ac:cxnSpMkLst>
        </pc:cxnChg>
        <pc:cxnChg chg="add mod ord">
          <ac:chgData name="Yiqun Dai" userId="360a2182-b97f-4635-b990-04f846616e33" providerId="ADAL" clId="{8F04EA49-0EFC-48F3-A4D8-E0F0D3B461A8}" dt="2025-11-15T11:57:56.368" v="430292"/>
          <ac:cxnSpMkLst>
            <pc:docMk/>
            <pc:sldMk cId="3323175271" sldId="2147483084"/>
            <ac:cxnSpMk id="26" creationId="{04132D6F-EC6D-BA06-7C3D-4AC440ACC5C1}"/>
          </ac:cxnSpMkLst>
        </pc:cxnChg>
        <pc:cxnChg chg="add mod ord">
          <ac:chgData name="Yiqun Dai" userId="360a2182-b97f-4635-b990-04f846616e33" providerId="ADAL" clId="{8F04EA49-0EFC-48F3-A4D8-E0F0D3B461A8}" dt="2025-11-15T11:57:56.368" v="430298"/>
          <ac:cxnSpMkLst>
            <pc:docMk/>
            <pc:sldMk cId="3323175271" sldId="2147483084"/>
            <ac:cxnSpMk id="28" creationId="{62D6EA97-4BC7-5AE8-1063-5DED4D8937CA}"/>
          </ac:cxnSpMkLst>
        </pc:cxnChg>
        <pc:cxnChg chg="add mod ord">
          <ac:chgData name="Yiqun Dai" userId="360a2182-b97f-4635-b990-04f846616e33" providerId="ADAL" clId="{8F04EA49-0EFC-48F3-A4D8-E0F0D3B461A8}" dt="2025-11-15T11:57:56.368" v="430294"/>
          <ac:cxnSpMkLst>
            <pc:docMk/>
            <pc:sldMk cId="3323175271" sldId="2147483084"/>
            <ac:cxnSpMk id="29" creationId="{4120BB28-18F4-2A35-7ABD-4470D89EFAEB}"/>
          </ac:cxnSpMkLst>
        </pc:cxnChg>
        <pc:cxnChg chg="add mod ord">
          <ac:chgData name="Yiqun Dai" userId="360a2182-b97f-4635-b990-04f846616e33" providerId="ADAL" clId="{8F04EA49-0EFC-48F3-A4D8-E0F0D3B461A8}" dt="2025-11-15T11:57:56.368" v="430296"/>
          <ac:cxnSpMkLst>
            <pc:docMk/>
            <pc:sldMk cId="3323175271" sldId="2147483084"/>
            <ac:cxnSpMk id="30" creationId="{F6BCFB98-9257-7EB5-A751-AD7A15F2BF04}"/>
          </ac:cxnSpMkLst>
        </pc:cxnChg>
        <pc:cxnChg chg="mod ord">
          <ac:chgData name="Yiqun Dai" userId="360a2182-b97f-4635-b990-04f846616e33" providerId="ADAL" clId="{8F04EA49-0EFC-48F3-A4D8-E0F0D3B461A8}" dt="2025-11-15T11:57:56.368" v="430284"/>
          <ac:cxnSpMkLst>
            <pc:docMk/>
            <pc:sldMk cId="3323175271" sldId="2147483084"/>
            <ac:cxnSpMk id="31" creationId="{F94C5D08-2350-ABCA-9FF2-F76F6D093E1B}"/>
          </ac:cxnSpMkLst>
        </pc:cxnChg>
        <pc:cxnChg chg="add mod ord">
          <ac:chgData name="Yiqun Dai" userId="360a2182-b97f-4635-b990-04f846616e33" providerId="ADAL" clId="{8F04EA49-0EFC-48F3-A4D8-E0F0D3B461A8}" dt="2025-11-15T11:57:56.400" v="430334"/>
          <ac:cxnSpMkLst>
            <pc:docMk/>
            <pc:sldMk cId="3323175271" sldId="2147483084"/>
            <ac:cxnSpMk id="56" creationId="{60CD512F-ABF2-2B51-4F3E-F8B56C649F57}"/>
          </ac:cxnSpMkLst>
        </pc:cxnChg>
        <pc:cxnChg chg="add mod ord">
          <ac:chgData name="Yiqun Dai" userId="360a2182-b97f-4635-b990-04f846616e33" providerId="ADAL" clId="{8F04EA49-0EFC-48F3-A4D8-E0F0D3B461A8}" dt="2025-11-15T11:57:56.400" v="430344"/>
          <ac:cxnSpMkLst>
            <pc:docMk/>
            <pc:sldMk cId="3323175271" sldId="2147483084"/>
            <ac:cxnSpMk id="59" creationId="{B7709F4E-1C80-B89B-4469-ACD5DD83EB99}"/>
          </ac:cxnSpMkLst>
        </pc:cxnChg>
        <pc:cxnChg chg="add mod ord">
          <ac:chgData name="Yiqun Dai" userId="360a2182-b97f-4635-b990-04f846616e33" providerId="ADAL" clId="{8F04EA49-0EFC-48F3-A4D8-E0F0D3B461A8}" dt="2025-11-15T11:57:56.413" v="430346"/>
          <ac:cxnSpMkLst>
            <pc:docMk/>
            <pc:sldMk cId="3323175271" sldId="2147483084"/>
            <ac:cxnSpMk id="60" creationId="{587CD143-682F-B140-E475-317630EF739D}"/>
          </ac:cxnSpMkLst>
        </pc:cxnChg>
        <pc:cxnChg chg="add mod ord">
          <ac:chgData name="Yiqun Dai" userId="360a2182-b97f-4635-b990-04f846616e33" providerId="ADAL" clId="{8F04EA49-0EFC-48F3-A4D8-E0F0D3B461A8}" dt="2025-11-15T11:57:56.414" v="430348"/>
          <ac:cxnSpMkLst>
            <pc:docMk/>
            <pc:sldMk cId="3323175271" sldId="2147483084"/>
            <ac:cxnSpMk id="61" creationId="{84583B8C-874F-EAA1-AE91-C7EA3BB64C49}"/>
          </ac:cxnSpMkLst>
        </pc:cxnChg>
        <pc:cxnChg chg="mod ord">
          <ac:chgData name="Yiqun Dai" userId="360a2182-b97f-4635-b990-04f846616e33" providerId="ADAL" clId="{8F04EA49-0EFC-48F3-A4D8-E0F0D3B461A8}" dt="2025-11-15T11:57:56.368" v="430276"/>
          <ac:cxnSpMkLst>
            <pc:docMk/>
            <pc:sldMk cId="3323175271" sldId="2147483084"/>
            <ac:cxnSpMk id="144" creationId="{07939D15-40A5-33C9-E1DE-B63720B7D946}"/>
          </ac:cxnSpMkLst>
        </pc:cxnChg>
        <pc:cxnChg chg="mod ord">
          <ac:chgData name="Yiqun Dai" userId="360a2182-b97f-4635-b990-04f846616e33" providerId="ADAL" clId="{8F04EA49-0EFC-48F3-A4D8-E0F0D3B461A8}" dt="2025-11-15T11:57:56.334" v="430223"/>
          <ac:cxnSpMkLst>
            <pc:docMk/>
            <pc:sldMk cId="3323175271" sldId="2147483084"/>
            <ac:cxnSpMk id="294" creationId="{A8B7AA1B-83CA-2B05-ED76-D039647C491B}"/>
          </ac:cxnSpMkLst>
        </pc:cxnChg>
        <pc:cxnChg chg="mod ord">
          <ac:chgData name="Yiqun Dai" userId="360a2182-b97f-4635-b990-04f846616e33" providerId="ADAL" clId="{8F04EA49-0EFC-48F3-A4D8-E0F0D3B461A8}" dt="2025-11-15T11:57:56.334" v="430219"/>
          <ac:cxnSpMkLst>
            <pc:docMk/>
            <pc:sldMk cId="3323175271" sldId="2147483084"/>
            <ac:cxnSpMk id="305" creationId="{96212EC4-3DB7-FA2E-1313-395956A59A3F}"/>
          </ac:cxnSpMkLst>
        </pc:cxnChg>
        <pc:cxnChg chg="mod ord">
          <ac:chgData name="Yiqun Dai" userId="360a2182-b97f-4635-b990-04f846616e33" providerId="ADAL" clId="{8F04EA49-0EFC-48F3-A4D8-E0F0D3B461A8}" dt="2025-11-15T11:57:56.400" v="430340"/>
          <ac:cxnSpMkLst>
            <pc:docMk/>
            <pc:sldMk cId="3323175271" sldId="2147483084"/>
            <ac:cxnSpMk id="560" creationId="{4FF9246C-8F4A-299E-2A8A-1B5B8F9F0B6C}"/>
          </ac:cxnSpMkLst>
        </pc:cxnChg>
        <pc:cxnChg chg="mod ord">
          <ac:chgData name="Yiqun Dai" userId="360a2182-b97f-4635-b990-04f846616e33" providerId="ADAL" clId="{8F04EA49-0EFC-48F3-A4D8-E0F0D3B461A8}" dt="2025-11-15T11:57:56.400" v="430342"/>
          <ac:cxnSpMkLst>
            <pc:docMk/>
            <pc:sldMk cId="3323175271" sldId="2147483084"/>
            <ac:cxnSpMk id="561" creationId="{8341DDF2-0EBE-FE2D-ECB4-C75F978C3DD2}"/>
          </ac:cxnSpMkLst>
        </pc:cxnChg>
        <pc:cxnChg chg="mod ord">
          <ac:chgData name="Yiqun Dai" userId="360a2182-b97f-4635-b990-04f846616e33" providerId="ADAL" clId="{8F04EA49-0EFC-48F3-A4D8-E0F0D3B461A8}" dt="2025-11-15T11:57:56.400" v="430332"/>
          <ac:cxnSpMkLst>
            <pc:docMk/>
            <pc:sldMk cId="3323175271" sldId="2147483084"/>
            <ac:cxnSpMk id="749" creationId="{E5754D79-4B16-0112-36BD-2CB55B06C3C6}"/>
          </ac:cxnSpMkLst>
        </pc:cxnChg>
        <pc:cxnChg chg="mod ord">
          <ac:chgData name="Yiqun Dai" userId="360a2182-b97f-4635-b990-04f846616e33" providerId="ADAL" clId="{8F04EA49-0EFC-48F3-A4D8-E0F0D3B461A8}" dt="2025-11-15T11:57:56.400" v="430336"/>
          <ac:cxnSpMkLst>
            <pc:docMk/>
            <pc:sldMk cId="3323175271" sldId="2147483084"/>
            <ac:cxnSpMk id="750" creationId="{1504BFD2-D835-7135-92E3-3FF2C8087486}"/>
          </ac:cxnSpMkLst>
        </pc:cxnChg>
        <pc:cxnChg chg="mod ord">
          <ac:chgData name="Yiqun Dai" userId="360a2182-b97f-4635-b990-04f846616e33" providerId="ADAL" clId="{8F04EA49-0EFC-48F3-A4D8-E0F0D3B461A8}" dt="2025-11-15T11:57:56.445" v="430391"/>
          <ac:cxnSpMkLst>
            <pc:docMk/>
            <pc:sldMk cId="3323175271" sldId="2147483084"/>
            <ac:cxnSpMk id="871" creationId="{A41015E9-B190-61CE-69C8-8103EBEE4792}"/>
          </ac:cxnSpMkLst>
        </pc:cxnChg>
        <pc:cxnChg chg="add mod ord">
          <ac:chgData name="Yiqun Dai" userId="360a2182-b97f-4635-b990-04f846616e33" providerId="ADAL" clId="{8F04EA49-0EFC-48F3-A4D8-E0F0D3B461A8}" dt="2025-11-15T11:57:56.334" v="430231"/>
          <ac:cxnSpMkLst>
            <pc:docMk/>
            <pc:sldMk cId="3323175271" sldId="2147483084"/>
            <ac:cxnSpMk id="902" creationId="{3EC31A3E-C99E-F632-EDEE-B5424EBB62B5}"/>
          </ac:cxnSpMkLst>
        </pc:cxnChg>
        <pc:cxnChg chg="mod ord">
          <ac:chgData name="Yiqun Dai" userId="360a2182-b97f-4635-b990-04f846616e33" providerId="ADAL" clId="{8F04EA49-0EFC-48F3-A4D8-E0F0D3B461A8}" dt="2025-11-15T11:57:56.446" v="430395"/>
          <ac:cxnSpMkLst>
            <pc:docMk/>
            <pc:sldMk cId="3323175271" sldId="2147483084"/>
            <ac:cxnSpMk id="908" creationId="{EF7C6327-8BFE-15B0-7747-392359C21BA4}"/>
          </ac:cxnSpMkLst>
        </pc:cxnChg>
        <pc:cxnChg chg="mod ord">
          <ac:chgData name="Yiqun Dai" userId="360a2182-b97f-4635-b990-04f846616e33" providerId="ADAL" clId="{8F04EA49-0EFC-48F3-A4D8-E0F0D3B461A8}" dt="2025-11-15T11:57:56.446" v="430399"/>
          <ac:cxnSpMkLst>
            <pc:docMk/>
            <pc:sldMk cId="3323175271" sldId="2147483084"/>
            <ac:cxnSpMk id="910" creationId="{F86C5C4F-E92C-0EE0-5BA5-4FAB81CBD0F8}"/>
          </ac:cxnSpMkLst>
        </pc:cxnChg>
        <pc:cxnChg chg="add mod ord">
          <ac:chgData name="Yiqun Dai" userId="360a2182-b97f-4635-b990-04f846616e33" providerId="ADAL" clId="{8F04EA49-0EFC-48F3-A4D8-E0F0D3B461A8}" dt="2025-11-15T11:57:56.368" v="430272"/>
          <ac:cxnSpMkLst>
            <pc:docMk/>
            <pc:sldMk cId="3323175271" sldId="2147483084"/>
            <ac:cxnSpMk id="935" creationId="{AEBC4455-EB10-DF8D-935F-99E3B7D23CAB}"/>
          </ac:cxnSpMkLst>
        </pc:cxnChg>
        <pc:cxnChg chg="add mod ord">
          <ac:chgData name="Yiqun Dai" userId="360a2182-b97f-4635-b990-04f846616e33" providerId="ADAL" clId="{8F04EA49-0EFC-48F3-A4D8-E0F0D3B461A8}" dt="2025-11-15T11:57:56.368" v="430274"/>
          <ac:cxnSpMkLst>
            <pc:docMk/>
            <pc:sldMk cId="3323175271" sldId="2147483084"/>
            <ac:cxnSpMk id="941" creationId="{B72D839C-616B-A46A-F51F-7A87B67DC842}"/>
          </ac:cxnSpMkLst>
        </pc:cxnChg>
        <pc:cxnChg chg="mod ord">
          <ac:chgData name="Yiqun Dai" userId="360a2182-b97f-4635-b990-04f846616e33" providerId="ADAL" clId="{8F04EA49-0EFC-48F3-A4D8-E0F0D3B461A8}" dt="2025-11-15T11:57:56.334" v="430229"/>
          <ac:cxnSpMkLst>
            <pc:docMk/>
            <pc:sldMk cId="3323175271" sldId="2147483084"/>
            <ac:cxnSpMk id="954" creationId="{05959310-5223-42B9-947F-56CE707CC39A}"/>
          </ac:cxnSpMkLst>
        </pc:cxnChg>
      </pc:sldChg>
      <pc:sldChg chg="addSp delSp modSp add mod">
        <pc:chgData name="Yiqun Dai" userId="360a2182-b97f-4635-b990-04f846616e33" providerId="ADAL" clId="{8F04EA49-0EFC-48F3-A4D8-E0F0D3B461A8}" dt="2025-11-16T02:58:57.236" v="466868"/>
        <pc:sldMkLst>
          <pc:docMk/>
          <pc:sldMk cId="2668657357" sldId="2147483085"/>
        </pc:sldMkLst>
        <pc:spChg chg="mod ord">
          <ac:chgData name="Yiqun Dai" userId="360a2182-b97f-4635-b990-04f846616e33" providerId="ADAL" clId="{8F04EA49-0EFC-48F3-A4D8-E0F0D3B461A8}" dt="2025-11-16T02:58:57.224" v="466866" actId="948"/>
          <ac:spMkLst>
            <pc:docMk/>
            <pc:sldMk cId="2668657357" sldId="2147483085"/>
            <ac:spMk id="2" creationId="{BD38918C-EFCC-7B67-EE50-F432F34640BA}"/>
          </ac:spMkLst>
        </pc:spChg>
        <pc:spChg chg="add del mod">
          <ac:chgData name="Yiqun Dai" userId="360a2182-b97f-4635-b990-04f846616e33" providerId="ADAL" clId="{8F04EA49-0EFC-48F3-A4D8-E0F0D3B461A8}" dt="2025-11-16T02:37:23.255" v="435208"/>
          <ac:spMkLst>
            <pc:docMk/>
            <pc:sldMk cId="2668657357" sldId="2147483085"/>
            <ac:spMk id="3" creationId="{C622FFD8-E219-8F5B-DA38-ED00AEC203C4}"/>
          </ac:spMkLst>
        </pc:spChg>
        <pc:spChg chg="add del mod ord">
          <ac:chgData name="Yiqun Dai" userId="360a2182-b97f-4635-b990-04f846616e33" providerId="ADAL" clId="{8F04EA49-0EFC-48F3-A4D8-E0F0D3B461A8}" dt="2025-11-16T02:35:25.114" v="432437"/>
          <ac:spMkLst>
            <pc:docMk/>
            <pc:sldMk cId="2668657357" sldId="2147483085"/>
            <ac:spMk id="4" creationId="{30DDAC40-C515-5715-68C9-D09D4590DB24}"/>
          </ac:spMkLst>
        </pc:spChg>
        <pc:spChg chg="mod">
          <ac:chgData name="Yiqun Dai" userId="360a2182-b97f-4635-b990-04f846616e33" providerId="ADAL" clId="{8F04EA49-0EFC-48F3-A4D8-E0F0D3B461A8}" dt="2025-11-16T02:51:55.103" v="466365"/>
          <ac:spMkLst>
            <pc:docMk/>
            <pc:sldMk cId="2668657357" sldId="2147483085"/>
            <ac:spMk id="5" creationId="{0CFA277C-F515-D84A-79B6-072ADED51894}"/>
          </ac:spMkLst>
        </pc:spChg>
        <pc:spChg chg="mod">
          <ac:chgData name="Yiqun Dai" userId="360a2182-b97f-4635-b990-04f846616e33" providerId="ADAL" clId="{8F04EA49-0EFC-48F3-A4D8-E0F0D3B461A8}" dt="2025-11-16T02:51:55.104" v="466366"/>
          <ac:spMkLst>
            <pc:docMk/>
            <pc:sldMk cId="2668657357" sldId="2147483085"/>
            <ac:spMk id="6" creationId="{CF92E850-F4E8-E38F-4FC1-FCEE80088F3C}"/>
          </ac:spMkLst>
        </pc:spChg>
        <pc:spChg chg="add del mod modVis">
          <ac:chgData name="Yiqun Dai" userId="360a2182-b97f-4635-b990-04f846616e33" providerId="ADAL" clId="{8F04EA49-0EFC-48F3-A4D8-E0F0D3B461A8}" dt="2025-11-16T02:34:40.761" v="431939"/>
          <ac:spMkLst>
            <pc:docMk/>
            <pc:sldMk cId="2668657357" sldId="2147483085"/>
            <ac:spMk id="7" creationId="{C86C977D-4A22-0E53-CA23-497080941813}"/>
          </ac:spMkLst>
        </pc:spChg>
        <pc:spChg chg="add del mod ord">
          <ac:chgData name="Yiqun Dai" userId="360a2182-b97f-4635-b990-04f846616e33" providerId="ADAL" clId="{8F04EA49-0EFC-48F3-A4D8-E0F0D3B461A8}" dt="2025-11-16T02:35:25.116" v="432441"/>
          <ac:spMkLst>
            <pc:docMk/>
            <pc:sldMk cId="2668657357" sldId="2147483085"/>
            <ac:spMk id="8" creationId="{59A49CF1-E566-4191-E085-0F9AB8C5ED3F}"/>
          </ac:spMkLst>
        </pc:spChg>
        <pc:spChg chg="add del mod ord">
          <ac:chgData name="Yiqun Dai" userId="360a2182-b97f-4635-b990-04f846616e33" providerId="ADAL" clId="{8F04EA49-0EFC-48F3-A4D8-E0F0D3B461A8}" dt="2025-11-16T02:37:23.254" v="435207"/>
          <ac:spMkLst>
            <pc:docMk/>
            <pc:sldMk cId="2668657357" sldId="2147483085"/>
            <ac:spMk id="12" creationId="{20CA0706-FEFC-9C1C-FA3F-3785B053CA9B}"/>
          </ac:spMkLst>
        </pc:spChg>
        <pc:spChg chg="add del mod modVis">
          <ac:chgData name="Yiqun Dai" userId="360a2182-b97f-4635-b990-04f846616e33" providerId="ADAL" clId="{8F04EA49-0EFC-48F3-A4D8-E0F0D3B461A8}" dt="2025-11-16T02:34:41.382" v="432430"/>
          <ac:spMkLst>
            <pc:docMk/>
            <pc:sldMk cId="2668657357" sldId="2147483085"/>
            <ac:spMk id="13" creationId="{F53B4936-3091-047A-9272-33B898977C96}"/>
          </ac:spMkLst>
        </pc:spChg>
        <pc:spChg chg="add del mod modVis">
          <ac:chgData name="Yiqun Dai" userId="360a2182-b97f-4635-b990-04f846616e33" providerId="ADAL" clId="{8F04EA49-0EFC-48F3-A4D8-E0F0D3B461A8}" dt="2025-11-16T02:35:25.350" v="432708"/>
          <ac:spMkLst>
            <pc:docMk/>
            <pc:sldMk cId="2668657357" sldId="2147483085"/>
            <ac:spMk id="23" creationId="{246A7265-0A47-0DF7-5833-DA3691C8AC31}"/>
          </ac:spMkLst>
        </pc:spChg>
        <pc:spChg chg="add del mod modVis">
          <ac:chgData name="Yiqun Dai" userId="360a2182-b97f-4635-b990-04f846616e33" providerId="ADAL" clId="{8F04EA49-0EFC-48F3-A4D8-E0F0D3B461A8}" dt="2025-11-16T02:35:25.632" v="433068"/>
          <ac:spMkLst>
            <pc:docMk/>
            <pc:sldMk cId="2668657357" sldId="2147483085"/>
            <ac:spMk id="25" creationId="{50A7233E-108E-320B-5AEC-8F6C8BF0D507}"/>
          </ac:spMkLst>
        </pc:spChg>
        <pc:spChg chg="add del mod modVis">
          <ac:chgData name="Yiqun Dai" userId="360a2182-b97f-4635-b990-04f846616e33" providerId="ADAL" clId="{8F04EA49-0EFC-48F3-A4D8-E0F0D3B461A8}" dt="2025-11-16T02:36:35.435" v="433307"/>
          <ac:spMkLst>
            <pc:docMk/>
            <pc:sldMk cId="2668657357" sldId="2147483085"/>
            <ac:spMk id="32" creationId="{ACED9907-B2C0-58EF-3216-608F2CA2CE34}"/>
          </ac:spMkLst>
        </pc:spChg>
        <pc:spChg chg="del mod modVis">
          <ac:chgData name="Yiqun Dai" userId="360a2182-b97f-4635-b990-04f846616e33" providerId="ADAL" clId="{8F04EA49-0EFC-48F3-A4D8-E0F0D3B461A8}" dt="2025-11-16T02:36:36.320" v="433427" actId="478"/>
          <ac:spMkLst>
            <pc:docMk/>
            <pc:sldMk cId="2668657357" sldId="2147483085"/>
            <ac:spMk id="41" creationId="{C8000FDA-95D9-FB24-FDB6-CFC2E2129080}"/>
          </ac:spMkLst>
        </pc:spChg>
        <pc:spChg chg="add del mod modVis">
          <ac:chgData name="Yiqun Dai" userId="360a2182-b97f-4635-b990-04f846616e33" providerId="ADAL" clId="{8F04EA49-0EFC-48F3-A4D8-E0F0D3B461A8}" dt="2025-11-16T02:36:40.496" v="433568"/>
          <ac:spMkLst>
            <pc:docMk/>
            <pc:sldMk cId="2668657357" sldId="2147483085"/>
            <ac:spMk id="48" creationId="{CE723B14-C7AB-D2D3-9468-F0DA7B1A9588}"/>
          </ac:spMkLst>
        </pc:spChg>
        <pc:spChg chg="add del mod modVis">
          <ac:chgData name="Yiqun Dai" userId="360a2182-b97f-4635-b990-04f846616e33" providerId="ADAL" clId="{8F04EA49-0EFC-48F3-A4D8-E0F0D3B461A8}" dt="2025-11-16T02:36:41.185" v="433763"/>
          <ac:spMkLst>
            <pc:docMk/>
            <pc:sldMk cId="2668657357" sldId="2147483085"/>
            <ac:spMk id="50" creationId="{B8D5B621-32C9-86C5-FC45-03EC55758FB6}"/>
          </ac:spMkLst>
        </pc:spChg>
        <pc:spChg chg="add del mod modVis">
          <ac:chgData name="Yiqun Dai" userId="360a2182-b97f-4635-b990-04f846616e33" providerId="ADAL" clId="{8F04EA49-0EFC-48F3-A4D8-E0F0D3B461A8}" dt="2025-11-16T02:36:43.160" v="433890"/>
          <ac:spMkLst>
            <pc:docMk/>
            <pc:sldMk cId="2668657357" sldId="2147483085"/>
            <ac:spMk id="57" creationId="{AAE99D3E-3AE5-3F97-1D52-1C45EAF4D7D2}"/>
          </ac:spMkLst>
        </pc:spChg>
        <pc:spChg chg="add del mod modVis">
          <ac:chgData name="Yiqun Dai" userId="360a2182-b97f-4635-b990-04f846616e33" providerId="ADAL" clId="{8F04EA49-0EFC-48F3-A4D8-E0F0D3B461A8}" dt="2025-11-16T02:36:44.229" v="434082"/>
          <ac:spMkLst>
            <pc:docMk/>
            <pc:sldMk cId="2668657357" sldId="2147483085"/>
            <ac:spMk id="59" creationId="{A7939A21-E611-AEE8-D13F-9CC41E9DA6B7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64" creationId="{0859A5DD-4871-BEE6-130B-05FADA937C47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65" creationId="{1F3528CA-2E4D-E87E-75CA-D23A8B92F7DC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66" creationId="{5260E6CD-ECA3-5740-CA41-8D81B12D2591}"/>
          </ac:spMkLst>
        </pc:spChg>
        <pc:spChg chg="mod">
          <ac:chgData name="Yiqun Dai" userId="360a2182-b97f-4635-b990-04f846616e33" providerId="ADAL" clId="{8F04EA49-0EFC-48F3-A4D8-E0F0D3B461A8}" dt="2025-11-16T02:38:58.937" v="438832"/>
          <ac:spMkLst>
            <pc:docMk/>
            <pc:sldMk cId="2668657357" sldId="2147483085"/>
            <ac:spMk id="67" creationId="{C0DE79F4-3375-ED53-8A7D-4836AB111504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68" creationId="{893D4AB4-CFCC-D049-134C-AEF75D17425C}"/>
          </ac:spMkLst>
        </pc:spChg>
        <pc:spChg chg="mod ord">
          <ac:chgData name="Yiqun Dai" userId="360a2182-b97f-4635-b990-04f846616e33" providerId="ADAL" clId="{8F04EA49-0EFC-48F3-A4D8-E0F0D3B461A8}" dt="2025-11-16T02:39:01.182" v="439255" actId="20577"/>
          <ac:spMkLst>
            <pc:docMk/>
            <pc:sldMk cId="2668657357" sldId="2147483085"/>
            <ac:spMk id="69" creationId="{4F04FBC8-05B3-B6E8-1D4C-DA17A9A0802A}"/>
          </ac:spMkLst>
        </pc:spChg>
        <pc:spChg chg="mod">
          <ac:chgData name="Yiqun Dai" userId="360a2182-b97f-4635-b990-04f846616e33" providerId="ADAL" clId="{8F04EA49-0EFC-48F3-A4D8-E0F0D3B461A8}" dt="2025-11-16T02:38:58.942" v="438840"/>
          <ac:spMkLst>
            <pc:docMk/>
            <pc:sldMk cId="2668657357" sldId="2147483085"/>
            <ac:spMk id="70" creationId="{5A6D3804-099E-884C-C0F1-F63577D73880}"/>
          </ac:spMkLst>
        </pc:spChg>
        <pc:spChg chg="add del mod modVis">
          <ac:chgData name="Yiqun Dai" userId="360a2182-b97f-4635-b990-04f846616e33" providerId="ADAL" clId="{8F04EA49-0EFC-48F3-A4D8-E0F0D3B461A8}" dt="2025-11-16T02:39:01.160" v="439237" actId="962"/>
          <ac:spMkLst>
            <pc:docMk/>
            <pc:sldMk cId="2668657357" sldId="2147483085"/>
            <ac:spMk id="71" creationId="{80BD02D4-E430-9EEE-4DD2-57159BAE5FA4}"/>
          </ac:spMkLst>
        </pc:spChg>
        <pc:spChg chg="add del mod modVis">
          <ac:chgData name="Yiqun Dai" userId="360a2182-b97f-4635-b990-04f846616e33" providerId="ADAL" clId="{8F04EA49-0EFC-48F3-A4D8-E0F0D3B461A8}" dt="2025-11-16T02:39:00.962" v="438992" actId="962"/>
          <ac:spMkLst>
            <pc:docMk/>
            <pc:sldMk cId="2668657357" sldId="2147483085"/>
            <ac:spMk id="73" creationId="{E3259503-C1CC-0092-F6E3-3537AE552DB2}"/>
          </ac:spMkLst>
        </pc:spChg>
        <pc:spChg chg="add del mod modVis">
          <ac:chgData name="Yiqun Dai" userId="360a2182-b97f-4635-b990-04f846616e33" providerId="ADAL" clId="{8F04EA49-0EFC-48F3-A4D8-E0F0D3B461A8}" dt="2025-11-16T02:39:06.002" v="439698"/>
          <ac:spMkLst>
            <pc:docMk/>
            <pc:sldMk cId="2668657357" sldId="2147483085"/>
            <ac:spMk id="83" creationId="{5307F6A5-B9EB-4960-AF94-487971F19E73}"/>
          </ac:spMkLst>
        </pc:spChg>
        <pc:spChg chg="add del mod modVis">
          <ac:chgData name="Yiqun Dai" userId="360a2182-b97f-4635-b990-04f846616e33" providerId="ADAL" clId="{8F04EA49-0EFC-48F3-A4D8-E0F0D3B461A8}" dt="2025-11-16T02:39:06.557" v="439960"/>
          <ac:spMkLst>
            <pc:docMk/>
            <pc:sldMk cId="2668657357" sldId="2147483085"/>
            <ac:spMk id="85" creationId="{A1E0BC85-D763-7CB7-CE54-C3C5A601344B}"/>
          </ac:spMkLst>
        </pc:spChg>
        <pc:spChg chg="del mod">
          <ac:chgData name="Yiqun Dai" userId="360a2182-b97f-4635-b990-04f846616e33" providerId="ADAL" clId="{8F04EA49-0EFC-48F3-A4D8-E0F0D3B461A8}" dt="2025-11-16T02:51:55.131" v="466403"/>
          <ac:spMkLst>
            <pc:docMk/>
            <pc:sldMk cId="2668657357" sldId="2147483085"/>
            <ac:spMk id="106" creationId="{8C370A7A-C44A-86A7-6A40-1AD4628FCC84}"/>
          </ac:spMkLst>
        </pc:spChg>
        <pc:spChg chg="del mod">
          <ac:chgData name="Yiqun Dai" userId="360a2182-b97f-4635-b990-04f846616e33" providerId="ADAL" clId="{8F04EA49-0EFC-48F3-A4D8-E0F0D3B461A8}" dt="2025-11-16T02:51:55.132" v="466404"/>
          <ac:spMkLst>
            <pc:docMk/>
            <pc:sldMk cId="2668657357" sldId="2147483085"/>
            <ac:spMk id="107" creationId="{CD4FA85B-294B-12E3-296D-50F3E748DCC9}"/>
          </ac:spMkLst>
        </pc:spChg>
        <pc:spChg chg="add del mod ord">
          <ac:chgData name="Yiqun Dai" userId="360a2182-b97f-4635-b990-04f846616e33" providerId="ADAL" clId="{8F04EA49-0EFC-48F3-A4D8-E0F0D3B461A8}" dt="2025-11-16T02:51:55.133" v="466405"/>
          <ac:spMkLst>
            <pc:docMk/>
            <pc:sldMk cId="2668657357" sldId="2147483085"/>
            <ac:spMk id="108" creationId="{1C94BC39-8CF3-4305-1E73-24BA313EF475}"/>
          </ac:spMkLst>
        </pc:spChg>
        <pc:spChg chg="add del mod ord">
          <ac:chgData name="Yiqun Dai" userId="360a2182-b97f-4635-b990-04f846616e33" providerId="ADAL" clId="{8F04EA49-0EFC-48F3-A4D8-E0F0D3B461A8}" dt="2025-11-16T02:51:55.134" v="466406"/>
          <ac:spMkLst>
            <pc:docMk/>
            <pc:sldMk cId="2668657357" sldId="2147483085"/>
            <ac:spMk id="109" creationId="{92CFEEF1-080E-DABA-5599-C407893D30D9}"/>
          </ac:spMkLst>
        </pc:spChg>
        <pc:spChg chg="add del mod ord">
          <ac:chgData name="Yiqun Dai" userId="360a2182-b97f-4635-b990-04f846616e33" providerId="ADAL" clId="{8F04EA49-0EFC-48F3-A4D8-E0F0D3B461A8}" dt="2025-11-16T02:51:55.134" v="466408"/>
          <ac:spMkLst>
            <pc:docMk/>
            <pc:sldMk cId="2668657357" sldId="2147483085"/>
            <ac:spMk id="110" creationId="{F26D5B79-9DB4-6FE4-BB4A-8EE61DC00985}"/>
          </ac:spMkLst>
        </pc:spChg>
        <pc:spChg chg="add del mod ord">
          <ac:chgData name="Yiqun Dai" userId="360a2182-b97f-4635-b990-04f846616e33" providerId="ADAL" clId="{8F04EA49-0EFC-48F3-A4D8-E0F0D3B461A8}" dt="2025-11-16T02:51:55.136" v="466410"/>
          <ac:spMkLst>
            <pc:docMk/>
            <pc:sldMk cId="2668657357" sldId="2147483085"/>
            <ac:spMk id="111" creationId="{4C6DFDF9-80FC-8E0F-49F1-5C128AA82816}"/>
          </ac:spMkLst>
        </pc:spChg>
        <pc:spChg chg="add del mod ord">
          <ac:chgData name="Yiqun Dai" userId="360a2182-b97f-4635-b990-04f846616e33" providerId="ADAL" clId="{8F04EA49-0EFC-48F3-A4D8-E0F0D3B461A8}" dt="2025-11-16T02:51:55.137" v="466411"/>
          <ac:spMkLst>
            <pc:docMk/>
            <pc:sldMk cId="2668657357" sldId="2147483085"/>
            <ac:spMk id="112" creationId="{FDBE3892-0CD4-1A76-06E3-48556428747D}"/>
          </ac:spMkLst>
        </pc:spChg>
        <pc:spChg chg="add del mod ord">
          <ac:chgData name="Yiqun Dai" userId="360a2182-b97f-4635-b990-04f846616e33" providerId="ADAL" clId="{8F04EA49-0EFC-48F3-A4D8-E0F0D3B461A8}" dt="2025-11-16T02:51:55.138" v="466412"/>
          <ac:spMkLst>
            <pc:docMk/>
            <pc:sldMk cId="2668657357" sldId="2147483085"/>
            <ac:spMk id="113" creationId="{DFB0A3C4-1816-86A0-6207-57E4D884266D}"/>
          </ac:spMkLst>
        </pc:spChg>
        <pc:spChg chg="add del mod ord">
          <ac:chgData name="Yiqun Dai" userId="360a2182-b97f-4635-b990-04f846616e33" providerId="ADAL" clId="{8F04EA49-0EFC-48F3-A4D8-E0F0D3B461A8}" dt="2025-11-16T02:51:55.139" v="466414"/>
          <ac:spMkLst>
            <pc:docMk/>
            <pc:sldMk cId="2668657357" sldId="2147483085"/>
            <ac:spMk id="114" creationId="{F1B87586-8624-2B98-D668-2674B50918A3}"/>
          </ac:spMkLst>
        </pc:spChg>
        <pc:spChg chg="add del mod ord">
          <ac:chgData name="Yiqun Dai" userId="360a2182-b97f-4635-b990-04f846616e33" providerId="ADAL" clId="{8F04EA49-0EFC-48F3-A4D8-E0F0D3B461A8}" dt="2025-11-16T02:51:55.139" v="466415"/>
          <ac:spMkLst>
            <pc:docMk/>
            <pc:sldMk cId="2668657357" sldId="2147483085"/>
            <ac:spMk id="115" creationId="{6922F114-F5DD-7211-C060-C9B75084BA1B}"/>
          </ac:spMkLst>
        </pc:spChg>
        <pc:spChg chg="add del mod ord">
          <ac:chgData name="Yiqun Dai" userId="360a2182-b97f-4635-b990-04f846616e33" providerId="ADAL" clId="{8F04EA49-0EFC-48F3-A4D8-E0F0D3B461A8}" dt="2025-11-16T02:51:55.140" v="466416"/>
          <ac:spMkLst>
            <pc:docMk/>
            <pc:sldMk cId="2668657357" sldId="2147483085"/>
            <ac:spMk id="116" creationId="{82FB128D-7725-075B-1E5A-A880D1E83308}"/>
          </ac:spMkLst>
        </pc:spChg>
        <pc:spChg chg="add del mod ord">
          <ac:chgData name="Yiqun Dai" userId="360a2182-b97f-4635-b990-04f846616e33" providerId="ADAL" clId="{8F04EA49-0EFC-48F3-A4D8-E0F0D3B461A8}" dt="2025-11-16T02:51:55.141" v="466417"/>
          <ac:spMkLst>
            <pc:docMk/>
            <pc:sldMk cId="2668657357" sldId="2147483085"/>
            <ac:spMk id="117" creationId="{688C03B4-04BB-993E-4252-6B10B36F2068}"/>
          </ac:spMkLst>
        </pc:spChg>
        <pc:spChg chg="add del mod ord">
          <ac:chgData name="Yiqun Dai" userId="360a2182-b97f-4635-b990-04f846616e33" providerId="ADAL" clId="{8F04EA49-0EFC-48F3-A4D8-E0F0D3B461A8}" dt="2025-11-16T02:51:55.141" v="466419"/>
          <ac:spMkLst>
            <pc:docMk/>
            <pc:sldMk cId="2668657357" sldId="2147483085"/>
            <ac:spMk id="118" creationId="{431BF501-78D0-7760-1F78-69210C1497D7}"/>
          </ac:spMkLst>
        </pc:spChg>
        <pc:spChg chg="add del mod ord">
          <ac:chgData name="Yiqun Dai" userId="360a2182-b97f-4635-b990-04f846616e33" providerId="ADAL" clId="{8F04EA49-0EFC-48F3-A4D8-E0F0D3B461A8}" dt="2025-11-16T02:51:55.143" v="466421"/>
          <ac:spMkLst>
            <pc:docMk/>
            <pc:sldMk cId="2668657357" sldId="2147483085"/>
            <ac:spMk id="119" creationId="{4E4B0555-1157-C213-0A99-4BF490E013A4}"/>
          </ac:spMkLst>
        </pc:spChg>
        <pc:spChg chg="del mod">
          <ac:chgData name="Yiqun Dai" userId="360a2182-b97f-4635-b990-04f846616e33" providerId="ADAL" clId="{8F04EA49-0EFC-48F3-A4D8-E0F0D3B461A8}" dt="2025-11-16T02:37:23.249" v="435199"/>
          <ac:spMkLst>
            <pc:docMk/>
            <pc:sldMk cId="2668657357" sldId="2147483085"/>
            <ac:spMk id="120" creationId="{1FE490C2-96E1-473D-9CE6-532E6BEDE48F}"/>
          </ac:spMkLst>
        </pc:spChg>
        <pc:spChg chg="add del mod ord">
          <ac:chgData name="Yiqun Dai" userId="360a2182-b97f-4635-b990-04f846616e33" providerId="ADAL" clId="{8F04EA49-0EFC-48F3-A4D8-E0F0D3B461A8}" dt="2025-11-16T02:51:55.143" v="466422"/>
          <ac:spMkLst>
            <pc:docMk/>
            <pc:sldMk cId="2668657357" sldId="2147483085"/>
            <ac:spMk id="121" creationId="{05EBA651-D90D-7617-BB25-F585CA8F308C}"/>
          </ac:spMkLst>
        </pc:spChg>
        <pc:spChg chg="del mod">
          <ac:chgData name="Yiqun Dai" userId="360a2182-b97f-4635-b990-04f846616e33" providerId="ADAL" clId="{8F04EA49-0EFC-48F3-A4D8-E0F0D3B461A8}" dt="2025-11-16T02:37:23.253" v="435205"/>
          <ac:spMkLst>
            <pc:docMk/>
            <pc:sldMk cId="2668657357" sldId="2147483085"/>
            <ac:spMk id="122" creationId="{A817BFC6-5D5B-2A1D-F991-DA1DA34DB325}"/>
          </ac:spMkLst>
        </pc:spChg>
        <pc:spChg chg="del mod">
          <ac:chgData name="Yiqun Dai" userId="360a2182-b97f-4635-b990-04f846616e33" providerId="ADAL" clId="{8F04EA49-0EFC-48F3-A4D8-E0F0D3B461A8}" dt="2025-11-16T02:37:23.251" v="435202"/>
          <ac:spMkLst>
            <pc:docMk/>
            <pc:sldMk cId="2668657357" sldId="2147483085"/>
            <ac:spMk id="123" creationId="{BB63FF4B-6370-02CA-7012-7F1DA5E4906B}"/>
          </ac:spMkLst>
        </pc:spChg>
        <pc:spChg chg="del mod ord">
          <ac:chgData name="Yiqun Dai" userId="360a2182-b97f-4635-b990-04f846616e33" providerId="ADAL" clId="{8F04EA49-0EFC-48F3-A4D8-E0F0D3B461A8}" dt="2025-11-16T02:37:23.248" v="435198"/>
          <ac:spMkLst>
            <pc:docMk/>
            <pc:sldMk cId="2668657357" sldId="2147483085"/>
            <ac:spMk id="124" creationId="{D674F079-F071-EC87-A3A1-873132639CA6}"/>
          </ac:spMkLst>
        </pc:spChg>
        <pc:spChg chg="del mod ord">
          <ac:chgData name="Yiqun Dai" userId="360a2182-b97f-4635-b990-04f846616e33" providerId="ADAL" clId="{8F04EA49-0EFC-48F3-A4D8-E0F0D3B461A8}" dt="2025-11-16T02:37:23.252" v="435204"/>
          <ac:spMkLst>
            <pc:docMk/>
            <pc:sldMk cId="2668657357" sldId="2147483085"/>
            <ac:spMk id="125" creationId="{DD6B762B-9AF4-E34F-C707-A2180BEEE049}"/>
          </ac:spMkLst>
        </pc:spChg>
        <pc:spChg chg="del mod ord">
          <ac:chgData name="Yiqun Dai" userId="360a2182-b97f-4635-b990-04f846616e33" providerId="ADAL" clId="{8F04EA49-0EFC-48F3-A4D8-E0F0D3B461A8}" dt="2025-11-16T02:37:23.250" v="435201"/>
          <ac:spMkLst>
            <pc:docMk/>
            <pc:sldMk cId="2668657357" sldId="2147483085"/>
            <ac:spMk id="126" creationId="{B60863ED-2B0E-A812-B3B7-999FEC011B11}"/>
          </ac:spMkLst>
        </pc:spChg>
        <pc:spChg chg="del mod ord">
          <ac:chgData name="Yiqun Dai" userId="360a2182-b97f-4635-b990-04f846616e33" providerId="ADAL" clId="{8F04EA49-0EFC-48F3-A4D8-E0F0D3B461A8}" dt="2025-11-16T02:44:06.700" v="456315"/>
          <ac:spMkLst>
            <pc:docMk/>
            <pc:sldMk cId="2668657357" sldId="2147483085"/>
            <ac:spMk id="127" creationId="{097ED7FF-AF30-612A-F79F-97CE58BEB000}"/>
          </ac:spMkLst>
        </pc:spChg>
        <pc:spChg chg="del mod modVis">
          <ac:chgData name="Yiqun Dai" userId="360a2182-b97f-4635-b990-04f846616e33" providerId="ADAL" clId="{8F04EA49-0EFC-48F3-A4D8-E0F0D3B461A8}" dt="2025-11-16T02:40:28.179" v="443650" actId="478"/>
          <ac:spMkLst>
            <pc:docMk/>
            <pc:sldMk cId="2668657357" sldId="2147483085"/>
            <ac:spMk id="256" creationId="{0D7D2688-312E-012F-D6C3-ED84027002EB}"/>
          </ac:spMkLst>
        </pc:spChg>
        <pc:spChg chg="add del mod modVis">
          <ac:chgData name="Yiqun Dai" userId="360a2182-b97f-4635-b990-04f846616e33" providerId="ADAL" clId="{8F04EA49-0EFC-48F3-A4D8-E0F0D3B461A8}" dt="2025-11-16T02:41:05.173" v="445517" actId="962"/>
          <ac:spMkLst>
            <pc:docMk/>
            <pc:sldMk cId="2668657357" sldId="2147483085"/>
            <ac:spMk id="260" creationId="{C37BF629-65A8-6262-3865-E2FB59A72486}"/>
          </ac:spMkLst>
        </pc:spChg>
        <pc:spChg chg="add mod ord">
          <ac:chgData name="Yiqun Dai" userId="360a2182-b97f-4635-b990-04f846616e33" providerId="ADAL" clId="{8F04EA49-0EFC-48F3-A4D8-E0F0D3B461A8}" dt="2025-11-16T02:41:05.173" v="445518"/>
          <ac:spMkLst>
            <pc:docMk/>
            <pc:sldMk cId="2668657357" sldId="2147483085"/>
            <ac:spMk id="261" creationId="{C3924F35-579E-A480-F1CE-841142B830AA}"/>
          </ac:spMkLst>
        </pc:spChg>
        <pc:spChg chg="add mod ord">
          <ac:chgData name="Yiqun Dai" userId="360a2182-b97f-4635-b990-04f846616e33" providerId="ADAL" clId="{8F04EA49-0EFC-48F3-A4D8-E0F0D3B461A8}" dt="2025-11-16T02:41:05.173" v="445518"/>
          <ac:spMkLst>
            <pc:docMk/>
            <pc:sldMk cId="2668657357" sldId="2147483085"/>
            <ac:spMk id="262" creationId="{169C9552-0543-C8B3-7DB2-4AFDBF337F5D}"/>
          </ac:spMkLst>
        </pc:spChg>
        <pc:spChg chg="add mod">
          <ac:chgData name="Yiqun Dai" userId="360a2182-b97f-4635-b990-04f846616e33" providerId="ADAL" clId="{8F04EA49-0EFC-48F3-A4D8-E0F0D3B461A8}" dt="2025-11-16T02:41:05.135" v="445471" actId="207"/>
          <ac:spMkLst>
            <pc:docMk/>
            <pc:sldMk cId="2668657357" sldId="2147483085"/>
            <ac:spMk id="263" creationId="{0A1524A6-3F90-239B-12A1-F32034B25242}"/>
          </ac:spMkLst>
        </pc:spChg>
        <pc:spChg chg="mod ord">
          <ac:chgData name="Yiqun Dai" userId="360a2182-b97f-4635-b990-04f846616e33" providerId="ADAL" clId="{8F04EA49-0EFC-48F3-A4D8-E0F0D3B461A8}" dt="2025-11-16T02:51:55.105" v="466367"/>
          <ac:spMkLst>
            <pc:docMk/>
            <pc:sldMk cId="2668657357" sldId="2147483085"/>
            <ac:spMk id="264" creationId="{B34B2A8E-A725-BE3F-060A-3339ADC8BA2B}"/>
          </ac:spMkLst>
        </pc:spChg>
        <pc:spChg chg="mod ord">
          <ac:chgData name="Yiqun Dai" userId="360a2182-b97f-4635-b990-04f846616e33" providerId="ADAL" clId="{8F04EA49-0EFC-48F3-A4D8-E0F0D3B461A8}" dt="2025-11-16T02:51:55.107" v="466369"/>
          <ac:spMkLst>
            <pc:docMk/>
            <pc:sldMk cId="2668657357" sldId="2147483085"/>
            <ac:spMk id="265" creationId="{E5B99CB0-AF35-9523-CCD8-5D460F1EFB1D}"/>
          </ac:spMkLst>
        </pc:spChg>
        <pc:spChg chg="mod ord">
          <ac:chgData name="Yiqun Dai" userId="360a2182-b97f-4635-b990-04f846616e33" providerId="ADAL" clId="{8F04EA49-0EFC-48F3-A4D8-E0F0D3B461A8}" dt="2025-11-16T02:51:55.108" v="466371"/>
          <ac:spMkLst>
            <pc:docMk/>
            <pc:sldMk cId="2668657357" sldId="2147483085"/>
            <ac:spMk id="266" creationId="{D906B5B5-3D0F-0804-8B67-6298CB7CDEF9}"/>
          </ac:spMkLst>
        </pc:spChg>
        <pc:spChg chg="mod ord">
          <ac:chgData name="Yiqun Dai" userId="360a2182-b97f-4635-b990-04f846616e33" providerId="ADAL" clId="{8F04EA49-0EFC-48F3-A4D8-E0F0D3B461A8}" dt="2025-11-16T02:51:55.112" v="466374"/>
          <ac:spMkLst>
            <pc:docMk/>
            <pc:sldMk cId="2668657357" sldId="2147483085"/>
            <ac:spMk id="267" creationId="{7FD5C2D1-065C-BE54-58E9-72570F54E097}"/>
          </ac:spMkLst>
        </pc:spChg>
        <pc:spChg chg="mod ord">
          <ac:chgData name="Yiqun Dai" userId="360a2182-b97f-4635-b990-04f846616e33" providerId="ADAL" clId="{8F04EA49-0EFC-48F3-A4D8-E0F0D3B461A8}" dt="2025-11-16T02:51:55.115" v="466376"/>
          <ac:spMkLst>
            <pc:docMk/>
            <pc:sldMk cId="2668657357" sldId="2147483085"/>
            <ac:spMk id="268" creationId="{EFFF287C-BADC-E8CA-196C-D0E14F6D3755}"/>
          </ac:spMkLst>
        </pc:spChg>
        <pc:spChg chg="mod ord">
          <ac:chgData name="Yiqun Dai" userId="360a2182-b97f-4635-b990-04f846616e33" providerId="ADAL" clId="{8F04EA49-0EFC-48F3-A4D8-E0F0D3B461A8}" dt="2025-11-16T02:51:55.117" v="466379"/>
          <ac:spMkLst>
            <pc:docMk/>
            <pc:sldMk cId="2668657357" sldId="2147483085"/>
            <ac:spMk id="269" creationId="{C6777B5C-8847-92DC-3D4C-B6C57AC72D81}"/>
          </ac:spMkLst>
        </pc:spChg>
        <pc:spChg chg="mod ord">
          <ac:chgData name="Yiqun Dai" userId="360a2182-b97f-4635-b990-04f846616e33" providerId="ADAL" clId="{8F04EA49-0EFC-48F3-A4D8-E0F0D3B461A8}" dt="2025-11-16T02:51:55.118" v="466380"/>
          <ac:spMkLst>
            <pc:docMk/>
            <pc:sldMk cId="2668657357" sldId="2147483085"/>
            <ac:spMk id="270" creationId="{D213B181-0FDA-BDF9-BCD2-A25001A63270}"/>
          </ac:spMkLst>
        </pc:spChg>
        <pc:spChg chg="mod ord">
          <ac:chgData name="Yiqun Dai" userId="360a2182-b97f-4635-b990-04f846616e33" providerId="ADAL" clId="{8F04EA49-0EFC-48F3-A4D8-E0F0D3B461A8}" dt="2025-11-16T02:51:55.120" v="466382"/>
          <ac:spMkLst>
            <pc:docMk/>
            <pc:sldMk cId="2668657357" sldId="2147483085"/>
            <ac:spMk id="271" creationId="{55188C7E-0C5C-8780-C3D5-62E2134CB478}"/>
          </ac:spMkLst>
        </pc:spChg>
        <pc:spChg chg="mod ord">
          <ac:chgData name="Yiqun Dai" userId="360a2182-b97f-4635-b990-04f846616e33" providerId="ADAL" clId="{8F04EA49-0EFC-48F3-A4D8-E0F0D3B461A8}" dt="2025-11-16T02:51:55.121" v="466384"/>
          <ac:spMkLst>
            <pc:docMk/>
            <pc:sldMk cId="2668657357" sldId="2147483085"/>
            <ac:spMk id="272" creationId="{9E98714F-E440-1738-DD29-A8D36CD120A2}"/>
          </ac:spMkLst>
        </pc:spChg>
        <pc:spChg chg="mod ord">
          <ac:chgData name="Yiqun Dai" userId="360a2182-b97f-4635-b990-04f846616e33" providerId="ADAL" clId="{8F04EA49-0EFC-48F3-A4D8-E0F0D3B461A8}" dt="2025-11-16T02:51:55.123" v="466386"/>
          <ac:spMkLst>
            <pc:docMk/>
            <pc:sldMk cId="2668657357" sldId="2147483085"/>
            <ac:spMk id="273" creationId="{FCB22F56-785E-8CBC-40E8-09BD17926269}"/>
          </ac:spMkLst>
        </pc:spChg>
        <pc:spChg chg="del mod ord">
          <ac:chgData name="Yiqun Dai" userId="360a2182-b97f-4635-b990-04f846616e33" providerId="ADAL" clId="{8F04EA49-0EFC-48F3-A4D8-E0F0D3B461A8}" dt="2025-11-16T02:35:25.113" v="432435"/>
          <ac:spMkLst>
            <pc:docMk/>
            <pc:sldMk cId="2668657357" sldId="2147483085"/>
            <ac:spMk id="274" creationId="{1DB18AC6-A09B-2F27-5AC3-849D164D6781}"/>
          </ac:spMkLst>
        </pc:spChg>
        <pc:spChg chg="add mod">
          <ac:chgData name="Yiqun Dai" userId="360a2182-b97f-4635-b990-04f846616e33" providerId="ADAL" clId="{8F04EA49-0EFC-48F3-A4D8-E0F0D3B461A8}" dt="2025-11-16T02:41:05.118" v="445458" actId="139"/>
          <ac:spMkLst>
            <pc:docMk/>
            <pc:sldMk cId="2668657357" sldId="2147483085"/>
            <ac:spMk id="275" creationId="{AC7F3A79-7EFF-5F78-7F92-3B78404519E8}"/>
          </ac:spMkLst>
        </pc:spChg>
        <pc:spChg chg="add mod">
          <ac:chgData name="Yiqun Dai" userId="360a2182-b97f-4635-b990-04f846616e33" providerId="ADAL" clId="{8F04EA49-0EFC-48F3-A4D8-E0F0D3B461A8}" dt="2025-11-16T02:41:05.092" v="445427" actId="139"/>
          <ac:spMkLst>
            <pc:docMk/>
            <pc:sldMk cId="2668657357" sldId="2147483085"/>
            <ac:spMk id="276" creationId="{03D8FC26-3B66-2877-7FC0-EB1022020D96}"/>
          </ac:spMkLst>
        </pc:spChg>
        <pc:spChg chg="add mod">
          <ac:chgData name="Yiqun Dai" userId="360a2182-b97f-4635-b990-04f846616e33" providerId="ADAL" clId="{8F04EA49-0EFC-48F3-A4D8-E0F0D3B461A8}" dt="2025-11-16T02:41:05.173" v="445518"/>
          <ac:spMkLst>
            <pc:docMk/>
            <pc:sldMk cId="2668657357" sldId="2147483085"/>
            <ac:spMk id="277" creationId="{37DD4DEE-8DD0-CC10-9217-5D848919E092}"/>
          </ac:spMkLst>
        </pc:spChg>
        <pc:spChg chg="add mod">
          <ac:chgData name="Yiqun Dai" userId="360a2182-b97f-4635-b990-04f846616e33" providerId="ADAL" clId="{8F04EA49-0EFC-48F3-A4D8-E0F0D3B461A8}" dt="2025-11-16T02:41:05.035" v="445371" actId="139"/>
          <ac:spMkLst>
            <pc:docMk/>
            <pc:sldMk cId="2668657357" sldId="2147483085"/>
            <ac:spMk id="278" creationId="{DCADC2A5-E010-77CA-21D2-1DF61E5C7308}"/>
          </ac:spMkLst>
        </pc:spChg>
        <pc:spChg chg="add mod">
          <ac:chgData name="Yiqun Dai" userId="360a2182-b97f-4635-b990-04f846616e33" providerId="ADAL" clId="{8F04EA49-0EFC-48F3-A4D8-E0F0D3B461A8}" dt="2025-11-16T02:41:05.008" v="445344" actId="139"/>
          <ac:spMkLst>
            <pc:docMk/>
            <pc:sldMk cId="2668657357" sldId="2147483085"/>
            <ac:spMk id="279" creationId="{B0D78F9B-A695-7BC6-9087-6C013855BB8D}"/>
          </ac:spMkLst>
        </pc:spChg>
        <pc:spChg chg="add mod">
          <ac:chgData name="Yiqun Dai" userId="360a2182-b97f-4635-b990-04f846616e33" providerId="ADAL" clId="{8F04EA49-0EFC-48F3-A4D8-E0F0D3B461A8}" dt="2025-11-16T02:41:04.978" v="445315" actId="139"/>
          <ac:spMkLst>
            <pc:docMk/>
            <pc:sldMk cId="2668657357" sldId="2147483085"/>
            <ac:spMk id="280" creationId="{2C646566-118D-003D-3A49-1D151C5F70EB}"/>
          </ac:spMkLst>
        </pc:spChg>
        <pc:spChg chg="add mod">
          <ac:chgData name="Yiqun Dai" userId="360a2182-b97f-4635-b990-04f846616e33" providerId="ADAL" clId="{8F04EA49-0EFC-48F3-A4D8-E0F0D3B461A8}" dt="2025-11-16T02:41:04.955" v="445288" actId="139"/>
          <ac:spMkLst>
            <pc:docMk/>
            <pc:sldMk cId="2668657357" sldId="2147483085"/>
            <ac:spMk id="281" creationId="{CFC84ED2-18ED-340E-0E64-701280127334}"/>
          </ac:spMkLst>
        </pc:spChg>
        <pc:spChg chg="add mod">
          <ac:chgData name="Yiqun Dai" userId="360a2182-b97f-4635-b990-04f846616e33" providerId="ADAL" clId="{8F04EA49-0EFC-48F3-A4D8-E0F0D3B461A8}" dt="2025-11-16T02:41:05.173" v="445518"/>
          <ac:spMkLst>
            <pc:docMk/>
            <pc:sldMk cId="2668657357" sldId="2147483085"/>
            <ac:spMk id="282" creationId="{8745CF2E-DAAA-F18F-41A3-D3187B5F2823}"/>
          </ac:spMkLst>
        </pc:spChg>
        <pc:spChg chg="add del mod modVis">
          <ac:chgData name="Yiqun Dai" userId="360a2182-b97f-4635-b990-04f846616e33" providerId="ADAL" clId="{8F04EA49-0EFC-48F3-A4D8-E0F0D3B461A8}" dt="2025-11-16T02:41:04.773" v="445001" actId="962"/>
          <ac:spMkLst>
            <pc:docMk/>
            <pc:sldMk cId="2668657357" sldId="2147483085"/>
            <ac:spMk id="299" creationId="{CF12BE8A-CB0F-1A7F-C751-1DF2386E37DB}"/>
          </ac:spMkLst>
        </pc:spChg>
        <pc:spChg chg="add del mod modVis">
          <ac:chgData name="Yiqun Dai" userId="360a2182-b97f-4635-b990-04f846616e33" providerId="ADAL" clId="{8F04EA49-0EFC-48F3-A4D8-E0F0D3B461A8}" dt="2025-11-16T02:41:29.090" v="446822"/>
          <ac:spMkLst>
            <pc:docMk/>
            <pc:sldMk cId="2668657357" sldId="2147483085"/>
            <ac:spMk id="304" creationId="{27C18DA1-DCDB-7616-56F0-2736A8DFCD2E}"/>
          </ac:spMkLst>
        </pc:spChg>
        <pc:spChg chg="add del mod ord">
          <ac:chgData name="Yiqun Dai" userId="360a2182-b97f-4635-b990-04f846616e33" providerId="ADAL" clId="{8F04EA49-0EFC-48F3-A4D8-E0F0D3B461A8}" dt="2025-11-16T02:43:50.277" v="455028"/>
          <ac:spMkLst>
            <pc:docMk/>
            <pc:sldMk cId="2668657357" sldId="2147483085"/>
            <ac:spMk id="305" creationId="{281ED764-33BE-2ED7-64D6-049A4C17773F}"/>
          </ac:spMkLst>
        </pc:spChg>
        <pc:spChg chg="add del mod ord">
          <ac:chgData name="Yiqun Dai" userId="360a2182-b97f-4635-b990-04f846616e33" providerId="ADAL" clId="{8F04EA49-0EFC-48F3-A4D8-E0F0D3B461A8}" dt="2025-11-16T02:43:50.276" v="455026"/>
          <ac:spMkLst>
            <pc:docMk/>
            <pc:sldMk cId="2668657357" sldId="2147483085"/>
            <ac:spMk id="306" creationId="{D0B998DF-E55F-6018-896F-F750FD0BFB0F}"/>
          </ac:spMkLst>
        </pc:spChg>
        <pc:spChg chg="add del mod">
          <ac:chgData name="Yiqun Dai" userId="360a2182-b97f-4635-b990-04f846616e33" providerId="ADAL" clId="{8F04EA49-0EFC-48F3-A4D8-E0F0D3B461A8}" dt="2025-11-16T02:43:50.272" v="455024"/>
          <ac:spMkLst>
            <pc:docMk/>
            <pc:sldMk cId="2668657357" sldId="2147483085"/>
            <ac:spMk id="307" creationId="{7A808F2E-16AD-8E8D-584C-AEA3D63D8925}"/>
          </ac:spMkLst>
        </pc:spChg>
        <pc:spChg chg="add del mod">
          <ac:chgData name="Yiqun Dai" userId="360a2182-b97f-4635-b990-04f846616e33" providerId="ADAL" clId="{8F04EA49-0EFC-48F3-A4D8-E0F0D3B461A8}" dt="2025-11-16T02:41:53.128" v="447863"/>
          <ac:spMkLst>
            <pc:docMk/>
            <pc:sldMk cId="2668657357" sldId="2147483085"/>
            <ac:spMk id="308" creationId="{5134B2F8-AF29-0C06-324E-2484E738B624}"/>
          </ac:spMkLst>
        </pc:spChg>
        <pc:spChg chg="add del mod">
          <ac:chgData name="Yiqun Dai" userId="360a2182-b97f-4635-b990-04f846616e33" providerId="ADAL" clId="{8F04EA49-0EFC-48F3-A4D8-E0F0D3B461A8}" dt="2025-11-16T02:43:50.359" v="455090"/>
          <ac:spMkLst>
            <pc:docMk/>
            <pc:sldMk cId="2668657357" sldId="2147483085"/>
            <ac:spMk id="309" creationId="{4D7B1EAA-565E-7A47-B6E0-036BE0C5DF4B}"/>
          </ac:spMkLst>
        </pc:spChg>
        <pc:spChg chg="add del mod">
          <ac:chgData name="Yiqun Dai" userId="360a2182-b97f-4635-b990-04f846616e33" providerId="ADAL" clId="{8F04EA49-0EFC-48F3-A4D8-E0F0D3B461A8}" dt="2025-11-16T02:41:53.125" v="447858"/>
          <ac:spMkLst>
            <pc:docMk/>
            <pc:sldMk cId="2668657357" sldId="2147483085"/>
            <ac:spMk id="310" creationId="{8E10C3A5-7E1A-96DF-E47B-6799C3606F3B}"/>
          </ac:spMkLst>
        </pc:spChg>
        <pc:spChg chg="add del mod">
          <ac:chgData name="Yiqun Dai" userId="360a2182-b97f-4635-b990-04f846616e33" providerId="ADAL" clId="{8F04EA49-0EFC-48F3-A4D8-E0F0D3B461A8}" dt="2025-11-16T02:43:50.358" v="455087"/>
          <ac:spMkLst>
            <pc:docMk/>
            <pc:sldMk cId="2668657357" sldId="2147483085"/>
            <ac:spMk id="311" creationId="{BC11D342-F5D6-6730-7DA1-7126CFDDEBE1}"/>
          </ac:spMkLst>
        </pc:spChg>
        <pc:spChg chg="add del mod">
          <ac:chgData name="Yiqun Dai" userId="360a2182-b97f-4635-b990-04f846616e33" providerId="ADAL" clId="{8F04EA49-0EFC-48F3-A4D8-E0F0D3B461A8}" dt="2025-11-16T02:41:53.122" v="447853"/>
          <ac:spMkLst>
            <pc:docMk/>
            <pc:sldMk cId="2668657357" sldId="2147483085"/>
            <ac:spMk id="312" creationId="{0F974FA3-7929-E402-6878-F8FEFFFF2E51}"/>
          </ac:spMkLst>
        </pc:spChg>
        <pc:spChg chg="add del mod">
          <ac:chgData name="Yiqun Dai" userId="360a2182-b97f-4635-b990-04f846616e33" providerId="ADAL" clId="{8F04EA49-0EFC-48F3-A4D8-E0F0D3B461A8}" dt="2025-11-16T02:43:50.357" v="455084"/>
          <ac:spMkLst>
            <pc:docMk/>
            <pc:sldMk cId="2668657357" sldId="2147483085"/>
            <ac:spMk id="313" creationId="{66022100-98C6-05C1-936E-84C5EFB8C439}"/>
          </ac:spMkLst>
        </pc:spChg>
        <pc:spChg chg="add del mod">
          <ac:chgData name="Yiqun Dai" userId="360a2182-b97f-4635-b990-04f846616e33" providerId="ADAL" clId="{8F04EA49-0EFC-48F3-A4D8-E0F0D3B461A8}" dt="2025-11-16T02:41:53.118" v="447848"/>
          <ac:spMkLst>
            <pc:docMk/>
            <pc:sldMk cId="2668657357" sldId="2147483085"/>
            <ac:spMk id="314" creationId="{4FE13B73-1A1C-DCE4-C305-0CD0D5B4C74B}"/>
          </ac:spMkLst>
        </pc:spChg>
        <pc:spChg chg="add del mod">
          <ac:chgData name="Yiqun Dai" userId="360a2182-b97f-4635-b990-04f846616e33" providerId="ADAL" clId="{8F04EA49-0EFC-48F3-A4D8-E0F0D3B461A8}" dt="2025-11-16T02:43:50.388" v="455112"/>
          <ac:spMkLst>
            <pc:docMk/>
            <pc:sldMk cId="2668657357" sldId="2147483085"/>
            <ac:spMk id="315" creationId="{710A9113-1994-A36D-DEA6-BA94C8F9FF95}"/>
          </ac:spMkLst>
        </pc:spChg>
        <pc:spChg chg="add del mod">
          <ac:chgData name="Yiqun Dai" userId="360a2182-b97f-4635-b990-04f846616e33" providerId="ADAL" clId="{8F04EA49-0EFC-48F3-A4D8-E0F0D3B461A8}" dt="2025-11-16T02:41:53.110" v="447838"/>
          <ac:spMkLst>
            <pc:docMk/>
            <pc:sldMk cId="2668657357" sldId="2147483085"/>
            <ac:spMk id="316" creationId="{2AB79234-2ECF-043E-5C27-B0A04E30E5D2}"/>
          </ac:spMkLst>
        </pc:spChg>
        <pc:spChg chg="del mod modVis">
          <ac:chgData name="Yiqun Dai" userId="360a2182-b97f-4635-b990-04f846616e33" providerId="ADAL" clId="{8F04EA49-0EFC-48F3-A4D8-E0F0D3B461A8}" dt="2025-11-16T02:41:29.986" v="447047" actId="478"/>
          <ac:spMkLst>
            <pc:docMk/>
            <pc:sldMk cId="2668657357" sldId="2147483085"/>
            <ac:spMk id="398" creationId="{3D810D1F-D46E-F8F9-55A2-D8D3BB2E212E}"/>
          </ac:spMkLst>
        </pc:spChg>
        <pc:spChg chg="add del mod modVis">
          <ac:chgData name="Yiqun Dai" userId="360a2182-b97f-4635-b990-04f846616e33" providerId="ADAL" clId="{8F04EA49-0EFC-48F3-A4D8-E0F0D3B461A8}" dt="2025-11-16T02:41:45.894" v="447493"/>
          <ac:spMkLst>
            <pc:docMk/>
            <pc:sldMk cId="2668657357" sldId="2147483085"/>
            <ac:spMk id="407" creationId="{78C01793-577D-70C0-929C-FED8BCE1058B}"/>
          </ac:spMkLst>
        </pc:spChg>
        <pc:spChg chg="add del mod">
          <ac:chgData name="Yiqun Dai" userId="360a2182-b97f-4635-b990-04f846616e33" providerId="ADAL" clId="{8F04EA49-0EFC-48F3-A4D8-E0F0D3B461A8}" dt="2025-11-16T02:41:53.115" v="447843"/>
          <ac:spMkLst>
            <pc:docMk/>
            <pc:sldMk cId="2668657357" sldId="2147483085"/>
            <ac:spMk id="408" creationId="{04C9735D-F09F-FE4A-423F-0AB80E010947}"/>
          </ac:spMkLst>
        </pc:spChg>
        <pc:spChg chg="add del mod modVis">
          <ac:chgData name="Yiqun Dai" userId="360a2182-b97f-4635-b990-04f846616e33" providerId="ADAL" clId="{8F04EA49-0EFC-48F3-A4D8-E0F0D3B461A8}" dt="2025-11-16T02:41:46.437" v="447797"/>
          <ac:spMkLst>
            <pc:docMk/>
            <pc:sldMk cId="2668657357" sldId="2147483085"/>
            <ac:spMk id="412" creationId="{844D405F-B304-FFA4-EAB2-DCF71AF3341A}"/>
          </ac:spMkLst>
        </pc:spChg>
        <pc:spChg chg="mod ord">
          <ac:chgData name="Yiqun Dai" userId="360a2182-b97f-4635-b990-04f846616e33" providerId="ADAL" clId="{8F04EA49-0EFC-48F3-A4D8-E0F0D3B461A8}" dt="2025-11-16T02:51:55.106" v="466368"/>
          <ac:spMkLst>
            <pc:docMk/>
            <pc:sldMk cId="2668657357" sldId="2147483085"/>
            <ac:spMk id="413" creationId="{9DC6F429-0799-5BAE-3FF6-F54953BB158F}"/>
          </ac:spMkLst>
        </pc:spChg>
        <pc:spChg chg="mod ord">
          <ac:chgData name="Yiqun Dai" userId="360a2182-b97f-4635-b990-04f846616e33" providerId="ADAL" clId="{8F04EA49-0EFC-48F3-A4D8-E0F0D3B461A8}" dt="2025-11-16T02:51:55.108" v="466370"/>
          <ac:spMkLst>
            <pc:docMk/>
            <pc:sldMk cId="2668657357" sldId="2147483085"/>
            <ac:spMk id="417" creationId="{33541444-D47B-FA07-37CE-40BBBC0C2206}"/>
          </ac:spMkLst>
        </pc:spChg>
        <pc:spChg chg="mod ord">
          <ac:chgData name="Yiqun Dai" userId="360a2182-b97f-4635-b990-04f846616e33" providerId="ADAL" clId="{8F04EA49-0EFC-48F3-A4D8-E0F0D3B461A8}" dt="2025-11-16T02:51:55.110" v="466373"/>
          <ac:spMkLst>
            <pc:docMk/>
            <pc:sldMk cId="2668657357" sldId="2147483085"/>
            <ac:spMk id="418" creationId="{EC311788-AD45-DFF5-F28E-3258868CB46F}"/>
          </ac:spMkLst>
        </pc:spChg>
        <pc:spChg chg="mod ord">
          <ac:chgData name="Yiqun Dai" userId="360a2182-b97f-4635-b990-04f846616e33" providerId="ADAL" clId="{8F04EA49-0EFC-48F3-A4D8-E0F0D3B461A8}" dt="2025-11-16T02:51:55.113" v="466375"/>
          <ac:spMkLst>
            <pc:docMk/>
            <pc:sldMk cId="2668657357" sldId="2147483085"/>
            <ac:spMk id="419" creationId="{034011CC-7BFF-86F2-5385-73633A5DEC92}"/>
          </ac:spMkLst>
        </pc:spChg>
        <pc:spChg chg="mod ord">
          <ac:chgData name="Yiqun Dai" userId="360a2182-b97f-4635-b990-04f846616e33" providerId="ADAL" clId="{8F04EA49-0EFC-48F3-A4D8-E0F0D3B461A8}" dt="2025-11-16T02:51:55.116" v="466378"/>
          <ac:spMkLst>
            <pc:docMk/>
            <pc:sldMk cId="2668657357" sldId="2147483085"/>
            <ac:spMk id="420" creationId="{D2565CDF-0DF9-5B2E-3ED0-1D0598F9335D}"/>
          </ac:spMkLst>
        </pc:spChg>
        <pc:spChg chg="mod ord">
          <ac:chgData name="Yiqun Dai" userId="360a2182-b97f-4635-b990-04f846616e33" providerId="ADAL" clId="{8F04EA49-0EFC-48F3-A4D8-E0F0D3B461A8}" dt="2025-11-16T02:51:55.124" v="466388"/>
          <ac:spMkLst>
            <pc:docMk/>
            <pc:sldMk cId="2668657357" sldId="2147483085"/>
            <ac:spMk id="421" creationId="{B379035E-B2CC-6E54-0585-6CF2F4FF0D25}"/>
          </ac:spMkLst>
        </pc:spChg>
        <pc:spChg chg="mod ord">
          <ac:chgData name="Yiqun Dai" userId="360a2182-b97f-4635-b990-04f846616e33" providerId="ADAL" clId="{8F04EA49-0EFC-48F3-A4D8-E0F0D3B461A8}" dt="2025-11-16T02:51:55.119" v="466381"/>
          <ac:spMkLst>
            <pc:docMk/>
            <pc:sldMk cId="2668657357" sldId="2147483085"/>
            <ac:spMk id="422" creationId="{265EF44E-B098-70C9-648C-D982B56BB57C}"/>
          </ac:spMkLst>
        </pc:spChg>
        <pc:spChg chg="mod ord">
          <ac:chgData name="Yiqun Dai" userId="360a2182-b97f-4635-b990-04f846616e33" providerId="ADAL" clId="{8F04EA49-0EFC-48F3-A4D8-E0F0D3B461A8}" dt="2025-11-16T02:51:55.121" v="466383"/>
          <ac:spMkLst>
            <pc:docMk/>
            <pc:sldMk cId="2668657357" sldId="2147483085"/>
            <ac:spMk id="423" creationId="{140845F2-BC93-FAF1-9D0B-6D2336EADF5F}"/>
          </ac:spMkLst>
        </pc:spChg>
        <pc:spChg chg="mod ord">
          <ac:chgData name="Yiqun Dai" userId="360a2182-b97f-4635-b990-04f846616e33" providerId="ADAL" clId="{8F04EA49-0EFC-48F3-A4D8-E0F0D3B461A8}" dt="2025-11-16T02:51:55.122" v="466385"/>
          <ac:spMkLst>
            <pc:docMk/>
            <pc:sldMk cId="2668657357" sldId="2147483085"/>
            <ac:spMk id="424" creationId="{8EC747FA-F073-0984-207D-C92D73B024E2}"/>
          </ac:spMkLst>
        </pc:spChg>
        <pc:spChg chg="mod ord">
          <ac:chgData name="Yiqun Dai" userId="360a2182-b97f-4635-b990-04f846616e33" providerId="ADAL" clId="{8F04EA49-0EFC-48F3-A4D8-E0F0D3B461A8}" dt="2025-11-16T02:51:55.123" v="466387"/>
          <ac:spMkLst>
            <pc:docMk/>
            <pc:sldMk cId="2668657357" sldId="2147483085"/>
            <ac:spMk id="425" creationId="{AD090EEF-2E17-0909-CD76-83F939D6AB5A}"/>
          </ac:spMkLst>
        </pc:spChg>
        <pc:spChg chg="del mod ord">
          <ac:chgData name="Yiqun Dai" userId="360a2182-b97f-4635-b990-04f846616e33" providerId="ADAL" clId="{8F04EA49-0EFC-48F3-A4D8-E0F0D3B461A8}" dt="2025-11-16T02:35:25.112" v="432434"/>
          <ac:spMkLst>
            <pc:docMk/>
            <pc:sldMk cId="2668657357" sldId="2147483085"/>
            <ac:spMk id="426" creationId="{0660412B-3403-94DC-5F62-C1131131738E}"/>
          </ac:spMkLst>
        </pc:spChg>
        <pc:spChg chg="add del mod modVis">
          <ac:chgData name="Yiqun Dai" userId="360a2182-b97f-4635-b990-04f846616e33" providerId="ADAL" clId="{8F04EA49-0EFC-48F3-A4D8-E0F0D3B461A8}" dt="2025-11-16T02:41:54.670" v="448663"/>
          <ac:spMkLst>
            <pc:docMk/>
            <pc:sldMk cId="2668657357" sldId="2147483085"/>
            <ac:spMk id="428" creationId="{B18EE075-1244-8F9B-0D4B-12AAF016527A}"/>
          </ac:spMkLst>
        </pc:spChg>
        <pc:spChg chg="add del mod">
          <ac:chgData name="Yiqun Dai" userId="360a2182-b97f-4635-b990-04f846616e33" providerId="ADAL" clId="{8F04EA49-0EFC-48F3-A4D8-E0F0D3B461A8}" dt="2025-11-16T02:43:50.361" v="455093"/>
          <ac:spMkLst>
            <pc:docMk/>
            <pc:sldMk cId="2668657357" sldId="2147483085"/>
            <ac:spMk id="429" creationId="{C79CDFF5-DCAC-1A01-9131-917FA65B103D}"/>
          </ac:spMkLst>
        </pc:spChg>
        <pc:spChg chg="add del mod">
          <ac:chgData name="Yiqun Dai" userId="360a2182-b97f-4635-b990-04f846616e33" providerId="ADAL" clId="{8F04EA49-0EFC-48F3-A4D8-E0F0D3B461A8}" dt="2025-11-16T02:43:50.355" v="455081"/>
          <ac:spMkLst>
            <pc:docMk/>
            <pc:sldMk cId="2668657357" sldId="2147483085"/>
            <ac:spMk id="430" creationId="{FB86A57B-52AD-D43B-3B8E-45A1E39E4F13}"/>
          </ac:spMkLst>
        </pc:spChg>
        <pc:spChg chg="add del mod">
          <ac:chgData name="Yiqun Dai" userId="360a2182-b97f-4635-b990-04f846616e33" providerId="ADAL" clId="{8F04EA49-0EFC-48F3-A4D8-E0F0D3B461A8}" dt="2025-11-16T02:42:17.319" v="449000"/>
          <ac:spMkLst>
            <pc:docMk/>
            <pc:sldMk cId="2668657357" sldId="2147483085"/>
            <ac:spMk id="431" creationId="{47DB76A7-629B-8D9A-BFCE-5669F21DB132}"/>
          </ac:spMkLst>
        </pc:spChg>
        <pc:spChg chg="add del mod">
          <ac:chgData name="Yiqun Dai" userId="360a2182-b97f-4635-b990-04f846616e33" providerId="ADAL" clId="{8F04EA49-0EFC-48F3-A4D8-E0F0D3B461A8}" dt="2025-11-16T02:42:17.316" v="448995"/>
          <ac:spMkLst>
            <pc:docMk/>
            <pc:sldMk cId="2668657357" sldId="2147483085"/>
            <ac:spMk id="432" creationId="{31DE1E4A-0A2C-E0F8-FD20-8466CEF12071}"/>
          </ac:spMkLst>
        </pc:spChg>
        <pc:spChg chg="add del mod">
          <ac:chgData name="Yiqun Dai" userId="360a2182-b97f-4635-b990-04f846616e33" providerId="ADAL" clId="{8F04EA49-0EFC-48F3-A4D8-E0F0D3B461A8}" dt="2025-11-16T02:43:50.350" v="455072"/>
          <ac:spMkLst>
            <pc:docMk/>
            <pc:sldMk cId="2668657357" sldId="2147483085"/>
            <ac:spMk id="433" creationId="{1DAA698B-1A4E-ED8B-2EC5-B132FF3802B4}"/>
          </ac:spMkLst>
        </pc:spChg>
        <pc:spChg chg="add del mod">
          <ac:chgData name="Yiqun Dai" userId="360a2182-b97f-4635-b990-04f846616e33" providerId="ADAL" clId="{8F04EA49-0EFC-48F3-A4D8-E0F0D3B461A8}" dt="2025-11-16T02:43:50.348" v="455067"/>
          <ac:spMkLst>
            <pc:docMk/>
            <pc:sldMk cId="2668657357" sldId="2147483085"/>
            <ac:spMk id="434" creationId="{F105519C-EAB2-EA25-1EB7-92F5CD6530CA}"/>
          </ac:spMkLst>
        </pc:spChg>
        <pc:spChg chg="add del mod modVis">
          <ac:chgData name="Yiqun Dai" userId="360a2182-b97f-4635-b990-04f846616e33" providerId="ADAL" clId="{8F04EA49-0EFC-48F3-A4D8-E0F0D3B461A8}" dt="2025-11-16T02:41:55.292" v="448952"/>
          <ac:spMkLst>
            <pc:docMk/>
            <pc:sldMk cId="2668657357" sldId="2147483085"/>
            <ac:spMk id="447" creationId="{EE068990-E6CD-736A-33B7-FAC20F004A30}"/>
          </ac:spMkLst>
        </pc:spChg>
        <pc:spChg chg="add del mod modVis">
          <ac:chgData name="Yiqun Dai" userId="360a2182-b97f-4635-b990-04f846616e33" providerId="ADAL" clId="{8F04EA49-0EFC-48F3-A4D8-E0F0D3B461A8}" dt="2025-11-16T02:36:45.907" v="434204"/>
          <ac:spMkLst>
            <pc:docMk/>
            <pc:sldMk cId="2668657357" sldId="2147483085"/>
            <ac:spMk id="450" creationId="{DDED663C-2A35-CFC3-A82B-D382056F5E4F}"/>
          </ac:spMkLst>
        </pc:spChg>
        <pc:spChg chg="add del mod modVis">
          <ac:chgData name="Yiqun Dai" userId="360a2182-b97f-4635-b990-04f846616e33" providerId="ADAL" clId="{8F04EA49-0EFC-48F3-A4D8-E0F0D3B461A8}" dt="2025-11-16T02:36:49.177" v="434314"/>
          <ac:spMkLst>
            <pc:docMk/>
            <pc:sldMk cId="2668657357" sldId="2147483085"/>
            <ac:spMk id="452" creationId="{3EAA75F6-FE1E-6B3B-3EA9-9162E7C78917}"/>
          </ac:spMkLst>
        </pc:spChg>
        <pc:spChg chg="add del mod modVis">
          <ac:chgData name="Yiqun Dai" userId="360a2182-b97f-4635-b990-04f846616e33" providerId="ADAL" clId="{8F04EA49-0EFC-48F3-A4D8-E0F0D3B461A8}" dt="2025-11-16T02:36:51.861" v="434424"/>
          <ac:spMkLst>
            <pc:docMk/>
            <pc:sldMk cId="2668657357" sldId="2147483085"/>
            <ac:spMk id="454" creationId="{C059F31F-6E03-E35F-68C9-2EF60AC433DC}"/>
          </ac:spMkLst>
        </pc:spChg>
        <pc:spChg chg="add del mod modVis">
          <ac:chgData name="Yiqun Dai" userId="360a2182-b97f-4635-b990-04f846616e33" providerId="ADAL" clId="{8F04EA49-0EFC-48F3-A4D8-E0F0D3B461A8}" dt="2025-11-16T02:36:53.747" v="434609"/>
          <ac:spMkLst>
            <pc:docMk/>
            <pc:sldMk cId="2668657357" sldId="2147483085"/>
            <ac:spMk id="456" creationId="{E035588A-30FC-308B-BA94-23EC4277F7A6}"/>
          </ac:spMkLst>
        </pc:spChg>
        <pc:spChg chg="add del mod modVis">
          <ac:chgData name="Yiqun Dai" userId="360a2182-b97f-4635-b990-04f846616e33" providerId="ADAL" clId="{8F04EA49-0EFC-48F3-A4D8-E0F0D3B461A8}" dt="2025-11-16T02:36:57.862" v="434724"/>
          <ac:spMkLst>
            <pc:docMk/>
            <pc:sldMk cId="2668657357" sldId="2147483085"/>
            <ac:spMk id="463" creationId="{86B99487-5B09-DD29-A6CB-E5396F03D430}"/>
          </ac:spMkLst>
        </pc:spChg>
        <pc:spChg chg="del mod modVis">
          <ac:chgData name="Yiqun Dai" userId="360a2182-b97f-4635-b990-04f846616e33" providerId="ADAL" clId="{8F04EA49-0EFC-48F3-A4D8-E0F0D3B461A8}" dt="2025-11-16T02:36:59.986" v="434831" actId="478"/>
          <ac:spMkLst>
            <pc:docMk/>
            <pc:sldMk cId="2668657357" sldId="2147483085"/>
            <ac:spMk id="466" creationId="{59B40E4C-4674-4931-84C5-E557EF8221F3}"/>
          </ac:spMkLst>
        </pc:spChg>
        <pc:spChg chg="add del mod modVis">
          <ac:chgData name="Yiqun Dai" userId="360a2182-b97f-4635-b990-04f846616e33" providerId="ADAL" clId="{8F04EA49-0EFC-48F3-A4D8-E0F0D3B461A8}" dt="2025-11-16T02:37:13.542" v="435007"/>
          <ac:spMkLst>
            <pc:docMk/>
            <pc:sldMk cId="2668657357" sldId="2147483085"/>
            <ac:spMk id="474" creationId="{07511703-CF63-BA57-A38E-64849B69AEE5}"/>
          </ac:spMkLst>
        </pc:spChg>
        <pc:spChg chg="add del mod modVis">
          <ac:chgData name="Yiqun Dai" userId="360a2182-b97f-4635-b990-04f846616e33" providerId="ADAL" clId="{8F04EA49-0EFC-48F3-A4D8-E0F0D3B461A8}" dt="2025-11-16T02:37:14.711" v="435190"/>
          <ac:spMkLst>
            <pc:docMk/>
            <pc:sldMk cId="2668657357" sldId="2147483085"/>
            <ac:spMk id="476" creationId="{79966BDF-ABBF-A31E-C780-0E42AB8FE3F4}"/>
          </ac:spMkLst>
        </pc:spChg>
        <pc:spChg chg="add del mod modVis">
          <ac:chgData name="Yiqun Dai" userId="360a2182-b97f-4635-b990-04f846616e33" providerId="ADAL" clId="{8F04EA49-0EFC-48F3-A4D8-E0F0D3B461A8}" dt="2025-11-16T02:37:27.167" v="435377"/>
          <ac:spMkLst>
            <pc:docMk/>
            <pc:sldMk cId="2668657357" sldId="2147483085"/>
            <ac:spMk id="483" creationId="{17A78BAE-2B52-2F83-69F2-EA2DFC2F7313}"/>
          </ac:spMkLst>
        </pc:spChg>
        <pc:spChg chg="add del mod modVis">
          <ac:chgData name="Yiqun Dai" userId="360a2182-b97f-4635-b990-04f846616e33" providerId="ADAL" clId="{8F04EA49-0EFC-48F3-A4D8-E0F0D3B461A8}" dt="2025-11-16T02:37:28.280" v="435662"/>
          <ac:spMkLst>
            <pc:docMk/>
            <pc:sldMk cId="2668657357" sldId="2147483085"/>
            <ac:spMk id="485" creationId="{DC54FD82-0914-7957-C2F3-64FFEE791B07}"/>
          </ac:spMkLst>
        </pc:spChg>
        <pc:spChg chg="add del mod modVis">
          <ac:chgData name="Yiqun Dai" userId="360a2182-b97f-4635-b990-04f846616e33" providerId="ADAL" clId="{8F04EA49-0EFC-48F3-A4D8-E0F0D3B461A8}" dt="2025-11-16T02:37:55.390" v="435833"/>
          <ac:spMkLst>
            <pc:docMk/>
            <pc:sldMk cId="2668657357" sldId="2147483085"/>
            <ac:spMk id="493" creationId="{FEE16448-896D-8DAD-4C0E-009960B3A1F8}"/>
          </ac:spMkLst>
        </pc:spChg>
        <pc:spChg chg="add del mod modVis">
          <ac:chgData name="Yiqun Dai" userId="360a2182-b97f-4635-b990-04f846616e33" providerId="ADAL" clId="{8F04EA49-0EFC-48F3-A4D8-E0F0D3B461A8}" dt="2025-11-16T02:37:55.779" v="436020"/>
          <ac:spMkLst>
            <pc:docMk/>
            <pc:sldMk cId="2668657357" sldId="2147483085"/>
            <ac:spMk id="495" creationId="{148FE974-D5ED-7DD4-6918-5EBD5703D668}"/>
          </ac:spMkLst>
        </pc:spChg>
        <pc:spChg chg="add del mod modVis">
          <ac:chgData name="Yiqun Dai" userId="360a2182-b97f-4635-b990-04f846616e33" providerId="ADAL" clId="{8F04EA49-0EFC-48F3-A4D8-E0F0D3B461A8}" dt="2025-11-16T02:37:58.401" v="436191"/>
          <ac:spMkLst>
            <pc:docMk/>
            <pc:sldMk cId="2668657357" sldId="2147483085"/>
            <ac:spMk id="503" creationId="{DFCA33BF-DEBF-8638-55D2-CD7C52198266}"/>
          </ac:spMkLst>
        </pc:spChg>
        <pc:spChg chg="add del mod modVis">
          <ac:chgData name="Yiqun Dai" userId="360a2182-b97f-4635-b990-04f846616e33" providerId="ADAL" clId="{8F04EA49-0EFC-48F3-A4D8-E0F0D3B461A8}" dt="2025-11-16T02:37:58.925" v="436378"/>
          <ac:spMkLst>
            <pc:docMk/>
            <pc:sldMk cId="2668657357" sldId="2147483085"/>
            <ac:spMk id="505" creationId="{2AB5E118-1DA4-D3C1-116E-B97C01135582}"/>
          </ac:spMkLst>
        </pc:spChg>
        <pc:spChg chg="add del mod modVis">
          <ac:chgData name="Yiqun Dai" userId="360a2182-b97f-4635-b990-04f846616e33" providerId="ADAL" clId="{8F04EA49-0EFC-48F3-A4D8-E0F0D3B461A8}" dt="2025-11-16T02:38:15.309" v="436545"/>
          <ac:spMkLst>
            <pc:docMk/>
            <pc:sldMk cId="2668657357" sldId="2147483085"/>
            <ac:spMk id="513" creationId="{9D581965-3CF6-25A7-04E8-A8BAFBDA0209}"/>
          </ac:spMkLst>
        </pc:spChg>
        <pc:spChg chg="add del mod modVis">
          <ac:chgData name="Yiqun Dai" userId="360a2182-b97f-4635-b990-04f846616e33" providerId="ADAL" clId="{8F04EA49-0EFC-48F3-A4D8-E0F0D3B461A8}" dt="2025-11-16T02:38:15.865" v="436851"/>
          <ac:spMkLst>
            <pc:docMk/>
            <pc:sldMk cId="2668657357" sldId="2147483085"/>
            <ac:spMk id="515" creationId="{E9306004-4F96-B9DC-8841-8CFF218E6D4A}"/>
          </ac:spMkLst>
        </pc:spChg>
        <pc:spChg chg="add del mod modVis">
          <ac:chgData name="Yiqun Dai" userId="360a2182-b97f-4635-b990-04f846616e33" providerId="ADAL" clId="{8F04EA49-0EFC-48F3-A4D8-E0F0D3B461A8}" dt="2025-11-16T02:38:39.583" v="436960"/>
          <ac:spMkLst>
            <pc:docMk/>
            <pc:sldMk cId="2668657357" sldId="2147483085"/>
            <ac:spMk id="524" creationId="{A737B3C1-E663-50CD-C617-AF65F91B9EA3}"/>
          </ac:spMkLst>
        </pc:spChg>
        <pc:spChg chg="add del mod modVis">
          <ac:chgData name="Yiqun Dai" userId="360a2182-b97f-4635-b990-04f846616e33" providerId="ADAL" clId="{8F04EA49-0EFC-48F3-A4D8-E0F0D3B461A8}" dt="2025-11-16T02:38:40.581" v="437160"/>
          <ac:spMkLst>
            <pc:docMk/>
            <pc:sldMk cId="2668657357" sldId="2147483085"/>
            <ac:spMk id="526" creationId="{0F5804FA-D858-A008-A511-02A1C78373CF}"/>
          </ac:spMkLst>
        </pc:spChg>
        <pc:spChg chg="add del mod modVis">
          <ac:chgData name="Yiqun Dai" userId="360a2182-b97f-4635-b990-04f846616e33" providerId="ADAL" clId="{8F04EA49-0EFC-48F3-A4D8-E0F0D3B461A8}" dt="2025-11-16T02:38:48.931" v="437334"/>
          <ac:spMkLst>
            <pc:docMk/>
            <pc:sldMk cId="2668657357" sldId="2147483085"/>
            <ac:spMk id="537" creationId="{4C9AF866-49A5-53C2-EFFF-BBCDE7D6C801}"/>
          </ac:spMkLst>
        </pc:spChg>
        <pc:spChg chg="add del mod modVis">
          <ac:chgData name="Yiqun Dai" userId="360a2182-b97f-4635-b990-04f846616e33" providerId="ADAL" clId="{8F04EA49-0EFC-48F3-A4D8-E0F0D3B461A8}" dt="2025-11-16T02:38:49.536" v="437603"/>
          <ac:spMkLst>
            <pc:docMk/>
            <pc:sldMk cId="2668657357" sldId="2147483085"/>
            <ac:spMk id="540" creationId="{F837EC9B-A10E-D724-06D6-FB9169160856}"/>
          </ac:spMkLst>
        </pc:spChg>
        <pc:spChg chg="del mod">
          <ac:chgData name="Yiqun Dai" userId="360a2182-b97f-4635-b990-04f846616e33" providerId="ADAL" clId="{8F04EA49-0EFC-48F3-A4D8-E0F0D3B461A8}" dt="2025-11-16T02:37:18.685" v="435194"/>
          <ac:spMkLst>
            <pc:docMk/>
            <pc:sldMk cId="2668657357" sldId="2147483085"/>
            <ac:spMk id="555" creationId="{493B3F10-C181-D7EF-0806-5421BFE75261}"/>
          </ac:spMkLst>
        </pc:spChg>
        <pc:spChg chg="del mod">
          <ac:chgData name="Yiqun Dai" userId="360a2182-b97f-4635-b990-04f846616e33" providerId="ADAL" clId="{8F04EA49-0EFC-48F3-A4D8-E0F0D3B461A8}" dt="2025-11-16T02:37:18.684" v="435193"/>
          <ac:spMkLst>
            <pc:docMk/>
            <pc:sldMk cId="2668657357" sldId="2147483085"/>
            <ac:spMk id="557" creationId="{05E52C01-312B-5A59-E207-FE7CA6ADF070}"/>
          </ac:spMkLst>
        </pc:spChg>
        <pc:spChg chg="mod">
          <ac:chgData name="Yiqun Dai" userId="360a2182-b97f-4635-b990-04f846616e33" providerId="ADAL" clId="{8F04EA49-0EFC-48F3-A4D8-E0F0D3B461A8}" dt="2025-11-16T02:38:58.939" v="438835"/>
          <ac:spMkLst>
            <pc:docMk/>
            <pc:sldMk cId="2668657357" sldId="2147483085"/>
            <ac:spMk id="561" creationId="{8A8B2AED-D50E-436B-F012-33BEB3B87978}"/>
          </ac:spMkLst>
        </pc:spChg>
        <pc:spChg chg="mod ord">
          <ac:chgData name="Yiqun Dai" userId="360a2182-b97f-4635-b990-04f846616e33" providerId="ADAL" clId="{8F04EA49-0EFC-48F3-A4D8-E0F0D3B461A8}" dt="2025-11-16T02:39:00.911" v="438912" actId="207"/>
          <ac:spMkLst>
            <pc:docMk/>
            <pc:sldMk cId="2668657357" sldId="2147483085"/>
            <ac:spMk id="562" creationId="{5AD22EA0-3E3A-49E2-1713-339056C6DF54}"/>
          </ac:spMkLst>
        </pc:spChg>
        <pc:spChg chg="mod">
          <ac:chgData name="Yiqun Dai" userId="360a2182-b97f-4635-b990-04f846616e33" providerId="ADAL" clId="{8F04EA49-0EFC-48F3-A4D8-E0F0D3B461A8}" dt="2025-11-16T02:38:58.941" v="438838"/>
          <ac:spMkLst>
            <pc:docMk/>
            <pc:sldMk cId="2668657357" sldId="2147483085"/>
            <ac:spMk id="563" creationId="{98BA9049-B6FB-887C-64A6-14889F7FE859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64" creationId="{F6808DE0-D2D3-79B3-4470-D27BC85B7804}"/>
          </ac:spMkLst>
        </pc:spChg>
        <pc:spChg chg="mod">
          <ac:chgData name="Yiqun Dai" userId="360a2182-b97f-4635-b990-04f846616e33" providerId="ADAL" clId="{8F04EA49-0EFC-48F3-A4D8-E0F0D3B461A8}" dt="2025-11-16T02:38:58.941" v="438839"/>
          <ac:spMkLst>
            <pc:docMk/>
            <pc:sldMk cId="2668657357" sldId="2147483085"/>
            <ac:spMk id="565" creationId="{1FA8CB8E-43BA-A501-BDFC-1C46BAFE21E7}"/>
          </ac:spMkLst>
        </pc:spChg>
        <pc:spChg chg="mod">
          <ac:chgData name="Yiqun Dai" userId="360a2182-b97f-4635-b990-04f846616e33" providerId="ADAL" clId="{8F04EA49-0EFC-48F3-A4D8-E0F0D3B461A8}" dt="2025-11-16T02:38:58.933" v="438825"/>
          <ac:spMkLst>
            <pc:docMk/>
            <pc:sldMk cId="2668657357" sldId="2147483085"/>
            <ac:spMk id="566" creationId="{4D7E67B2-99C2-FC62-0A0F-BB5DEC31BD99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67" creationId="{3904B051-E27F-A2ED-747B-AF3A3EACA522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68" creationId="{4C1AC5D7-D82F-FAFB-6E91-08691D9D40D0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69" creationId="{EA12617E-CD24-B967-ECD8-71ED6FBA254B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70" creationId="{B880B22C-D244-E09A-D607-55F29AF39DFF}"/>
          </ac:spMkLst>
        </pc:spChg>
        <pc:spChg chg="mod">
          <ac:chgData name="Yiqun Dai" userId="360a2182-b97f-4635-b990-04f846616e33" providerId="ADAL" clId="{8F04EA49-0EFC-48F3-A4D8-E0F0D3B461A8}" dt="2025-11-16T02:38:58.946" v="438845"/>
          <ac:spMkLst>
            <pc:docMk/>
            <pc:sldMk cId="2668657357" sldId="2147483085"/>
            <ac:spMk id="571" creationId="{195AC801-1C93-740C-BC69-DAC584080B04}"/>
          </ac:spMkLst>
        </pc:spChg>
        <pc:spChg chg="mod">
          <ac:chgData name="Yiqun Dai" userId="360a2182-b97f-4635-b990-04f846616e33" providerId="ADAL" clId="{8F04EA49-0EFC-48F3-A4D8-E0F0D3B461A8}" dt="2025-11-16T02:38:58.946" v="438846"/>
          <ac:spMkLst>
            <pc:docMk/>
            <pc:sldMk cId="2668657357" sldId="2147483085"/>
            <ac:spMk id="572" creationId="{A61046BD-9AB2-C31D-8BA9-7ECE4BA3ACD0}"/>
          </ac:spMkLst>
        </pc:spChg>
        <pc:spChg chg="mod">
          <ac:chgData name="Yiqun Dai" userId="360a2182-b97f-4635-b990-04f846616e33" providerId="ADAL" clId="{8F04EA49-0EFC-48F3-A4D8-E0F0D3B461A8}" dt="2025-11-16T02:38:58.933" v="438826"/>
          <ac:spMkLst>
            <pc:docMk/>
            <pc:sldMk cId="2668657357" sldId="2147483085"/>
            <ac:spMk id="573" creationId="{C667E0C3-290A-A5BE-2FA8-7CF047D247D9}"/>
          </ac:spMkLst>
        </pc:spChg>
        <pc:spChg chg="add mod">
          <ac:chgData name="Yiqun Dai" userId="360a2182-b97f-4635-b990-04f846616e33" providerId="ADAL" clId="{8F04EA49-0EFC-48F3-A4D8-E0F0D3B461A8}" dt="2025-11-16T02:39:01.231" v="439256"/>
          <ac:spMkLst>
            <pc:docMk/>
            <pc:sldMk cId="2668657357" sldId="2147483085"/>
            <ac:spMk id="574" creationId="{CC239342-921E-C671-19D0-24EC11FB65DC}"/>
          </ac:spMkLst>
        </pc:spChg>
        <pc:spChg chg="mod">
          <ac:chgData name="Yiqun Dai" userId="360a2182-b97f-4635-b990-04f846616e33" providerId="ADAL" clId="{8F04EA49-0EFC-48F3-A4D8-E0F0D3B461A8}" dt="2025-11-16T02:38:58.935" v="438828"/>
          <ac:spMkLst>
            <pc:docMk/>
            <pc:sldMk cId="2668657357" sldId="2147483085"/>
            <ac:spMk id="575" creationId="{2427EB8C-8A9E-B5B4-BB8E-0B6466BD276B}"/>
          </ac:spMkLst>
        </pc:spChg>
        <pc:spChg chg="add del mod ord">
          <ac:chgData name="Yiqun Dai" userId="360a2182-b97f-4635-b990-04f846616e33" providerId="ADAL" clId="{8F04EA49-0EFC-48F3-A4D8-E0F0D3B461A8}" dt="2025-11-16T02:52:15.470" v="466441" actId="478"/>
          <ac:spMkLst>
            <pc:docMk/>
            <pc:sldMk cId="2668657357" sldId="2147483085"/>
            <ac:spMk id="576" creationId="{35CC3693-8E30-1E20-D480-151976123C48}"/>
          </ac:spMkLst>
        </pc:spChg>
        <pc:spChg chg="add del mod ord">
          <ac:chgData name="Yiqun Dai" userId="360a2182-b97f-4635-b990-04f846616e33" providerId="ADAL" clId="{8F04EA49-0EFC-48F3-A4D8-E0F0D3B461A8}" dt="2025-11-16T02:44:06.694" v="456313"/>
          <ac:spMkLst>
            <pc:docMk/>
            <pc:sldMk cId="2668657357" sldId="2147483085"/>
            <ac:spMk id="577" creationId="{4CC2F39B-4F46-375E-CB4D-A561C7184C0B}"/>
          </ac:spMkLst>
        </pc:spChg>
        <pc:spChg chg="add del mod">
          <ac:chgData name="Yiqun Dai" userId="360a2182-b97f-4635-b990-04f846616e33" providerId="ADAL" clId="{8F04EA49-0EFC-48F3-A4D8-E0F0D3B461A8}" dt="2025-11-16T02:39:49.137" v="442485"/>
          <ac:spMkLst>
            <pc:docMk/>
            <pc:sldMk cId="2668657357" sldId="2147483085"/>
            <ac:spMk id="578" creationId="{D2B966FE-F49C-E660-67CD-E0B28D29F684}"/>
          </ac:spMkLst>
        </pc:spChg>
        <pc:spChg chg="del mod ord">
          <ac:chgData name="Yiqun Dai" userId="360a2182-b97f-4635-b990-04f846616e33" providerId="ADAL" clId="{8F04EA49-0EFC-48F3-A4D8-E0F0D3B461A8}" dt="2025-11-16T02:39:49.134" v="442482"/>
          <ac:spMkLst>
            <pc:docMk/>
            <pc:sldMk cId="2668657357" sldId="2147483085"/>
            <ac:spMk id="579" creationId="{B8B031A2-0F75-67B0-A088-3168E31789B9}"/>
          </ac:spMkLst>
        </pc:spChg>
        <pc:spChg chg="add del mod ord">
          <ac:chgData name="Yiqun Dai" userId="360a2182-b97f-4635-b990-04f846616e33" providerId="ADAL" clId="{8F04EA49-0EFC-48F3-A4D8-E0F0D3B461A8}" dt="2025-11-16T02:39:49.139" v="442489"/>
          <ac:spMkLst>
            <pc:docMk/>
            <pc:sldMk cId="2668657357" sldId="2147483085"/>
            <ac:spMk id="580" creationId="{7C85F297-5E72-79F5-6F14-3B0CB2B821BD}"/>
          </ac:spMkLst>
        </pc:spChg>
        <pc:spChg chg="del mod ord">
          <ac:chgData name="Yiqun Dai" userId="360a2182-b97f-4635-b990-04f846616e33" providerId="ADAL" clId="{8F04EA49-0EFC-48F3-A4D8-E0F0D3B461A8}" dt="2025-11-16T02:39:49.138" v="442486"/>
          <ac:spMkLst>
            <pc:docMk/>
            <pc:sldMk cId="2668657357" sldId="2147483085"/>
            <ac:spMk id="581" creationId="{7B278B47-FB64-A6B2-ED1C-F693FE47C832}"/>
          </ac:spMkLst>
        </pc:spChg>
        <pc:spChg chg="add del mod ord">
          <ac:chgData name="Yiqun Dai" userId="360a2182-b97f-4635-b990-04f846616e33" providerId="ADAL" clId="{8F04EA49-0EFC-48F3-A4D8-E0F0D3B461A8}" dt="2025-11-16T02:51:55.142" v="466420"/>
          <ac:spMkLst>
            <pc:docMk/>
            <pc:sldMk cId="2668657357" sldId="2147483085"/>
            <ac:spMk id="582" creationId="{12873714-EE12-4BE1-4ABA-25F3F4C5C460}"/>
          </ac:spMkLst>
        </pc:spChg>
        <pc:spChg chg="add del mod modVis">
          <ac:chgData name="Yiqun Dai" userId="360a2182-b97f-4635-b990-04f846616e33" providerId="ADAL" clId="{8F04EA49-0EFC-48F3-A4D8-E0F0D3B461A8}" dt="2025-11-16T02:39:21.694" v="440890"/>
          <ac:spMkLst>
            <pc:docMk/>
            <pc:sldMk cId="2668657357" sldId="2147483085"/>
            <ac:spMk id="583" creationId="{EDAE134E-8F70-4469-F665-5DC7752FC845}"/>
          </ac:spMkLst>
        </pc:spChg>
        <pc:spChg chg="del mod modVis">
          <ac:chgData name="Yiqun Dai" userId="360a2182-b97f-4635-b990-04f846616e33" providerId="ADAL" clId="{8F04EA49-0EFC-48F3-A4D8-E0F0D3B461A8}" dt="2025-11-16T02:39:22.586" v="441031" actId="478"/>
          <ac:spMkLst>
            <pc:docMk/>
            <pc:sldMk cId="2668657357" sldId="2147483085"/>
            <ac:spMk id="585" creationId="{A1FDEA57-A692-3BD4-0A68-26B94E60E7C9}"/>
          </ac:spMkLst>
        </pc:spChg>
        <pc:spChg chg="add del mod modVis">
          <ac:chgData name="Yiqun Dai" userId="360a2182-b97f-4635-b990-04f846616e33" providerId="ADAL" clId="{8F04EA49-0EFC-48F3-A4D8-E0F0D3B461A8}" dt="2025-11-16T02:39:47.936" v="442072"/>
          <ac:spMkLst>
            <pc:docMk/>
            <pc:sldMk cId="2668657357" sldId="2147483085"/>
            <ac:spMk id="594" creationId="{37E43D86-255E-A2F9-1A50-6124557F822D}"/>
          </ac:spMkLst>
        </pc:spChg>
        <pc:spChg chg="add del mod modVis">
          <ac:chgData name="Yiqun Dai" userId="360a2182-b97f-4635-b990-04f846616e33" providerId="ADAL" clId="{8F04EA49-0EFC-48F3-A4D8-E0F0D3B461A8}" dt="2025-11-16T02:39:48.257" v="442478"/>
          <ac:spMkLst>
            <pc:docMk/>
            <pc:sldMk cId="2668657357" sldId="2147483085"/>
            <ac:spMk id="620" creationId="{F5AEE613-5AEB-B0A8-4572-34FBD7011B20}"/>
          </ac:spMkLst>
        </pc:spChg>
        <pc:spChg chg="add del mod modVis">
          <ac:chgData name="Yiqun Dai" userId="360a2182-b97f-4635-b990-04f846616e33" providerId="ADAL" clId="{8F04EA49-0EFC-48F3-A4D8-E0F0D3B461A8}" dt="2025-11-16T02:39:49.315" v="442666"/>
          <ac:spMkLst>
            <pc:docMk/>
            <pc:sldMk cId="2668657357" sldId="2147483085"/>
            <ac:spMk id="626" creationId="{BFAA22FA-308F-3D85-7FCC-EDE8C2372934}"/>
          </ac:spMkLst>
        </pc:spChg>
        <pc:spChg chg="add del mod modVis">
          <ac:chgData name="Yiqun Dai" userId="360a2182-b97f-4635-b990-04f846616e33" providerId="ADAL" clId="{8F04EA49-0EFC-48F3-A4D8-E0F0D3B461A8}" dt="2025-11-16T02:39:49.534" v="442927"/>
          <ac:spMkLst>
            <pc:docMk/>
            <pc:sldMk cId="2668657357" sldId="2147483085"/>
            <ac:spMk id="628" creationId="{C6970C5D-9CB9-214A-1024-2DEC26BB0886}"/>
          </ac:spMkLst>
        </pc:spChg>
        <pc:spChg chg="add del mod modVis">
          <ac:chgData name="Yiqun Dai" userId="360a2182-b97f-4635-b990-04f846616e33" providerId="ADAL" clId="{8F04EA49-0EFC-48F3-A4D8-E0F0D3B461A8}" dt="2025-11-16T02:40:16.857" v="443103"/>
          <ac:spMkLst>
            <pc:docMk/>
            <pc:sldMk cId="2668657357" sldId="2147483085"/>
            <ac:spMk id="632" creationId="{92C04F81-B88B-9942-86A2-39BFBC9E82B5}"/>
          </ac:spMkLst>
        </pc:spChg>
        <pc:spChg chg="add del mod modVis">
          <ac:chgData name="Yiqun Dai" userId="360a2182-b97f-4635-b990-04f846616e33" providerId="ADAL" clId="{8F04EA49-0EFC-48F3-A4D8-E0F0D3B461A8}" dt="2025-11-16T02:40:17.915" v="443307"/>
          <ac:spMkLst>
            <pc:docMk/>
            <pc:sldMk cId="2668657357" sldId="2147483085"/>
            <ac:spMk id="634" creationId="{7A4CBBC5-8229-89F1-4E92-7B929374DCC4}"/>
          </ac:spMkLst>
        </pc:spChg>
        <pc:spChg chg="add del mod modVis">
          <ac:chgData name="Yiqun Dai" userId="360a2182-b97f-4635-b990-04f846616e33" providerId="ADAL" clId="{8F04EA49-0EFC-48F3-A4D8-E0F0D3B461A8}" dt="2025-11-16T02:40:27.382" v="443543"/>
          <ac:spMkLst>
            <pc:docMk/>
            <pc:sldMk cId="2668657357" sldId="2147483085"/>
            <ac:spMk id="638" creationId="{57A6E72D-11BC-639E-4418-2C6D81C6D68F}"/>
          </ac:spMkLst>
        </pc:spChg>
        <pc:spChg chg="add del mod modVis">
          <ac:chgData name="Yiqun Dai" userId="360a2182-b97f-4635-b990-04f846616e33" providerId="ADAL" clId="{8F04EA49-0EFC-48F3-A4D8-E0F0D3B461A8}" dt="2025-11-16T02:42:17.507" v="449275"/>
          <ac:spMkLst>
            <pc:docMk/>
            <pc:sldMk cId="2668657357" sldId="2147483085"/>
            <ac:spMk id="642" creationId="{4C6C6597-3125-CD2B-D0F6-D70E34854712}"/>
          </ac:spMkLst>
        </pc:spChg>
        <pc:spChg chg="add del mod modVis">
          <ac:chgData name="Yiqun Dai" userId="360a2182-b97f-4635-b990-04f846616e33" providerId="ADAL" clId="{8F04EA49-0EFC-48F3-A4D8-E0F0D3B461A8}" dt="2025-11-16T02:42:17.857" v="449494"/>
          <ac:spMkLst>
            <pc:docMk/>
            <pc:sldMk cId="2668657357" sldId="2147483085"/>
            <ac:spMk id="644" creationId="{1386F3A0-9C30-2B16-0711-FBFD71A305B8}"/>
          </ac:spMkLst>
        </pc:spChg>
        <pc:spChg chg="add del mod modVis">
          <ac:chgData name="Yiqun Dai" userId="360a2182-b97f-4635-b990-04f846616e33" providerId="ADAL" clId="{8F04EA49-0EFC-48F3-A4D8-E0F0D3B461A8}" dt="2025-11-16T02:42:27.947" v="450002"/>
          <ac:spMkLst>
            <pc:docMk/>
            <pc:sldMk cId="2668657357" sldId="2147483085"/>
            <ac:spMk id="647" creationId="{66A8DBD3-0546-AC06-6941-DC1C97AA2FC7}"/>
          </ac:spMkLst>
        </pc:spChg>
        <pc:spChg chg="add del mod">
          <ac:chgData name="Yiqun Dai" userId="360a2182-b97f-4635-b990-04f846616e33" providerId="ADAL" clId="{8F04EA49-0EFC-48F3-A4D8-E0F0D3B461A8}" dt="2025-11-16T02:43:50.354" v="455078"/>
          <ac:spMkLst>
            <pc:docMk/>
            <pc:sldMk cId="2668657357" sldId="2147483085"/>
            <ac:spMk id="648" creationId="{C3966E52-011E-7C97-66B4-BF519AE3511A}"/>
          </ac:spMkLst>
        </pc:spChg>
        <pc:spChg chg="add del mod">
          <ac:chgData name="Yiqun Dai" userId="360a2182-b97f-4635-b990-04f846616e33" providerId="ADAL" clId="{8F04EA49-0EFC-48F3-A4D8-E0F0D3B461A8}" dt="2025-11-16T02:43:50.352" v="455075"/>
          <ac:spMkLst>
            <pc:docMk/>
            <pc:sldMk cId="2668657357" sldId="2147483085"/>
            <ac:spMk id="649" creationId="{A35C2B6E-5C8B-4C2C-6A30-958659D1FCC3}"/>
          </ac:spMkLst>
        </pc:spChg>
        <pc:spChg chg="add del mod modVis">
          <ac:chgData name="Yiqun Dai" userId="360a2182-b97f-4635-b990-04f846616e33" providerId="ADAL" clId="{8F04EA49-0EFC-48F3-A4D8-E0F0D3B461A8}" dt="2025-11-16T02:42:28.270" v="450227"/>
          <ac:spMkLst>
            <pc:docMk/>
            <pc:sldMk cId="2668657357" sldId="2147483085"/>
            <ac:spMk id="655" creationId="{90D7480C-7745-39C7-2AE9-88C6DF04BD00}"/>
          </ac:spMkLst>
        </pc:spChg>
        <pc:spChg chg="add del mod modVis">
          <ac:chgData name="Yiqun Dai" userId="360a2182-b97f-4635-b990-04f846616e33" providerId="ADAL" clId="{8F04EA49-0EFC-48F3-A4D8-E0F0D3B461A8}" dt="2025-11-16T02:42:40.147" v="450418"/>
          <ac:spMkLst>
            <pc:docMk/>
            <pc:sldMk cId="2668657357" sldId="2147483085"/>
            <ac:spMk id="658" creationId="{94D31E55-8ADD-FB4B-5400-B726F4354A54}"/>
          </ac:spMkLst>
        </pc:spChg>
        <pc:spChg chg="del mod modVis">
          <ac:chgData name="Yiqun Dai" userId="360a2182-b97f-4635-b990-04f846616e33" providerId="ADAL" clId="{8F04EA49-0EFC-48F3-A4D8-E0F0D3B461A8}" dt="2025-11-16T02:42:40.714" v="450519" actId="478"/>
          <ac:spMkLst>
            <pc:docMk/>
            <pc:sldMk cId="2668657357" sldId="2147483085"/>
            <ac:spMk id="660" creationId="{0358427F-0EB7-1B67-8A74-C7ED49BB954D}"/>
          </ac:spMkLst>
        </pc:spChg>
        <pc:spChg chg="add del mod modVis">
          <ac:chgData name="Yiqun Dai" userId="360a2182-b97f-4635-b990-04f846616e33" providerId="ADAL" clId="{8F04EA49-0EFC-48F3-A4D8-E0F0D3B461A8}" dt="2025-11-16T02:42:43.129" v="450706"/>
          <ac:spMkLst>
            <pc:docMk/>
            <pc:sldMk cId="2668657357" sldId="2147483085"/>
            <ac:spMk id="663" creationId="{3CD1C327-0EB2-DC6D-2BA6-C865FCC6B666}"/>
          </ac:spMkLst>
        </pc:spChg>
        <pc:spChg chg="add del mod modVis">
          <ac:chgData name="Yiqun Dai" userId="360a2182-b97f-4635-b990-04f846616e33" providerId="ADAL" clId="{8F04EA49-0EFC-48F3-A4D8-E0F0D3B461A8}" dt="2025-11-16T02:42:43.646" v="450903"/>
          <ac:spMkLst>
            <pc:docMk/>
            <pc:sldMk cId="2668657357" sldId="2147483085"/>
            <ac:spMk id="665" creationId="{FD666FAC-26AB-D21E-C3F4-27B1E0334442}"/>
          </ac:spMkLst>
        </pc:spChg>
        <pc:spChg chg="add del mod modVis">
          <ac:chgData name="Yiqun Dai" userId="360a2182-b97f-4635-b990-04f846616e33" providerId="ADAL" clId="{8F04EA49-0EFC-48F3-A4D8-E0F0D3B461A8}" dt="2025-11-16T02:42:44.785" v="451088"/>
          <ac:spMkLst>
            <pc:docMk/>
            <pc:sldMk cId="2668657357" sldId="2147483085"/>
            <ac:spMk id="668" creationId="{83DEF08C-3D73-5B19-D0AC-694261984BCB}"/>
          </ac:spMkLst>
        </pc:spChg>
        <pc:spChg chg="add del mod modVis">
          <ac:chgData name="Yiqun Dai" userId="360a2182-b97f-4635-b990-04f846616e33" providerId="ADAL" clId="{8F04EA49-0EFC-48F3-A4D8-E0F0D3B461A8}" dt="2025-11-16T02:42:45.136" v="451282"/>
          <ac:spMkLst>
            <pc:docMk/>
            <pc:sldMk cId="2668657357" sldId="2147483085"/>
            <ac:spMk id="670" creationId="{4041A263-F4BC-B2A3-4609-C766A77A5E2F}"/>
          </ac:spMkLst>
        </pc:spChg>
        <pc:spChg chg="add del mod modVis">
          <ac:chgData name="Yiqun Dai" userId="360a2182-b97f-4635-b990-04f846616e33" providerId="ADAL" clId="{8F04EA49-0EFC-48F3-A4D8-E0F0D3B461A8}" dt="2025-11-16T02:42:46.315" v="451468"/>
          <ac:spMkLst>
            <pc:docMk/>
            <pc:sldMk cId="2668657357" sldId="2147483085"/>
            <ac:spMk id="673" creationId="{800E9B1B-E08C-64A7-8DB3-9A77C4B48E0F}"/>
          </ac:spMkLst>
        </pc:spChg>
        <pc:spChg chg="add del mod modVis">
          <ac:chgData name="Yiqun Dai" userId="360a2182-b97f-4635-b990-04f846616e33" providerId="ADAL" clId="{8F04EA49-0EFC-48F3-A4D8-E0F0D3B461A8}" dt="2025-11-16T02:42:46.698" v="451657"/>
          <ac:spMkLst>
            <pc:docMk/>
            <pc:sldMk cId="2668657357" sldId="2147483085"/>
            <ac:spMk id="675" creationId="{F55F2B62-8071-537B-5893-FDEA814F958A}"/>
          </ac:spMkLst>
        </pc:spChg>
        <pc:spChg chg="add del mod modVis">
          <ac:chgData name="Yiqun Dai" userId="360a2182-b97f-4635-b990-04f846616e33" providerId="ADAL" clId="{8F04EA49-0EFC-48F3-A4D8-E0F0D3B461A8}" dt="2025-11-16T02:42:47.335" v="451836"/>
          <ac:spMkLst>
            <pc:docMk/>
            <pc:sldMk cId="2668657357" sldId="2147483085"/>
            <ac:spMk id="678" creationId="{C946047D-118B-E3FA-34FD-3DAEDE9ECBE1}"/>
          </ac:spMkLst>
        </pc:spChg>
        <pc:spChg chg="add del mod modVis">
          <ac:chgData name="Yiqun Dai" userId="360a2182-b97f-4635-b990-04f846616e33" providerId="ADAL" clId="{8F04EA49-0EFC-48F3-A4D8-E0F0D3B461A8}" dt="2025-11-16T02:42:47.806" v="452021"/>
          <ac:spMkLst>
            <pc:docMk/>
            <pc:sldMk cId="2668657357" sldId="2147483085"/>
            <ac:spMk id="680" creationId="{7AD12024-3622-DC84-67D1-6B991EFBB3B1}"/>
          </ac:spMkLst>
        </pc:spChg>
        <pc:spChg chg="add del mod modVis">
          <ac:chgData name="Yiqun Dai" userId="360a2182-b97f-4635-b990-04f846616e33" providerId="ADAL" clId="{8F04EA49-0EFC-48F3-A4D8-E0F0D3B461A8}" dt="2025-11-16T02:42:49.442" v="452192"/>
          <ac:spMkLst>
            <pc:docMk/>
            <pc:sldMk cId="2668657357" sldId="2147483085"/>
            <ac:spMk id="683" creationId="{F131B3E1-B2F5-E8B3-F2AE-07D1913A7E7D}"/>
          </ac:spMkLst>
        </pc:spChg>
        <pc:spChg chg="add del mod modVis">
          <ac:chgData name="Yiqun Dai" userId="360a2182-b97f-4635-b990-04f846616e33" providerId="ADAL" clId="{8F04EA49-0EFC-48F3-A4D8-E0F0D3B461A8}" dt="2025-11-16T02:42:49.916" v="452375"/>
          <ac:spMkLst>
            <pc:docMk/>
            <pc:sldMk cId="2668657357" sldId="2147483085"/>
            <ac:spMk id="685" creationId="{ED7D604A-F9B4-432B-632F-37566E226612}"/>
          </ac:spMkLst>
        </pc:spChg>
        <pc:spChg chg="add del mod modVis">
          <ac:chgData name="Yiqun Dai" userId="360a2182-b97f-4635-b990-04f846616e33" providerId="ADAL" clId="{8F04EA49-0EFC-48F3-A4D8-E0F0D3B461A8}" dt="2025-11-16T02:42:50.592" v="452544"/>
          <ac:spMkLst>
            <pc:docMk/>
            <pc:sldMk cId="2668657357" sldId="2147483085"/>
            <ac:spMk id="688" creationId="{737E09F6-C681-0637-6C62-8E49BC0D52C8}"/>
          </ac:spMkLst>
        </pc:spChg>
        <pc:spChg chg="add del mod modVis">
          <ac:chgData name="Yiqun Dai" userId="360a2182-b97f-4635-b990-04f846616e33" providerId="ADAL" clId="{8F04EA49-0EFC-48F3-A4D8-E0F0D3B461A8}" dt="2025-11-16T02:42:51.028" v="452725"/>
          <ac:spMkLst>
            <pc:docMk/>
            <pc:sldMk cId="2668657357" sldId="2147483085"/>
            <ac:spMk id="690" creationId="{4FF37D5F-E96B-0C40-948A-71A7A01159E7}"/>
          </ac:spMkLst>
        </pc:spChg>
        <pc:spChg chg="add del mod modVis">
          <ac:chgData name="Yiqun Dai" userId="360a2182-b97f-4635-b990-04f846616e33" providerId="ADAL" clId="{8F04EA49-0EFC-48F3-A4D8-E0F0D3B461A8}" dt="2025-11-16T02:42:59.191" v="453006"/>
          <ac:spMkLst>
            <pc:docMk/>
            <pc:sldMk cId="2668657357" sldId="2147483085"/>
            <ac:spMk id="693" creationId="{BB7ABD85-8F29-ED95-125A-7610050BEAA6}"/>
          </ac:spMkLst>
        </pc:spChg>
        <pc:spChg chg="add del mod modVis">
          <ac:chgData name="Yiqun Dai" userId="360a2182-b97f-4635-b990-04f846616e33" providerId="ADAL" clId="{8F04EA49-0EFC-48F3-A4D8-E0F0D3B461A8}" dt="2025-11-16T02:42:59.739" v="453200"/>
          <ac:spMkLst>
            <pc:docMk/>
            <pc:sldMk cId="2668657357" sldId="2147483085"/>
            <ac:spMk id="702" creationId="{EEF019E2-CD5F-4986-CD7C-A2606E7BB06D}"/>
          </ac:spMkLst>
        </pc:spChg>
        <pc:spChg chg="add del mod modVis">
          <ac:chgData name="Yiqun Dai" userId="360a2182-b97f-4635-b990-04f846616e33" providerId="ADAL" clId="{8F04EA49-0EFC-48F3-A4D8-E0F0D3B461A8}" dt="2025-11-16T02:43:01.125" v="453380"/>
          <ac:spMkLst>
            <pc:docMk/>
            <pc:sldMk cId="2668657357" sldId="2147483085"/>
            <ac:spMk id="705" creationId="{1643CD61-EA7D-78F7-63F4-1A255F46A262}"/>
          </ac:spMkLst>
        </pc:spChg>
        <pc:spChg chg="add del mod modVis">
          <ac:chgData name="Yiqun Dai" userId="360a2182-b97f-4635-b990-04f846616e33" providerId="ADAL" clId="{8F04EA49-0EFC-48F3-A4D8-E0F0D3B461A8}" dt="2025-11-16T02:43:01.787" v="453572"/>
          <ac:spMkLst>
            <pc:docMk/>
            <pc:sldMk cId="2668657357" sldId="2147483085"/>
            <ac:spMk id="707" creationId="{00197738-3543-1B4A-3498-EF052561C944}"/>
          </ac:spMkLst>
        </pc:spChg>
        <pc:spChg chg="add del mod modVis">
          <ac:chgData name="Yiqun Dai" userId="360a2182-b97f-4635-b990-04f846616e33" providerId="ADAL" clId="{8F04EA49-0EFC-48F3-A4D8-E0F0D3B461A8}" dt="2025-11-16T02:43:02.548" v="453750"/>
          <ac:spMkLst>
            <pc:docMk/>
            <pc:sldMk cId="2668657357" sldId="2147483085"/>
            <ac:spMk id="710" creationId="{0E4A4E18-0524-CAC6-1251-DA655270B31B}"/>
          </ac:spMkLst>
        </pc:spChg>
        <pc:spChg chg="add del mod modVis">
          <ac:chgData name="Yiqun Dai" userId="360a2182-b97f-4635-b990-04f846616e33" providerId="ADAL" clId="{8F04EA49-0EFC-48F3-A4D8-E0F0D3B461A8}" dt="2025-11-16T02:43:02.989" v="453940"/>
          <ac:spMkLst>
            <pc:docMk/>
            <pc:sldMk cId="2668657357" sldId="2147483085"/>
            <ac:spMk id="712" creationId="{F69DBE80-1D61-7D3E-5393-60D90366A801}"/>
          </ac:spMkLst>
        </pc:spChg>
        <pc:spChg chg="add del mod modVis">
          <ac:chgData name="Yiqun Dai" userId="360a2182-b97f-4635-b990-04f846616e33" providerId="ADAL" clId="{8F04EA49-0EFC-48F3-A4D8-E0F0D3B461A8}" dt="2025-11-16T02:43:03.686" v="454116"/>
          <ac:spMkLst>
            <pc:docMk/>
            <pc:sldMk cId="2668657357" sldId="2147483085"/>
            <ac:spMk id="715" creationId="{AA618AD7-35D6-2271-3F2B-E7D1D9B41F55}"/>
          </ac:spMkLst>
        </pc:spChg>
        <pc:spChg chg="add del mod modVis">
          <ac:chgData name="Yiqun Dai" userId="360a2182-b97f-4635-b990-04f846616e33" providerId="ADAL" clId="{8F04EA49-0EFC-48F3-A4D8-E0F0D3B461A8}" dt="2025-11-16T02:43:04.167" v="454304"/>
          <ac:spMkLst>
            <pc:docMk/>
            <pc:sldMk cId="2668657357" sldId="2147483085"/>
            <ac:spMk id="717" creationId="{7113D205-ECE9-5E30-597F-F77393B253F9}"/>
          </ac:spMkLst>
        </pc:spChg>
        <pc:spChg chg="add del mod modVis">
          <ac:chgData name="Yiqun Dai" userId="360a2182-b97f-4635-b990-04f846616e33" providerId="ADAL" clId="{8F04EA49-0EFC-48F3-A4D8-E0F0D3B461A8}" dt="2025-11-16T02:43:05.440" v="454478"/>
          <ac:spMkLst>
            <pc:docMk/>
            <pc:sldMk cId="2668657357" sldId="2147483085"/>
            <ac:spMk id="720" creationId="{8BB8B246-B796-DA9A-56B8-EDE8A546E59E}"/>
          </ac:spMkLst>
        </pc:spChg>
        <pc:spChg chg="add del mod modVis">
          <ac:chgData name="Yiqun Dai" userId="360a2182-b97f-4635-b990-04f846616e33" providerId="ADAL" clId="{8F04EA49-0EFC-48F3-A4D8-E0F0D3B461A8}" dt="2025-11-16T02:43:06.018" v="454664"/>
          <ac:spMkLst>
            <pc:docMk/>
            <pc:sldMk cId="2668657357" sldId="2147483085"/>
            <ac:spMk id="722" creationId="{D4E2732A-0ED7-9619-00E3-C1AA1E58825A}"/>
          </ac:spMkLst>
        </pc:spChg>
        <pc:spChg chg="add del mod modVis">
          <ac:chgData name="Yiqun Dai" userId="360a2182-b97f-4635-b990-04f846616e33" providerId="ADAL" clId="{8F04EA49-0EFC-48F3-A4D8-E0F0D3B461A8}" dt="2025-11-16T02:43:07.280" v="454838"/>
          <ac:spMkLst>
            <pc:docMk/>
            <pc:sldMk cId="2668657357" sldId="2147483085"/>
            <ac:spMk id="725" creationId="{0EEA047C-78F8-2FD8-78F5-7830FA955909}"/>
          </ac:spMkLst>
        </pc:spChg>
        <pc:spChg chg="add del mod modVis">
          <ac:chgData name="Yiqun Dai" userId="360a2182-b97f-4635-b990-04f846616e33" providerId="ADAL" clId="{8F04EA49-0EFC-48F3-A4D8-E0F0D3B461A8}" dt="2025-11-16T02:43:08.118" v="455021"/>
          <ac:spMkLst>
            <pc:docMk/>
            <pc:sldMk cId="2668657357" sldId="2147483085"/>
            <ac:spMk id="727" creationId="{0856514E-368A-1640-24FC-A10885CE706C}"/>
          </ac:spMkLst>
        </pc:spChg>
        <pc:spChg chg="add del mod modVis">
          <ac:chgData name="Yiqun Dai" userId="360a2182-b97f-4635-b990-04f846616e33" providerId="ADAL" clId="{8F04EA49-0EFC-48F3-A4D8-E0F0D3B461A8}" dt="2025-11-16T02:43:50.535" v="455296"/>
          <ac:spMkLst>
            <pc:docMk/>
            <pc:sldMk cId="2668657357" sldId="2147483085"/>
            <ac:spMk id="730" creationId="{303BE40C-2948-D311-2F8A-BDDDE969C44E}"/>
          </ac:spMkLst>
        </pc:spChg>
        <pc:spChg chg="add del mod modVis">
          <ac:chgData name="Yiqun Dai" userId="360a2182-b97f-4635-b990-04f846616e33" providerId="ADAL" clId="{8F04EA49-0EFC-48F3-A4D8-E0F0D3B461A8}" dt="2025-11-16T02:43:50.936" v="455555"/>
          <ac:spMkLst>
            <pc:docMk/>
            <pc:sldMk cId="2668657357" sldId="2147483085"/>
            <ac:spMk id="732" creationId="{EA44FBFA-2BB8-D950-FD1A-620C35BD7C42}"/>
          </ac:spMkLst>
        </pc:spChg>
        <pc:spChg chg="add del mod modVis">
          <ac:chgData name="Yiqun Dai" userId="360a2182-b97f-4635-b990-04f846616e33" providerId="ADAL" clId="{8F04EA49-0EFC-48F3-A4D8-E0F0D3B461A8}" dt="2025-11-16T02:44:05.890" v="455999"/>
          <ac:spMkLst>
            <pc:docMk/>
            <pc:sldMk cId="2668657357" sldId="2147483085"/>
            <ac:spMk id="736" creationId="{4F1B467E-A459-48A1-A652-16F921CFD15E}"/>
          </ac:spMkLst>
        </pc:spChg>
        <pc:spChg chg="add del mod modVis">
          <ac:chgData name="Yiqun Dai" userId="360a2182-b97f-4635-b990-04f846616e33" providerId="ADAL" clId="{8F04EA49-0EFC-48F3-A4D8-E0F0D3B461A8}" dt="2025-11-16T02:44:06.244" v="456309"/>
          <ac:spMkLst>
            <pc:docMk/>
            <pc:sldMk cId="2668657357" sldId="2147483085"/>
            <ac:spMk id="738" creationId="{21B8E534-D8C3-35A3-1F63-07AA3042E32D}"/>
          </ac:spMkLst>
        </pc:spChg>
        <pc:spChg chg="add del mod modVis">
          <ac:chgData name="Yiqun Dai" userId="360a2182-b97f-4635-b990-04f846616e33" providerId="ADAL" clId="{8F04EA49-0EFC-48F3-A4D8-E0F0D3B461A8}" dt="2025-11-16T02:44:06.912" v="456450"/>
          <ac:spMkLst>
            <pc:docMk/>
            <pc:sldMk cId="2668657357" sldId="2147483085"/>
            <ac:spMk id="742" creationId="{04E741A3-1AB5-EB2F-0FCA-7F416CEDDE2C}"/>
          </ac:spMkLst>
        </pc:spChg>
        <pc:spChg chg="add del mod modVis">
          <ac:chgData name="Yiqun Dai" userId="360a2182-b97f-4635-b990-04f846616e33" providerId="ADAL" clId="{8F04EA49-0EFC-48F3-A4D8-E0F0D3B461A8}" dt="2025-11-16T02:44:07.143" v="456630"/>
          <ac:spMkLst>
            <pc:docMk/>
            <pc:sldMk cId="2668657357" sldId="2147483085"/>
            <ac:spMk id="744" creationId="{5140AFEC-ED25-13D2-1A16-9C734D156DE6}"/>
          </ac:spMkLst>
        </pc:spChg>
        <pc:spChg chg="add del mod modVis">
          <ac:chgData name="Yiqun Dai" userId="360a2182-b97f-4635-b990-04f846616e33" providerId="ADAL" clId="{8F04EA49-0EFC-48F3-A4D8-E0F0D3B461A8}" dt="2025-11-16T02:44:24.158" v="456848"/>
          <ac:spMkLst>
            <pc:docMk/>
            <pc:sldMk cId="2668657357" sldId="2147483085"/>
            <ac:spMk id="747" creationId="{E9B3A767-F637-8273-92C3-AF53D7C0BA10}"/>
          </ac:spMkLst>
        </pc:spChg>
        <pc:spChg chg="add del mod modVis">
          <ac:chgData name="Yiqun Dai" userId="360a2182-b97f-4635-b990-04f846616e33" providerId="ADAL" clId="{8F04EA49-0EFC-48F3-A4D8-E0F0D3B461A8}" dt="2025-11-16T02:44:25.121" v="457051"/>
          <ac:spMkLst>
            <pc:docMk/>
            <pc:sldMk cId="2668657357" sldId="2147483085"/>
            <ac:spMk id="751" creationId="{D16EF305-6733-734D-596B-1165335CF24F}"/>
          </ac:spMkLst>
        </pc:spChg>
        <pc:spChg chg="add del mod modVis">
          <ac:chgData name="Yiqun Dai" userId="360a2182-b97f-4635-b990-04f846616e33" providerId="ADAL" clId="{8F04EA49-0EFC-48F3-A4D8-E0F0D3B461A8}" dt="2025-11-16T02:44:30.488" v="457272"/>
          <ac:spMkLst>
            <pc:docMk/>
            <pc:sldMk cId="2668657357" sldId="2147483085"/>
            <ac:spMk id="754" creationId="{69AE6698-DF94-AB7F-CD04-7F0B7FFBA7A9}"/>
          </ac:spMkLst>
        </pc:spChg>
        <pc:spChg chg="add del mod modVis">
          <ac:chgData name="Yiqun Dai" userId="360a2182-b97f-4635-b990-04f846616e33" providerId="ADAL" clId="{8F04EA49-0EFC-48F3-A4D8-E0F0D3B461A8}" dt="2025-11-16T02:44:31.073" v="457447"/>
          <ac:spMkLst>
            <pc:docMk/>
            <pc:sldMk cId="2668657357" sldId="2147483085"/>
            <ac:spMk id="757" creationId="{50338DE2-5784-4AFD-055E-E23310E7A86F}"/>
          </ac:spMkLst>
        </pc:spChg>
        <pc:spChg chg="add del mod modVis">
          <ac:chgData name="Yiqun Dai" userId="360a2182-b97f-4635-b990-04f846616e33" providerId="ADAL" clId="{8F04EA49-0EFC-48F3-A4D8-E0F0D3B461A8}" dt="2025-11-16T02:47:25.077" v="457889"/>
          <ac:spMkLst>
            <pc:docMk/>
            <pc:sldMk cId="2668657357" sldId="2147483085"/>
            <ac:spMk id="760" creationId="{6B5E23B4-38F9-F7CD-9A61-7C161EFA2B81}"/>
          </ac:spMkLst>
        </pc:spChg>
        <pc:spChg chg="add del mod modVis">
          <ac:chgData name="Yiqun Dai" userId="360a2182-b97f-4635-b990-04f846616e33" providerId="ADAL" clId="{8F04EA49-0EFC-48F3-A4D8-E0F0D3B461A8}" dt="2025-11-16T02:47:25.441" v="458046"/>
          <ac:spMkLst>
            <pc:docMk/>
            <pc:sldMk cId="2668657357" sldId="2147483085"/>
            <ac:spMk id="762" creationId="{5316DD4F-0C85-EFF2-B68C-F9B3F482E21C}"/>
          </ac:spMkLst>
        </pc:spChg>
        <pc:spChg chg="add del mod modVis">
          <ac:chgData name="Yiqun Dai" userId="360a2182-b97f-4635-b990-04f846616e33" providerId="ADAL" clId="{8F04EA49-0EFC-48F3-A4D8-E0F0D3B461A8}" dt="2025-11-16T02:47:27.655" v="458191"/>
          <ac:spMkLst>
            <pc:docMk/>
            <pc:sldMk cId="2668657357" sldId="2147483085"/>
            <ac:spMk id="765" creationId="{3A322AFE-2518-2858-EB4C-E81C88711DBB}"/>
          </ac:spMkLst>
        </pc:spChg>
        <pc:spChg chg="add del mod modVis">
          <ac:chgData name="Yiqun Dai" userId="360a2182-b97f-4635-b990-04f846616e33" providerId="ADAL" clId="{8F04EA49-0EFC-48F3-A4D8-E0F0D3B461A8}" dt="2025-11-16T02:47:27.963" v="458345"/>
          <ac:spMkLst>
            <pc:docMk/>
            <pc:sldMk cId="2668657357" sldId="2147483085"/>
            <ac:spMk id="767" creationId="{75B4ABBC-B167-A415-4010-1F59868B085A}"/>
          </ac:spMkLst>
        </pc:spChg>
        <pc:spChg chg="add del mod modVis">
          <ac:chgData name="Yiqun Dai" userId="360a2182-b97f-4635-b990-04f846616e33" providerId="ADAL" clId="{8F04EA49-0EFC-48F3-A4D8-E0F0D3B461A8}" dt="2025-11-16T02:47:30.688" v="458615"/>
          <ac:spMkLst>
            <pc:docMk/>
            <pc:sldMk cId="2668657357" sldId="2147483085"/>
            <ac:spMk id="770" creationId="{8782B135-B78C-D519-D4CB-997F098E3CB0}"/>
          </ac:spMkLst>
        </pc:spChg>
        <pc:spChg chg="add del mod modVis">
          <ac:chgData name="Yiqun Dai" userId="360a2182-b97f-4635-b990-04f846616e33" providerId="ADAL" clId="{8F04EA49-0EFC-48F3-A4D8-E0F0D3B461A8}" dt="2025-11-16T02:47:31.102" v="458784"/>
          <ac:spMkLst>
            <pc:docMk/>
            <pc:sldMk cId="2668657357" sldId="2147483085"/>
            <ac:spMk id="780" creationId="{44907618-C553-B105-463B-B8837C8E29FC}"/>
          </ac:spMkLst>
        </pc:spChg>
        <pc:spChg chg="add del mod modVis">
          <ac:chgData name="Yiqun Dai" userId="360a2182-b97f-4635-b990-04f846616e33" providerId="ADAL" clId="{8F04EA49-0EFC-48F3-A4D8-E0F0D3B461A8}" dt="2025-11-16T02:47:32.728" v="458939"/>
          <ac:spMkLst>
            <pc:docMk/>
            <pc:sldMk cId="2668657357" sldId="2147483085"/>
            <ac:spMk id="783" creationId="{E68E41CA-2339-79C7-799F-5FFC4E1C3057}"/>
          </ac:spMkLst>
        </pc:spChg>
        <pc:spChg chg="add del mod modVis">
          <ac:chgData name="Yiqun Dai" userId="360a2182-b97f-4635-b990-04f846616e33" providerId="ADAL" clId="{8F04EA49-0EFC-48F3-A4D8-E0F0D3B461A8}" dt="2025-11-16T02:47:33.116" v="459106"/>
          <ac:spMkLst>
            <pc:docMk/>
            <pc:sldMk cId="2668657357" sldId="2147483085"/>
            <ac:spMk id="785" creationId="{997BF2B8-69AF-F182-118B-F4DF0D396132}"/>
          </ac:spMkLst>
        </pc:spChg>
        <pc:spChg chg="add del mod modVis">
          <ac:chgData name="Yiqun Dai" userId="360a2182-b97f-4635-b990-04f846616e33" providerId="ADAL" clId="{8F04EA49-0EFC-48F3-A4D8-E0F0D3B461A8}" dt="2025-11-16T02:47:34.523" v="459261"/>
          <ac:spMkLst>
            <pc:docMk/>
            <pc:sldMk cId="2668657357" sldId="2147483085"/>
            <ac:spMk id="788" creationId="{D684597B-6007-49DC-3068-DEECD8DAF199}"/>
          </ac:spMkLst>
        </pc:spChg>
        <pc:spChg chg="add del mod modVis">
          <ac:chgData name="Yiqun Dai" userId="360a2182-b97f-4635-b990-04f846616e33" providerId="ADAL" clId="{8F04EA49-0EFC-48F3-A4D8-E0F0D3B461A8}" dt="2025-11-16T02:47:34.954" v="459425"/>
          <ac:spMkLst>
            <pc:docMk/>
            <pc:sldMk cId="2668657357" sldId="2147483085"/>
            <ac:spMk id="790" creationId="{58A23D50-965A-3A7B-F6BE-0B973461ACDF}"/>
          </ac:spMkLst>
        </pc:spChg>
        <pc:spChg chg="add del mod modVis">
          <ac:chgData name="Yiqun Dai" userId="360a2182-b97f-4635-b990-04f846616e33" providerId="ADAL" clId="{8F04EA49-0EFC-48F3-A4D8-E0F0D3B461A8}" dt="2025-11-16T02:47:36.242" v="459577"/>
          <ac:spMkLst>
            <pc:docMk/>
            <pc:sldMk cId="2668657357" sldId="2147483085"/>
            <ac:spMk id="793" creationId="{8ADE6E75-CF80-4114-6513-CED15CAAD461}"/>
          </ac:spMkLst>
        </pc:spChg>
        <pc:spChg chg="add del mod modVis">
          <ac:chgData name="Yiqun Dai" userId="360a2182-b97f-4635-b990-04f846616e33" providerId="ADAL" clId="{8F04EA49-0EFC-48F3-A4D8-E0F0D3B461A8}" dt="2025-11-16T02:47:36.629" v="459738"/>
          <ac:spMkLst>
            <pc:docMk/>
            <pc:sldMk cId="2668657357" sldId="2147483085"/>
            <ac:spMk id="795" creationId="{EAA8F9B3-B6EF-4C9F-01A8-3454EF206F95}"/>
          </ac:spMkLst>
        </pc:spChg>
        <pc:spChg chg="add del mod modVis">
          <ac:chgData name="Yiqun Dai" userId="360a2182-b97f-4635-b990-04f846616e33" providerId="ADAL" clId="{8F04EA49-0EFC-48F3-A4D8-E0F0D3B461A8}" dt="2025-11-16T02:47:37.949" v="459889"/>
          <ac:spMkLst>
            <pc:docMk/>
            <pc:sldMk cId="2668657357" sldId="2147483085"/>
            <ac:spMk id="798" creationId="{4D259329-3C8C-234C-AAE9-84F605FF5697}"/>
          </ac:spMkLst>
        </pc:spChg>
        <pc:spChg chg="add del mod modVis">
          <ac:chgData name="Yiqun Dai" userId="360a2182-b97f-4635-b990-04f846616e33" providerId="ADAL" clId="{8F04EA49-0EFC-48F3-A4D8-E0F0D3B461A8}" dt="2025-11-16T02:47:38.402" v="460046"/>
          <ac:spMkLst>
            <pc:docMk/>
            <pc:sldMk cId="2668657357" sldId="2147483085"/>
            <ac:spMk id="800" creationId="{CA991840-F9BB-9DB8-E15F-36CCFF38E6D8}"/>
          </ac:spMkLst>
        </pc:spChg>
        <pc:spChg chg="add del mod modVis">
          <ac:chgData name="Yiqun Dai" userId="360a2182-b97f-4635-b990-04f846616e33" providerId="ADAL" clId="{8F04EA49-0EFC-48F3-A4D8-E0F0D3B461A8}" dt="2025-11-16T02:47:39.454" v="460191"/>
          <ac:spMkLst>
            <pc:docMk/>
            <pc:sldMk cId="2668657357" sldId="2147483085"/>
            <ac:spMk id="803" creationId="{65ED7F1C-0961-4707-8AEA-FCED0EAC2F45}"/>
          </ac:spMkLst>
        </pc:spChg>
        <pc:spChg chg="add del mod modVis">
          <ac:chgData name="Yiqun Dai" userId="360a2182-b97f-4635-b990-04f846616e33" providerId="ADAL" clId="{8F04EA49-0EFC-48F3-A4D8-E0F0D3B461A8}" dt="2025-11-16T02:47:39.792" v="460345"/>
          <ac:spMkLst>
            <pc:docMk/>
            <pc:sldMk cId="2668657357" sldId="2147483085"/>
            <ac:spMk id="805" creationId="{CC31266E-1D4F-F22F-53F7-6EA3BA6452C5}"/>
          </ac:spMkLst>
        </pc:spChg>
        <pc:spChg chg="add del mod modVis">
          <ac:chgData name="Yiqun Dai" userId="360a2182-b97f-4635-b990-04f846616e33" providerId="ADAL" clId="{8F04EA49-0EFC-48F3-A4D8-E0F0D3B461A8}" dt="2025-11-16T02:47:44.962" v="460487"/>
          <ac:spMkLst>
            <pc:docMk/>
            <pc:sldMk cId="2668657357" sldId="2147483085"/>
            <ac:spMk id="808" creationId="{E7C74E61-8F60-8107-92FA-7192920E5D30}"/>
          </ac:spMkLst>
        </pc:spChg>
        <pc:spChg chg="add del mod modVis">
          <ac:chgData name="Yiqun Dai" userId="360a2182-b97f-4635-b990-04f846616e33" providerId="ADAL" clId="{8F04EA49-0EFC-48F3-A4D8-E0F0D3B461A8}" dt="2025-11-16T02:47:45.319" v="460638"/>
          <ac:spMkLst>
            <pc:docMk/>
            <pc:sldMk cId="2668657357" sldId="2147483085"/>
            <ac:spMk id="810" creationId="{FB920971-AF2C-5085-8D22-260641B8382A}"/>
          </ac:spMkLst>
        </pc:spChg>
        <pc:spChg chg="add mod">
          <ac:chgData name="Yiqun Dai" userId="360a2182-b97f-4635-b990-04f846616e33" providerId="ADAL" clId="{8F04EA49-0EFC-48F3-A4D8-E0F0D3B461A8}" dt="2025-11-16T02:51:55.147" v="466431"/>
          <ac:spMkLst>
            <pc:docMk/>
            <pc:sldMk cId="2668657357" sldId="2147483085"/>
            <ac:spMk id="813" creationId="{67E1DC45-649B-4039-D545-C329BB795459}"/>
          </ac:spMkLst>
        </pc:spChg>
        <pc:spChg chg="add del mod modVis">
          <ac:chgData name="Yiqun Dai" userId="360a2182-b97f-4635-b990-04f846616e33" providerId="ADAL" clId="{8F04EA49-0EFC-48F3-A4D8-E0F0D3B461A8}" dt="2025-11-16T02:49:15.402" v="461024"/>
          <ac:spMkLst>
            <pc:docMk/>
            <pc:sldMk cId="2668657357" sldId="2147483085"/>
            <ac:spMk id="814" creationId="{6391E8E0-1C23-B8C3-14CC-63E6C44083BE}"/>
          </ac:spMkLst>
        </pc:spChg>
        <pc:spChg chg="add mod">
          <ac:chgData name="Yiqun Dai" userId="360a2182-b97f-4635-b990-04f846616e33" providerId="ADAL" clId="{8F04EA49-0EFC-48F3-A4D8-E0F0D3B461A8}" dt="2025-11-16T02:51:55.148" v="466432"/>
          <ac:spMkLst>
            <pc:docMk/>
            <pc:sldMk cId="2668657357" sldId="2147483085"/>
            <ac:spMk id="815" creationId="{A29572FB-5F63-6248-1FEF-0E6EBA1E96E2}"/>
          </ac:spMkLst>
        </pc:spChg>
        <pc:spChg chg="add mod">
          <ac:chgData name="Yiqun Dai" userId="360a2182-b97f-4635-b990-04f846616e33" providerId="ADAL" clId="{8F04EA49-0EFC-48F3-A4D8-E0F0D3B461A8}" dt="2025-11-16T02:51:55.149" v="466433"/>
          <ac:spMkLst>
            <pc:docMk/>
            <pc:sldMk cId="2668657357" sldId="2147483085"/>
            <ac:spMk id="816" creationId="{84A0BD01-6912-6739-1859-19F6958A40A8}"/>
          </ac:spMkLst>
        </pc:spChg>
        <pc:spChg chg="add mod">
          <ac:chgData name="Yiqun Dai" userId="360a2182-b97f-4635-b990-04f846616e33" providerId="ADAL" clId="{8F04EA49-0EFC-48F3-A4D8-E0F0D3B461A8}" dt="2025-11-16T02:51:55.149" v="466434"/>
          <ac:spMkLst>
            <pc:docMk/>
            <pc:sldMk cId="2668657357" sldId="2147483085"/>
            <ac:spMk id="817" creationId="{C9E8303D-DDC7-AA4E-80C9-580D4859E48E}"/>
          </ac:spMkLst>
        </pc:spChg>
        <pc:spChg chg="add mod ord">
          <ac:chgData name="Yiqun Dai" userId="360a2182-b97f-4635-b990-04f846616e33" providerId="ADAL" clId="{8F04EA49-0EFC-48F3-A4D8-E0F0D3B461A8}" dt="2025-11-16T02:51:55.144" v="466424"/>
          <ac:spMkLst>
            <pc:docMk/>
            <pc:sldMk cId="2668657357" sldId="2147483085"/>
            <ac:spMk id="818" creationId="{E6D25C14-E32E-6BAB-9D33-1EB7DA5DD21B}"/>
          </ac:spMkLst>
        </pc:spChg>
        <pc:spChg chg="add mod ord">
          <ac:chgData name="Yiqun Dai" userId="360a2182-b97f-4635-b990-04f846616e33" providerId="ADAL" clId="{8F04EA49-0EFC-48F3-A4D8-E0F0D3B461A8}" dt="2025-11-16T02:51:55.145" v="466426"/>
          <ac:spMkLst>
            <pc:docMk/>
            <pc:sldMk cId="2668657357" sldId="2147483085"/>
            <ac:spMk id="819" creationId="{7AA2B440-9124-CC32-CA75-0A83ADD648C8}"/>
          </ac:spMkLst>
        </pc:spChg>
        <pc:spChg chg="add mod ord">
          <ac:chgData name="Yiqun Dai" userId="360a2182-b97f-4635-b990-04f846616e33" providerId="ADAL" clId="{8F04EA49-0EFC-48F3-A4D8-E0F0D3B461A8}" dt="2025-11-16T02:51:55.146" v="466428"/>
          <ac:spMkLst>
            <pc:docMk/>
            <pc:sldMk cId="2668657357" sldId="2147483085"/>
            <ac:spMk id="820" creationId="{A675EA42-C76B-3910-0CBE-04E39BCF21DB}"/>
          </ac:spMkLst>
        </pc:spChg>
        <pc:spChg chg="add mod ord">
          <ac:chgData name="Yiqun Dai" userId="360a2182-b97f-4635-b990-04f846616e33" providerId="ADAL" clId="{8F04EA49-0EFC-48F3-A4D8-E0F0D3B461A8}" dt="2025-11-16T02:51:55.147" v="466430"/>
          <ac:spMkLst>
            <pc:docMk/>
            <pc:sldMk cId="2668657357" sldId="2147483085"/>
            <ac:spMk id="821" creationId="{56E56163-BF31-33F8-0554-EC80247E78EB}"/>
          </ac:spMkLst>
        </pc:spChg>
        <pc:spChg chg="add del mod modVis">
          <ac:chgData name="Yiqun Dai" userId="360a2182-b97f-4635-b990-04f846616e33" providerId="ADAL" clId="{8F04EA49-0EFC-48F3-A4D8-E0F0D3B461A8}" dt="2025-11-16T02:49:39.361" v="461538"/>
          <ac:spMkLst>
            <pc:docMk/>
            <pc:sldMk cId="2668657357" sldId="2147483085"/>
            <ac:spMk id="822" creationId="{4042E3ED-42E4-B692-3EDF-C5A976DB4F69}"/>
          </ac:spMkLst>
        </pc:spChg>
        <pc:spChg chg="add del mod modVis">
          <ac:chgData name="Yiqun Dai" userId="360a2182-b97f-4635-b990-04f846616e33" providerId="ADAL" clId="{8F04EA49-0EFC-48F3-A4D8-E0F0D3B461A8}" dt="2025-11-16T02:49:40.979" v="461783"/>
          <ac:spMkLst>
            <pc:docMk/>
            <pc:sldMk cId="2668657357" sldId="2147483085"/>
            <ac:spMk id="824" creationId="{CE6A2B61-4EBF-61B3-4F7D-4128762353BB}"/>
          </ac:spMkLst>
        </pc:spChg>
        <pc:spChg chg="add del mod modVis">
          <ac:chgData name="Yiqun Dai" userId="360a2182-b97f-4635-b990-04f846616e33" providerId="ADAL" clId="{8F04EA49-0EFC-48F3-A4D8-E0F0D3B461A8}" dt="2025-11-16T02:49:53.309" v="461950"/>
          <ac:spMkLst>
            <pc:docMk/>
            <pc:sldMk cId="2668657357" sldId="2147483085"/>
            <ac:spMk id="833" creationId="{34BE4621-3C37-0C7A-5CC8-B79228BC342C}"/>
          </ac:spMkLst>
        </pc:spChg>
        <pc:spChg chg="add del mod modVis">
          <ac:chgData name="Yiqun Dai" userId="360a2182-b97f-4635-b990-04f846616e33" providerId="ADAL" clId="{8F04EA49-0EFC-48F3-A4D8-E0F0D3B461A8}" dt="2025-11-16T02:49:53.927" v="462195"/>
          <ac:spMkLst>
            <pc:docMk/>
            <pc:sldMk cId="2668657357" sldId="2147483085"/>
            <ac:spMk id="835" creationId="{06E42E4B-A8E1-A67B-1963-4DE0890050A9}"/>
          </ac:spMkLst>
        </pc:spChg>
        <pc:spChg chg="add del mod modVis">
          <ac:chgData name="Yiqun Dai" userId="360a2182-b97f-4635-b990-04f846616e33" providerId="ADAL" clId="{8F04EA49-0EFC-48F3-A4D8-E0F0D3B461A8}" dt="2025-11-16T02:50:00.094" v="462362"/>
          <ac:spMkLst>
            <pc:docMk/>
            <pc:sldMk cId="2668657357" sldId="2147483085"/>
            <ac:spMk id="844" creationId="{69FE92F4-BD7D-4C1F-12A7-149DE6D8A071}"/>
          </ac:spMkLst>
        </pc:spChg>
        <pc:spChg chg="add del mod modVis">
          <ac:chgData name="Yiqun Dai" userId="360a2182-b97f-4635-b990-04f846616e33" providerId="ADAL" clId="{8F04EA49-0EFC-48F3-A4D8-E0F0D3B461A8}" dt="2025-11-16T02:50:00.697" v="462607"/>
          <ac:spMkLst>
            <pc:docMk/>
            <pc:sldMk cId="2668657357" sldId="2147483085"/>
            <ac:spMk id="846" creationId="{BCD857A0-7B21-3205-9D55-DBB224B1EC60}"/>
          </ac:spMkLst>
        </pc:spChg>
        <pc:spChg chg="add del mod modVis">
          <ac:chgData name="Yiqun Dai" userId="360a2182-b97f-4635-b990-04f846616e33" providerId="ADAL" clId="{8F04EA49-0EFC-48F3-A4D8-E0F0D3B461A8}" dt="2025-11-16T02:50:05.610" v="462774"/>
          <ac:spMkLst>
            <pc:docMk/>
            <pc:sldMk cId="2668657357" sldId="2147483085"/>
            <ac:spMk id="855" creationId="{861443CB-843B-CE1D-4BEF-7896A5EDCA51}"/>
          </ac:spMkLst>
        </pc:spChg>
        <pc:spChg chg="add del mod modVis">
          <ac:chgData name="Yiqun Dai" userId="360a2182-b97f-4635-b990-04f846616e33" providerId="ADAL" clId="{8F04EA49-0EFC-48F3-A4D8-E0F0D3B461A8}" dt="2025-11-16T02:50:06.606" v="463019"/>
          <ac:spMkLst>
            <pc:docMk/>
            <pc:sldMk cId="2668657357" sldId="2147483085"/>
            <ac:spMk id="857" creationId="{3EB6C3BD-6775-F2D6-A8FA-DB38D1E4F8C8}"/>
          </ac:spMkLst>
        </pc:spChg>
        <pc:spChg chg="add del mod">
          <ac:chgData name="Yiqun Dai" userId="360a2182-b97f-4635-b990-04f846616e33" providerId="ADAL" clId="{8F04EA49-0EFC-48F3-A4D8-E0F0D3B461A8}" dt="2025-11-16T02:50:41.912" v="463961"/>
          <ac:spMkLst>
            <pc:docMk/>
            <pc:sldMk cId="2668657357" sldId="2147483085"/>
            <ac:spMk id="866" creationId="{998BE238-9A97-7F32-64EE-76ED59E625F5}"/>
          </ac:spMkLst>
        </pc:spChg>
        <pc:spChg chg="add del mod modVis">
          <ac:chgData name="Yiqun Dai" userId="360a2182-b97f-4635-b990-04f846616e33" providerId="ADAL" clId="{8F04EA49-0EFC-48F3-A4D8-E0F0D3B461A8}" dt="2025-11-16T02:50:20.565" v="463279"/>
          <ac:spMkLst>
            <pc:docMk/>
            <pc:sldMk cId="2668657357" sldId="2147483085"/>
            <ac:spMk id="867" creationId="{06212EC4-D5BA-4309-3B59-998EC4AC165D}"/>
          </ac:spMkLst>
        </pc:spChg>
        <pc:spChg chg="add del mod">
          <ac:chgData name="Yiqun Dai" userId="360a2182-b97f-4635-b990-04f846616e33" providerId="ADAL" clId="{8F04EA49-0EFC-48F3-A4D8-E0F0D3B461A8}" dt="2025-11-16T02:50:41.909" v="463958"/>
          <ac:spMkLst>
            <pc:docMk/>
            <pc:sldMk cId="2668657357" sldId="2147483085"/>
            <ac:spMk id="868" creationId="{33A1A5AD-44E5-7354-6ACB-5081032DFEAE}"/>
          </ac:spMkLst>
        </pc:spChg>
        <pc:spChg chg="add del mod ord">
          <ac:chgData name="Yiqun Dai" userId="360a2182-b97f-4635-b990-04f846616e33" providerId="ADAL" clId="{8F04EA49-0EFC-48F3-A4D8-E0F0D3B461A8}" dt="2025-11-16T02:50:41.914" v="463963"/>
          <ac:spMkLst>
            <pc:docMk/>
            <pc:sldMk cId="2668657357" sldId="2147483085"/>
            <ac:spMk id="869" creationId="{7A79DAAF-1949-A090-C3F4-4F35DD1F98CE}"/>
          </ac:spMkLst>
        </pc:spChg>
        <pc:spChg chg="add del mod ord">
          <ac:chgData name="Yiqun Dai" userId="360a2182-b97f-4635-b990-04f846616e33" providerId="ADAL" clId="{8F04EA49-0EFC-48F3-A4D8-E0F0D3B461A8}" dt="2025-11-16T02:50:41.912" v="463960"/>
          <ac:spMkLst>
            <pc:docMk/>
            <pc:sldMk cId="2668657357" sldId="2147483085"/>
            <ac:spMk id="870" creationId="{07D90110-A980-BDA2-461B-1CB7F58536BE}"/>
          </ac:spMkLst>
        </pc:spChg>
        <pc:spChg chg="add del mod modVis">
          <ac:chgData name="Yiqun Dai" userId="360a2182-b97f-4635-b990-04f846616e33" providerId="ADAL" clId="{8F04EA49-0EFC-48F3-A4D8-E0F0D3B461A8}" dt="2025-11-16T02:50:29.579" v="463450"/>
          <ac:spMkLst>
            <pc:docMk/>
            <pc:sldMk cId="2668657357" sldId="2147483085"/>
            <ac:spMk id="871" creationId="{405D8F97-89D5-DEE6-1027-2D5B373E49B0}"/>
          </ac:spMkLst>
        </pc:spChg>
        <pc:spChg chg="add del mod modVis">
          <ac:chgData name="Yiqun Dai" userId="360a2182-b97f-4635-b990-04f846616e33" providerId="ADAL" clId="{8F04EA49-0EFC-48F3-A4D8-E0F0D3B461A8}" dt="2025-11-16T02:50:30.171" v="463619"/>
          <ac:spMkLst>
            <pc:docMk/>
            <pc:sldMk cId="2668657357" sldId="2147483085"/>
            <ac:spMk id="873" creationId="{C852D4F1-A205-DE0E-4AB8-7E78AFEAB02B}"/>
          </ac:spMkLst>
        </pc:spChg>
        <pc:spChg chg="add del mod modVis">
          <ac:chgData name="Yiqun Dai" userId="360a2182-b97f-4635-b990-04f846616e33" providerId="ADAL" clId="{8F04EA49-0EFC-48F3-A4D8-E0F0D3B461A8}" dt="2025-11-16T02:50:36.260" v="463786"/>
          <ac:spMkLst>
            <pc:docMk/>
            <pc:sldMk cId="2668657357" sldId="2147483085"/>
            <ac:spMk id="876" creationId="{2BE28D6D-BB29-A3F0-190A-EC952AD4058B}"/>
          </ac:spMkLst>
        </pc:spChg>
        <pc:spChg chg="add del mod modVis">
          <ac:chgData name="Yiqun Dai" userId="360a2182-b97f-4635-b990-04f846616e33" providerId="ADAL" clId="{8F04EA49-0EFC-48F3-A4D8-E0F0D3B461A8}" dt="2025-11-16T02:50:36.894" v="463955"/>
          <ac:spMkLst>
            <pc:docMk/>
            <pc:sldMk cId="2668657357" sldId="2147483085"/>
            <ac:spMk id="878" creationId="{7A69822A-A5FA-149C-F480-FD6666B78EA6}"/>
          </ac:spMkLst>
        </pc:spChg>
        <pc:spChg chg="add del mod modVis">
          <ac:chgData name="Yiqun Dai" userId="360a2182-b97f-4635-b990-04f846616e33" providerId="ADAL" clId="{8F04EA49-0EFC-48F3-A4D8-E0F0D3B461A8}" dt="2025-11-16T02:50:58.422" v="464114"/>
          <ac:spMkLst>
            <pc:docMk/>
            <pc:sldMk cId="2668657357" sldId="2147483085"/>
            <ac:spMk id="881" creationId="{95EF9F0C-0FEA-354D-4C6D-8649E4C807C7}"/>
          </ac:spMkLst>
        </pc:spChg>
        <pc:spChg chg="add del mod modVis">
          <ac:chgData name="Yiqun Dai" userId="360a2182-b97f-4635-b990-04f846616e33" providerId="ADAL" clId="{8F04EA49-0EFC-48F3-A4D8-E0F0D3B461A8}" dt="2025-11-16T02:50:59.035" v="464376"/>
          <ac:spMkLst>
            <pc:docMk/>
            <pc:sldMk cId="2668657357" sldId="2147483085"/>
            <ac:spMk id="883" creationId="{6CD5E748-0616-C0E8-8C47-1083A38F7E48}"/>
          </ac:spMkLst>
        </pc:spChg>
        <pc:spChg chg="add del mod modVis">
          <ac:chgData name="Yiqun Dai" userId="360a2182-b97f-4635-b990-04f846616e33" providerId="ADAL" clId="{8F04EA49-0EFC-48F3-A4D8-E0F0D3B461A8}" dt="2025-11-16T02:51:23.966" v="464525"/>
          <ac:spMkLst>
            <pc:docMk/>
            <pc:sldMk cId="2668657357" sldId="2147483085"/>
            <ac:spMk id="892" creationId="{44920FAC-D88A-9398-411B-CE80E8A24F6C}"/>
          </ac:spMkLst>
        </pc:spChg>
        <pc:spChg chg="add del mod modVis">
          <ac:chgData name="Yiqun Dai" userId="360a2182-b97f-4635-b990-04f846616e33" providerId="ADAL" clId="{8F04EA49-0EFC-48F3-A4D8-E0F0D3B461A8}" dt="2025-11-16T02:51:24.738" v="464688"/>
          <ac:spMkLst>
            <pc:docMk/>
            <pc:sldMk cId="2668657357" sldId="2147483085"/>
            <ac:spMk id="894" creationId="{D8DA1C2E-6ED1-7325-0C7E-665B556787B1}"/>
          </ac:spMkLst>
        </pc:spChg>
        <pc:spChg chg="add del mod modVis">
          <ac:chgData name="Yiqun Dai" userId="360a2182-b97f-4635-b990-04f846616e33" providerId="ADAL" clId="{8F04EA49-0EFC-48F3-A4D8-E0F0D3B461A8}" dt="2025-11-16T02:51:29.695" v="465495"/>
          <ac:spMkLst>
            <pc:docMk/>
            <pc:sldMk cId="2668657357" sldId="2147483085"/>
            <ac:spMk id="897" creationId="{B43DD8F6-C2A8-9C84-29C5-E01AB5741D98}"/>
          </ac:spMkLst>
        </pc:spChg>
        <pc:spChg chg="add del mod">
          <ac:chgData name="Yiqun Dai" userId="360a2182-b97f-4635-b990-04f846616e33" providerId="ADAL" clId="{8F04EA49-0EFC-48F3-A4D8-E0F0D3B461A8}" dt="2025-11-16T02:51:31.349" v="465540"/>
          <ac:spMkLst>
            <pc:docMk/>
            <pc:sldMk cId="2668657357" sldId="2147483085"/>
            <ac:spMk id="898" creationId="{9E0B7132-2A4F-70BF-85D8-E93C2DF23BF6}"/>
          </ac:spMkLst>
        </pc:spChg>
        <pc:spChg chg="add del mod">
          <ac:chgData name="Yiqun Dai" userId="360a2182-b97f-4635-b990-04f846616e33" providerId="ADAL" clId="{8F04EA49-0EFC-48F3-A4D8-E0F0D3B461A8}" dt="2025-11-16T02:51:31.350" v="465541"/>
          <ac:spMkLst>
            <pc:docMk/>
            <pc:sldMk cId="2668657357" sldId="2147483085"/>
            <ac:spMk id="899" creationId="{4D190098-D62E-7243-B645-18678E7DEE2F}"/>
          </ac:spMkLst>
        </pc:spChg>
        <pc:spChg chg="add del mod">
          <ac:chgData name="Yiqun Dai" userId="360a2182-b97f-4635-b990-04f846616e33" providerId="ADAL" clId="{8F04EA49-0EFC-48F3-A4D8-E0F0D3B461A8}" dt="2025-11-16T02:51:31.351" v="465542"/>
          <ac:spMkLst>
            <pc:docMk/>
            <pc:sldMk cId="2668657357" sldId="2147483085"/>
            <ac:spMk id="900" creationId="{865E6B43-D197-1A36-8A02-79A60DDD434C}"/>
          </ac:spMkLst>
        </pc:spChg>
        <pc:spChg chg="add del mod">
          <ac:chgData name="Yiqun Dai" userId="360a2182-b97f-4635-b990-04f846616e33" providerId="ADAL" clId="{8F04EA49-0EFC-48F3-A4D8-E0F0D3B461A8}" dt="2025-11-16T02:51:31.352" v="465543"/>
          <ac:spMkLst>
            <pc:docMk/>
            <pc:sldMk cId="2668657357" sldId="2147483085"/>
            <ac:spMk id="901" creationId="{9133D7EB-5325-6071-9CF6-2FAF0799EA52}"/>
          </ac:spMkLst>
        </pc:spChg>
        <pc:spChg chg="add del mod">
          <ac:chgData name="Yiqun Dai" userId="360a2182-b97f-4635-b990-04f846616e33" providerId="ADAL" clId="{8F04EA49-0EFC-48F3-A4D8-E0F0D3B461A8}" dt="2025-11-16T02:51:31.353" v="465544"/>
          <ac:spMkLst>
            <pc:docMk/>
            <pc:sldMk cId="2668657357" sldId="2147483085"/>
            <ac:spMk id="902" creationId="{5A32E99C-BF7F-1833-101F-9153B7FB2FD4}"/>
          </ac:spMkLst>
        </pc:spChg>
        <pc:spChg chg="add del mod">
          <ac:chgData name="Yiqun Dai" userId="360a2182-b97f-4635-b990-04f846616e33" providerId="ADAL" clId="{8F04EA49-0EFC-48F3-A4D8-E0F0D3B461A8}" dt="2025-11-16T02:51:31.354" v="465545"/>
          <ac:spMkLst>
            <pc:docMk/>
            <pc:sldMk cId="2668657357" sldId="2147483085"/>
            <ac:spMk id="903" creationId="{140E09BE-8DDD-1BB0-5EEB-C8AC21B407E3}"/>
          </ac:spMkLst>
        </pc:spChg>
        <pc:spChg chg="add del mod">
          <ac:chgData name="Yiqun Dai" userId="360a2182-b97f-4635-b990-04f846616e33" providerId="ADAL" clId="{8F04EA49-0EFC-48F3-A4D8-E0F0D3B461A8}" dt="2025-11-16T02:51:31.355" v="465546"/>
          <ac:spMkLst>
            <pc:docMk/>
            <pc:sldMk cId="2668657357" sldId="2147483085"/>
            <ac:spMk id="904" creationId="{5E7DC7DE-E462-E1D7-EA6D-A89318C29B0C}"/>
          </ac:spMkLst>
        </pc:spChg>
        <pc:spChg chg="add del mod">
          <ac:chgData name="Yiqun Dai" userId="360a2182-b97f-4635-b990-04f846616e33" providerId="ADAL" clId="{8F04EA49-0EFC-48F3-A4D8-E0F0D3B461A8}" dt="2025-11-16T02:51:31.355" v="465547"/>
          <ac:spMkLst>
            <pc:docMk/>
            <pc:sldMk cId="2668657357" sldId="2147483085"/>
            <ac:spMk id="905" creationId="{102798BD-28DF-EC12-B4F3-D1D254D0AEBC}"/>
          </ac:spMkLst>
        </pc:spChg>
        <pc:spChg chg="add del mod">
          <ac:chgData name="Yiqun Dai" userId="360a2182-b97f-4635-b990-04f846616e33" providerId="ADAL" clId="{8F04EA49-0EFC-48F3-A4D8-E0F0D3B461A8}" dt="2025-11-16T02:51:31.356" v="465548"/>
          <ac:spMkLst>
            <pc:docMk/>
            <pc:sldMk cId="2668657357" sldId="2147483085"/>
            <ac:spMk id="906" creationId="{6075E869-15FA-4AA6-449D-073C72BE0483}"/>
          </ac:spMkLst>
        </pc:spChg>
        <pc:spChg chg="add del mod">
          <ac:chgData name="Yiqun Dai" userId="360a2182-b97f-4635-b990-04f846616e33" providerId="ADAL" clId="{8F04EA49-0EFC-48F3-A4D8-E0F0D3B461A8}" dt="2025-11-16T02:51:31.357" v="465549"/>
          <ac:spMkLst>
            <pc:docMk/>
            <pc:sldMk cId="2668657357" sldId="2147483085"/>
            <ac:spMk id="907" creationId="{4502F008-DAB6-0337-687B-8515BBA471BF}"/>
          </ac:spMkLst>
        </pc:spChg>
        <pc:spChg chg="add del mod">
          <ac:chgData name="Yiqun Dai" userId="360a2182-b97f-4635-b990-04f846616e33" providerId="ADAL" clId="{8F04EA49-0EFC-48F3-A4D8-E0F0D3B461A8}" dt="2025-11-16T02:51:31.359" v="465550"/>
          <ac:spMkLst>
            <pc:docMk/>
            <pc:sldMk cId="2668657357" sldId="2147483085"/>
            <ac:spMk id="908" creationId="{5972CB67-CF1E-8B5F-88E3-76D342186BFD}"/>
          </ac:spMkLst>
        </pc:spChg>
        <pc:spChg chg="add del mod modVis">
          <ac:chgData name="Yiqun Dai" userId="360a2182-b97f-4635-b990-04f846616e33" providerId="ADAL" clId="{8F04EA49-0EFC-48F3-A4D8-E0F0D3B461A8}" dt="2025-11-16T02:51:31.724" v="465653"/>
          <ac:spMkLst>
            <pc:docMk/>
            <pc:sldMk cId="2668657357" sldId="2147483085"/>
            <ac:spMk id="910" creationId="{D036835B-2800-5225-6BB2-FA79F6FC92C5}"/>
          </ac:spMkLst>
        </pc:spChg>
        <pc:spChg chg="add del mod modVis">
          <ac:chgData name="Yiqun Dai" userId="360a2182-b97f-4635-b990-04f846616e33" providerId="ADAL" clId="{8F04EA49-0EFC-48F3-A4D8-E0F0D3B461A8}" dt="2025-11-16T02:51:31.931" v="465816"/>
          <ac:spMkLst>
            <pc:docMk/>
            <pc:sldMk cId="2668657357" sldId="2147483085"/>
            <ac:spMk id="912" creationId="{5C7C89FC-5169-61F5-ED6A-9CC88C08DA70}"/>
          </ac:spMkLst>
        </pc:spChg>
        <pc:spChg chg="add del mod modVis">
          <ac:chgData name="Yiqun Dai" userId="360a2182-b97f-4635-b990-04f846616e33" providerId="ADAL" clId="{8F04EA49-0EFC-48F3-A4D8-E0F0D3B461A8}" dt="2025-11-16T02:51:35.970" v="465965"/>
          <ac:spMkLst>
            <pc:docMk/>
            <pc:sldMk cId="2668657357" sldId="2147483085"/>
            <ac:spMk id="915" creationId="{6F493ED6-8CA7-FF20-9B3A-CCE61DEB5DD2}"/>
          </ac:spMkLst>
        </pc:spChg>
        <pc:spChg chg="add del mod modVis">
          <ac:chgData name="Yiqun Dai" userId="360a2182-b97f-4635-b990-04f846616e33" providerId="ADAL" clId="{8F04EA49-0EFC-48F3-A4D8-E0F0D3B461A8}" dt="2025-11-16T02:51:36.611" v="466128"/>
          <ac:spMkLst>
            <pc:docMk/>
            <pc:sldMk cId="2668657357" sldId="2147483085"/>
            <ac:spMk id="917" creationId="{324ABE68-C3DA-2A10-23CC-EC80781CBEE8}"/>
          </ac:spMkLst>
        </pc:spChg>
        <pc:spChg chg="add del mod modVis">
          <ac:chgData name="Yiqun Dai" userId="360a2182-b97f-4635-b990-04f846616e33" providerId="ADAL" clId="{8F04EA49-0EFC-48F3-A4D8-E0F0D3B461A8}" dt="2025-11-16T02:51:54.571" v="466275"/>
          <ac:spMkLst>
            <pc:docMk/>
            <pc:sldMk cId="2668657357" sldId="2147483085"/>
            <ac:spMk id="920" creationId="{E4928B34-6B10-4080-134C-7A712292FB52}"/>
          </ac:spMkLst>
        </pc:spChg>
        <pc:spChg chg="add del mod modVis">
          <ac:chgData name="Yiqun Dai" userId="360a2182-b97f-4635-b990-04f846616e33" providerId="ADAL" clId="{8F04EA49-0EFC-48F3-A4D8-E0F0D3B461A8}" dt="2025-11-16T02:51:55.152" v="466436"/>
          <ac:spMkLst>
            <pc:docMk/>
            <pc:sldMk cId="2668657357" sldId="2147483085"/>
            <ac:spMk id="922" creationId="{4AF66B3C-79CB-14E0-FFEB-371AABE37465}"/>
          </ac:spMkLst>
        </pc:spChg>
        <pc:spChg chg="add mod">
          <ac:chgData name="Yiqun Dai" userId="360a2182-b97f-4635-b990-04f846616e33" providerId="ADAL" clId="{8F04EA49-0EFC-48F3-A4D8-E0F0D3B461A8}" dt="2025-11-16T02:54:39.443" v="466570" actId="1035"/>
          <ac:spMkLst>
            <pc:docMk/>
            <pc:sldMk cId="2668657357" sldId="2147483085"/>
            <ac:spMk id="925" creationId="{9706240A-0978-2053-DB9C-EE04E10C4F9E}"/>
          </ac:spMkLst>
        </pc:spChg>
        <pc:spChg chg="add mod">
          <ac:chgData name="Yiqun Dai" userId="360a2182-b97f-4635-b990-04f846616e33" providerId="ADAL" clId="{8F04EA49-0EFC-48F3-A4D8-E0F0D3B461A8}" dt="2025-11-16T02:54:39.443" v="466570" actId="1035"/>
          <ac:spMkLst>
            <pc:docMk/>
            <pc:sldMk cId="2668657357" sldId="2147483085"/>
            <ac:spMk id="926" creationId="{A31AC8E4-680B-3693-A31E-FA81F4441C30}"/>
          </ac:spMkLst>
        </pc:spChg>
        <pc:spChg chg="add mod">
          <ac:chgData name="Yiqun Dai" userId="360a2182-b97f-4635-b990-04f846616e33" providerId="ADAL" clId="{8F04EA49-0EFC-48F3-A4D8-E0F0D3B461A8}" dt="2025-11-16T02:54:39.443" v="466570" actId="1035"/>
          <ac:spMkLst>
            <pc:docMk/>
            <pc:sldMk cId="2668657357" sldId="2147483085"/>
            <ac:spMk id="929" creationId="{1A67DF83-0285-3ADF-6A1A-EDBC9CFC39E4}"/>
          </ac:spMkLst>
        </pc:spChg>
        <pc:graphicFrameChg chg="add del mod ord">
          <ac:chgData name="Yiqun Dai" userId="360a2182-b97f-4635-b990-04f846616e33" providerId="ADAL" clId="{8F04EA49-0EFC-48F3-A4D8-E0F0D3B461A8}" dt="2025-11-16T02:34:41.287" v="432338"/>
          <ac:graphicFrameMkLst>
            <pc:docMk/>
            <pc:sldMk cId="2668657357" sldId="2147483085"/>
            <ac:graphicFrameMk id="10" creationId="{A19CB61A-7E2D-9C44-3E4D-01EDF4E66959}"/>
          </ac:graphicFrameMkLst>
        </pc:graphicFrameChg>
        <pc:graphicFrameChg chg="mod">
          <ac:chgData name="Yiqun Dai" userId="360a2182-b97f-4635-b990-04f846616e33" providerId="ADAL" clId="{8F04EA49-0EFC-48F3-A4D8-E0F0D3B461A8}" dt="2025-11-16T02:58:57.236" v="466868"/>
          <ac:graphicFrameMkLst>
            <pc:docMk/>
            <pc:sldMk cId="2668657357" sldId="2147483085"/>
            <ac:graphicFrameMk id="11" creationId="{FE17C21E-ECC8-37E3-B26B-91098A45277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5:25.286" v="432615"/>
          <ac:graphicFrameMkLst>
            <pc:docMk/>
            <pc:sldMk cId="2668657357" sldId="2147483085"/>
            <ac:graphicFrameMk id="22" creationId="{F9075E23-5BE1-383B-01A7-72D278EB55E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5:25.580" v="432991"/>
          <ac:graphicFrameMkLst>
            <pc:docMk/>
            <pc:sldMk cId="2668657357" sldId="2147483085"/>
            <ac:graphicFrameMk id="24" creationId="{F1E98263-2871-B9A3-6D44-CC4F4987371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23.331" v="433229"/>
          <ac:graphicFrameMkLst>
            <pc:docMk/>
            <pc:sldMk cId="2668657357" sldId="2147483085"/>
            <ac:graphicFrameMk id="31" creationId="{CA381A01-04CC-C1D7-E632-2E5C64583B6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36.263" v="433393" actId="478"/>
          <ac:graphicFrameMkLst>
            <pc:docMk/>
            <pc:sldMk cId="2668657357" sldId="2147483085"/>
            <ac:graphicFrameMk id="40" creationId="{D0CEDF68-55CC-817C-8597-AB7F36DF7379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36:40.412" v="433497"/>
          <ac:graphicFrameMkLst>
            <pc:docMk/>
            <pc:sldMk cId="2668657357" sldId="2147483085"/>
            <ac:graphicFrameMk id="47" creationId="{046D45A5-D9CF-4192-AAB2-00798E91B08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40.923" v="433682"/>
          <ac:graphicFrameMkLst>
            <pc:docMk/>
            <pc:sldMk cId="2668657357" sldId="2147483085"/>
            <ac:graphicFrameMk id="49" creationId="{AF329333-41B3-B3EA-7816-8BD051D1CC2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42.890" v="433822"/>
          <ac:graphicFrameMkLst>
            <pc:docMk/>
            <pc:sldMk cId="2668657357" sldId="2147483085"/>
            <ac:graphicFrameMk id="56" creationId="{C395D545-1C25-4601-034E-51BCA950EBC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44.058" v="434004"/>
          <ac:graphicFrameMkLst>
            <pc:docMk/>
            <pc:sldMk cId="2668657357" sldId="2147483085"/>
            <ac:graphicFrameMk id="58" creationId="{49D87F51-6856-70BF-865A-F4CFA2CDE32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00.975" v="439016" actId="1076"/>
          <ac:graphicFrameMkLst>
            <pc:docMk/>
            <pc:sldMk cId="2668657357" sldId="2147483085"/>
            <ac:graphicFrameMk id="72" creationId="{63365889-802F-28E3-4C01-A695A683D707}"/>
          </ac:graphicFrameMkLst>
        </pc:graphicFrameChg>
        <pc:graphicFrameChg chg="add mod ord">
          <ac:chgData name="Yiqun Dai" userId="360a2182-b97f-4635-b990-04f846616e33" providerId="ADAL" clId="{8F04EA49-0EFC-48F3-A4D8-E0F0D3B461A8}" dt="2025-11-16T02:39:00.885" v="438883" actId="1076"/>
          <ac:graphicFrameMkLst>
            <pc:docMk/>
            <pc:sldMk cId="2668657357" sldId="2147483085"/>
            <ac:graphicFrameMk id="82" creationId="{02A0864F-81BB-9684-BF32-D83B0AF654B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06.498" v="439901"/>
          <ac:graphicFrameMkLst>
            <pc:docMk/>
            <pc:sldMk cId="2668657357" sldId="2147483085"/>
            <ac:graphicFrameMk id="84" creationId="{6FE1821B-D9D9-8C12-A256-8F6887037C1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9:39.188" v="461409"/>
          <ac:graphicFrameMkLst>
            <pc:docMk/>
            <pc:sldMk cId="2668657357" sldId="2147483085"/>
            <ac:graphicFrameMk id="93" creationId="{AAB142DA-F06C-CF27-8434-E4E068B4A1BF}"/>
          </ac:graphicFrameMkLst>
        </pc:graphicFrameChg>
        <pc:graphicFrameChg chg="del">
          <ac:chgData name="Yiqun Dai" userId="360a2182-b97f-4635-b990-04f846616e33" providerId="ADAL" clId="{8F04EA49-0EFC-48F3-A4D8-E0F0D3B461A8}" dt="2025-11-16T02:39:21.561" v="440777"/>
          <ac:graphicFrameMkLst>
            <pc:docMk/>
            <pc:sldMk cId="2668657357" sldId="2147483085"/>
            <ac:graphicFrameMk id="98" creationId="{AECBAEC5-7FA8-7E48-225E-A46D320060C8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41:28.980" v="446669"/>
          <ac:graphicFrameMkLst>
            <pc:docMk/>
            <pc:sldMk cId="2668657357" sldId="2147483085"/>
            <ac:graphicFrameMk id="259" creationId="{9590C74B-8F75-EF45-9B89-2820290B28A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1:04.795" v="445059" actId="1076"/>
          <ac:graphicFrameMkLst>
            <pc:docMk/>
            <pc:sldMk cId="2668657357" sldId="2147483085"/>
            <ac:graphicFrameMk id="298" creationId="{C2771FC6-2735-8098-B1ED-BE82CD04599E}"/>
          </ac:graphicFrameMkLst>
        </pc:graphicFrameChg>
        <pc:graphicFrameChg chg="mod ord">
          <ac:chgData name="Yiqun Dai" userId="360a2182-b97f-4635-b990-04f846616e33" providerId="ADAL" clId="{8F04EA49-0EFC-48F3-A4D8-E0F0D3B461A8}" dt="2025-11-16T02:41:04.692" v="444886" actId="1076"/>
          <ac:graphicFrameMkLst>
            <pc:docMk/>
            <pc:sldMk cId="2668657357" sldId="2147483085"/>
            <ac:graphicFrameMk id="303" creationId="{E78081D0-BF0E-97C6-1762-39A6E4EE7D6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1:29.896" v="446988" actId="478"/>
          <ac:graphicFrameMkLst>
            <pc:docMk/>
            <pc:sldMk cId="2668657357" sldId="2147483085"/>
            <ac:graphicFrameMk id="397" creationId="{FEDA74EA-73F3-78B7-E57A-883697950F9D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41:45.750" v="447335"/>
          <ac:graphicFrameMkLst>
            <pc:docMk/>
            <pc:sldMk cId="2668657357" sldId="2147483085"/>
            <ac:graphicFrameMk id="406" creationId="{CF4CA644-219E-B645-0C6F-3DFB3747FD8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1:46.301" v="447646"/>
          <ac:graphicFrameMkLst>
            <pc:docMk/>
            <pc:sldMk cId="2668657357" sldId="2147483085"/>
            <ac:graphicFrameMk id="411" creationId="{9EE96FDB-D03D-0817-3A54-01CB2064439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1:54.460" v="448505"/>
          <ac:graphicFrameMkLst>
            <pc:docMk/>
            <pc:sldMk cId="2668657357" sldId="2147483085"/>
            <ac:graphicFrameMk id="427" creationId="{05D2D509-ED04-DD6F-F5E4-56EB8462D6F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1:55.142" v="448806"/>
          <ac:graphicFrameMkLst>
            <pc:docMk/>
            <pc:sldMk cId="2668657357" sldId="2147483085"/>
            <ac:graphicFrameMk id="446" creationId="{91603DEB-D858-E2B8-4CF0-A64966EB4B0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45.688" v="434138"/>
          <ac:graphicFrameMkLst>
            <pc:docMk/>
            <pc:sldMk cId="2668657357" sldId="2147483085"/>
            <ac:graphicFrameMk id="449" creationId="{7A238EF9-8533-0B46-1CE5-110814271CB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48.409" v="434250"/>
          <ac:graphicFrameMkLst>
            <pc:docMk/>
            <pc:sldMk cId="2668657357" sldId="2147483085"/>
            <ac:graphicFrameMk id="451" creationId="{513E49A0-FA8E-8113-1DCF-5B36E59ABA5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51.702" v="434363"/>
          <ac:graphicFrameMkLst>
            <pc:docMk/>
            <pc:sldMk cId="2668657357" sldId="2147483085"/>
            <ac:graphicFrameMk id="453" creationId="{ABF658B7-E1FD-ECE5-9708-682809D1719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53.577" v="434538"/>
          <ac:graphicFrameMkLst>
            <pc:docMk/>
            <pc:sldMk cId="2668657357" sldId="2147483085"/>
            <ac:graphicFrameMk id="455" creationId="{4D2C3731-7CB3-7FD2-7C27-E854B7A1535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57.690" v="434665"/>
          <ac:graphicFrameMkLst>
            <pc:docMk/>
            <pc:sldMk cId="2668657357" sldId="2147483085"/>
            <ac:graphicFrameMk id="462" creationId="{B2EDBADE-4CF1-A1D3-B220-5FA457BACFB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6:59.811" v="434810" actId="478"/>
          <ac:graphicFrameMkLst>
            <pc:docMk/>
            <pc:sldMk cId="2668657357" sldId="2147483085"/>
            <ac:graphicFrameMk id="464" creationId="{3E60CE9C-3CC6-4795-EFC8-A4B54F4266B5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37:13.476" v="434948"/>
          <ac:graphicFrameMkLst>
            <pc:docMk/>
            <pc:sldMk cId="2668657357" sldId="2147483085"/>
            <ac:graphicFrameMk id="473" creationId="{3A6349A2-20CA-240B-2492-C45D5FCE8FE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14.641" v="435121"/>
          <ac:graphicFrameMkLst>
            <pc:docMk/>
            <pc:sldMk cId="2668657357" sldId="2147483085"/>
            <ac:graphicFrameMk id="475" creationId="{32900D86-354A-2014-02BB-D050801F74A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27.070" v="435331"/>
          <ac:graphicFrameMkLst>
            <pc:docMk/>
            <pc:sldMk cId="2668657357" sldId="2147483085"/>
            <ac:graphicFrameMk id="482" creationId="{CCC442CC-9F24-58BD-10A1-D9C854BF3F3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28.194" v="435603"/>
          <ac:graphicFrameMkLst>
            <pc:docMk/>
            <pc:sldMk cId="2668657357" sldId="2147483085"/>
            <ac:graphicFrameMk id="484" creationId="{9013B8A0-C62F-C04F-4687-4B6C2E2AD08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55.348" v="435786"/>
          <ac:graphicFrameMkLst>
            <pc:docMk/>
            <pc:sldMk cId="2668657357" sldId="2147483085"/>
            <ac:graphicFrameMk id="492" creationId="{12A9928F-7D88-33E4-8FA4-606C25EAE9A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55.727" v="435961"/>
          <ac:graphicFrameMkLst>
            <pc:docMk/>
            <pc:sldMk cId="2668657357" sldId="2147483085"/>
            <ac:graphicFrameMk id="494" creationId="{B349E3E1-1AA1-2951-438B-22598BA007B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58.342" v="436144"/>
          <ac:graphicFrameMkLst>
            <pc:docMk/>
            <pc:sldMk cId="2668657357" sldId="2147483085"/>
            <ac:graphicFrameMk id="502" creationId="{E76487BD-09A7-076A-D38B-BC7D1387654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7:58.856" v="436319"/>
          <ac:graphicFrameMkLst>
            <pc:docMk/>
            <pc:sldMk cId="2668657357" sldId="2147483085"/>
            <ac:graphicFrameMk id="504" creationId="{BED80C09-408C-2C97-4EEA-B57AAB1C6FC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15.253" v="436496"/>
          <ac:graphicFrameMkLst>
            <pc:docMk/>
            <pc:sldMk cId="2668657357" sldId="2147483085"/>
            <ac:graphicFrameMk id="512" creationId="{B63E975E-C876-4FF0-27E5-FEB871DE5DB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15.807" v="436793"/>
          <ac:graphicFrameMkLst>
            <pc:docMk/>
            <pc:sldMk cId="2668657357" sldId="2147483085"/>
            <ac:graphicFrameMk id="514" creationId="{140583E1-9CFC-956B-2954-6D27124F908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39.514" v="436916"/>
          <ac:graphicFrameMkLst>
            <pc:docMk/>
            <pc:sldMk cId="2668657357" sldId="2147483085"/>
            <ac:graphicFrameMk id="523" creationId="{EC8D3C70-B21A-293F-2EB6-8D7D378A1C5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40.504" v="437102"/>
          <ac:graphicFrameMkLst>
            <pc:docMk/>
            <pc:sldMk cId="2668657357" sldId="2147483085"/>
            <ac:graphicFrameMk id="525" creationId="{E2419D10-5C4E-E492-F352-AF2489B75E4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48.825" v="437288"/>
          <ac:graphicFrameMkLst>
            <pc:docMk/>
            <pc:sldMk cId="2668657357" sldId="2147483085"/>
            <ac:graphicFrameMk id="536" creationId="{F5C334E2-D596-8644-7DBA-15669691910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8:49.480" v="437547"/>
          <ac:graphicFrameMkLst>
            <pc:docMk/>
            <pc:sldMk cId="2668657357" sldId="2147483085"/>
            <ac:graphicFrameMk id="539" creationId="{68A4344E-EE4F-45DF-6294-28269F3D3BA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05.922" v="439633"/>
          <ac:graphicFrameMkLst>
            <pc:docMk/>
            <pc:sldMk cId="2668657357" sldId="2147483085"/>
            <ac:graphicFrameMk id="547" creationId="{96BE66E8-7EDD-ABA7-B4EB-4CDD1C8E36D2}"/>
          </ac:graphicFrameMkLst>
        </pc:graphicFrameChg>
        <pc:graphicFrameChg chg="add del">
          <ac:chgData name="Yiqun Dai" userId="360a2182-b97f-4635-b990-04f846616e33" providerId="ADAL" clId="{8F04EA49-0EFC-48F3-A4D8-E0F0D3B461A8}" dt="2025-11-16T02:39:00.993" v="439034" actId="478"/>
          <ac:graphicFrameMkLst>
            <pc:docMk/>
            <pc:sldMk cId="2668657357" sldId="2147483085"/>
            <ac:graphicFrameMk id="552" creationId="{55F3E4CE-BAB4-FDD5-3B30-EA4E4BD411D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22.472" v="440998" actId="478"/>
          <ac:graphicFrameMkLst>
            <pc:docMk/>
            <pc:sldMk cId="2668657357" sldId="2147483085"/>
            <ac:graphicFrameMk id="584" creationId="{2B8F48CB-AAE1-A176-79E6-624C29303361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39:47.818" v="441915"/>
          <ac:graphicFrameMkLst>
            <pc:docMk/>
            <pc:sldMk cId="2668657357" sldId="2147483085"/>
            <ac:graphicFrameMk id="593" creationId="{FFF25C2A-FCC3-96EC-D928-704D3B0A32EA}"/>
          </ac:graphicFrameMkLst>
        </pc:graphicFrameChg>
        <pc:graphicFrameChg chg="del">
          <ac:chgData name="Yiqun Dai" userId="360a2182-b97f-4635-b990-04f846616e33" providerId="ADAL" clId="{8F04EA49-0EFC-48F3-A4D8-E0F0D3B461A8}" dt="2025-11-16T02:34:40.589" v="431782"/>
          <ac:graphicFrameMkLst>
            <pc:docMk/>
            <pc:sldMk cId="2668657357" sldId="2147483085"/>
            <ac:graphicFrameMk id="610" creationId="{73BD9B39-A090-65EE-4D06-580AE58C6AC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48.170" v="442334"/>
          <ac:graphicFrameMkLst>
            <pc:docMk/>
            <pc:sldMk cId="2668657357" sldId="2147483085"/>
            <ac:graphicFrameMk id="619" creationId="{64BFBE3E-C353-E07B-4C33-545EA07D5E5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49.228" v="442535"/>
          <ac:graphicFrameMkLst>
            <pc:docMk/>
            <pc:sldMk cId="2668657357" sldId="2147483085"/>
            <ac:graphicFrameMk id="625" creationId="{6EAB8E04-EE5B-F15A-DBD9-E9FDDB7CC80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39:49.454" v="442795"/>
          <ac:graphicFrameMkLst>
            <pc:docMk/>
            <pc:sldMk cId="2668657357" sldId="2147483085"/>
            <ac:graphicFrameMk id="627" creationId="{48131661-1084-6BEB-AA54-98E64BE8DBB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0:16.781" v="442975"/>
          <ac:graphicFrameMkLst>
            <pc:docMk/>
            <pc:sldMk cId="2668657357" sldId="2147483085"/>
            <ac:graphicFrameMk id="631" creationId="{BC467C96-CB78-6F43-A8E2-42CCBB6C710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0:17.823" v="443175"/>
          <ac:graphicFrameMkLst>
            <pc:docMk/>
            <pc:sldMk cId="2668657357" sldId="2147483085"/>
            <ac:graphicFrameMk id="633" creationId="{5D73E6F6-56B6-1D10-0B07-BA3B138A489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0:27.307" v="443441"/>
          <ac:graphicFrameMkLst>
            <pc:docMk/>
            <pc:sldMk cId="2668657357" sldId="2147483085"/>
            <ac:graphicFrameMk id="637" creationId="{5F6CE8B2-DE4B-7A38-6524-10848EA5DAE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0:28.080" v="443612" actId="478"/>
          <ac:graphicFrameMkLst>
            <pc:docMk/>
            <pc:sldMk cId="2668657357" sldId="2147483085"/>
            <ac:graphicFrameMk id="639" creationId="{DF2F1B79-11D4-ECD9-F5EB-B8310406E67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17.427" v="449142"/>
          <ac:graphicFrameMkLst>
            <pc:docMk/>
            <pc:sldMk cId="2668657357" sldId="2147483085"/>
            <ac:graphicFrameMk id="641" creationId="{7FEE4294-9D90-3625-9164-0AF6BFC5F38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17.767" v="449359"/>
          <ac:graphicFrameMkLst>
            <pc:docMk/>
            <pc:sldMk cId="2668657357" sldId="2147483085"/>
            <ac:graphicFrameMk id="643" creationId="{A259788D-CB8D-218F-F355-E57A5A58211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27.847" v="449847"/>
          <ac:graphicFrameMkLst>
            <pc:docMk/>
            <pc:sldMk cId="2668657357" sldId="2147483085"/>
            <ac:graphicFrameMk id="646" creationId="{AF776EC2-8544-B2B9-2395-12D92FFE1B6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28.181" v="450082"/>
          <ac:graphicFrameMkLst>
            <pc:docMk/>
            <pc:sldMk cId="2668657357" sldId="2147483085"/>
            <ac:graphicFrameMk id="654" creationId="{ACB72F17-9593-4479-79D5-D3E847A5FAC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0.047" v="450278"/>
          <ac:graphicFrameMkLst>
            <pc:docMk/>
            <pc:sldMk cId="2668657357" sldId="2147483085"/>
            <ac:graphicFrameMk id="657" creationId="{2C7CB3B3-2B6C-17A4-C22C-E08A3FF8E67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0.630" v="450468" actId="478"/>
          <ac:graphicFrameMkLst>
            <pc:docMk/>
            <pc:sldMk cId="2668657357" sldId="2147483085"/>
            <ac:graphicFrameMk id="659" creationId="{268ED43C-6BF1-7B26-AC80-F5EE62F838A6}"/>
          </ac:graphicFrameMkLst>
        </pc:graphicFrameChg>
        <pc:graphicFrameChg chg="del mod ord">
          <ac:chgData name="Yiqun Dai" userId="360a2182-b97f-4635-b990-04f846616e33" providerId="ADAL" clId="{8F04EA49-0EFC-48F3-A4D8-E0F0D3B461A8}" dt="2025-11-16T02:42:42.981" v="450569"/>
          <ac:graphicFrameMkLst>
            <pc:docMk/>
            <pc:sldMk cId="2668657357" sldId="2147483085"/>
            <ac:graphicFrameMk id="662" creationId="{21351DF6-943A-E6C4-977C-4F1E123C542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3.533" v="450764"/>
          <ac:graphicFrameMkLst>
            <pc:docMk/>
            <pc:sldMk cId="2668657357" sldId="2147483085"/>
            <ac:graphicFrameMk id="664" creationId="{0FCCEC21-A9E8-B67F-CBE0-0C281B7E8A4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4.678" v="450954"/>
          <ac:graphicFrameMkLst>
            <pc:docMk/>
            <pc:sldMk cId="2668657357" sldId="2147483085"/>
            <ac:graphicFrameMk id="667" creationId="{58A25586-4799-BC26-F171-29AA2A7B9C5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5.046" v="451146"/>
          <ac:graphicFrameMkLst>
            <pc:docMk/>
            <pc:sldMk cId="2668657357" sldId="2147483085"/>
            <ac:graphicFrameMk id="669" creationId="{C357112F-AA59-6087-2EAE-99FEF0D473F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5.901" v="451339"/>
          <ac:graphicFrameMkLst>
            <pc:docMk/>
            <pc:sldMk cId="2668657357" sldId="2147483085"/>
            <ac:graphicFrameMk id="672" creationId="{9F1EC337-51E0-9B56-F90A-60671464BE9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6.588" v="451526"/>
          <ac:graphicFrameMkLst>
            <pc:docMk/>
            <pc:sldMk cId="2668657357" sldId="2147483085"/>
            <ac:graphicFrameMk id="674" creationId="{7B5B9A3A-293C-5005-90A0-6B1EA18AC52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7.215" v="451711"/>
          <ac:graphicFrameMkLst>
            <pc:docMk/>
            <pc:sldMk cId="2668657357" sldId="2147483085"/>
            <ac:graphicFrameMk id="677" creationId="{5F4C1509-B29B-E997-D173-0FF537F2C89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7.684" v="451894"/>
          <ac:graphicFrameMkLst>
            <pc:docMk/>
            <pc:sldMk cId="2668657357" sldId="2147483085"/>
            <ac:graphicFrameMk id="679" creationId="{CC2E943D-B052-72EA-9279-10DD0742667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9.296" v="452069"/>
          <ac:graphicFrameMkLst>
            <pc:docMk/>
            <pc:sldMk cId="2668657357" sldId="2147483085"/>
            <ac:graphicFrameMk id="682" creationId="{27D1E4FA-75C3-8DD3-1BF5-37076B204E9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49.808" v="452250"/>
          <ac:graphicFrameMkLst>
            <pc:docMk/>
            <pc:sldMk cId="2668657357" sldId="2147483085"/>
            <ac:graphicFrameMk id="684" creationId="{5A0B4BEE-B276-2827-DC4B-CA54ABC6432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50.483" v="452423"/>
          <ac:graphicFrameMkLst>
            <pc:docMk/>
            <pc:sldMk cId="2668657357" sldId="2147483085"/>
            <ac:graphicFrameMk id="687" creationId="{FB2A80D4-B1A6-EFF7-D6C8-0B2F1099E15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50.913" v="452602"/>
          <ac:graphicFrameMkLst>
            <pc:docMk/>
            <pc:sldMk cId="2668657357" sldId="2147483085"/>
            <ac:graphicFrameMk id="689" creationId="{83B34A77-D863-861A-EA63-7E4D61DD780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59.044" v="452872"/>
          <ac:graphicFrameMkLst>
            <pc:docMk/>
            <pc:sldMk cId="2668657357" sldId="2147483085"/>
            <ac:graphicFrameMk id="692" creationId="{0E4B693B-022A-40B9-34E9-1951A7D6B15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2:59.607" v="453064"/>
          <ac:graphicFrameMkLst>
            <pc:docMk/>
            <pc:sldMk cId="2668657357" sldId="2147483085"/>
            <ac:graphicFrameMk id="701" creationId="{3917BCE9-E07C-8126-0B0E-9172451C7E5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0.903" v="453248"/>
          <ac:graphicFrameMkLst>
            <pc:docMk/>
            <pc:sldMk cId="2668657357" sldId="2147483085"/>
            <ac:graphicFrameMk id="704" creationId="{B84E679A-3D96-4CF3-FF24-C16A9DA508E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1.594" v="453438"/>
          <ac:graphicFrameMkLst>
            <pc:docMk/>
            <pc:sldMk cId="2668657357" sldId="2147483085"/>
            <ac:graphicFrameMk id="706" creationId="{2DC8C4CD-EA89-DCE7-48A0-FB70B531F8D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2.416" v="453620"/>
          <ac:graphicFrameMkLst>
            <pc:docMk/>
            <pc:sldMk cId="2668657357" sldId="2147483085"/>
            <ac:graphicFrameMk id="709" creationId="{0A32B296-5BF6-A8A0-E5F2-F88DC7723A7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2.880" v="453808"/>
          <ac:graphicFrameMkLst>
            <pc:docMk/>
            <pc:sldMk cId="2668657357" sldId="2147483085"/>
            <ac:graphicFrameMk id="711" creationId="{A3F089F3-A7DB-4D1E-B968-7135EB44B9F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3.562" v="453988"/>
          <ac:graphicFrameMkLst>
            <pc:docMk/>
            <pc:sldMk cId="2668657357" sldId="2147483085"/>
            <ac:graphicFrameMk id="714" creationId="{79F52EB9-968F-E6C7-C9F5-F9A96EAE99C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4.050" v="454174"/>
          <ac:graphicFrameMkLst>
            <pc:docMk/>
            <pc:sldMk cId="2668657357" sldId="2147483085"/>
            <ac:graphicFrameMk id="716" creationId="{98147C7C-429B-81FB-9D8D-50A16F975AD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5.174" v="454352"/>
          <ac:graphicFrameMkLst>
            <pc:docMk/>
            <pc:sldMk cId="2668657357" sldId="2147483085"/>
            <ac:graphicFrameMk id="719" creationId="{ED10E4CC-D3CA-96F8-9DCE-716E4D4F9B4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5.886" v="454536"/>
          <ac:graphicFrameMkLst>
            <pc:docMk/>
            <pc:sldMk cId="2668657357" sldId="2147483085"/>
            <ac:graphicFrameMk id="721" creationId="{D4644A65-8036-1CA2-50A8-E71510DC0C1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6.972" v="454715"/>
          <ac:graphicFrameMkLst>
            <pc:docMk/>
            <pc:sldMk cId="2668657357" sldId="2147483085"/>
            <ac:graphicFrameMk id="724" creationId="{E60932E4-2F67-DB04-93A2-9017976DF37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07.978" v="454896"/>
          <ac:graphicFrameMkLst>
            <pc:docMk/>
            <pc:sldMk cId="2668657357" sldId="2147483085"/>
            <ac:graphicFrameMk id="726" creationId="{874115CA-DF39-B54A-4C3B-21A27E6291F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50.469" v="455199"/>
          <ac:graphicFrameMkLst>
            <pc:docMk/>
            <pc:sldMk cId="2668657357" sldId="2147483085"/>
            <ac:graphicFrameMk id="729" creationId="{BF1A16C7-A710-489C-7C3E-59C703989EA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3:50.860" v="455454"/>
          <ac:graphicFrameMkLst>
            <pc:docMk/>
            <pc:sldMk cId="2668657357" sldId="2147483085"/>
            <ac:graphicFrameMk id="731" creationId="{75174BD6-1145-A3E9-717D-346562D1A0A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05.767" v="455886"/>
          <ac:graphicFrameMkLst>
            <pc:docMk/>
            <pc:sldMk cId="2668657357" sldId="2147483085"/>
            <ac:graphicFrameMk id="735" creationId="{B660498F-6111-8A90-5B3B-F29EC5B6978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06.153" v="456212"/>
          <ac:graphicFrameMkLst>
            <pc:docMk/>
            <pc:sldMk cId="2668657357" sldId="2147483085"/>
            <ac:graphicFrameMk id="737" creationId="{BAB87DD4-E1E6-7A88-79F7-2E7915AFA656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06.812" v="456361"/>
          <ac:graphicFrameMkLst>
            <pc:docMk/>
            <pc:sldMk cId="2668657357" sldId="2147483085"/>
            <ac:graphicFrameMk id="741" creationId="{6884F4A7-9BB4-496A-446A-BB3445F22B6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07.057" v="456538"/>
          <ac:graphicFrameMkLst>
            <pc:docMk/>
            <pc:sldMk cId="2668657357" sldId="2147483085"/>
            <ac:graphicFrameMk id="743" creationId="{1A58EE61-E9C4-B556-234B-6827E99E8FB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24.010" v="456754"/>
          <ac:graphicFrameMkLst>
            <pc:docMk/>
            <pc:sldMk cId="2668657357" sldId="2147483085"/>
            <ac:graphicFrameMk id="746" creationId="{66E726F4-D195-44C8-D294-08F5BB51525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24.936" v="456955"/>
          <ac:graphicFrameMkLst>
            <pc:docMk/>
            <pc:sldMk cId="2668657357" sldId="2147483085"/>
            <ac:graphicFrameMk id="750" creationId="{EE9131E2-9DAB-D3AE-8516-0D5A924CCA3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30.398" v="457175"/>
          <ac:graphicFrameMkLst>
            <pc:docMk/>
            <pc:sldMk cId="2668657357" sldId="2147483085"/>
            <ac:graphicFrameMk id="753" creationId="{7B1BF99D-0830-6AC7-B4FA-878D8EB4B6E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4:30.925" v="457348"/>
          <ac:graphicFrameMkLst>
            <pc:docMk/>
            <pc:sldMk cId="2668657357" sldId="2147483085"/>
            <ac:graphicFrameMk id="756" creationId="{5B0D4F61-0B48-1F68-819E-3B5742DFA4F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24.951" v="457772"/>
          <ac:graphicFrameMkLst>
            <pc:docMk/>
            <pc:sldMk cId="2668657357" sldId="2147483085"/>
            <ac:graphicFrameMk id="759" creationId="{0CF0AE9E-39FE-C452-EF03-6719362F5F9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25.374" v="457949"/>
          <ac:graphicFrameMkLst>
            <pc:docMk/>
            <pc:sldMk cId="2668657357" sldId="2147483085"/>
            <ac:graphicFrameMk id="761" creationId="{E7E7F06E-BA42-DCBB-04A8-9DF3DCE7644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27.565" v="458099"/>
          <ac:graphicFrameMkLst>
            <pc:docMk/>
            <pc:sldMk cId="2668657357" sldId="2147483085"/>
            <ac:graphicFrameMk id="764" creationId="{A1C38676-D67E-3F98-B13C-B9B8602D0C18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27.884" v="458251"/>
          <ac:graphicFrameMkLst>
            <pc:docMk/>
            <pc:sldMk cId="2668657357" sldId="2147483085"/>
            <ac:graphicFrameMk id="766" creationId="{6DC16FE7-6D0E-5F46-2640-2ED51E01BCB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0.601" v="458508"/>
          <ac:graphicFrameMkLst>
            <pc:docMk/>
            <pc:sldMk cId="2668657357" sldId="2147483085"/>
            <ac:graphicFrameMk id="769" creationId="{E39D0BD2-2E0A-729F-BC4B-B78C0987226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1.015" v="458675"/>
          <ac:graphicFrameMkLst>
            <pc:docMk/>
            <pc:sldMk cId="2668657357" sldId="2147483085"/>
            <ac:graphicFrameMk id="779" creationId="{61346F65-93AE-D617-0702-95952293347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2.624" v="458834"/>
          <ac:graphicFrameMkLst>
            <pc:docMk/>
            <pc:sldMk cId="2668657357" sldId="2147483085"/>
            <ac:graphicFrameMk id="782" creationId="{171019BA-821C-FC3C-8EDC-F33BFF2F0A4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3.023" v="458999"/>
          <ac:graphicFrameMkLst>
            <pc:docMk/>
            <pc:sldMk cId="2668657357" sldId="2147483085"/>
            <ac:graphicFrameMk id="784" creationId="{3D91010B-D296-6551-215B-0F23A480A38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4.425" v="459159"/>
          <ac:graphicFrameMkLst>
            <pc:docMk/>
            <pc:sldMk cId="2668657357" sldId="2147483085"/>
            <ac:graphicFrameMk id="787" creationId="{29CAAF97-5EB5-3062-91F1-0B9115C9440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4.865" v="459321"/>
          <ac:graphicFrameMkLst>
            <pc:docMk/>
            <pc:sldMk cId="2668657357" sldId="2147483085"/>
            <ac:graphicFrameMk id="789" creationId="{EE0CA47E-65B3-1B7A-3F48-E5C7A8D8D36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6.007" v="459478"/>
          <ac:graphicFrameMkLst>
            <pc:docMk/>
            <pc:sldMk cId="2668657357" sldId="2147483085"/>
            <ac:graphicFrameMk id="792" creationId="{045CFB12-3F7F-96DC-B963-3630042AED1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6.534" v="459637"/>
          <ac:graphicFrameMkLst>
            <pc:docMk/>
            <pc:sldMk cId="2668657357" sldId="2147483085"/>
            <ac:graphicFrameMk id="794" creationId="{00C97C17-ED9F-2C81-7451-91E67E018A2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7.734" v="459794"/>
          <ac:graphicFrameMkLst>
            <pc:docMk/>
            <pc:sldMk cId="2668657357" sldId="2147483085"/>
            <ac:graphicFrameMk id="797" creationId="{95B0E5F8-45CF-8BA7-C9F4-B603708014A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8.307" v="459949"/>
          <ac:graphicFrameMkLst>
            <pc:docMk/>
            <pc:sldMk cId="2668657357" sldId="2147483085"/>
            <ac:graphicFrameMk id="799" creationId="{577CEE5D-075F-8E0C-AE41-F9970CA68AA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9.302" v="460099"/>
          <ac:graphicFrameMkLst>
            <pc:docMk/>
            <pc:sldMk cId="2668657357" sldId="2147483085"/>
            <ac:graphicFrameMk id="802" creationId="{2762E307-FBB4-C46E-F0EC-C70959A63BAA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39.709" v="460251"/>
          <ac:graphicFrameMkLst>
            <pc:docMk/>
            <pc:sldMk cId="2668657357" sldId="2147483085"/>
            <ac:graphicFrameMk id="804" creationId="{045A3FD7-F49B-CF1F-7B5F-75D1ABA5571C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44.863" v="460398"/>
          <ac:graphicFrameMkLst>
            <pc:docMk/>
            <pc:sldMk cId="2668657357" sldId="2147483085"/>
            <ac:graphicFrameMk id="807" creationId="{F59FC862-DFCB-305D-B094-9C212413FA3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7:45.239" v="460547"/>
          <ac:graphicFrameMkLst>
            <pc:docMk/>
            <pc:sldMk cId="2668657357" sldId="2147483085"/>
            <ac:graphicFrameMk id="809" creationId="{3F81FDA7-A0A0-B392-946F-03D2FE554CA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29.485" v="463331"/>
          <ac:graphicFrameMkLst>
            <pc:docMk/>
            <pc:sldMk cId="2668657357" sldId="2147483085"/>
            <ac:graphicFrameMk id="812" creationId="{46D4D779-C3C5-8952-DE59-F52F34FDD50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9:40.854" v="461680"/>
          <ac:graphicFrameMkLst>
            <pc:docMk/>
            <pc:sldMk cId="2668657357" sldId="2147483085"/>
            <ac:graphicFrameMk id="823" creationId="{AC9E7AF4-7073-4307-B037-418FB1A49007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9:53.218" v="461841"/>
          <ac:graphicFrameMkLst>
            <pc:docMk/>
            <pc:sldMk cId="2668657357" sldId="2147483085"/>
            <ac:graphicFrameMk id="832" creationId="{C07EC1B9-8E4C-9D04-9BEE-435F931B402F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9:53.857" v="462092"/>
          <ac:graphicFrameMkLst>
            <pc:docMk/>
            <pc:sldMk cId="2668657357" sldId="2147483085"/>
            <ac:graphicFrameMk id="834" creationId="{D44E60A1-AFC6-4182-3666-445A1D7CEAC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49:59.760" v="462253"/>
          <ac:graphicFrameMkLst>
            <pc:docMk/>
            <pc:sldMk cId="2668657357" sldId="2147483085"/>
            <ac:graphicFrameMk id="843" creationId="{67A2E65A-AC03-27CB-00A1-3BBEC3A9E8A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00.600" v="462504"/>
          <ac:graphicFrameMkLst>
            <pc:docMk/>
            <pc:sldMk cId="2668657357" sldId="2147483085"/>
            <ac:graphicFrameMk id="845" creationId="{917B1BC3-CB08-79A0-BEA9-63357C004674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05.482" v="462665"/>
          <ac:graphicFrameMkLst>
            <pc:docMk/>
            <pc:sldMk cId="2668657357" sldId="2147483085"/>
            <ac:graphicFrameMk id="854" creationId="{B23DE47B-EA9E-81E7-DC0B-F2676F3BB532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06.505" v="462916"/>
          <ac:graphicFrameMkLst>
            <pc:docMk/>
            <pc:sldMk cId="2668657357" sldId="2147483085"/>
            <ac:graphicFrameMk id="856" creationId="{3C939FC4-4BF7-5419-B0A2-E7424946E13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58.307" v="464024"/>
          <ac:graphicFrameMkLst>
            <pc:docMk/>
            <pc:sldMk cId="2668657357" sldId="2147483085"/>
            <ac:graphicFrameMk id="865" creationId="{FA9A481D-BEB3-D757-AFB6-23E9D1F813D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30.079" v="463510"/>
          <ac:graphicFrameMkLst>
            <pc:docMk/>
            <pc:sldMk cId="2668657357" sldId="2147483085"/>
            <ac:graphicFrameMk id="872" creationId="{9376564F-C7E4-99E9-1251-761D28DEDDD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36.146" v="463667"/>
          <ac:graphicFrameMkLst>
            <pc:docMk/>
            <pc:sldMk cId="2668657357" sldId="2147483085"/>
            <ac:graphicFrameMk id="875" creationId="{A55CFA31-727D-21AA-0C43-0BF7233DE42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36.789" v="463846"/>
          <ac:graphicFrameMkLst>
            <pc:docMk/>
            <pc:sldMk cId="2668657357" sldId="2147483085"/>
            <ac:graphicFrameMk id="877" creationId="{A44FD8B3-CB33-7EE7-9CC6-1E48A352E1B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23.887" v="464424"/>
          <ac:graphicFrameMkLst>
            <pc:docMk/>
            <pc:sldMk cId="2668657357" sldId="2147483085"/>
            <ac:graphicFrameMk id="880" creationId="{9A7DE09A-03B7-AD94-3DEE-9EFE0E5C2A6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0:58.917" v="464273"/>
          <ac:graphicFrameMkLst>
            <pc:docMk/>
            <pc:sldMk cId="2668657357" sldId="2147483085"/>
            <ac:graphicFrameMk id="882" creationId="{5EE297A4-BCCD-D606-3F2B-AE12B8E965F4}"/>
          </ac:graphicFrameMkLst>
        </pc:graphicFrameChg>
        <pc:graphicFrameChg chg="add mod ord">
          <ac:chgData name="Yiqun Dai" userId="360a2182-b97f-4635-b990-04f846616e33" providerId="ADAL" clId="{8F04EA49-0EFC-48F3-A4D8-E0F0D3B461A8}" dt="2025-11-16T02:51:55.095" v="466350"/>
          <ac:graphicFrameMkLst>
            <pc:docMk/>
            <pc:sldMk cId="2668657357" sldId="2147483085"/>
            <ac:graphicFrameMk id="891" creationId="{83DCE3FF-8BC3-9A58-39E3-6591D26E5053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24.558" v="464585"/>
          <ac:graphicFrameMkLst>
            <pc:docMk/>
            <pc:sldMk cId="2668657357" sldId="2147483085"/>
            <ac:graphicFrameMk id="893" creationId="{3E339CB2-19C3-7E1C-4522-7B3D674CFEF1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29.590" v="465367"/>
          <ac:graphicFrameMkLst>
            <pc:docMk/>
            <pc:sldMk cId="2668657357" sldId="2147483085"/>
            <ac:graphicFrameMk id="896" creationId="{29325936-97FF-4F99-5C0D-05ED23EA2BE9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31.367" v="465552"/>
          <ac:graphicFrameMkLst>
            <pc:docMk/>
            <pc:sldMk cId="2668657357" sldId="2147483085"/>
            <ac:graphicFrameMk id="909" creationId="{884344EF-3AD3-6311-151C-802D75F89F2B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31.842" v="465713"/>
          <ac:graphicFrameMkLst>
            <pc:docMk/>
            <pc:sldMk cId="2668657357" sldId="2147483085"/>
            <ac:graphicFrameMk id="911" creationId="{6C87137C-AFFB-DD95-332B-3D3633C23AC5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35.875" v="465864"/>
          <ac:graphicFrameMkLst>
            <pc:docMk/>
            <pc:sldMk cId="2668657357" sldId="2147483085"/>
            <ac:graphicFrameMk id="914" creationId="{B0EB5182-B59A-D072-C813-9147EF7BE6DE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36.500" v="466025"/>
          <ac:graphicFrameMkLst>
            <pc:docMk/>
            <pc:sldMk cId="2668657357" sldId="2147483085"/>
            <ac:graphicFrameMk id="916" creationId="{D7A11963-829C-D85B-68F9-D1FDDC7BC300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54.488" v="466174"/>
          <ac:graphicFrameMkLst>
            <pc:docMk/>
            <pc:sldMk cId="2668657357" sldId="2147483085"/>
            <ac:graphicFrameMk id="919" creationId="{C1EC1378-70B0-6632-70A2-D81A69B0169D}"/>
          </ac:graphicFrameMkLst>
        </pc:graphicFrameChg>
        <pc:graphicFrameChg chg="add del mod ord">
          <ac:chgData name="Yiqun Dai" userId="360a2182-b97f-4635-b990-04f846616e33" providerId="ADAL" clId="{8F04EA49-0EFC-48F3-A4D8-E0F0D3B461A8}" dt="2025-11-16T02:51:55.048" v="466333"/>
          <ac:graphicFrameMkLst>
            <pc:docMk/>
            <pc:sldMk cId="2668657357" sldId="2147483085"/>
            <ac:graphicFrameMk id="921" creationId="{31DB21FA-49F7-42E5-EF4A-9C7DE09755E6}"/>
          </ac:graphicFrameMkLst>
        </pc:graphicFrameChg>
        <pc:graphicFrameChg chg="add mod ord">
          <ac:chgData name="Yiqun Dai" userId="360a2182-b97f-4635-b990-04f846616e33" providerId="ADAL" clId="{8F04EA49-0EFC-48F3-A4D8-E0F0D3B461A8}" dt="2025-11-16T02:51:55.129" v="466400"/>
          <ac:graphicFrameMkLst>
            <pc:docMk/>
            <pc:sldMk cId="2668657357" sldId="2147483085"/>
            <ac:graphicFrameMk id="924" creationId="{89088854-A5E3-4F28-DD07-05C4ABCF4DD1}"/>
          </ac:graphicFrameMkLst>
        </pc:graphicFrameChg>
        <pc:cxnChg chg="add mod ord">
          <ac:chgData name="Yiqun Dai" userId="360a2182-b97f-4635-b990-04f846616e33" providerId="ADAL" clId="{8F04EA49-0EFC-48F3-A4D8-E0F0D3B461A8}" dt="2025-11-16T02:51:55.093" v="466346"/>
          <ac:cxnSpMkLst>
            <pc:docMk/>
            <pc:sldMk cId="2668657357" sldId="2147483085"/>
            <ac:cxnSpMk id="9" creationId="{F5965719-FE68-9436-86EC-4D109ABB9B71}"/>
          </ac:cxnSpMkLst>
        </pc:cxnChg>
        <pc:cxnChg chg="add del mod ord">
          <ac:chgData name="Yiqun Dai" userId="360a2182-b97f-4635-b990-04f846616e33" providerId="ADAL" clId="{8F04EA49-0EFC-48F3-A4D8-E0F0D3B461A8}" dt="2025-11-16T02:35:25.217" v="432511"/>
          <ac:cxnSpMkLst>
            <pc:docMk/>
            <pc:sldMk cId="2668657357" sldId="2147483085"/>
            <ac:cxnSpMk id="14" creationId="{070B930C-5300-8CDE-2BBC-FBEE0CBC3C1E}"/>
          </ac:cxnSpMkLst>
        </pc:cxnChg>
        <pc:cxnChg chg="add del mod ord">
          <ac:chgData name="Yiqun Dai" userId="360a2182-b97f-4635-b990-04f846616e33" providerId="ADAL" clId="{8F04EA49-0EFC-48F3-A4D8-E0F0D3B461A8}" dt="2025-11-16T02:35:25.223" v="432521"/>
          <ac:cxnSpMkLst>
            <pc:docMk/>
            <pc:sldMk cId="2668657357" sldId="2147483085"/>
            <ac:cxnSpMk id="15" creationId="{88F79642-BB8D-4211-A161-59B1588209CD}"/>
          </ac:cxnSpMkLst>
        </pc:cxnChg>
        <pc:cxnChg chg="add del mod ord">
          <ac:chgData name="Yiqun Dai" userId="360a2182-b97f-4635-b990-04f846616e33" providerId="ADAL" clId="{8F04EA49-0EFC-48F3-A4D8-E0F0D3B461A8}" dt="2025-11-16T02:35:25.236" v="432542"/>
          <ac:cxnSpMkLst>
            <pc:docMk/>
            <pc:sldMk cId="2668657357" sldId="2147483085"/>
            <ac:cxnSpMk id="16" creationId="{29A7973D-6903-2805-D96C-69133B3A895A}"/>
          </ac:cxnSpMkLst>
        </pc:cxnChg>
        <pc:cxnChg chg="add del mod ord">
          <ac:chgData name="Yiqun Dai" userId="360a2182-b97f-4635-b990-04f846616e33" providerId="ADAL" clId="{8F04EA49-0EFC-48F3-A4D8-E0F0D3B461A8}" dt="2025-11-16T02:35:25.243" v="432552"/>
          <ac:cxnSpMkLst>
            <pc:docMk/>
            <pc:sldMk cId="2668657357" sldId="2147483085"/>
            <ac:cxnSpMk id="17" creationId="{12A07567-D8EA-159D-5BDE-F7E9B4DF86C4}"/>
          </ac:cxnSpMkLst>
        </pc:cxnChg>
        <pc:cxnChg chg="add del mod ord">
          <ac:chgData name="Yiqun Dai" userId="360a2182-b97f-4635-b990-04f846616e33" providerId="ADAL" clId="{8F04EA49-0EFC-48F3-A4D8-E0F0D3B461A8}" dt="2025-11-16T02:35:25.258" v="432567"/>
          <ac:cxnSpMkLst>
            <pc:docMk/>
            <pc:sldMk cId="2668657357" sldId="2147483085"/>
            <ac:cxnSpMk id="18" creationId="{76CBBC05-7940-455E-1A6F-A6614A3DD24C}"/>
          </ac:cxnSpMkLst>
        </pc:cxnChg>
        <pc:cxnChg chg="add del mod ord">
          <ac:chgData name="Yiqun Dai" userId="360a2182-b97f-4635-b990-04f846616e33" providerId="ADAL" clId="{8F04EA49-0EFC-48F3-A4D8-E0F0D3B461A8}" dt="2025-11-16T02:35:25.265" v="432583"/>
          <ac:cxnSpMkLst>
            <pc:docMk/>
            <pc:sldMk cId="2668657357" sldId="2147483085"/>
            <ac:cxnSpMk id="19" creationId="{E3D705CE-27A7-1B3F-4B48-1BF48301F409}"/>
          </ac:cxnSpMkLst>
        </pc:cxnChg>
        <pc:cxnChg chg="add del mod ord">
          <ac:chgData name="Yiqun Dai" userId="360a2182-b97f-4635-b990-04f846616e33" providerId="ADAL" clId="{8F04EA49-0EFC-48F3-A4D8-E0F0D3B461A8}" dt="2025-11-16T02:35:25.276" v="432601"/>
          <ac:cxnSpMkLst>
            <pc:docMk/>
            <pc:sldMk cId="2668657357" sldId="2147483085"/>
            <ac:cxnSpMk id="20" creationId="{FD59A4F3-5584-A0FF-86FB-BB1CEADDA68F}"/>
          </ac:cxnSpMkLst>
        </pc:cxnChg>
        <pc:cxnChg chg="add del mod ord">
          <ac:chgData name="Yiqun Dai" userId="360a2182-b97f-4635-b990-04f846616e33" providerId="ADAL" clId="{8F04EA49-0EFC-48F3-A4D8-E0F0D3B461A8}" dt="2025-11-16T02:35:25.115" v="432439"/>
          <ac:cxnSpMkLst>
            <pc:docMk/>
            <pc:sldMk cId="2668657357" sldId="2147483085"/>
            <ac:cxnSpMk id="21" creationId="{56EE517C-0D7B-4CF2-166E-F2AA306827B0}"/>
          </ac:cxnSpMkLst>
        </pc:cxnChg>
        <pc:cxnChg chg="add del mod ord">
          <ac:chgData name="Yiqun Dai" userId="360a2182-b97f-4635-b990-04f846616e33" providerId="ADAL" clId="{8F04EA49-0EFC-48F3-A4D8-E0F0D3B461A8}" dt="2025-11-16T02:36:23.195" v="433112"/>
          <ac:cxnSpMkLst>
            <pc:docMk/>
            <pc:sldMk cId="2668657357" sldId="2147483085"/>
            <ac:cxnSpMk id="26" creationId="{A9E9CF2E-74F0-C5FB-F1B0-D0F9110E3DF4}"/>
          </ac:cxnSpMkLst>
        </pc:cxnChg>
        <pc:cxnChg chg="add del mod ord">
          <ac:chgData name="Yiqun Dai" userId="360a2182-b97f-4635-b990-04f846616e33" providerId="ADAL" clId="{8F04EA49-0EFC-48F3-A4D8-E0F0D3B461A8}" dt="2025-11-16T02:36:23.197" v="433114"/>
          <ac:cxnSpMkLst>
            <pc:docMk/>
            <pc:sldMk cId="2668657357" sldId="2147483085"/>
            <ac:cxnSpMk id="27" creationId="{BDC33C7B-B919-271E-9639-C5CB2FF0F9E1}"/>
          </ac:cxnSpMkLst>
        </pc:cxnChg>
        <pc:cxnChg chg="add del mod ord">
          <ac:chgData name="Yiqun Dai" userId="360a2182-b97f-4635-b990-04f846616e33" providerId="ADAL" clId="{8F04EA49-0EFC-48F3-A4D8-E0F0D3B461A8}" dt="2025-11-16T02:36:23.206" v="433119"/>
          <ac:cxnSpMkLst>
            <pc:docMk/>
            <pc:sldMk cId="2668657357" sldId="2147483085"/>
            <ac:cxnSpMk id="28" creationId="{799D17E5-2E1E-0BAD-97F6-D8CE3D454FDC}"/>
          </ac:cxnSpMkLst>
        </pc:cxnChg>
        <pc:cxnChg chg="add del mod ord">
          <ac:chgData name="Yiqun Dai" userId="360a2182-b97f-4635-b990-04f846616e33" providerId="ADAL" clId="{8F04EA49-0EFC-48F3-A4D8-E0F0D3B461A8}" dt="2025-11-16T02:36:23.207" v="433121"/>
          <ac:cxnSpMkLst>
            <pc:docMk/>
            <pc:sldMk cId="2668657357" sldId="2147483085"/>
            <ac:cxnSpMk id="29" creationId="{4754D13C-B588-8053-0548-C914FAC5CAC3}"/>
          </ac:cxnSpMkLst>
        </pc:cxnChg>
        <pc:cxnChg chg="add del mod ord">
          <ac:chgData name="Yiqun Dai" userId="360a2182-b97f-4635-b990-04f846616e33" providerId="ADAL" clId="{8F04EA49-0EFC-48F3-A4D8-E0F0D3B461A8}" dt="2025-11-16T02:36:23.219" v="433129"/>
          <ac:cxnSpMkLst>
            <pc:docMk/>
            <pc:sldMk cId="2668657357" sldId="2147483085"/>
            <ac:cxnSpMk id="30" creationId="{CFC1B254-897D-C0F5-D118-04591E3ECBD0}"/>
          </ac:cxnSpMkLst>
        </pc:cxnChg>
        <pc:cxnChg chg="add mod ord">
          <ac:chgData name="Yiqun Dai" userId="360a2182-b97f-4635-b990-04f846616e33" providerId="ADAL" clId="{8F04EA49-0EFC-48F3-A4D8-E0F0D3B461A8}" dt="2025-11-16T02:51:55.091" v="466342"/>
          <ac:cxnSpMkLst>
            <pc:docMk/>
            <pc:sldMk cId="2668657357" sldId="2147483085"/>
            <ac:cxnSpMk id="33" creationId="{2CF63915-CF1E-6744-5BB0-9429E9F10607}"/>
          </ac:cxnSpMkLst>
        </pc:cxnChg>
        <pc:cxnChg chg="add del mod ord">
          <ac:chgData name="Yiqun Dai" userId="360a2182-b97f-4635-b990-04f846616e33" providerId="ADAL" clId="{8F04EA49-0EFC-48F3-A4D8-E0F0D3B461A8}" dt="2025-11-16T02:36:40.285" v="433430"/>
          <ac:cxnSpMkLst>
            <pc:docMk/>
            <pc:sldMk cId="2668657357" sldId="2147483085"/>
            <ac:cxnSpMk id="34" creationId="{AE2B0E94-BAEB-D666-1B6A-7997D5BB6110}"/>
          </ac:cxnSpMkLst>
        </pc:cxnChg>
        <pc:cxnChg chg="add del mod ord">
          <ac:chgData name="Yiqun Dai" userId="360a2182-b97f-4635-b990-04f846616e33" providerId="ADAL" clId="{8F04EA49-0EFC-48F3-A4D8-E0F0D3B461A8}" dt="2025-11-16T02:36:42.648" v="433767"/>
          <ac:cxnSpMkLst>
            <pc:docMk/>
            <pc:sldMk cId="2668657357" sldId="2147483085"/>
            <ac:cxnSpMk id="35" creationId="{981FE699-7B10-E6F4-E85D-C9AB39F3E5C3}"/>
          </ac:cxnSpMkLst>
        </pc:cxnChg>
        <pc:cxnChg chg="add del mod ord">
          <ac:chgData name="Yiqun Dai" userId="360a2182-b97f-4635-b990-04f846616e33" providerId="ADAL" clId="{8F04EA49-0EFC-48F3-A4D8-E0F0D3B461A8}" dt="2025-11-16T02:36:45.397" v="434086"/>
          <ac:cxnSpMkLst>
            <pc:docMk/>
            <pc:sldMk cId="2668657357" sldId="2147483085"/>
            <ac:cxnSpMk id="36" creationId="{A5B77A80-75E0-1304-4402-18C5A4FC8188}"/>
          </ac:cxnSpMkLst>
        </pc:cxnChg>
        <pc:cxnChg chg="add del mod ord">
          <ac:chgData name="Yiqun Dai" userId="360a2182-b97f-4635-b990-04f846616e33" providerId="ADAL" clId="{8F04EA49-0EFC-48F3-A4D8-E0F0D3B461A8}" dt="2025-11-16T02:36:48.143" v="434208"/>
          <ac:cxnSpMkLst>
            <pc:docMk/>
            <pc:sldMk cId="2668657357" sldId="2147483085"/>
            <ac:cxnSpMk id="37" creationId="{ACF743FE-2DAC-8A35-C079-A7A1D7769DAA}"/>
          </ac:cxnSpMkLst>
        </pc:cxnChg>
        <pc:cxnChg chg="add del mod ord">
          <ac:chgData name="Yiqun Dai" userId="360a2182-b97f-4635-b990-04f846616e33" providerId="ADAL" clId="{8F04EA49-0EFC-48F3-A4D8-E0F0D3B461A8}" dt="2025-11-16T02:36:51.454" v="434318"/>
          <ac:cxnSpMkLst>
            <pc:docMk/>
            <pc:sldMk cId="2668657357" sldId="2147483085"/>
            <ac:cxnSpMk id="38" creationId="{AA3613D8-DC45-33EC-5754-70EEDFF1F64D}"/>
          </ac:cxnSpMkLst>
        </pc:cxnChg>
        <pc:cxnChg chg="add del mod ord">
          <ac:chgData name="Yiqun Dai" userId="360a2182-b97f-4635-b990-04f846616e33" providerId="ADAL" clId="{8F04EA49-0EFC-48F3-A4D8-E0F0D3B461A8}" dt="2025-11-16T02:51:55.092" v="466344"/>
          <ac:cxnSpMkLst>
            <pc:docMk/>
            <pc:sldMk cId="2668657357" sldId="2147483085"/>
            <ac:cxnSpMk id="39" creationId="{44102B21-6090-E1BB-E6F2-0261060C0253}"/>
          </ac:cxnSpMkLst>
        </pc:cxnChg>
        <pc:cxnChg chg="del mod ord">
          <ac:chgData name="Yiqun Dai" userId="360a2182-b97f-4635-b990-04f846616e33" providerId="ADAL" clId="{8F04EA49-0EFC-48F3-A4D8-E0F0D3B461A8}" dt="2025-11-16T02:36:40.385" v="433472"/>
          <ac:cxnSpMkLst>
            <pc:docMk/>
            <pc:sldMk cId="2668657357" sldId="2147483085"/>
            <ac:cxnSpMk id="42" creationId="{E26B9898-C337-F142-19CF-3383A44EDBCB}"/>
          </ac:cxnSpMkLst>
        </pc:cxnChg>
        <pc:cxnChg chg="del mod ord">
          <ac:chgData name="Yiqun Dai" userId="360a2182-b97f-4635-b990-04f846616e33" providerId="ADAL" clId="{8F04EA49-0EFC-48F3-A4D8-E0F0D3B461A8}" dt="2025-11-16T02:36:40.390" v="433477"/>
          <ac:cxnSpMkLst>
            <pc:docMk/>
            <pc:sldMk cId="2668657357" sldId="2147483085"/>
            <ac:cxnSpMk id="43" creationId="{B8C17E98-AA6F-D351-1E8F-7389DE7A6255}"/>
          </ac:cxnSpMkLst>
        </pc:cxnChg>
        <pc:cxnChg chg="del mod ord">
          <ac:chgData name="Yiqun Dai" userId="360a2182-b97f-4635-b990-04f846616e33" providerId="ADAL" clId="{8F04EA49-0EFC-48F3-A4D8-E0F0D3B461A8}" dt="2025-11-16T02:36:40.392" v="433479"/>
          <ac:cxnSpMkLst>
            <pc:docMk/>
            <pc:sldMk cId="2668657357" sldId="2147483085"/>
            <ac:cxnSpMk id="44" creationId="{B56E8DDC-0873-E906-5D65-11E27EC6CBB6}"/>
          </ac:cxnSpMkLst>
        </pc:cxnChg>
        <pc:cxnChg chg="del mod ord">
          <ac:chgData name="Yiqun Dai" userId="360a2182-b97f-4635-b990-04f846616e33" providerId="ADAL" clId="{8F04EA49-0EFC-48F3-A4D8-E0F0D3B461A8}" dt="2025-11-16T02:36:40.393" v="433481"/>
          <ac:cxnSpMkLst>
            <pc:docMk/>
            <pc:sldMk cId="2668657357" sldId="2147483085"/>
            <ac:cxnSpMk id="45" creationId="{23ACC4D3-54CD-C685-630B-42B4669F034D}"/>
          </ac:cxnSpMkLst>
        </pc:cxnChg>
        <pc:cxnChg chg="del mod ord">
          <ac:chgData name="Yiqun Dai" userId="360a2182-b97f-4635-b990-04f846616e33" providerId="ADAL" clId="{8F04EA49-0EFC-48F3-A4D8-E0F0D3B461A8}" dt="2025-11-16T02:36:40.401" v="433489"/>
          <ac:cxnSpMkLst>
            <pc:docMk/>
            <pc:sldMk cId="2668657357" sldId="2147483085"/>
            <ac:cxnSpMk id="46" creationId="{AE85ADF4-41DD-69E7-3646-7F933C6FC1C3}"/>
          </ac:cxnSpMkLst>
        </pc:cxnChg>
        <pc:cxnChg chg="add del mod ord">
          <ac:chgData name="Yiqun Dai" userId="360a2182-b97f-4635-b990-04f846616e33" providerId="ADAL" clId="{8F04EA49-0EFC-48F3-A4D8-E0F0D3B461A8}" dt="2025-11-16T02:36:42.852" v="433809"/>
          <ac:cxnSpMkLst>
            <pc:docMk/>
            <pc:sldMk cId="2668657357" sldId="2147483085"/>
            <ac:cxnSpMk id="51" creationId="{E97C9424-2D27-82EE-FABB-2CCF3DE4823A}"/>
          </ac:cxnSpMkLst>
        </pc:cxnChg>
        <pc:cxnChg chg="add del mod ord">
          <ac:chgData name="Yiqun Dai" userId="360a2182-b97f-4635-b990-04f846616e33" providerId="ADAL" clId="{8F04EA49-0EFC-48F3-A4D8-E0F0D3B461A8}" dt="2025-11-16T02:36:42.854" v="433811"/>
          <ac:cxnSpMkLst>
            <pc:docMk/>
            <pc:sldMk cId="2668657357" sldId="2147483085"/>
            <ac:cxnSpMk id="52" creationId="{B356EBE6-9313-ECDF-1DF7-45AB65098132}"/>
          </ac:cxnSpMkLst>
        </pc:cxnChg>
        <pc:cxnChg chg="add del mod ord">
          <ac:chgData name="Yiqun Dai" userId="360a2182-b97f-4635-b990-04f846616e33" providerId="ADAL" clId="{8F04EA49-0EFC-48F3-A4D8-E0F0D3B461A8}" dt="2025-11-16T02:36:42.858" v="433813"/>
          <ac:cxnSpMkLst>
            <pc:docMk/>
            <pc:sldMk cId="2668657357" sldId="2147483085"/>
            <ac:cxnSpMk id="53" creationId="{81E6947A-4D79-D1FF-694E-C3EF1BC6E7B4}"/>
          </ac:cxnSpMkLst>
        </pc:cxnChg>
        <pc:cxnChg chg="add del mod ord">
          <ac:chgData name="Yiqun Dai" userId="360a2182-b97f-4635-b990-04f846616e33" providerId="ADAL" clId="{8F04EA49-0EFC-48F3-A4D8-E0F0D3B461A8}" dt="2025-11-16T02:36:42.861" v="433815"/>
          <ac:cxnSpMkLst>
            <pc:docMk/>
            <pc:sldMk cId="2668657357" sldId="2147483085"/>
            <ac:cxnSpMk id="54" creationId="{A3242952-E37B-EBCA-1545-6354E3C0EDA4}"/>
          </ac:cxnSpMkLst>
        </pc:cxnChg>
        <pc:cxnChg chg="add del mod ord">
          <ac:chgData name="Yiqun Dai" userId="360a2182-b97f-4635-b990-04f846616e33" providerId="ADAL" clId="{8F04EA49-0EFC-48F3-A4D8-E0F0D3B461A8}" dt="2025-11-16T02:36:42.871" v="433820"/>
          <ac:cxnSpMkLst>
            <pc:docMk/>
            <pc:sldMk cId="2668657357" sldId="2147483085"/>
            <ac:cxnSpMk id="55" creationId="{97FE4FD5-A9DF-6278-D74C-8A4441AFF410}"/>
          </ac:cxnSpMkLst>
        </pc:cxnChg>
        <pc:cxnChg chg="add del mod ord">
          <ac:chgData name="Yiqun Dai" userId="360a2182-b97f-4635-b990-04f846616e33" providerId="ADAL" clId="{8F04EA49-0EFC-48F3-A4D8-E0F0D3B461A8}" dt="2025-11-16T02:36:45.667" v="434128"/>
          <ac:cxnSpMkLst>
            <pc:docMk/>
            <pc:sldMk cId="2668657357" sldId="2147483085"/>
            <ac:cxnSpMk id="60" creationId="{A159C74C-01A3-6BAB-8874-3256619F5EF4}"/>
          </ac:cxnSpMkLst>
        </pc:cxnChg>
        <pc:cxnChg chg="add del mod ord">
          <ac:chgData name="Yiqun Dai" userId="360a2182-b97f-4635-b990-04f846616e33" providerId="ADAL" clId="{8F04EA49-0EFC-48F3-A4D8-E0F0D3B461A8}" dt="2025-11-16T02:36:45.671" v="434130"/>
          <ac:cxnSpMkLst>
            <pc:docMk/>
            <pc:sldMk cId="2668657357" sldId="2147483085"/>
            <ac:cxnSpMk id="61" creationId="{3E943EF1-7F0B-4E8C-2AFE-EF0386970E4D}"/>
          </ac:cxnSpMkLst>
        </pc:cxnChg>
        <pc:cxnChg chg="add del mod ord">
          <ac:chgData name="Yiqun Dai" userId="360a2182-b97f-4635-b990-04f846616e33" providerId="ADAL" clId="{8F04EA49-0EFC-48F3-A4D8-E0F0D3B461A8}" dt="2025-11-16T02:36:45.674" v="434132"/>
          <ac:cxnSpMkLst>
            <pc:docMk/>
            <pc:sldMk cId="2668657357" sldId="2147483085"/>
            <ac:cxnSpMk id="62" creationId="{1D29D419-FF1C-E442-74DF-829602DB8297}"/>
          </ac:cxnSpMkLst>
        </pc:cxnChg>
        <pc:cxnChg chg="add del mod ord">
          <ac:chgData name="Yiqun Dai" userId="360a2182-b97f-4635-b990-04f846616e33" providerId="ADAL" clId="{8F04EA49-0EFC-48F3-A4D8-E0F0D3B461A8}" dt="2025-11-16T02:36:45.678" v="434134"/>
          <ac:cxnSpMkLst>
            <pc:docMk/>
            <pc:sldMk cId="2668657357" sldId="2147483085"/>
            <ac:cxnSpMk id="63" creationId="{BF522D90-6A21-40B8-6970-C6E5B003DD3F}"/>
          </ac:cxnSpMkLst>
        </pc:cxnChg>
        <pc:cxnChg chg="add mod ord">
          <ac:chgData name="Yiqun Dai" userId="360a2182-b97f-4635-b990-04f846616e33" providerId="ADAL" clId="{8F04EA49-0EFC-48F3-A4D8-E0F0D3B461A8}" dt="2025-11-16T02:39:00.937" v="438963" actId="13822"/>
          <ac:cxnSpMkLst>
            <pc:docMk/>
            <pc:sldMk cId="2668657357" sldId="2147483085"/>
            <ac:cxnSpMk id="74" creationId="{8EF3E432-330D-C503-13DE-D806E23034D6}"/>
          </ac:cxnSpMkLst>
        </pc:cxnChg>
        <pc:cxnChg chg="add mod ord">
          <ac:chgData name="Yiqun Dai" userId="360a2182-b97f-4635-b990-04f846616e33" providerId="ADAL" clId="{8F04EA49-0EFC-48F3-A4D8-E0F0D3B461A8}" dt="2025-11-16T02:39:00.932" v="438954" actId="13822"/>
          <ac:cxnSpMkLst>
            <pc:docMk/>
            <pc:sldMk cId="2668657357" sldId="2147483085"/>
            <ac:cxnSpMk id="75" creationId="{9FBA4CA6-1A64-D9D2-73A7-161AAB869E9F}"/>
          </ac:cxnSpMkLst>
        </pc:cxnChg>
        <pc:cxnChg chg="add mod ord">
          <ac:chgData name="Yiqun Dai" userId="360a2182-b97f-4635-b990-04f846616e33" providerId="ADAL" clId="{8F04EA49-0EFC-48F3-A4D8-E0F0D3B461A8}" dt="2025-11-16T02:39:00.928" v="438945" actId="13822"/>
          <ac:cxnSpMkLst>
            <pc:docMk/>
            <pc:sldMk cId="2668657357" sldId="2147483085"/>
            <ac:cxnSpMk id="76" creationId="{C71C3ABC-8448-73A8-F385-2A5CED7640EE}"/>
          </ac:cxnSpMkLst>
        </pc:cxnChg>
        <pc:cxnChg chg="add mod ord">
          <ac:chgData name="Yiqun Dai" userId="360a2182-b97f-4635-b990-04f846616e33" providerId="ADAL" clId="{8F04EA49-0EFC-48F3-A4D8-E0F0D3B461A8}" dt="2025-11-16T02:39:00.923" v="438936" actId="13822"/>
          <ac:cxnSpMkLst>
            <pc:docMk/>
            <pc:sldMk cId="2668657357" sldId="2147483085"/>
            <ac:cxnSpMk id="77" creationId="{3D8933B6-A117-5C68-F843-102C09DDE6D4}"/>
          </ac:cxnSpMkLst>
        </pc:cxnChg>
        <pc:cxnChg chg="add mod ord">
          <ac:chgData name="Yiqun Dai" userId="360a2182-b97f-4635-b990-04f846616e33" providerId="ADAL" clId="{8F04EA49-0EFC-48F3-A4D8-E0F0D3B461A8}" dt="2025-11-16T02:39:00.915" v="438921" actId="13822"/>
          <ac:cxnSpMkLst>
            <pc:docMk/>
            <pc:sldMk cId="2668657357" sldId="2147483085"/>
            <ac:cxnSpMk id="78" creationId="{4B47F788-E445-9889-342B-DC0AAD9B3671}"/>
          </ac:cxnSpMkLst>
        </pc:cxnChg>
        <pc:cxnChg chg="add mod ord">
          <ac:chgData name="Yiqun Dai" userId="360a2182-b97f-4635-b990-04f846616e33" providerId="ADAL" clId="{8F04EA49-0EFC-48F3-A4D8-E0F0D3B461A8}" dt="2025-11-16T02:39:00.910" v="438911" actId="13822"/>
          <ac:cxnSpMkLst>
            <pc:docMk/>
            <pc:sldMk cId="2668657357" sldId="2147483085"/>
            <ac:cxnSpMk id="79" creationId="{BAF09F87-E156-DD7C-2C04-05C7C4A86EFE}"/>
          </ac:cxnSpMkLst>
        </pc:cxnChg>
        <pc:cxnChg chg="add mod ord">
          <ac:chgData name="Yiqun Dai" userId="360a2182-b97f-4635-b990-04f846616e33" providerId="ADAL" clId="{8F04EA49-0EFC-48F3-A4D8-E0F0D3B461A8}" dt="2025-11-16T02:39:00.906" v="438902" actId="13822"/>
          <ac:cxnSpMkLst>
            <pc:docMk/>
            <pc:sldMk cId="2668657357" sldId="2147483085"/>
            <ac:cxnSpMk id="80" creationId="{8EE02188-FC68-61B2-6770-DB5E40C2BDC7}"/>
          </ac:cxnSpMkLst>
        </pc:cxnChg>
        <pc:cxnChg chg="add mod ord">
          <ac:chgData name="Yiqun Dai" userId="360a2182-b97f-4635-b990-04f846616e33" providerId="ADAL" clId="{8F04EA49-0EFC-48F3-A4D8-E0F0D3B461A8}" dt="2025-11-16T02:39:00.902" v="438893" actId="13822"/>
          <ac:cxnSpMkLst>
            <pc:docMk/>
            <pc:sldMk cId="2668657357" sldId="2147483085"/>
            <ac:cxnSpMk id="81" creationId="{EEDC3336-5EA6-53DC-2098-19325293EC5F}"/>
          </ac:cxnSpMkLst>
        </pc:cxnChg>
        <pc:cxnChg chg="add del mod ord">
          <ac:chgData name="Yiqun Dai" userId="360a2182-b97f-4635-b990-04f846616e33" providerId="ADAL" clId="{8F04EA49-0EFC-48F3-A4D8-E0F0D3B461A8}" dt="2025-11-16T02:49:39.165" v="461392"/>
          <ac:cxnSpMkLst>
            <pc:docMk/>
            <pc:sldMk cId="2668657357" sldId="2147483085"/>
            <ac:cxnSpMk id="86" creationId="{EA313BB2-86CB-FDFF-1CE5-39C8964277C0}"/>
          </ac:cxnSpMkLst>
        </pc:cxnChg>
        <pc:cxnChg chg="add del mod ord">
          <ac:chgData name="Yiqun Dai" userId="360a2182-b97f-4635-b990-04f846616e33" providerId="ADAL" clId="{8F04EA49-0EFC-48F3-A4D8-E0F0D3B461A8}" dt="2025-11-16T02:49:39.167" v="461394"/>
          <ac:cxnSpMkLst>
            <pc:docMk/>
            <pc:sldMk cId="2668657357" sldId="2147483085"/>
            <ac:cxnSpMk id="87" creationId="{C48BEBF6-80B3-86A9-C9CD-8A43F994DC5A}"/>
          </ac:cxnSpMkLst>
        </pc:cxnChg>
        <pc:cxnChg chg="add del mod ord">
          <ac:chgData name="Yiqun Dai" userId="360a2182-b97f-4635-b990-04f846616e33" providerId="ADAL" clId="{8F04EA49-0EFC-48F3-A4D8-E0F0D3B461A8}" dt="2025-11-16T02:49:39.169" v="461396"/>
          <ac:cxnSpMkLst>
            <pc:docMk/>
            <pc:sldMk cId="2668657357" sldId="2147483085"/>
            <ac:cxnSpMk id="88" creationId="{A0FE768E-4C46-98FE-1678-2DAAB6E6AC3A}"/>
          </ac:cxnSpMkLst>
        </pc:cxnChg>
        <pc:cxnChg chg="add del mod ord">
          <ac:chgData name="Yiqun Dai" userId="360a2182-b97f-4635-b990-04f846616e33" providerId="ADAL" clId="{8F04EA49-0EFC-48F3-A4D8-E0F0D3B461A8}" dt="2025-11-16T02:49:39.171" v="461398"/>
          <ac:cxnSpMkLst>
            <pc:docMk/>
            <pc:sldMk cId="2668657357" sldId="2147483085"/>
            <ac:cxnSpMk id="89" creationId="{E3280920-C18A-7B27-E518-2EEDAE42022E}"/>
          </ac:cxnSpMkLst>
        </pc:cxnChg>
        <pc:cxnChg chg="add del mod ord">
          <ac:chgData name="Yiqun Dai" userId="360a2182-b97f-4635-b990-04f846616e33" providerId="ADAL" clId="{8F04EA49-0EFC-48F3-A4D8-E0F0D3B461A8}" dt="2025-11-16T02:49:39.173" v="461400"/>
          <ac:cxnSpMkLst>
            <pc:docMk/>
            <pc:sldMk cId="2668657357" sldId="2147483085"/>
            <ac:cxnSpMk id="90" creationId="{76932531-F7F6-4E74-B961-9926950A7C25}"/>
          </ac:cxnSpMkLst>
        </pc:cxnChg>
        <pc:cxnChg chg="add del mod ord">
          <ac:chgData name="Yiqun Dai" userId="360a2182-b97f-4635-b990-04f846616e33" providerId="ADAL" clId="{8F04EA49-0EFC-48F3-A4D8-E0F0D3B461A8}" dt="2025-11-16T02:49:39.180" v="461405"/>
          <ac:cxnSpMkLst>
            <pc:docMk/>
            <pc:sldMk cId="2668657357" sldId="2147483085"/>
            <ac:cxnSpMk id="91" creationId="{DACFAD1E-2496-B8B5-DB16-52D44FEADC9D}"/>
          </ac:cxnSpMkLst>
        </pc:cxnChg>
        <pc:cxnChg chg="add del mod ord">
          <ac:chgData name="Yiqun Dai" userId="360a2182-b97f-4635-b990-04f846616e33" providerId="ADAL" clId="{8F04EA49-0EFC-48F3-A4D8-E0F0D3B461A8}" dt="2025-11-16T02:49:39.183" v="461407"/>
          <ac:cxnSpMkLst>
            <pc:docMk/>
            <pc:sldMk cId="2668657357" sldId="2147483085"/>
            <ac:cxnSpMk id="92" creationId="{696F354F-5E8A-63AC-E7BC-8114CFFA6E4A}"/>
          </ac:cxnSpMkLst>
        </pc:cxnChg>
        <pc:cxnChg chg="del mod ord">
          <ac:chgData name="Yiqun Dai" userId="360a2182-b97f-4635-b990-04f846616e33" providerId="ADAL" clId="{8F04EA49-0EFC-48F3-A4D8-E0F0D3B461A8}" dt="2025-11-16T02:43:50.467" v="455197"/>
          <ac:cxnSpMkLst>
            <pc:docMk/>
            <pc:sldMk cId="2668657357" sldId="2147483085"/>
            <ac:cxnSpMk id="94" creationId="{9575E649-4367-8A57-2CF1-8FA95F9BA069}"/>
          </ac:cxnSpMkLst>
        </pc:cxnChg>
        <pc:cxnChg chg="del mod ord">
          <ac:chgData name="Yiqun Dai" userId="360a2182-b97f-4635-b990-04f846616e33" providerId="ADAL" clId="{8F04EA49-0EFC-48F3-A4D8-E0F0D3B461A8}" dt="2025-11-16T02:39:47.242" v="441320"/>
          <ac:cxnSpMkLst>
            <pc:docMk/>
            <pc:sldMk cId="2668657357" sldId="2147483085"/>
            <ac:cxnSpMk id="95" creationId="{4DD8EF3F-4C2E-0033-BC07-67491D83609D}"/>
          </ac:cxnSpMkLst>
        </pc:cxnChg>
        <pc:cxnChg chg="del mod ord">
          <ac:chgData name="Yiqun Dai" userId="360a2182-b97f-4635-b990-04f846616e33" providerId="ADAL" clId="{8F04EA49-0EFC-48F3-A4D8-E0F0D3B461A8}" dt="2025-11-16T02:39:47.243" v="441322"/>
          <ac:cxnSpMkLst>
            <pc:docMk/>
            <pc:sldMk cId="2668657357" sldId="2147483085"/>
            <ac:cxnSpMk id="96" creationId="{45351C2B-A69B-4491-54C4-4C8BA60F1564}"/>
          </ac:cxnSpMkLst>
        </pc:cxnChg>
        <pc:cxnChg chg="del mod ord">
          <ac:chgData name="Yiqun Dai" userId="360a2182-b97f-4635-b990-04f846616e33" providerId="ADAL" clId="{8F04EA49-0EFC-48F3-A4D8-E0F0D3B461A8}" dt="2025-11-16T02:40:27.305" v="443439"/>
          <ac:cxnSpMkLst>
            <pc:docMk/>
            <pc:sldMk cId="2668657357" sldId="2147483085"/>
            <ac:cxnSpMk id="97" creationId="{D00D46F1-B663-1CCB-E5CB-DA44482A3CFF}"/>
          </ac:cxnSpMkLst>
        </pc:cxnChg>
        <pc:cxnChg chg="del">
          <ac:chgData name="Yiqun Dai" userId="360a2182-b97f-4635-b990-04f846616e33" providerId="ADAL" clId="{8F04EA49-0EFC-48F3-A4D8-E0F0D3B461A8}" dt="2025-11-16T02:39:21.449" v="440655"/>
          <ac:cxnSpMkLst>
            <pc:docMk/>
            <pc:sldMk cId="2668657357" sldId="2147483085"/>
            <ac:cxnSpMk id="99" creationId="{8A2792DF-AFC1-B452-D5AB-E3D7D5ED55DC}"/>
          </ac:cxnSpMkLst>
        </pc:cxnChg>
        <pc:cxnChg chg="del">
          <ac:chgData name="Yiqun Dai" userId="360a2182-b97f-4635-b990-04f846616e33" providerId="ADAL" clId="{8F04EA49-0EFC-48F3-A4D8-E0F0D3B461A8}" dt="2025-11-16T02:39:21.459" v="440665"/>
          <ac:cxnSpMkLst>
            <pc:docMk/>
            <pc:sldMk cId="2668657357" sldId="2147483085"/>
            <ac:cxnSpMk id="100" creationId="{096A7E4A-8002-5457-3B52-87DF9C4628CB}"/>
          </ac:cxnSpMkLst>
        </pc:cxnChg>
        <pc:cxnChg chg="del">
          <ac:chgData name="Yiqun Dai" userId="360a2182-b97f-4635-b990-04f846616e33" providerId="ADAL" clId="{8F04EA49-0EFC-48F3-A4D8-E0F0D3B461A8}" dt="2025-11-16T02:39:21.471" v="440679"/>
          <ac:cxnSpMkLst>
            <pc:docMk/>
            <pc:sldMk cId="2668657357" sldId="2147483085"/>
            <ac:cxnSpMk id="101" creationId="{5650B9BB-2405-3BA3-7836-5372E717C113}"/>
          </ac:cxnSpMkLst>
        </pc:cxnChg>
        <pc:cxnChg chg="del">
          <ac:chgData name="Yiqun Dai" userId="360a2182-b97f-4635-b990-04f846616e33" providerId="ADAL" clId="{8F04EA49-0EFC-48F3-A4D8-E0F0D3B461A8}" dt="2025-11-16T02:39:21.480" v="440689"/>
          <ac:cxnSpMkLst>
            <pc:docMk/>
            <pc:sldMk cId="2668657357" sldId="2147483085"/>
            <ac:cxnSpMk id="102" creationId="{03436B9E-14DC-F063-5D63-9DACC0FDE7C5}"/>
          </ac:cxnSpMkLst>
        </pc:cxnChg>
        <pc:cxnChg chg="del">
          <ac:chgData name="Yiqun Dai" userId="360a2182-b97f-4635-b990-04f846616e33" providerId="ADAL" clId="{8F04EA49-0EFC-48F3-A4D8-E0F0D3B461A8}" dt="2025-11-16T02:39:21.492" v="440703"/>
          <ac:cxnSpMkLst>
            <pc:docMk/>
            <pc:sldMk cId="2668657357" sldId="2147483085"/>
            <ac:cxnSpMk id="103" creationId="{81817567-E15E-6AE2-11ED-3601F4287853}"/>
          </ac:cxnSpMkLst>
        </pc:cxnChg>
        <pc:cxnChg chg="del">
          <ac:chgData name="Yiqun Dai" userId="360a2182-b97f-4635-b990-04f846616e33" providerId="ADAL" clId="{8F04EA49-0EFC-48F3-A4D8-E0F0D3B461A8}" dt="2025-11-16T02:39:21.521" v="440729"/>
          <ac:cxnSpMkLst>
            <pc:docMk/>
            <pc:sldMk cId="2668657357" sldId="2147483085"/>
            <ac:cxnSpMk id="104" creationId="{56C3D75B-F12D-4DF1-C2C7-56A6CFFE46A8}"/>
          </ac:cxnSpMkLst>
        </pc:cxnChg>
        <pc:cxnChg chg="del">
          <ac:chgData name="Yiqun Dai" userId="360a2182-b97f-4635-b990-04f846616e33" providerId="ADAL" clId="{8F04EA49-0EFC-48F3-A4D8-E0F0D3B461A8}" dt="2025-11-16T02:39:21.532" v="440739"/>
          <ac:cxnSpMkLst>
            <pc:docMk/>
            <pc:sldMk cId="2668657357" sldId="2147483085"/>
            <ac:cxnSpMk id="105" creationId="{5E4FF00E-5EA8-CFC2-8406-0682AC7C5255}"/>
          </ac:cxnSpMkLst>
        </pc:cxnChg>
        <pc:cxnChg chg="del mod ord">
          <ac:chgData name="Yiqun Dai" userId="360a2182-b97f-4635-b990-04f846616e33" providerId="ADAL" clId="{8F04EA49-0EFC-48F3-A4D8-E0F0D3B461A8}" dt="2025-11-16T02:41:28.728" v="446359"/>
          <ac:cxnSpMkLst>
            <pc:docMk/>
            <pc:sldMk cId="2668657357" sldId="2147483085"/>
            <ac:cxnSpMk id="257" creationId="{1E61CE2C-30F6-9A4A-8E88-C386DABB8545}"/>
          </ac:cxnSpMkLst>
        </pc:cxnChg>
        <pc:cxnChg chg="del mod ord">
          <ac:chgData name="Yiqun Dai" userId="360a2182-b97f-4635-b990-04f846616e33" providerId="ADAL" clId="{8F04EA49-0EFC-48F3-A4D8-E0F0D3B461A8}" dt="2025-11-16T02:41:28.741" v="446376"/>
          <ac:cxnSpMkLst>
            <pc:docMk/>
            <pc:sldMk cId="2668657357" sldId="2147483085"/>
            <ac:cxnSpMk id="258" creationId="{3F0A6581-2EA8-D4AF-1648-411B9CBE14C4}"/>
          </ac:cxnSpMkLst>
        </pc:cxnChg>
        <pc:cxnChg chg="add mod ord">
          <ac:chgData name="Yiqun Dai" userId="360a2182-b97f-4635-b990-04f846616e33" providerId="ADAL" clId="{8F04EA49-0EFC-48F3-A4D8-E0F0D3B461A8}" dt="2025-11-16T02:41:04.898" v="445211" actId="13822"/>
          <ac:cxnSpMkLst>
            <pc:docMk/>
            <pc:sldMk cId="2668657357" sldId="2147483085"/>
            <ac:cxnSpMk id="283" creationId="{0079946F-15F6-4396-9FD8-316BC459BDD6}"/>
          </ac:cxnSpMkLst>
        </pc:cxnChg>
        <pc:cxnChg chg="add mod ord">
          <ac:chgData name="Yiqun Dai" userId="360a2182-b97f-4635-b990-04f846616e33" providerId="ADAL" clId="{8F04EA49-0EFC-48F3-A4D8-E0F0D3B461A8}" dt="2025-11-16T02:41:04.890" v="445202" actId="13822"/>
          <ac:cxnSpMkLst>
            <pc:docMk/>
            <pc:sldMk cId="2668657357" sldId="2147483085"/>
            <ac:cxnSpMk id="284" creationId="{B65F0318-547E-267C-5B92-399ACB789E19}"/>
          </ac:cxnSpMkLst>
        </pc:cxnChg>
        <pc:cxnChg chg="add mod ord">
          <ac:chgData name="Yiqun Dai" userId="360a2182-b97f-4635-b990-04f846616e33" providerId="ADAL" clId="{8F04EA49-0EFC-48F3-A4D8-E0F0D3B461A8}" dt="2025-11-16T02:41:04.885" v="445193" actId="13822"/>
          <ac:cxnSpMkLst>
            <pc:docMk/>
            <pc:sldMk cId="2668657357" sldId="2147483085"/>
            <ac:cxnSpMk id="285" creationId="{C76363D3-19F1-147C-71C5-3C95BED2468E}"/>
          </ac:cxnSpMkLst>
        </pc:cxnChg>
        <pc:cxnChg chg="add mod ord">
          <ac:chgData name="Yiqun Dai" userId="360a2182-b97f-4635-b990-04f846616e33" providerId="ADAL" clId="{8F04EA49-0EFC-48F3-A4D8-E0F0D3B461A8}" dt="2025-11-16T02:41:04.880" v="445184" actId="13822"/>
          <ac:cxnSpMkLst>
            <pc:docMk/>
            <pc:sldMk cId="2668657357" sldId="2147483085"/>
            <ac:cxnSpMk id="286" creationId="{0661ADDF-286D-7D46-5D7A-3404E00298C9}"/>
          </ac:cxnSpMkLst>
        </pc:cxnChg>
        <pc:cxnChg chg="add mod ord">
          <ac:chgData name="Yiqun Dai" userId="360a2182-b97f-4635-b990-04f846616e33" providerId="ADAL" clId="{8F04EA49-0EFC-48F3-A4D8-E0F0D3B461A8}" dt="2025-11-16T02:41:04.873" v="445173" actId="13822"/>
          <ac:cxnSpMkLst>
            <pc:docMk/>
            <pc:sldMk cId="2668657357" sldId="2147483085"/>
            <ac:cxnSpMk id="287" creationId="{0EFB89DC-23F6-A160-282C-273B8E0729FA}"/>
          </ac:cxnSpMkLst>
        </pc:cxnChg>
        <pc:cxnChg chg="add mod ord">
          <ac:chgData name="Yiqun Dai" userId="360a2182-b97f-4635-b990-04f846616e33" providerId="ADAL" clId="{8F04EA49-0EFC-48F3-A4D8-E0F0D3B461A8}" dt="2025-11-16T02:41:04.868" v="445164" actId="13822"/>
          <ac:cxnSpMkLst>
            <pc:docMk/>
            <pc:sldMk cId="2668657357" sldId="2147483085"/>
            <ac:cxnSpMk id="288" creationId="{FE203B83-F618-1D18-7AF6-D70F78004393}"/>
          </ac:cxnSpMkLst>
        </pc:cxnChg>
        <pc:cxnChg chg="add mod ord">
          <ac:chgData name="Yiqun Dai" userId="360a2182-b97f-4635-b990-04f846616e33" providerId="ADAL" clId="{8F04EA49-0EFC-48F3-A4D8-E0F0D3B461A8}" dt="2025-11-16T02:41:04.864" v="445155" actId="13822"/>
          <ac:cxnSpMkLst>
            <pc:docMk/>
            <pc:sldMk cId="2668657357" sldId="2147483085"/>
            <ac:cxnSpMk id="289" creationId="{083C471D-92E5-66D4-4074-A4A0D1051A6D}"/>
          </ac:cxnSpMkLst>
        </pc:cxnChg>
        <pc:cxnChg chg="add mod ord">
          <ac:chgData name="Yiqun Dai" userId="360a2182-b97f-4635-b990-04f846616e33" providerId="ADAL" clId="{8F04EA49-0EFC-48F3-A4D8-E0F0D3B461A8}" dt="2025-11-16T02:41:04.860" v="445146" actId="13822"/>
          <ac:cxnSpMkLst>
            <pc:docMk/>
            <pc:sldMk cId="2668657357" sldId="2147483085"/>
            <ac:cxnSpMk id="290" creationId="{D770C4BE-4A0F-450D-E59C-C9F0A6E4E021}"/>
          </ac:cxnSpMkLst>
        </pc:cxnChg>
        <pc:cxnChg chg="add mod ord">
          <ac:chgData name="Yiqun Dai" userId="360a2182-b97f-4635-b990-04f846616e33" providerId="ADAL" clId="{8F04EA49-0EFC-48F3-A4D8-E0F0D3B461A8}" dt="2025-11-16T02:41:04.855" v="445137" actId="13822"/>
          <ac:cxnSpMkLst>
            <pc:docMk/>
            <pc:sldMk cId="2668657357" sldId="2147483085"/>
            <ac:cxnSpMk id="291" creationId="{AE2CBFC0-E7DA-F055-9EA3-143BFF5D054B}"/>
          </ac:cxnSpMkLst>
        </pc:cxnChg>
        <pc:cxnChg chg="add mod ord">
          <ac:chgData name="Yiqun Dai" userId="360a2182-b97f-4635-b990-04f846616e33" providerId="ADAL" clId="{8F04EA49-0EFC-48F3-A4D8-E0F0D3B461A8}" dt="2025-11-16T02:41:04.851" v="445128" actId="13822"/>
          <ac:cxnSpMkLst>
            <pc:docMk/>
            <pc:sldMk cId="2668657357" sldId="2147483085"/>
            <ac:cxnSpMk id="292" creationId="{5B38C5FA-953A-3AC8-351F-1CD4700C617A}"/>
          </ac:cxnSpMkLst>
        </pc:cxnChg>
        <pc:cxnChg chg="add mod ord">
          <ac:chgData name="Yiqun Dai" userId="360a2182-b97f-4635-b990-04f846616e33" providerId="ADAL" clId="{8F04EA49-0EFC-48F3-A4D8-E0F0D3B461A8}" dt="2025-11-16T02:41:04.846" v="445119" actId="13822"/>
          <ac:cxnSpMkLst>
            <pc:docMk/>
            <pc:sldMk cId="2668657357" sldId="2147483085"/>
            <ac:cxnSpMk id="293" creationId="{8136EA97-083A-D8EE-AFD2-1EB98DA0F8A9}"/>
          </ac:cxnSpMkLst>
        </pc:cxnChg>
        <pc:cxnChg chg="add mod ord">
          <ac:chgData name="Yiqun Dai" userId="360a2182-b97f-4635-b990-04f846616e33" providerId="ADAL" clId="{8F04EA49-0EFC-48F3-A4D8-E0F0D3B461A8}" dt="2025-11-16T02:41:04.841" v="445110" actId="13822"/>
          <ac:cxnSpMkLst>
            <pc:docMk/>
            <pc:sldMk cId="2668657357" sldId="2147483085"/>
            <ac:cxnSpMk id="294" creationId="{1822380A-E6FA-9D9C-8FFA-70A413B60C48}"/>
          </ac:cxnSpMkLst>
        </pc:cxnChg>
        <pc:cxnChg chg="add del mod ord">
          <ac:chgData name="Yiqun Dai" userId="360a2182-b97f-4635-b990-04f846616e33" providerId="ADAL" clId="{8F04EA49-0EFC-48F3-A4D8-E0F0D3B461A8}" dt="2025-11-16T02:41:04.834" v="445101" actId="13822"/>
          <ac:cxnSpMkLst>
            <pc:docMk/>
            <pc:sldMk cId="2668657357" sldId="2147483085"/>
            <ac:cxnSpMk id="295" creationId="{5409A9C9-7868-5E78-ECFF-D7E8AAF5A8FD}"/>
          </ac:cxnSpMkLst>
        </pc:cxnChg>
        <pc:cxnChg chg="add del mod ord">
          <ac:chgData name="Yiqun Dai" userId="360a2182-b97f-4635-b990-04f846616e33" providerId="ADAL" clId="{8F04EA49-0EFC-48F3-A4D8-E0F0D3B461A8}" dt="2025-11-16T02:41:04.829" v="445092" actId="13822"/>
          <ac:cxnSpMkLst>
            <pc:docMk/>
            <pc:sldMk cId="2668657357" sldId="2147483085"/>
            <ac:cxnSpMk id="296" creationId="{8D8814F2-49DD-0334-C87B-C98C7B249A30}"/>
          </ac:cxnSpMkLst>
        </pc:cxnChg>
        <pc:cxnChg chg="add del mod ord">
          <ac:chgData name="Yiqun Dai" userId="360a2182-b97f-4635-b990-04f846616e33" providerId="ADAL" clId="{8F04EA49-0EFC-48F3-A4D8-E0F0D3B461A8}" dt="2025-11-16T02:41:04.824" v="445083" actId="13822"/>
          <ac:cxnSpMkLst>
            <pc:docMk/>
            <pc:sldMk cId="2668657357" sldId="2147483085"/>
            <ac:cxnSpMk id="297" creationId="{BDB6E79B-8FAC-D013-F6A7-6850DDC09185}"/>
          </ac:cxnSpMkLst>
        </pc:cxnChg>
        <pc:cxnChg chg="mod ord">
          <ac:chgData name="Yiqun Dai" userId="360a2182-b97f-4635-b990-04f846616e33" providerId="ADAL" clId="{8F04EA49-0EFC-48F3-A4D8-E0F0D3B461A8}" dt="2025-11-16T02:41:04.740" v="444962" actId="13822"/>
          <ac:cxnSpMkLst>
            <pc:docMk/>
            <pc:sldMk cId="2668657357" sldId="2147483085"/>
            <ac:cxnSpMk id="300" creationId="{45EE3A8C-32AD-86FD-DE77-C7B0947F73F1}"/>
          </ac:cxnSpMkLst>
        </pc:cxnChg>
        <pc:cxnChg chg="mod ord">
          <ac:chgData name="Yiqun Dai" userId="360a2182-b97f-4635-b990-04f846616e33" providerId="ADAL" clId="{8F04EA49-0EFC-48F3-A4D8-E0F0D3B461A8}" dt="2025-11-16T02:41:04.723" v="444927" actId="13822"/>
          <ac:cxnSpMkLst>
            <pc:docMk/>
            <pc:sldMk cId="2668657357" sldId="2147483085"/>
            <ac:cxnSpMk id="301" creationId="{B3B73A11-994D-90F8-6343-43EDC3423D6B}"/>
          </ac:cxnSpMkLst>
        </pc:cxnChg>
        <pc:cxnChg chg="mod ord">
          <ac:chgData name="Yiqun Dai" userId="360a2182-b97f-4635-b990-04f846616e33" providerId="ADAL" clId="{8F04EA49-0EFC-48F3-A4D8-E0F0D3B461A8}" dt="2025-11-16T02:41:04.714" v="444916" actId="13822"/>
          <ac:cxnSpMkLst>
            <pc:docMk/>
            <pc:sldMk cId="2668657357" sldId="2147483085"/>
            <ac:cxnSpMk id="302" creationId="{09509483-5858-844E-BDC2-048D4C5B987F}"/>
          </ac:cxnSpMkLst>
        </pc:cxnChg>
        <pc:cxnChg chg="add del mod ord">
          <ac:chgData name="Yiqun Dai" userId="360a2182-b97f-4635-b990-04f846616e33" providerId="ADAL" clId="{8F04EA49-0EFC-48F3-A4D8-E0F0D3B461A8}" dt="2025-11-16T02:41:53.129" v="447865"/>
          <ac:cxnSpMkLst>
            <pc:docMk/>
            <pc:sldMk cId="2668657357" sldId="2147483085"/>
            <ac:cxnSpMk id="317" creationId="{F0502204-DFE2-8176-EF24-A0BA00417141}"/>
          </ac:cxnSpMkLst>
        </pc:cxnChg>
        <pc:cxnChg chg="add del mod ord">
          <ac:chgData name="Yiqun Dai" userId="360a2182-b97f-4635-b990-04f846616e33" providerId="ADAL" clId="{8F04EA49-0EFC-48F3-A4D8-E0F0D3B461A8}" dt="2025-11-16T02:43:50.360" v="455092"/>
          <ac:cxnSpMkLst>
            <pc:docMk/>
            <pc:sldMk cId="2668657357" sldId="2147483085"/>
            <ac:cxnSpMk id="318" creationId="{263C2366-FBE6-ED4C-3B1A-42087654C763}"/>
          </ac:cxnSpMkLst>
        </pc:cxnChg>
        <pc:cxnChg chg="add del mod ord">
          <ac:chgData name="Yiqun Dai" userId="360a2182-b97f-4635-b990-04f846616e33" providerId="ADAL" clId="{8F04EA49-0EFC-48F3-A4D8-E0F0D3B461A8}" dt="2025-11-16T02:42:47.085" v="451661"/>
          <ac:cxnSpMkLst>
            <pc:docMk/>
            <pc:sldMk cId="2668657357" sldId="2147483085"/>
            <ac:cxnSpMk id="319" creationId="{82E576A5-B99E-7C4E-1FE0-13B94E24EEF0}"/>
          </ac:cxnSpMkLst>
        </pc:cxnChg>
        <pc:cxnChg chg="add del mod ord">
          <ac:chgData name="Yiqun Dai" userId="360a2182-b97f-4635-b990-04f846616e33" providerId="ADAL" clId="{8F04EA49-0EFC-48F3-A4D8-E0F0D3B461A8}" dt="2025-11-16T02:41:53.127" v="447862"/>
          <ac:cxnSpMkLst>
            <pc:docMk/>
            <pc:sldMk cId="2668657357" sldId="2147483085"/>
            <ac:cxnSpMk id="384" creationId="{18D18C53-2B1F-BE24-3071-223D16C2AA86}"/>
          </ac:cxnSpMkLst>
        </pc:cxnChg>
        <pc:cxnChg chg="add del mod ord">
          <ac:chgData name="Yiqun Dai" userId="360a2182-b97f-4635-b990-04f846616e33" providerId="ADAL" clId="{8F04EA49-0EFC-48F3-A4D8-E0F0D3B461A8}" dt="2025-11-16T02:41:53.126" v="447860"/>
          <ac:cxnSpMkLst>
            <pc:docMk/>
            <pc:sldMk cId="2668657357" sldId="2147483085"/>
            <ac:cxnSpMk id="385" creationId="{F9E8403C-4A3F-EAFB-3901-D539C5DA70C2}"/>
          </ac:cxnSpMkLst>
        </pc:cxnChg>
        <pc:cxnChg chg="add del mod ord">
          <ac:chgData name="Yiqun Dai" userId="360a2182-b97f-4635-b990-04f846616e33" providerId="ADAL" clId="{8F04EA49-0EFC-48F3-A4D8-E0F0D3B461A8}" dt="2025-11-16T02:43:50.359" v="455089"/>
          <ac:cxnSpMkLst>
            <pc:docMk/>
            <pc:sldMk cId="2668657357" sldId="2147483085"/>
            <ac:cxnSpMk id="386" creationId="{FC5756EA-A6E4-4BFE-67F3-216DECDD26DC}"/>
          </ac:cxnSpMkLst>
        </pc:cxnChg>
        <pc:cxnChg chg="add del mod ord">
          <ac:chgData name="Yiqun Dai" userId="360a2182-b97f-4635-b990-04f846616e33" providerId="ADAL" clId="{8F04EA49-0EFC-48F3-A4D8-E0F0D3B461A8}" dt="2025-11-16T02:42:45.773" v="451286"/>
          <ac:cxnSpMkLst>
            <pc:docMk/>
            <pc:sldMk cId="2668657357" sldId="2147483085"/>
            <ac:cxnSpMk id="387" creationId="{2E2CE975-18F5-F910-6D15-C60A168608BE}"/>
          </ac:cxnSpMkLst>
        </pc:cxnChg>
        <pc:cxnChg chg="add del mod ord">
          <ac:chgData name="Yiqun Dai" userId="360a2182-b97f-4635-b990-04f846616e33" providerId="ADAL" clId="{8F04EA49-0EFC-48F3-A4D8-E0F0D3B461A8}" dt="2025-11-16T02:41:53.124" v="447857"/>
          <ac:cxnSpMkLst>
            <pc:docMk/>
            <pc:sldMk cId="2668657357" sldId="2147483085"/>
            <ac:cxnSpMk id="388" creationId="{BB83D3E2-4B15-7488-76E7-5B64CF49465D}"/>
          </ac:cxnSpMkLst>
        </pc:cxnChg>
        <pc:cxnChg chg="add del mod ord">
          <ac:chgData name="Yiqun Dai" userId="360a2182-b97f-4635-b990-04f846616e33" providerId="ADAL" clId="{8F04EA49-0EFC-48F3-A4D8-E0F0D3B461A8}" dt="2025-11-16T02:41:53.123" v="447855"/>
          <ac:cxnSpMkLst>
            <pc:docMk/>
            <pc:sldMk cId="2668657357" sldId="2147483085"/>
            <ac:cxnSpMk id="389" creationId="{DA2AC304-8075-A4C6-6912-6EFF9FCCF5E9}"/>
          </ac:cxnSpMkLst>
        </pc:cxnChg>
        <pc:cxnChg chg="add del mod ord">
          <ac:chgData name="Yiqun Dai" userId="360a2182-b97f-4635-b990-04f846616e33" providerId="ADAL" clId="{8F04EA49-0EFC-48F3-A4D8-E0F0D3B461A8}" dt="2025-11-16T02:43:50.358" v="455086"/>
          <ac:cxnSpMkLst>
            <pc:docMk/>
            <pc:sldMk cId="2668657357" sldId="2147483085"/>
            <ac:cxnSpMk id="390" creationId="{44B4C2BB-21E7-5375-6B46-FA170E975BC4}"/>
          </ac:cxnSpMkLst>
        </pc:cxnChg>
        <pc:cxnChg chg="add del mod ord">
          <ac:chgData name="Yiqun Dai" userId="360a2182-b97f-4635-b990-04f846616e33" providerId="ADAL" clId="{8F04EA49-0EFC-48F3-A4D8-E0F0D3B461A8}" dt="2025-11-16T02:42:44.582" v="450907"/>
          <ac:cxnSpMkLst>
            <pc:docMk/>
            <pc:sldMk cId="2668657357" sldId="2147483085"/>
            <ac:cxnSpMk id="391" creationId="{FAC83278-139C-17F6-11D7-E5C8B77EFCA5}"/>
          </ac:cxnSpMkLst>
        </pc:cxnChg>
        <pc:cxnChg chg="add del mod ord">
          <ac:chgData name="Yiqun Dai" userId="360a2182-b97f-4635-b990-04f846616e33" providerId="ADAL" clId="{8F04EA49-0EFC-48F3-A4D8-E0F0D3B461A8}" dt="2025-11-16T02:41:53.121" v="447852"/>
          <ac:cxnSpMkLst>
            <pc:docMk/>
            <pc:sldMk cId="2668657357" sldId="2147483085"/>
            <ac:cxnSpMk id="392" creationId="{162A419B-F92C-A078-0E4D-585233162105}"/>
          </ac:cxnSpMkLst>
        </pc:cxnChg>
        <pc:cxnChg chg="add del mod ord">
          <ac:chgData name="Yiqun Dai" userId="360a2182-b97f-4635-b990-04f846616e33" providerId="ADAL" clId="{8F04EA49-0EFC-48F3-A4D8-E0F0D3B461A8}" dt="2025-11-16T02:41:53.120" v="447850"/>
          <ac:cxnSpMkLst>
            <pc:docMk/>
            <pc:sldMk cId="2668657357" sldId="2147483085"/>
            <ac:cxnSpMk id="393" creationId="{81373AB5-5BCB-CD14-6DD3-69934353BD5B}"/>
          </ac:cxnSpMkLst>
        </pc:cxnChg>
        <pc:cxnChg chg="add del mod ord">
          <ac:chgData name="Yiqun Dai" userId="360a2182-b97f-4635-b990-04f846616e33" providerId="ADAL" clId="{8F04EA49-0EFC-48F3-A4D8-E0F0D3B461A8}" dt="2025-11-16T02:43:50.466" v="455195"/>
          <ac:cxnSpMkLst>
            <pc:docMk/>
            <pc:sldMk cId="2668657357" sldId="2147483085"/>
            <ac:cxnSpMk id="394" creationId="{4F83F71E-F1EC-38F2-FFA9-ED790C6019E7}"/>
          </ac:cxnSpMkLst>
        </pc:cxnChg>
        <pc:cxnChg chg="add del mod ord">
          <ac:chgData name="Yiqun Dai" userId="360a2182-b97f-4635-b990-04f846616e33" providerId="ADAL" clId="{8F04EA49-0EFC-48F3-A4D8-E0F0D3B461A8}" dt="2025-11-16T02:41:53.114" v="447842"/>
          <ac:cxnSpMkLst>
            <pc:docMk/>
            <pc:sldMk cId="2668657357" sldId="2147483085"/>
            <ac:cxnSpMk id="395" creationId="{A5C0CBF3-AD4F-4AF2-B35D-FB2B06F5FFBB}"/>
          </ac:cxnSpMkLst>
        </pc:cxnChg>
        <pc:cxnChg chg="add del mod ord">
          <ac:chgData name="Yiqun Dai" userId="360a2182-b97f-4635-b990-04f846616e33" providerId="ADAL" clId="{8F04EA49-0EFC-48F3-A4D8-E0F0D3B461A8}" dt="2025-11-16T02:41:53.112" v="447840"/>
          <ac:cxnSpMkLst>
            <pc:docMk/>
            <pc:sldMk cId="2668657357" sldId="2147483085"/>
            <ac:cxnSpMk id="396" creationId="{926659CC-C739-DA89-8313-748CC8951264}"/>
          </ac:cxnSpMkLst>
        </pc:cxnChg>
        <pc:cxnChg chg="del mod ord">
          <ac:chgData name="Yiqun Dai" userId="360a2182-b97f-4635-b990-04f846616e33" providerId="ADAL" clId="{8F04EA49-0EFC-48F3-A4D8-E0F0D3B461A8}" dt="2025-11-16T02:41:45.624" v="447181"/>
          <ac:cxnSpMkLst>
            <pc:docMk/>
            <pc:sldMk cId="2668657357" sldId="2147483085"/>
            <ac:cxnSpMk id="399" creationId="{8C502376-FCC3-5380-030E-641CC904FC7F}"/>
          </ac:cxnSpMkLst>
        </pc:cxnChg>
        <pc:cxnChg chg="del mod ord">
          <ac:chgData name="Yiqun Dai" userId="360a2182-b97f-4635-b990-04f846616e33" providerId="ADAL" clId="{8F04EA49-0EFC-48F3-A4D8-E0F0D3B461A8}" dt="2025-11-16T02:41:45.634" v="447191"/>
          <ac:cxnSpMkLst>
            <pc:docMk/>
            <pc:sldMk cId="2668657357" sldId="2147483085"/>
            <ac:cxnSpMk id="400" creationId="{71FF78E7-1D6C-B3F3-7EAC-C98AA8CED3F6}"/>
          </ac:cxnSpMkLst>
        </pc:cxnChg>
        <pc:cxnChg chg="del mod ord">
          <ac:chgData name="Yiqun Dai" userId="360a2182-b97f-4635-b990-04f846616e33" providerId="ADAL" clId="{8F04EA49-0EFC-48F3-A4D8-E0F0D3B461A8}" dt="2025-11-16T02:41:45.662" v="447223"/>
          <ac:cxnSpMkLst>
            <pc:docMk/>
            <pc:sldMk cId="2668657357" sldId="2147483085"/>
            <ac:cxnSpMk id="401" creationId="{4798F541-2DBD-87AC-52AC-9C7DA63EBAEE}"/>
          </ac:cxnSpMkLst>
        </pc:cxnChg>
        <pc:cxnChg chg="del mod ord">
          <ac:chgData name="Yiqun Dai" userId="360a2182-b97f-4635-b990-04f846616e33" providerId="ADAL" clId="{8F04EA49-0EFC-48F3-A4D8-E0F0D3B461A8}" dt="2025-11-16T02:41:45.678" v="447239"/>
          <ac:cxnSpMkLst>
            <pc:docMk/>
            <pc:sldMk cId="2668657357" sldId="2147483085"/>
            <ac:cxnSpMk id="402" creationId="{ED66ABD6-7B88-0288-554D-6831C4B69988}"/>
          </ac:cxnSpMkLst>
        </pc:cxnChg>
        <pc:cxnChg chg="del mod ord">
          <ac:chgData name="Yiqun Dai" userId="360a2182-b97f-4635-b990-04f846616e33" providerId="ADAL" clId="{8F04EA49-0EFC-48F3-A4D8-E0F0D3B461A8}" dt="2025-11-16T02:41:45.747" v="447333"/>
          <ac:cxnSpMkLst>
            <pc:docMk/>
            <pc:sldMk cId="2668657357" sldId="2147483085"/>
            <ac:cxnSpMk id="403" creationId="{8FF7818E-DF84-7285-87E3-AC526FDE8AFB}"/>
          </ac:cxnSpMkLst>
        </pc:cxnChg>
        <pc:cxnChg chg="del mod ord">
          <ac:chgData name="Yiqun Dai" userId="360a2182-b97f-4635-b990-04f846616e33" providerId="ADAL" clId="{8F04EA49-0EFC-48F3-A4D8-E0F0D3B461A8}" dt="2025-11-16T02:41:45.746" v="447331"/>
          <ac:cxnSpMkLst>
            <pc:docMk/>
            <pc:sldMk cId="2668657357" sldId="2147483085"/>
            <ac:cxnSpMk id="404" creationId="{0B3CE023-D46C-5FA2-D67F-5D8DCEC316DB}"/>
          </ac:cxnSpMkLst>
        </pc:cxnChg>
        <pc:cxnChg chg="del mod ord">
          <ac:chgData name="Yiqun Dai" userId="360a2182-b97f-4635-b990-04f846616e33" providerId="ADAL" clId="{8F04EA49-0EFC-48F3-A4D8-E0F0D3B461A8}" dt="2025-11-16T02:41:45.745" v="447329"/>
          <ac:cxnSpMkLst>
            <pc:docMk/>
            <pc:sldMk cId="2668657357" sldId="2147483085"/>
            <ac:cxnSpMk id="405" creationId="{39430C40-1FFB-0607-FF9B-C95F675F6B55}"/>
          </ac:cxnSpMkLst>
        </pc:cxnChg>
        <pc:cxnChg chg="add del mod ord">
          <ac:chgData name="Yiqun Dai" userId="360a2182-b97f-4635-b990-04f846616e33" providerId="ADAL" clId="{8F04EA49-0EFC-48F3-A4D8-E0F0D3B461A8}" dt="2025-11-16T02:41:53.118" v="447847"/>
          <ac:cxnSpMkLst>
            <pc:docMk/>
            <pc:sldMk cId="2668657357" sldId="2147483085"/>
            <ac:cxnSpMk id="409" creationId="{18269EFF-2093-E743-DB0A-101A5F27446D}"/>
          </ac:cxnSpMkLst>
        </pc:cxnChg>
        <pc:cxnChg chg="add del mod ord">
          <ac:chgData name="Yiqun Dai" userId="360a2182-b97f-4635-b990-04f846616e33" providerId="ADAL" clId="{8F04EA49-0EFC-48F3-A4D8-E0F0D3B461A8}" dt="2025-11-16T02:41:53.116" v="447845"/>
          <ac:cxnSpMkLst>
            <pc:docMk/>
            <pc:sldMk cId="2668657357" sldId="2147483085"/>
            <ac:cxnSpMk id="410" creationId="{A55A86A6-8965-368E-9CFC-86FAB70C30D8}"/>
          </ac:cxnSpMkLst>
        </pc:cxnChg>
        <pc:cxnChg chg="add del mod ord">
          <ac:chgData name="Yiqun Dai" userId="360a2182-b97f-4635-b990-04f846616e33" providerId="ADAL" clId="{8F04EA49-0EFC-48F3-A4D8-E0F0D3B461A8}" dt="2025-11-16T02:41:54.183" v="448260"/>
          <ac:cxnSpMkLst>
            <pc:docMk/>
            <pc:sldMk cId="2668657357" sldId="2147483085"/>
            <ac:cxnSpMk id="414" creationId="{EEFE41BA-7E85-AF0B-7C69-C8A7E2FA05FA}"/>
          </ac:cxnSpMkLst>
        </pc:cxnChg>
        <pc:cxnChg chg="add del mod ord">
          <ac:chgData name="Yiqun Dai" userId="360a2182-b97f-4635-b990-04f846616e33" providerId="ADAL" clId="{8F04EA49-0EFC-48F3-A4D8-E0F0D3B461A8}" dt="2025-11-16T02:41:54.219" v="448292"/>
          <ac:cxnSpMkLst>
            <pc:docMk/>
            <pc:sldMk cId="2668657357" sldId="2147483085"/>
            <ac:cxnSpMk id="415" creationId="{8F8D6BA4-9E41-A947-82A3-210EADB45C67}"/>
          </ac:cxnSpMkLst>
        </pc:cxnChg>
        <pc:cxnChg chg="add del mod ord">
          <ac:chgData name="Yiqun Dai" userId="360a2182-b97f-4635-b990-04f846616e33" providerId="ADAL" clId="{8F04EA49-0EFC-48F3-A4D8-E0F0D3B461A8}" dt="2025-11-16T02:41:54.241" v="448311"/>
          <ac:cxnSpMkLst>
            <pc:docMk/>
            <pc:sldMk cId="2668657357" sldId="2147483085"/>
            <ac:cxnSpMk id="416" creationId="{DBFD6FC7-DB3F-7357-6F3D-079EE1336BEF}"/>
          </ac:cxnSpMkLst>
        </pc:cxnChg>
        <pc:cxnChg chg="add del mod ord">
          <ac:chgData name="Yiqun Dai" userId="360a2182-b97f-4635-b990-04f846616e33" providerId="ADAL" clId="{8F04EA49-0EFC-48F3-A4D8-E0F0D3B461A8}" dt="2025-11-16T02:43:50.361" v="455095"/>
          <ac:cxnSpMkLst>
            <pc:docMk/>
            <pc:sldMk cId="2668657357" sldId="2147483085"/>
            <ac:cxnSpMk id="435" creationId="{BA448F01-94BB-1521-C04C-4DCACC498615}"/>
          </ac:cxnSpMkLst>
        </pc:cxnChg>
        <pc:cxnChg chg="add del mod ord">
          <ac:chgData name="Yiqun Dai" userId="360a2182-b97f-4635-b990-04f846616e33" providerId="ADAL" clId="{8F04EA49-0EFC-48F3-A4D8-E0F0D3B461A8}" dt="2025-11-16T02:43:50.356" v="455083"/>
          <ac:cxnSpMkLst>
            <pc:docMk/>
            <pc:sldMk cId="2668657357" sldId="2147483085"/>
            <ac:cxnSpMk id="436" creationId="{D6385E79-7CDA-AF82-E739-7873FE620EC0}"/>
          </ac:cxnSpMkLst>
        </pc:cxnChg>
        <pc:cxnChg chg="add del mod ord">
          <ac:chgData name="Yiqun Dai" userId="360a2182-b97f-4635-b990-04f846616e33" providerId="ADAL" clId="{8F04EA49-0EFC-48F3-A4D8-E0F0D3B461A8}" dt="2025-11-16T02:42:42.839" v="450522"/>
          <ac:cxnSpMkLst>
            <pc:docMk/>
            <pc:sldMk cId="2668657357" sldId="2147483085"/>
            <ac:cxnSpMk id="437" creationId="{B9CF7916-0A89-1C6A-6000-255046DD3159}"/>
          </ac:cxnSpMkLst>
        </pc:cxnChg>
        <pc:cxnChg chg="add del mod ord">
          <ac:chgData name="Yiqun Dai" userId="360a2182-b97f-4635-b990-04f846616e33" providerId="ADAL" clId="{8F04EA49-0EFC-48F3-A4D8-E0F0D3B461A8}" dt="2025-11-16T02:42:17.321" v="449004"/>
          <ac:cxnSpMkLst>
            <pc:docMk/>
            <pc:sldMk cId="2668657357" sldId="2147483085"/>
            <ac:cxnSpMk id="438" creationId="{7BEEFCD0-ED0E-FDD3-F5DD-6031F4DBBD06}"/>
          </ac:cxnSpMkLst>
        </pc:cxnChg>
        <pc:cxnChg chg="add del mod ord">
          <ac:chgData name="Yiqun Dai" userId="360a2182-b97f-4635-b990-04f846616e33" providerId="ADAL" clId="{8F04EA49-0EFC-48F3-A4D8-E0F0D3B461A8}" dt="2025-11-16T02:42:17.320" v="449002"/>
          <ac:cxnSpMkLst>
            <pc:docMk/>
            <pc:sldMk cId="2668657357" sldId="2147483085"/>
            <ac:cxnSpMk id="439" creationId="{35CAE736-EE9F-A898-13CA-4AE00FBD3CE6}"/>
          </ac:cxnSpMkLst>
        </pc:cxnChg>
        <pc:cxnChg chg="add del mod ord">
          <ac:chgData name="Yiqun Dai" userId="360a2182-b97f-4635-b990-04f846616e33" providerId="ADAL" clId="{8F04EA49-0EFC-48F3-A4D8-E0F0D3B461A8}" dt="2025-11-16T02:42:17.318" v="448999"/>
          <ac:cxnSpMkLst>
            <pc:docMk/>
            <pc:sldMk cId="2668657357" sldId="2147483085"/>
            <ac:cxnSpMk id="440" creationId="{813C85F6-7468-A4F9-B458-DFAFDC1D1B6D}"/>
          </ac:cxnSpMkLst>
        </pc:cxnChg>
        <pc:cxnChg chg="add del mod ord">
          <ac:chgData name="Yiqun Dai" userId="360a2182-b97f-4635-b990-04f846616e33" providerId="ADAL" clId="{8F04EA49-0EFC-48F3-A4D8-E0F0D3B461A8}" dt="2025-11-16T02:42:17.317" v="448997"/>
          <ac:cxnSpMkLst>
            <pc:docMk/>
            <pc:sldMk cId="2668657357" sldId="2147483085"/>
            <ac:cxnSpMk id="441" creationId="{0919A466-F9D9-AD2B-7974-E943F65B1BC7}"/>
          </ac:cxnSpMkLst>
        </pc:cxnChg>
        <pc:cxnChg chg="add del mod ord">
          <ac:chgData name="Yiqun Dai" userId="360a2182-b97f-4635-b990-04f846616e33" providerId="ADAL" clId="{8F04EA49-0EFC-48F3-A4D8-E0F0D3B461A8}" dt="2025-11-16T02:43:50.351" v="455074"/>
          <ac:cxnSpMkLst>
            <pc:docMk/>
            <pc:sldMk cId="2668657357" sldId="2147483085"/>
            <ac:cxnSpMk id="442" creationId="{A852467B-ACD1-CEEE-83A6-F6BBD92EF88B}"/>
          </ac:cxnSpMkLst>
        </pc:cxnChg>
        <pc:cxnChg chg="add del mod ord">
          <ac:chgData name="Yiqun Dai" userId="360a2182-b97f-4635-b990-04f846616e33" providerId="ADAL" clId="{8F04EA49-0EFC-48F3-A4D8-E0F0D3B461A8}" dt="2025-11-16T02:42:49.138" v="452025"/>
          <ac:cxnSpMkLst>
            <pc:docMk/>
            <pc:sldMk cId="2668657357" sldId="2147483085"/>
            <ac:cxnSpMk id="443" creationId="{36876A4D-D53B-1C80-0C4D-D84FE2096D27}"/>
          </ac:cxnSpMkLst>
        </pc:cxnChg>
        <pc:cxnChg chg="add del mod ord">
          <ac:chgData name="Yiqun Dai" userId="360a2182-b97f-4635-b990-04f846616e33" providerId="ADAL" clId="{8F04EA49-0EFC-48F3-A4D8-E0F0D3B461A8}" dt="2025-11-16T02:43:50.350" v="455071"/>
          <ac:cxnSpMkLst>
            <pc:docMk/>
            <pc:sldMk cId="2668657357" sldId="2147483085"/>
            <ac:cxnSpMk id="444" creationId="{92995042-5DE7-108F-8507-C226E57C4B74}"/>
          </ac:cxnSpMkLst>
        </pc:cxnChg>
        <pc:cxnChg chg="add del mod ord">
          <ac:chgData name="Yiqun Dai" userId="360a2182-b97f-4635-b990-04f846616e33" providerId="ADAL" clId="{8F04EA49-0EFC-48F3-A4D8-E0F0D3B461A8}" dt="2025-11-16T02:43:50.349" v="455069"/>
          <ac:cxnSpMkLst>
            <pc:docMk/>
            <pc:sldMk cId="2668657357" sldId="2147483085"/>
            <ac:cxnSpMk id="445" creationId="{ACEE949E-940D-C9A6-9066-6A6C4269421E}"/>
          </ac:cxnSpMkLst>
        </pc:cxnChg>
        <pc:cxnChg chg="add del mod ord">
          <ac:chgData name="Yiqun Dai" userId="360a2182-b97f-4635-b990-04f846616e33" providerId="ADAL" clId="{8F04EA49-0EFC-48F3-A4D8-E0F0D3B461A8}" dt="2025-11-16T02:36:45.682" v="434136"/>
          <ac:cxnSpMkLst>
            <pc:docMk/>
            <pc:sldMk cId="2668657357" sldId="2147483085"/>
            <ac:cxnSpMk id="448" creationId="{AF47A67D-AE2C-EC16-21B5-23B7E37236DC}"/>
          </ac:cxnSpMkLst>
        </pc:cxnChg>
        <pc:cxnChg chg="add del mod ord">
          <ac:chgData name="Yiqun Dai" userId="360a2182-b97f-4635-b990-04f846616e33" providerId="ADAL" clId="{8F04EA49-0EFC-48F3-A4D8-E0F0D3B461A8}" dt="2025-11-16T02:36:57.668" v="434655"/>
          <ac:cxnSpMkLst>
            <pc:docMk/>
            <pc:sldMk cId="2668657357" sldId="2147483085"/>
            <ac:cxnSpMk id="457" creationId="{829CEB9A-4A2C-C5E0-AFE5-577BF6F87103}"/>
          </ac:cxnSpMkLst>
        </pc:cxnChg>
        <pc:cxnChg chg="add del mod ord">
          <ac:chgData name="Yiqun Dai" userId="360a2182-b97f-4635-b990-04f846616e33" providerId="ADAL" clId="{8F04EA49-0EFC-48F3-A4D8-E0F0D3B461A8}" dt="2025-11-16T02:36:57.671" v="434657"/>
          <ac:cxnSpMkLst>
            <pc:docMk/>
            <pc:sldMk cId="2668657357" sldId="2147483085"/>
            <ac:cxnSpMk id="458" creationId="{31F23E6E-B70C-7B0A-0E5C-BF6C74C5A6D9}"/>
          </ac:cxnSpMkLst>
        </pc:cxnChg>
        <pc:cxnChg chg="add del mod ord">
          <ac:chgData name="Yiqun Dai" userId="360a2182-b97f-4635-b990-04f846616e33" providerId="ADAL" clId="{8F04EA49-0EFC-48F3-A4D8-E0F0D3B461A8}" dt="2025-11-16T02:36:57.673" v="434659"/>
          <ac:cxnSpMkLst>
            <pc:docMk/>
            <pc:sldMk cId="2668657357" sldId="2147483085"/>
            <ac:cxnSpMk id="459" creationId="{7F3857C6-0F29-BA40-B572-DF670B8BA916}"/>
          </ac:cxnSpMkLst>
        </pc:cxnChg>
        <pc:cxnChg chg="add del mod ord">
          <ac:chgData name="Yiqun Dai" userId="360a2182-b97f-4635-b990-04f846616e33" providerId="ADAL" clId="{8F04EA49-0EFC-48F3-A4D8-E0F0D3B461A8}" dt="2025-11-16T02:36:57.677" v="434661"/>
          <ac:cxnSpMkLst>
            <pc:docMk/>
            <pc:sldMk cId="2668657357" sldId="2147483085"/>
            <ac:cxnSpMk id="460" creationId="{DD736B20-5D23-F177-ECA5-1F6F3F1A7D61}"/>
          </ac:cxnSpMkLst>
        </pc:cxnChg>
        <pc:cxnChg chg="add del mod ord">
          <ac:chgData name="Yiqun Dai" userId="360a2182-b97f-4635-b990-04f846616e33" providerId="ADAL" clId="{8F04EA49-0EFC-48F3-A4D8-E0F0D3B461A8}" dt="2025-11-16T02:36:57.682" v="434663"/>
          <ac:cxnSpMkLst>
            <pc:docMk/>
            <pc:sldMk cId="2668657357" sldId="2147483085"/>
            <ac:cxnSpMk id="461" creationId="{BF0CBC91-6AD4-ED1E-C783-C3E8E3BA3A79}"/>
          </ac:cxnSpMkLst>
        </pc:cxnChg>
        <pc:cxnChg chg="del">
          <ac:chgData name="Yiqun Dai" userId="360a2182-b97f-4635-b990-04f846616e33" providerId="ADAL" clId="{8F04EA49-0EFC-48F3-A4D8-E0F0D3B461A8}" dt="2025-11-16T02:34:40.562" v="431758"/>
          <ac:cxnSpMkLst>
            <pc:docMk/>
            <pc:sldMk cId="2668657357" sldId="2147483085"/>
            <ac:cxnSpMk id="465" creationId="{DB7BAF17-FF13-2735-7D04-373CAB8EB6E5}"/>
          </ac:cxnSpMkLst>
        </pc:cxnChg>
        <pc:cxnChg chg="del mod ord">
          <ac:chgData name="Yiqun Dai" userId="360a2182-b97f-4635-b990-04f846616e33" providerId="ADAL" clId="{8F04EA49-0EFC-48F3-A4D8-E0F0D3B461A8}" dt="2025-11-16T02:37:13.413" v="434884"/>
          <ac:cxnSpMkLst>
            <pc:docMk/>
            <pc:sldMk cId="2668657357" sldId="2147483085"/>
            <ac:cxnSpMk id="467" creationId="{3D6A8FF5-DC38-3A63-E37D-F9FDFDD8CFFB}"/>
          </ac:cxnSpMkLst>
        </pc:cxnChg>
        <pc:cxnChg chg="del mod ord">
          <ac:chgData name="Yiqun Dai" userId="360a2182-b97f-4635-b990-04f846616e33" providerId="ADAL" clId="{8F04EA49-0EFC-48F3-A4D8-E0F0D3B461A8}" dt="2025-11-16T02:37:13.418" v="434890"/>
          <ac:cxnSpMkLst>
            <pc:docMk/>
            <pc:sldMk cId="2668657357" sldId="2147483085"/>
            <ac:cxnSpMk id="468" creationId="{AAEF7D2E-BA00-E699-38AA-923506550B3C}"/>
          </ac:cxnSpMkLst>
        </pc:cxnChg>
        <pc:cxnChg chg="del mod ord">
          <ac:chgData name="Yiqun Dai" userId="360a2182-b97f-4635-b990-04f846616e33" providerId="ADAL" clId="{8F04EA49-0EFC-48F3-A4D8-E0F0D3B461A8}" dt="2025-11-16T02:37:13.430" v="434902"/>
          <ac:cxnSpMkLst>
            <pc:docMk/>
            <pc:sldMk cId="2668657357" sldId="2147483085"/>
            <ac:cxnSpMk id="469" creationId="{5AC05048-4302-ECFA-388E-95D10110B5EE}"/>
          </ac:cxnSpMkLst>
        </pc:cxnChg>
        <pc:cxnChg chg="del mod ord">
          <ac:chgData name="Yiqun Dai" userId="360a2182-b97f-4635-b990-04f846616e33" providerId="ADAL" clId="{8F04EA49-0EFC-48F3-A4D8-E0F0D3B461A8}" dt="2025-11-16T02:37:13.436" v="434910"/>
          <ac:cxnSpMkLst>
            <pc:docMk/>
            <pc:sldMk cId="2668657357" sldId="2147483085"/>
            <ac:cxnSpMk id="470" creationId="{D192FE7B-EAA8-43FC-F6F0-F6022D838171}"/>
          </ac:cxnSpMkLst>
        </pc:cxnChg>
        <pc:cxnChg chg="del">
          <ac:chgData name="Yiqun Dai" userId="360a2182-b97f-4635-b990-04f846616e33" providerId="ADAL" clId="{8F04EA49-0EFC-48F3-A4D8-E0F0D3B461A8}" dt="2025-11-16T02:34:39.414" v="431213"/>
          <ac:cxnSpMkLst>
            <pc:docMk/>
            <pc:sldMk cId="2668657357" sldId="2147483085"/>
            <ac:cxnSpMk id="471" creationId="{0998B6D0-AD8C-8766-5428-B9E91B956D8F}"/>
          </ac:cxnSpMkLst>
        </pc:cxnChg>
        <pc:cxnChg chg="del mod ord">
          <ac:chgData name="Yiqun Dai" userId="360a2182-b97f-4635-b990-04f846616e33" providerId="ADAL" clId="{8F04EA49-0EFC-48F3-A4D8-E0F0D3B461A8}" dt="2025-11-16T02:37:13.459" v="434928"/>
          <ac:cxnSpMkLst>
            <pc:docMk/>
            <pc:sldMk cId="2668657357" sldId="2147483085"/>
            <ac:cxnSpMk id="472" creationId="{EEFA0D7D-8407-D888-6DAB-7C96A026D910}"/>
          </ac:cxnSpMkLst>
        </pc:cxnChg>
        <pc:cxnChg chg="add del mod ord">
          <ac:chgData name="Yiqun Dai" userId="360a2182-b97f-4635-b990-04f846616e33" providerId="ADAL" clId="{8F04EA49-0EFC-48F3-A4D8-E0F0D3B461A8}" dt="2025-11-16T02:37:26.952" v="435260"/>
          <ac:cxnSpMkLst>
            <pc:docMk/>
            <pc:sldMk cId="2668657357" sldId="2147483085"/>
            <ac:cxnSpMk id="477" creationId="{382CFB9C-6732-693C-41D3-9A419666E9D0}"/>
          </ac:cxnSpMkLst>
        </pc:cxnChg>
        <pc:cxnChg chg="add del mod ord">
          <ac:chgData name="Yiqun Dai" userId="360a2182-b97f-4635-b990-04f846616e33" providerId="ADAL" clId="{8F04EA49-0EFC-48F3-A4D8-E0F0D3B461A8}" dt="2025-11-16T02:37:26.962" v="435266"/>
          <ac:cxnSpMkLst>
            <pc:docMk/>
            <pc:sldMk cId="2668657357" sldId="2147483085"/>
            <ac:cxnSpMk id="478" creationId="{7D9D5720-EACC-59BF-26C1-317A962C6001}"/>
          </ac:cxnSpMkLst>
        </pc:cxnChg>
        <pc:cxnChg chg="add del mod ord">
          <ac:chgData name="Yiqun Dai" userId="360a2182-b97f-4635-b990-04f846616e33" providerId="ADAL" clId="{8F04EA49-0EFC-48F3-A4D8-E0F0D3B461A8}" dt="2025-11-16T02:37:26.979" v="435278"/>
          <ac:cxnSpMkLst>
            <pc:docMk/>
            <pc:sldMk cId="2668657357" sldId="2147483085"/>
            <ac:cxnSpMk id="479" creationId="{542FA414-69A9-377A-FF91-AA37DE732B17}"/>
          </ac:cxnSpMkLst>
        </pc:cxnChg>
        <pc:cxnChg chg="add del mod ord">
          <ac:chgData name="Yiqun Dai" userId="360a2182-b97f-4635-b990-04f846616e33" providerId="ADAL" clId="{8F04EA49-0EFC-48F3-A4D8-E0F0D3B461A8}" dt="2025-11-16T02:37:26.991" v="435286"/>
          <ac:cxnSpMkLst>
            <pc:docMk/>
            <pc:sldMk cId="2668657357" sldId="2147483085"/>
            <ac:cxnSpMk id="480" creationId="{C907405A-9CD6-EDAB-4AC8-3A2907243AC8}"/>
          </ac:cxnSpMkLst>
        </pc:cxnChg>
        <pc:cxnChg chg="add del mod ord">
          <ac:chgData name="Yiqun Dai" userId="360a2182-b97f-4635-b990-04f846616e33" providerId="ADAL" clId="{8F04EA49-0EFC-48F3-A4D8-E0F0D3B461A8}" dt="2025-11-16T02:37:27.044" v="435311"/>
          <ac:cxnSpMkLst>
            <pc:docMk/>
            <pc:sldMk cId="2668657357" sldId="2147483085"/>
            <ac:cxnSpMk id="481" creationId="{20E61C8D-CE34-F9FC-6363-714CE2EF443B}"/>
          </ac:cxnSpMkLst>
        </pc:cxnChg>
        <pc:cxnChg chg="add del mod ord">
          <ac:chgData name="Yiqun Dai" userId="360a2182-b97f-4635-b990-04f846616e33" providerId="ADAL" clId="{8F04EA49-0EFC-48F3-A4D8-E0F0D3B461A8}" dt="2025-11-16T02:37:55.304" v="435720"/>
          <ac:cxnSpMkLst>
            <pc:docMk/>
            <pc:sldMk cId="2668657357" sldId="2147483085"/>
            <ac:cxnSpMk id="486" creationId="{F75F9C30-3EB8-ABCB-1FBA-2D0636049C0C}"/>
          </ac:cxnSpMkLst>
        </pc:cxnChg>
        <pc:cxnChg chg="add del mod ord">
          <ac:chgData name="Yiqun Dai" userId="360a2182-b97f-4635-b990-04f846616e33" providerId="ADAL" clId="{8F04EA49-0EFC-48F3-A4D8-E0F0D3B461A8}" dt="2025-11-16T02:37:55.307" v="435726"/>
          <ac:cxnSpMkLst>
            <pc:docMk/>
            <pc:sldMk cId="2668657357" sldId="2147483085"/>
            <ac:cxnSpMk id="487" creationId="{1306A6AE-7593-9511-428A-9EFD305EC531}"/>
          </ac:cxnSpMkLst>
        </pc:cxnChg>
        <pc:cxnChg chg="add del mod ord">
          <ac:chgData name="Yiqun Dai" userId="360a2182-b97f-4635-b990-04f846616e33" providerId="ADAL" clId="{8F04EA49-0EFC-48F3-A4D8-E0F0D3B461A8}" dt="2025-11-16T02:37:55.316" v="435740"/>
          <ac:cxnSpMkLst>
            <pc:docMk/>
            <pc:sldMk cId="2668657357" sldId="2147483085"/>
            <ac:cxnSpMk id="488" creationId="{D194CF66-AB32-C070-4EBD-2A42006F60CF}"/>
          </ac:cxnSpMkLst>
        </pc:cxnChg>
        <pc:cxnChg chg="add del mod ord">
          <ac:chgData name="Yiqun Dai" userId="360a2182-b97f-4635-b990-04f846616e33" providerId="ADAL" clId="{8F04EA49-0EFC-48F3-A4D8-E0F0D3B461A8}" dt="2025-11-16T02:37:55.320" v="435746"/>
          <ac:cxnSpMkLst>
            <pc:docMk/>
            <pc:sldMk cId="2668657357" sldId="2147483085"/>
            <ac:cxnSpMk id="489" creationId="{2695F3FF-251C-C542-43F1-3A9FB1736F84}"/>
          </ac:cxnSpMkLst>
        </pc:cxnChg>
        <pc:cxnChg chg="add del mod ord">
          <ac:chgData name="Yiqun Dai" userId="360a2182-b97f-4635-b990-04f846616e33" providerId="ADAL" clId="{8F04EA49-0EFC-48F3-A4D8-E0F0D3B461A8}" dt="2025-11-16T02:37:55.328" v="435760"/>
          <ac:cxnSpMkLst>
            <pc:docMk/>
            <pc:sldMk cId="2668657357" sldId="2147483085"/>
            <ac:cxnSpMk id="490" creationId="{5D5C5EA7-FA13-4E2F-9755-841CB814D74E}"/>
          </ac:cxnSpMkLst>
        </pc:cxnChg>
        <pc:cxnChg chg="add del mod ord">
          <ac:chgData name="Yiqun Dai" userId="360a2182-b97f-4635-b990-04f846616e33" providerId="ADAL" clId="{8F04EA49-0EFC-48F3-A4D8-E0F0D3B461A8}" dt="2025-11-16T02:37:55.332" v="435766"/>
          <ac:cxnSpMkLst>
            <pc:docMk/>
            <pc:sldMk cId="2668657357" sldId="2147483085"/>
            <ac:cxnSpMk id="491" creationId="{0C54F3EF-2EF5-1A8E-DC28-BF2C609721CE}"/>
          </ac:cxnSpMkLst>
        </pc:cxnChg>
        <pc:cxnChg chg="add del mod ord">
          <ac:chgData name="Yiqun Dai" userId="360a2182-b97f-4635-b990-04f846616e33" providerId="ADAL" clId="{8F04EA49-0EFC-48F3-A4D8-E0F0D3B461A8}" dt="2025-11-16T02:37:58.288" v="436078"/>
          <ac:cxnSpMkLst>
            <pc:docMk/>
            <pc:sldMk cId="2668657357" sldId="2147483085"/>
            <ac:cxnSpMk id="496" creationId="{3C68326F-7EC0-8FC0-4526-64B9C21D4EAC}"/>
          </ac:cxnSpMkLst>
        </pc:cxnChg>
        <pc:cxnChg chg="add del mod ord">
          <ac:chgData name="Yiqun Dai" userId="360a2182-b97f-4635-b990-04f846616e33" providerId="ADAL" clId="{8F04EA49-0EFC-48F3-A4D8-E0F0D3B461A8}" dt="2025-11-16T02:37:58.292" v="436084"/>
          <ac:cxnSpMkLst>
            <pc:docMk/>
            <pc:sldMk cId="2668657357" sldId="2147483085"/>
            <ac:cxnSpMk id="497" creationId="{52F24481-C073-BB47-90F6-E2B22A9E26BA}"/>
          </ac:cxnSpMkLst>
        </pc:cxnChg>
        <pc:cxnChg chg="add del mod ord">
          <ac:chgData name="Yiqun Dai" userId="360a2182-b97f-4635-b990-04f846616e33" providerId="ADAL" clId="{8F04EA49-0EFC-48F3-A4D8-E0F0D3B461A8}" dt="2025-11-16T02:37:58.303" v="436098"/>
          <ac:cxnSpMkLst>
            <pc:docMk/>
            <pc:sldMk cId="2668657357" sldId="2147483085"/>
            <ac:cxnSpMk id="498" creationId="{7663B4E7-E7B7-4AE4-8AD8-5E098A44E23B}"/>
          </ac:cxnSpMkLst>
        </pc:cxnChg>
        <pc:cxnChg chg="add del mod ord">
          <ac:chgData name="Yiqun Dai" userId="360a2182-b97f-4635-b990-04f846616e33" providerId="ADAL" clId="{8F04EA49-0EFC-48F3-A4D8-E0F0D3B461A8}" dt="2025-11-16T02:37:58.309" v="436104"/>
          <ac:cxnSpMkLst>
            <pc:docMk/>
            <pc:sldMk cId="2668657357" sldId="2147483085"/>
            <ac:cxnSpMk id="499" creationId="{518D1FF8-BD02-3F5C-FD6F-50DFE78A64CD}"/>
          </ac:cxnSpMkLst>
        </pc:cxnChg>
        <pc:cxnChg chg="add del mod ord">
          <ac:chgData name="Yiqun Dai" userId="360a2182-b97f-4635-b990-04f846616e33" providerId="ADAL" clId="{8F04EA49-0EFC-48F3-A4D8-E0F0D3B461A8}" dt="2025-11-16T02:37:58.322" v="436118"/>
          <ac:cxnSpMkLst>
            <pc:docMk/>
            <pc:sldMk cId="2668657357" sldId="2147483085"/>
            <ac:cxnSpMk id="500" creationId="{01C8B176-4E21-B88C-D401-F0A32FB19822}"/>
          </ac:cxnSpMkLst>
        </pc:cxnChg>
        <pc:cxnChg chg="add del mod ord">
          <ac:chgData name="Yiqun Dai" userId="360a2182-b97f-4635-b990-04f846616e33" providerId="ADAL" clId="{8F04EA49-0EFC-48F3-A4D8-E0F0D3B461A8}" dt="2025-11-16T02:37:58.327" v="436124"/>
          <ac:cxnSpMkLst>
            <pc:docMk/>
            <pc:sldMk cId="2668657357" sldId="2147483085"/>
            <ac:cxnSpMk id="501" creationId="{F77373F9-F162-6DD0-14E4-3F95F10C637F}"/>
          </ac:cxnSpMkLst>
        </pc:cxnChg>
        <pc:cxnChg chg="add del mod ord">
          <ac:chgData name="Yiqun Dai" userId="360a2182-b97f-4635-b990-04f846616e33" providerId="ADAL" clId="{8F04EA49-0EFC-48F3-A4D8-E0F0D3B461A8}" dt="2025-11-16T02:38:15.193" v="436434"/>
          <ac:cxnSpMkLst>
            <pc:docMk/>
            <pc:sldMk cId="2668657357" sldId="2147483085"/>
            <ac:cxnSpMk id="506" creationId="{7A9FFC8A-8985-C58D-B921-AA1A4A8DFDC3}"/>
          </ac:cxnSpMkLst>
        </pc:cxnChg>
        <pc:cxnChg chg="add del mod ord">
          <ac:chgData name="Yiqun Dai" userId="360a2182-b97f-4635-b990-04f846616e33" providerId="ADAL" clId="{8F04EA49-0EFC-48F3-A4D8-E0F0D3B461A8}" dt="2025-11-16T02:38:15.197" v="436440"/>
          <ac:cxnSpMkLst>
            <pc:docMk/>
            <pc:sldMk cId="2668657357" sldId="2147483085"/>
            <ac:cxnSpMk id="507" creationId="{81A79918-D7D2-40BF-2970-E566B28999C9}"/>
          </ac:cxnSpMkLst>
        </pc:cxnChg>
        <pc:cxnChg chg="add del mod ord">
          <ac:chgData name="Yiqun Dai" userId="360a2182-b97f-4635-b990-04f846616e33" providerId="ADAL" clId="{8F04EA49-0EFC-48F3-A4D8-E0F0D3B461A8}" dt="2025-11-16T02:38:15.209" v="436454"/>
          <ac:cxnSpMkLst>
            <pc:docMk/>
            <pc:sldMk cId="2668657357" sldId="2147483085"/>
            <ac:cxnSpMk id="508" creationId="{D34950D0-10A8-2CA6-3AC0-798BBC349E96}"/>
          </ac:cxnSpMkLst>
        </pc:cxnChg>
        <pc:cxnChg chg="add del mod ord">
          <ac:chgData name="Yiqun Dai" userId="360a2182-b97f-4635-b990-04f846616e33" providerId="ADAL" clId="{8F04EA49-0EFC-48F3-A4D8-E0F0D3B461A8}" dt="2025-11-16T02:38:15.222" v="436465"/>
          <ac:cxnSpMkLst>
            <pc:docMk/>
            <pc:sldMk cId="2668657357" sldId="2147483085"/>
            <ac:cxnSpMk id="509" creationId="{3B17F9E0-CF6F-F6A3-62EA-C846FEA0F2F1}"/>
          </ac:cxnSpMkLst>
        </pc:cxnChg>
        <pc:cxnChg chg="add del mod ord">
          <ac:chgData name="Yiqun Dai" userId="360a2182-b97f-4635-b990-04f846616e33" providerId="ADAL" clId="{8F04EA49-0EFC-48F3-A4D8-E0F0D3B461A8}" dt="2025-11-16T02:38:15.235" v="436479"/>
          <ac:cxnSpMkLst>
            <pc:docMk/>
            <pc:sldMk cId="2668657357" sldId="2147483085"/>
            <ac:cxnSpMk id="510" creationId="{1F4E5C35-B793-D1D8-88CA-A11224196235}"/>
          </ac:cxnSpMkLst>
        </pc:cxnChg>
        <pc:cxnChg chg="add del mod ord">
          <ac:chgData name="Yiqun Dai" userId="360a2182-b97f-4635-b990-04f846616e33" providerId="ADAL" clId="{8F04EA49-0EFC-48F3-A4D8-E0F0D3B461A8}" dt="2025-11-16T02:38:15.239" v="436485"/>
          <ac:cxnSpMkLst>
            <pc:docMk/>
            <pc:sldMk cId="2668657357" sldId="2147483085"/>
            <ac:cxnSpMk id="511" creationId="{6E3D31DD-D0CE-EAF0-C264-8C4E9BFBA5E3}"/>
          </ac:cxnSpMkLst>
        </pc:cxnChg>
        <pc:cxnChg chg="add del mod ord">
          <ac:chgData name="Yiqun Dai" userId="360a2182-b97f-4635-b990-04f846616e33" providerId="ADAL" clId="{8F04EA49-0EFC-48F3-A4D8-E0F0D3B461A8}" dt="2025-11-16T02:38:39.500" v="436902"/>
          <ac:cxnSpMkLst>
            <pc:docMk/>
            <pc:sldMk cId="2668657357" sldId="2147483085"/>
            <ac:cxnSpMk id="516" creationId="{1791D139-9CD9-0121-30DA-49B9F5AF60D6}"/>
          </ac:cxnSpMkLst>
        </pc:cxnChg>
        <pc:cxnChg chg="add del mod ord">
          <ac:chgData name="Yiqun Dai" userId="360a2182-b97f-4635-b990-04f846616e33" providerId="ADAL" clId="{8F04EA49-0EFC-48F3-A4D8-E0F0D3B461A8}" dt="2025-11-16T02:38:39.502" v="436904"/>
          <ac:cxnSpMkLst>
            <pc:docMk/>
            <pc:sldMk cId="2668657357" sldId="2147483085"/>
            <ac:cxnSpMk id="517" creationId="{89947557-D0E3-76CE-D1F5-6E5B108BCCCB}"/>
          </ac:cxnSpMkLst>
        </pc:cxnChg>
        <pc:cxnChg chg="add del mod ord">
          <ac:chgData name="Yiqun Dai" userId="360a2182-b97f-4635-b990-04f846616e33" providerId="ADAL" clId="{8F04EA49-0EFC-48F3-A4D8-E0F0D3B461A8}" dt="2025-11-16T02:38:39.503" v="436906"/>
          <ac:cxnSpMkLst>
            <pc:docMk/>
            <pc:sldMk cId="2668657357" sldId="2147483085"/>
            <ac:cxnSpMk id="518" creationId="{2EE1388F-A632-F472-3AC5-CA9F285AD57D}"/>
          </ac:cxnSpMkLst>
        </pc:cxnChg>
        <pc:cxnChg chg="add del mod ord">
          <ac:chgData name="Yiqun Dai" userId="360a2182-b97f-4635-b990-04f846616e33" providerId="ADAL" clId="{8F04EA49-0EFC-48F3-A4D8-E0F0D3B461A8}" dt="2025-11-16T02:38:39.505" v="436908"/>
          <ac:cxnSpMkLst>
            <pc:docMk/>
            <pc:sldMk cId="2668657357" sldId="2147483085"/>
            <ac:cxnSpMk id="519" creationId="{DB226966-7863-B628-B2E7-C4C12F1831D7}"/>
          </ac:cxnSpMkLst>
        </pc:cxnChg>
        <pc:cxnChg chg="add del mod ord">
          <ac:chgData name="Yiqun Dai" userId="360a2182-b97f-4635-b990-04f846616e33" providerId="ADAL" clId="{8F04EA49-0EFC-48F3-A4D8-E0F0D3B461A8}" dt="2025-11-16T02:38:39.506" v="436910"/>
          <ac:cxnSpMkLst>
            <pc:docMk/>
            <pc:sldMk cId="2668657357" sldId="2147483085"/>
            <ac:cxnSpMk id="520" creationId="{5BE79607-0E48-FDE6-DA2E-419EF05FA8DF}"/>
          </ac:cxnSpMkLst>
        </pc:cxnChg>
        <pc:cxnChg chg="add del mod ord">
          <ac:chgData name="Yiqun Dai" userId="360a2182-b97f-4635-b990-04f846616e33" providerId="ADAL" clId="{8F04EA49-0EFC-48F3-A4D8-E0F0D3B461A8}" dt="2025-11-16T02:38:39.508" v="436912"/>
          <ac:cxnSpMkLst>
            <pc:docMk/>
            <pc:sldMk cId="2668657357" sldId="2147483085"/>
            <ac:cxnSpMk id="521" creationId="{70641555-9CBA-45E2-32B6-1E003F839543}"/>
          </ac:cxnSpMkLst>
        </pc:cxnChg>
        <pc:cxnChg chg="add del mod ord">
          <ac:chgData name="Yiqun Dai" userId="360a2182-b97f-4635-b990-04f846616e33" providerId="ADAL" clId="{8F04EA49-0EFC-48F3-A4D8-E0F0D3B461A8}" dt="2025-11-16T02:38:39.510" v="436914"/>
          <ac:cxnSpMkLst>
            <pc:docMk/>
            <pc:sldMk cId="2668657357" sldId="2147483085"/>
            <ac:cxnSpMk id="522" creationId="{DE379D3B-5241-FE42-87BD-58603C0486A8}"/>
          </ac:cxnSpMkLst>
        </pc:cxnChg>
        <pc:cxnChg chg="add del mod ord">
          <ac:chgData name="Yiqun Dai" userId="360a2182-b97f-4635-b990-04f846616e33" providerId="ADAL" clId="{8F04EA49-0EFC-48F3-A4D8-E0F0D3B461A8}" dt="2025-11-16T02:38:48.757" v="437212"/>
          <ac:cxnSpMkLst>
            <pc:docMk/>
            <pc:sldMk cId="2668657357" sldId="2147483085"/>
            <ac:cxnSpMk id="527" creationId="{663EA996-57AF-3C6A-AF67-50243FD5A530}"/>
          </ac:cxnSpMkLst>
        </pc:cxnChg>
        <pc:cxnChg chg="add del mod ord">
          <ac:chgData name="Yiqun Dai" userId="360a2182-b97f-4635-b990-04f846616e33" providerId="ADAL" clId="{8F04EA49-0EFC-48F3-A4D8-E0F0D3B461A8}" dt="2025-11-16T02:38:48.761" v="437218"/>
          <ac:cxnSpMkLst>
            <pc:docMk/>
            <pc:sldMk cId="2668657357" sldId="2147483085"/>
            <ac:cxnSpMk id="528" creationId="{A501AF9E-B05F-2832-C50C-46417CD30B87}"/>
          </ac:cxnSpMkLst>
        </pc:cxnChg>
        <pc:cxnChg chg="add del mod ord">
          <ac:chgData name="Yiqun Dai" userId="360a2182-b97f-4635-b990-04f846616e33" providerId="ADAL" clId="{8F04EA49-0EFC-48F3-A4D8-E0F0D3B461A8}" dt="2025-11-16T02:38:48.766" v="437224"/>
          <ac:cxnSpMkLst>
            <pc:docMk/>
            <pc:sldMk cId="2668657357" sldId="2147483085"/>
            <ac:cxnSpMk id="529" creationId="{545C761D-7A0A-40AB-0F18-C67F66D97688}"/>
          </ac:cxnSpMkLst>
        </pc:cxnChg>
        <pc:cxnChg chg="mod ord">
          <ac:chgData name="Yiqun Dai" userId="360a2182-b97f-4635-b990-04f846616e33" providerId="ADAL" clId="{8F04EA49-0EFC-48F3-A4D8-E0F0D3B461A8}" dt="2025-11-16T02:51:55.094" v="466348"/>
          <ac:cxnSpMkLst>
            <pc:docMk/>
            <pc:sldMk cId="2668657357" sldId="2147483085"/>
            <ac:cxnSpMk id="530" creationId="{79DACFC3-83CE-BB70-639D-AF6CD439146B}"/>
          </ac:cxnSpMkLst>
        </pc:cxnChg>
        <pc:cxnChg chg="del mod ord">
          <ac:chgData name="Yiqun Dai" userId="360a2182-b97f-4635-b990-04f846616e33" providerId="ADAL" clId="{8F04EA49-0EFC-48F3-A4D8-E0F0D3B461A8}" dt="2025-11-16T02:36:57.472" v="434613"/>
          <ac:cxnSpMkLst>
            <pc:docMk/>
            <pc:sldMk cId="2668657357" sldId="2147483085"/>
            <ac:cxnSpMk id="531" creationId="{AC678760-5537-4613-1AFE-9DC2D669DF3E}"/>
          </ac:cxnSpMkLst>
        </pc:cxnChg>
        <pc:cxnChg chg="add del mod ord">
          <ac:chgData name="Yiqun Dai" userId="360a2182-b97f-4635-b990-04f846616e33" providerId="ADAL" clId="{8F04EA49-0EFC-48F3-A4D8-E0F0D3B461A8}" dt="2025-11-16T02:38:48.772" v="437230"/>
          <ac:cxnSpMkLst>
            <pc:docMk/>
            <pc:sldMk cId="2668657357" sldId="2147483085"/>
            <ac:cxnSpMk id="532" creationId="{2527A447-C87A-EB1E-1A16-216F42D284AC}"/>
          </ac:cxnSpMkLst>
        </pc:cxnChg>
        <pc:cxnChg chg="add del mod ord">
          <ac:chgData name="Yiqun Dai" userId="360a2182-b97f-4635-b990-04f846616e33" providerId="ADAL" clId="{8F04EA49-0EFC-48F3-A4D8-E0F0D3B461A8}" dt="2025-11-16T02:38:48.777" v="437238"/>
          <ac:cxnSpMkLst>
            <pc:docMk/>
            <pc:sldMk cId="2668657357" sldId="2147483085"/>
            <ac:cxnSpMk id="533" creationId="{BC6FB260-A392-1FE5-2A81-336FF8C001C0}"/>
          </ac:cxnSpMkLst>
        </pc:cxnChg>
        <pc:cxnChg chg="add del mod ord">
          <ac:chgData name="Yiqun Dai" userId="360a2182-b97f-4635-b990-04f846616e33" providerId="ADAL" clId="{8F04EA49-0EFC-48F3-A4D8-E0F0D3B461A8}" dt="2025-11-16T02:38:48.802" v="437266"/>
          <ac:cxnSpMkLst>
            <pc:docMk/>
            <pc:sldMk cId="2668657357" sldId="2147483085"/>
            <ac:cxnSpMk id="534" creationId="{9CC32D3F-E8D6-5E0D-43CF-CB16370FCEC6}"/>
          </ac:cxnSpMkLst>
        </pc:cxnChg>
        <pc:cxnChg chg="add del mod ord">
          <ac:chgData name="Yiqun Dai" userId="360a2182-b97f-4635-b990-04f846616e33" providerId="ADAL" clId="{8F04EA49-0EFC-48F3-A4D8-E0F0D3B461A8}" dt="2025-11-16T02:38:48.808" v="437272"/>
          <ac:cxnSpMkLst>
            <pc:docMk/>
            <pc:sldMk cId="2668657357" sldId="2147483085"/>
            <ac:cxnSpMk id="535" creationId="{A5E1329A-BD4E-96A0-C357-DAB1133C1233}"/>
          </ac:cxnSpMkLst>
        </pc:cxnChg>
        <pc:cxnChg chg="add del mod ord">
          <ac:chgData name="Yiqun Dai" userId="360a2182-b97f-4635-b990-04f846616e33" providerId="ADAL" clId="{8F04EA49-0EFC-48F3-A4D8-E0F0D3B461A8}" dt="2025-11-16T02:38:49.428" v="437493"/>
          <ac:cxnSpMkLst>
            <pc:docMk/>
            <pc:sldMk cId="2668657357" sldId="2147483085"/>
            <ac:cxnSpMk id="538" creationId="{91AF5627-2FEC-A648-3EB3-2E4E3570506A}"/>
          </ac:cxnSpMkLst>
        </pc:cxnChg>
        <pc:cxnChg chg="add del mod ord">
          <ac:chgData name="Yiqun Dai" userId="360a2182-b97f-4635-b990-04f846616e33" providerId="ADAL" clId="{8F04EA49-0EFC-48F3-A4D8-E0F0D3B461A8}" dt="2025-11-16T02:39:05.871" v="439567"/>
          <ac:cxnSpMkLst>
            <pc:docMk/>
            <pc:sldMk cId="2668657357" sldId="2147483085"/>
            <ac:cxnSpMk id="541" creationId="{8770EBAB-4599-906B-9E4A-FDE4706EBF78}"/>
          </ac:cxnSpMkLst>
        </pc:cxnChg>
        <pc:cxnChg chg="add del mod ord">
          <ac:chgData name="Yiqun Dai" userId="360a2182-b97f-4635-b990-04f846616e33" providerId="ADAL" clId="{8F04EA49-0EFC-48F3-A4D8-E0F0D3B461A8}" dt="2025-11-16T02:39:05.875" v="439573"/>
          <ac:cxnSpMkLst>
            <pc:docMk/>
            <pc:sldMk cId="2668657357" sldId="2147483085"/>
            <ac:cxnSpMk id="542" creationId="{AA940394-4648-441A-5C49-EED28E2A7B74}"/>
          </ac:cxnSpMkLst>
        </pc:cxnChg>
        <pc:cxnChg chg="add del mod ord">
          <ac:chgData name="Yiqun Dai" userId="360a2182-b97f-4635-b990-04f846616e33" providerId="ADAL" clId="{8F04EA49-0EFC-48F3-A4D8-E0F0D3B461A8}" dt="2025-11-16T02:39:05.887" v="439587"/>
          <ac:cxnSpMkLst>
            <pc:docMk/>
            <pc:sldMk cId="2668657357" sldId="2147483085"/>
            <ac:cxnSpMk id="543" creationId="{B1DE6401-A214-FBC7-A06B-B78CFDAB84CB}"/>
          </ac:cxnSpMkLst>
        </pc:cxnChg>
        <pc:cxnChg chg="add del mod ord">
          <ac:chgData name="Yiqun Dai" userId="360a2182-b97f-4635-b990-04f846616e33" providerId="ADAL" clId="{8F04EA49-0EFC-48F3-A4D8-E0F0D3B461A8}" dt="2025-11-16T02:39:05.891" v="439593"/>
          <ac:cxnSpMkLst>
            <pc:docMk/>
            <pc:sldMk cId="2668657357" sldId="2147483085"/>
            <ac:cxnSpMk id="544" creationId="{8D66B48F-033A-2677-83F5-8207346D1665}"/>
          </ac:cxnSpMkLst>
        </pc:cxnChg>
        <pc:cxnChg chg="add del mod ord">
          <ac:chgData name="Yiqun Dai" userId="360a2182-b97f-4635-b990-04f846616e33" providerId="ADAL" clId="{8F04EA49-0EFC-48F3-A4D8-E0F0D3B461A8}" dt="2025-11-16T02:39:05.904" v="439607"/>
          <ac:cxnSpMkLst>
            <pc:docMk/>
            <pc:sldMk cId="2668657357" sldId="2147483085"/>
            <ac:cxnSpMk id="545" creationId="{26EB8DAB-BF4C-36AA-C157-DC952918DA46}"/>
          </ac:cxnSpMkLst>
        </pc:cxnChg>
        <pc:cxnChg chg="add del mod ord">
          <ac:chgData name="Yiqun Dai" userId="360a2182-b97f-4635-b990-04f846616e33" providerId="ADAL" clId="{8F04EA49-0EFC-48F3-A4D8-E0F0D3B461A8}" dt="2025-11-16T02:39:05.909" v="439613"/>
          <ac:cxnSpMkLst>
            <pc:docMk/>
            <pc:sldMk cId="2668657357" sldId="2147483085"/>
            <ac:cxnSpMk id="546" creationId="{1F27ED8E-1AA6-B823-7FAB-D62FB2990602}"/>
          </ac:cxnSpMkLst>
        </pc:cxnChg>
        <pc:cxnChg chg="mod ord">
          <ac:chgData name="Yiqun Dai" userId="360a2182-b97f-4635-b990-04f846616e33" providerId="ADAL" clId="{8F04EA49-0EFC-48F3-A4D8-E0F0D3B461A8}" dt="2025-11-16T02:39:00.998" v="439050" actId="1076"/>
          <ac:cxnSpMkLst>
            <pc:docMk/>
            <pc:sldMk cId="2668657357" sldId="2147483085"/>
            <ac:cxnSpMk id="548" creationId="{88D4EE62-3492-037F-7F7E-87C797D74114}"/>
          </ac:cxnSpMkLst>
        </pc:cxnChg>
        <pc:cxnChg chg="mod ord">
          <ac:chgData name="Yiqun Dai" userId="360a2182-b97f-4635-b990-04f846616e33" providerId="ADAL" clId="{8F04EA49-0EFC-48F3-A4D8-E0F0D3B461A8}" dt="2025-11-16T02:39:00.997" v="439046" actId="1076"/>
          <ac:cxnSpMkLst>
            <pc:docMk/>
            <pc:sldMk cId="2668657357" sldId="2147483085"/>
            <ac:cxnSpMk id="549" creationId="{2402DFAA-DB59-0391-11E9-320E0A36F042}"/>
          </ac:cxnSpMkLst>
        </pc:cxnChg>
        <pc:cxnChg chg="mod ord">
          <ac:chgData name="Yiqun Dai" userId="360a2182-b97f-4635-b990-04f846616e33" providerId="ADAL" clId="{8F04EA49-0EFC-48F3-A4D8-E0F0D3B461A8}" dt="2025-11-16T02:39:00.996" v="439042" actId="1076"/>
          <ac:cxnSpMkLst>
            <pc:docMk/>
            <pc:sldMk cId="2668657357" sldId="2147483085"/>
            <ac:cxnSpMk id="550" creationId="{6E9F01CC-8FB9-9970-9395-992693B1CB90}"/>
          </ac:cxnSpMkLst>
        </pc:cxnChg>
        <pc:cxnChg chg="mod ord">
          <ac:chgData name="Yiqun Dai" userId="360a2182-b97f-4635-b990-04f846616e33" providerId="ADAL" clId="{8F04EA49-0EFC-48F3-A4D8-E0F0D3B461A8}" dt="2025-11-16T02:39:00.994" v="439038" actId="1076"/>
          <ac:cxnSpMkLst>
            <pc:docMk/>
            <pc:sldMk cId="2668657357" sldId="2147483085"/>
            <ac:cxnSpMk id="551" creationId="{98403F84-E700-584B-B5BB-5F1CA3F06C10}"/>
          </ac:cxnSpMkLst>
        </pc:cxnChg>
        <pc:cxnChg chg="add del">
          <ac:chgData name="Yiqun Dai" userId="360a2182-b97f-4635-b990-04f846616e33" providerId="ADAL" clId="{8F04EA49-0EFC-48F3-A4D8-E0F0D3B461A8}" dt="2025-11-16T02:39:01.006" v="439060" actId="478"/>
          <ac:cxnSpMkLst>
            <pc:docMk/>
            <pc:sldMk cId="2668657357" sldId="2147483085"/>
            <ac:cxnSpMk id="553" creationId="{CE9FA2B4-6BEB-4267-41BA-36A4DBD2AD1D}"/>
          </ac:cxnSpMkLst>
        </pc:cxnChg>
        <pc:cxnChg chg="add del">
          <ac:chgData name="Yiqun Dai" userId="360a2182-b97f-4635-b990-04f846616e33" providerId="ADAL" clId="{8F04EA49-0EFC-48F3-A4D8-E0F0D3B461A8}" dt="2025-11-16T02:39:01.005" v="439059" actId="478"/>
          <ac:cxnSpMkLst>
            <pc:docMk/>
            <pc:sldMk cId="2668657357" sldId="2147483085"/>
            <ac:cxnSpMk id="554" creationId="{4A52AF45-5397-0665-90B3-36B96DC93138}"/>
          </ac:cxnSpMkLst>
        </pc:cxnChg>
        <pc:cxnChg chg="add del">
          <ac:chgData name="Yiqun Dai" userId="360a2182-b97f-4635-b990-04f846616e33" providerId="ADAL" clId="{8F04EA49-0EFC-48F3-A4D8-E0F0D3B461A8}" dt="2025-11-16T02:39:01.003" v="439054" actId="478"/>
          <ac:cxnSpMkLst>
            <pc:docMk/>
            <pc:sldMk cId="2668657357" sldId="2147483085"/>
            <ac:cxnSpMk id="556" creationId="{5D8C22D8-C13A-345D-2F49-7DECE07B4574}"/>
          </ac:cxnSpMkLst>
        </pc:cxnChg>
        <pc:cxnChg chg="add del">
          <ac:chgData name="Yiqun Dai" userId="360a2182-b97f-4635-b990-04f846616e33" providerId="ADAL" clId="{8F04EA49-0EFC-48F3-A4D8-E0F0D3B461A8}" dt="2025-11-16T02:39:01.002" v="439053" actId="478"/>
          <ac:cxnSpMkLst>
            <pc:docMk/>
            <pc:sldMk cId="2668657357" sldId="2147483085"/>
            <ac:cxnSpMk id="558" creationId="{BCB383D1-9C8E-3A25-CAF7-2DAC60B0DA9C}"/>
          </ac:cxnSpMkLst>
        </pc:cxnChg>
        <pc:cxnChg chg="add del">
          <ac:chgData name="Yiqun Dai" userId="360a2182-b97f-4635-b990-04f846616e33" providerId="ADAL" clId="{8F04EA49-0EFC-48F3-A4D8-E0F0D3B461A8}" dt="2025-11-16T02:39:01" v="439052" actId="478"/>
          <ac:cxnSpMkLst>
            <pc:docMk/>
            <pc:sldMk cId="2668657357" sldId="2147483085"/>
            <ac:cxnSpMk id="559" creationId="{78F5C19D-5287-C783-455B-09F9CE9B5366}"/>
          </ac:cxnSpMkLst>
        </pc:cxnChg>
        <pc:cxnChg chg="add del">
          <ac:chgData name="Yiqun Dai" userId="360a2182-b97f-4635-b990-04f846616e33" providerId="ADAL" clId="{8F04EA49-0EFC-48F3-A4D8-E0F0D3B461A8}" dt="2025-11-16T02:39:00.999" v="439051" actId="478"/>
          <ac:cxnSpMkLst>
            <pc:docMk/>
            <pc:sldMk cId="2668657357" sldId="2147483085"/>
            <ac:cxnSpMk id="560" creationId="{431F2713-4179-3F53-DD26-98655BF90829}"/>
          </ac:cxnSpMkLst>
        </pc:cxnChg>
        <pc:cxnChg chg="del mod ord">
          <ac:chgData name="Yiqun Dai" userId="360a2182-b97f-4635-b990-04f846616e33" providerId="ADAL" clId="{8F04EA49-0EFC-48F3-A4D8-E0F0D3B461A8}" dt="2025-11-16T02:39:47.510" v="441507"/>
          <ac:cxnSpMkLst>
            <pc:docMk/>
            <pc:sldMk cId="2668657357" sldId="2147483085"/>
            <ac:cxnSpMk id="586" creationId="{F21ECC5D-DAD4-AC62-6297-A7E2609A8129}"/>
          </ac:cxnSpMkLst>
        </pc:cxnChg>
        <pc:cxnChg chg="del mod ord">
          <ac:chgData name="Yiqun Dai" userId="360a2182-b97f-4635-b990-04f846616e33" providerId="ADAL" clId="{8F04EA49-0EFC-48F3-A4D8-E0F0D3B461A8}" dt="2025-11-16T02:39:47.523" v="441523"/>
          <ac:cxnSpMkLst>
            <pc:docMk/>
            <pc:sldMk cId="2668657357" sldId="2147483085"/>
            <ac:cxnSpMk id="587" creationId="{90829214-CEFA-F58D-0DFD-175817F704F7}"/>
          </ac:cxnSpMkLst>
        </pc:cxnChg>
        <pc:cxnChg chg="del mod ord">
          <ac:chgData name="Yiqun Dai" userId="360a2182-b97f-4635-b990-04f846616e33" providerId="ADAL" clId="{8F04EA49-0EFC-48F3-A4D8-E0F0D3B461A8}" dt="2025-11-16T02:39:47.545" v="441546"/>
          <ac:cxnSpMkLst>
            <pc:docMk/>
            <pc:sldMk cId="2668657357" sldId="2147483085"/>
            <ac:cxnSpMk id="588" creationId="{51BE1565-C6F0-7B06-E3F7-80AA811B2154}"/>
          </ac:cxnSpMkLst>
        </pc:cxnChg>
        <pc:cxnChg chg="del mod ord">
          <ac:chgData name="Yiqun Dai" userId="360a2182-b97f-4635-b990-04f846616e33" providerId="ADAL" clId="{8F04EA49-0EFC-48F3-A4D8-E0F0D3B461A8}" dt="2025-11-16T02:39:47.566" v="441566"/>
          <ac:cxnSpMkLst>
            <pc:docMk/>
            <pc:sldMk cId="2668657357" sldId="2147483085"/>
            <ac:cxnSpMk id="589" creationId="{2C31F81A-B2B0-67E4-351F-40CE78F53682}"/>
          </ac:cxnSpMkLst>
        </pc:cxnChg>
        <pc:cxnChg chg="del mod ord">
          <ac:chgData name="Yiqun Dai" userId="360a2182-b97f-4635-b990-04f846616e33" providerId="ADAL" clId="{8F04EA49-0EFC-48F3-A4D8-E0F0D3B461A8}" dt="2025-11-16T02:39:47.574" v="441583"/>
          <ac:cxnSpMkLst>
            <pc:docMk/>
            <pc:sldMk cId="2668657357" sldId="2147483085"/>
            <ac:cxnSpMk id="590" creationId="{99E23124-B35A-B80F-F754-6663E7557C0F}"/>
          </ac:cxnSpMkLst>
        </pc:cxnChg>
        <pc:cxnChg chg="del mod ord">
          <ac:chgData name="Yiqun Dai" userId="360a2182-b97f-4635-b990-04f846616e33" providerId="ADAL" clId="{8F04EA49-0EFC-48F3-A4D8-E0F0D3B461A8}" dt="2025-11-16T02:39:47.613" v="441629"/>
          <ac:cxnSpMkLst>
            <pc:docMk/>
            <pc:sldMk cId="2668657357" sldId="2147483085"/>
            <ac:cxnSpMk id="591" creationId="{9EE0994C-A1F9-DF21-C3C6-4242617D487F}"/>
          </ac:cxnSpMkLst>
        </pc:cxnChg>
        <pc:cxnChg chg="del mod ord">
          <ac:chgData name="Yiqun Dai" userId="360a2182-b97f-4635-b990-04f846616e33" providerId="ADAL" clId="{8F04EA49-0EFC-48F3-A4D8-E0F0D3B461A8}" dt="2025-11-16T02:39:47.620" v="441641"/>
          <ac:cxnSpMkLst>
            <pc:docMk/>
            <pc:sldMk cId="2668657357" sldId="2147483085"/>
            <ac:cxnSpMk id="592" creationId="{686F3966-6F46-0B7C-9318-17E6614EDA8C}"/>
          </ac:cxnSpMkLst>
        </pc:cxnChg>
        <pc:cxnChg chg="add del mod ord">
          <ac:chgData name="Yiqun Dai" userId="360a2182-b97f-4635-b990-04f846616e33" providerId="ADAL" clId="{8F04EA49-0EFC-48F3-A4D8-E0F0D3B461A8}" dt="2025-11-16T02:41:26.967" v="445573"/>
          <ac:cxnSpMkLst>
            <pc:docMk/>
            <pc:sldMk cId="2668657357" sldId="2147483085"/>
            <ac:cxnSpMk id="595" creationId="{967A86C2-A246-6E12-9EB1-29770E6A35A0}"/>
          </ac:cxnSpMkLst>
        </pc:cxnChg>
        <pc:cxnChg chg="add del mod ord">
          <ac:chgData name="Yiqun Dai" userId="360a2182-b97f-4635-b990-04f846616e33" providerId="ADAL" clId="{8F04EA49-0EFC-48F3-A4D8-E0F0D3B461A8}" dt="2025-11-16T02:41:26.966" v="445571"/>
          <ac:cxnSpMkLst>
            <pc:docMk/>
            <pc:sldMk cId="2668657357" sldId="2147483085"/>
            <ac:cxnSpMk id="596" creationId="{ABDEC72E-CA64-3B37-0B82-C7E6347F4345}"/>
          </ac:cxnSpMkLst>
        </pc:cxnChg>
        <pc:cxnChg chg="add del mod ord">
          <ac:chgData name="Yiqun Dai" userId="360a2182-b97f-4635-b990-04f846616e33" providerId="ADAL" clId="{8F04EA49-0EFC-48F3-A4D8-E0F0D3B461A8}" dt="2025-11-16T02:41:26.964" v="445569"/>
          <ac:cxnSpMkLst>
            <pc:docMk/>
            <pc:sldMk cId="2668657357" sldId="2147483085"/>
            <ac:cxnSpMk id="597" creationId="{78022EAC-C623-171F-AF17-6431A93FD9DA}"/>
          </ac:cxnSpMkLst>
        </pc:cxnChg>
        <pc:cxnChg chg="add del mod ord">
          <ac:chgData name="Yiqun Dai" userId="360a2182-b97f-4635-b990-04f846616e33" providerId="ADAL" clId="{8F04EA49-0EFC-48F3-A4D8-E0F0D3B461A8}" dt="2025-11-16T02:41:26.963" v="445567"/>
          <ac:cxnSpMkLst>
            <pc:docMk/>
            <pc:sldMk cId="2668657357" sldId="2147483085"/>
            <ac:cxnSpMk id="598" creationId="{70F17FD7-B620-6A02-AB49-3F9F3CD502A2}"/>
          </ac:cxnSpMkLst>
        </pc:cxnChg>
        <pc:cxnChg chg="add del mod ord">
          <ac:chgData name="Yiqun Dai" userId="360a2182-b97f-4635-b990-04f846616e33" providerId="ADAL" clId="{8F04EA49-0EFC-48F3-A4D8-E0F0D3B461A8}" dt="2025-11-16T02:41:26.962" v="445565"/>
          <ac:cxnSpMkLst>
            <pc:docMk/>
            <pc:sldMk cId="2668657357" sldId="2147483085"/>
            <ac:cxnSpMk id="599" creationId="{AFCFA74C-930A-A589-B096-0230ABF869EE}"/>
          </ac:cxnSpMkLst>
        </pc:cxnChg>
        <pc:cxnChg chg="add del mod ord">
          <ac:chgData name="Yiqun Dai" userId="360a2182-b97f-4635-b990-04f846616e33" providerId="ADAL" clId="{8F04EA49-0EFC-48F3-A4D8-E0F0D3B461A8}" dt="2025-11-16T02:41:26.960" v="445563"/>
          <ac:cxnSpMkLst>
            <pc:docMk/>
            <pc:sldMk cId="2668657357" sldId="2147483085"/>
            <ac:cxnSpMk id="600" creationId="{087BFA68-1EB1-BB4E-0B46-71642D84A772}"/>
          </ac:cxnSpMkLst>
        </pc:cxnChg>
        <pc:cxnChg chg="add del mod ord">
          <ac:chgData name="Yiqun Dai" userId="360a2182-b97f-4635-b990-04f846616e33" providerId="ADAL" clId="{8F04EA49-0EFC-48F3-A4D8-E0F0D3B461A8}" dt="2025-11-16T02:40:27.233" v="443359"/>
          <ac:cxnSpMkLst>
            <pc:docMk/>
            <pc:sldMk cId="2668657357" sldId="2147483085"/>
            <ac:cxnSpMk id="601" creationId="{E603FE0D-3B28-685F-D374-73E573BD9AE3}"/>
          </ac:cxnSpMkLst>
        </pc:cxnChg>
        <pc:cxnChg chg="add del mod ord">
          <ac:chgData name="Yiqun Dai" userId="360a2182-b97f-4635-b990-04f846616e33" providerId="ADAL" clId="{8F04EA49-0EFC-48F3-A4D8-E0F0D3B461A8}" dt="2025-11-16T02:40:27.296" v="443427"/>
          <ac:cxnSpMkLst>
            <pc:docMk/>
            <pc:sldMk cId="2668657357" sldId="2147483085"/>
            <ac:cxnSpMk id="602" creationId="{2B31E4E7-7D45-79D4-4DEE-B3E89737FBE8}"/>
          </ac:cxnSpMkLst>
        </pc:cxnChg>
        <pc:cxnChg chg="add del mod ord">
          <ac:chgData name="Yiqun Dai" userId="360a2182-b97f-4635-b990-04f846616e33" providerId="ADAL" clId="{8F04EA49-0EFC-48F3-A4D8-E0F0D3B461A8}" dt="2025-11-16T02:40:27.232" v="443357"/>
          <ac:cxnSpMkLst>
            <pc:docMk/>
            <pc:sldMk cId="2668657357" sldId="2147483085"/>
            <ac:cxnSpMk id="603" creationId="{5B3188D8-B802-17F7-E101-C978B2C60C4B}"/>
          </ac:cxnSpMkLst>
        </pc:cxnChg>
        <pc:cxnChg chg="add del mod ord">
          <ac:chgData name="Yiqun Dai" userId="360a2182-b97f-4635-b990-04f846616e33" providerId="ADAL" clId="{8F04EA49-0EFC-48F3-A4D8-E0F0D3B461A8}" dt="2025-11-16T02:40:27.298" v="443429"/>
          <ac:cxnSpMkLst>
            <pc:docMk/>
            <pc:sldMk cId="2668657357" sldId="2147483085"/>
            <ac:cxnSpMk id="604" creationId="{E853D5DF-DFC0-6465-BBB8-C9F66C0A13E4}"/>
          </ac:cxnSpMkLst>
        </pc:cxnChg>
        <pc:cxnChg chg="del">
          <ac:chgData name="Yiqun Dai" userId="360a2182-b97f-4635-b990-04f846616e33" providerId="ADAL" clId="{8F04EA49-0EFC-48F3-A4D8-E0F0D3B461A8}" dt="2025-11-16T02:34:40.253" v="431577"/>
          <ac:cxnSpMkLst>
            <pc:docMk/>
            <pc:sldMk cId="2668657357" sldId="2147483085"/>
            <ac:cxnSpMk id="605" creationId="{0CE33B00-EA30-2799-EED9-A8839F759AF6}"/>
          </ac:cxnSpMkLst>
        </pc:cxnChg>
        <pc:cxnChg chg="del">
          <ac:chgData name="Yiqun Dai" userId="360a2182-b97f-4635-b990-04f846616e33" providerId="ADAL" clId="{8F04EA49-0EFC-48F3-A4D8-E0F0D3B461A8}" dt="2025-11-16T02:34:40.273" v="431593"/>
          <ac:cxnSpMkLst>
            <pc:docMk/>
            <pc:sldMk cId="2668657357" sldId="2147483085"/>
            <ac:cxnSpMk id="606" creationId="{CA5733AA-5582-ADF1-EE59-18C3F3C4D0E0}"/>
          </ac:cxnSpMkLst>
        </pc:cxnChg>
        <pc:cxnChg chg="del">
          <ac:chgData name="Yiqun Dai" userId="360a2182-b97f-4635-b990-04f846616e33" providerId="ADAL" clId="{8F04EA49-0EFC-48F3-A4D8-E0F0D3B461A8}" dt="2025-11-16T02:34:40.367" v="431643"/>
          <ac:cxnSpMkLst>
            <pc:docMk/>
            <pc:sldMk cId="2668657357" sldId="2147483085"/>
            <ac:cxnSpMk id="607" creationId="{71AF147A-DC9C-06F5-7AAC-330FB688F756}"/>
          </ac:cxnSpMkLst>
        </pc:cxnChg>
        <pc:cxnChg chg="del">
          <ac:chgData name="Yiqun Dai" userId="360a2182-b97f-4635-b990-04f846616e33" providerId="ADAL" clId="{8F04EA49-0EFC-48F3-A4D8-E0F0D3B461A8}" dt="2025-11-16T02:34:40.416" v="431663"/>
          <ac:cxnSpMkLst>
            <pc:docMk/>
            <pc:sldMk cId="2668657357" sldId="2147483085"/>
            <ac:cxnSpMk id="608" creationId="{A16AFE8C-CB2A-0D58-0D83-A539A717411D}"/>
          </ac:cxnSpMkLst>
        </pc:cxnChg>
        <pc:cxnChg chg="del">
          <ac:chgData name="Yiqun Dai" userId="360a2182-b97f-4635-b990-04f846616e33" providerId="ADAL" clId="{8F04EA49-0EFC-48F3-A4D8-E0F0D3B461A8}" dt="2025-11-16T02:34:40.498" v="431719"/>
          <ac:cxnSpMkLst>
            <pc:docMk/>
            <pc:sldMk cId="2668657357" sldId="2147483085"/>
            <ac:cxnSpMk id="609" creationId="{D706E2B9-5DA0-F859-81EA-44108AC40E7D}"/>
          </ac:cxnSpMkLst>
        </pc:cxnChg>
        <pc:cxnChg chg="add del mod ord">
          <ac:chgData name="Yiqun Dai" userId="360a2182-b97f-4635-b990-04f846616e33" providerId="ADAL" clId="{8F04EA49-0EFC-48F3-A4D8-E0F0D3B461A8}" dt="2025-11-16T02:40:27.231" v="443355"/>
          <ac:cxnSpMkLst>
            <pc:docMk/>
            <pc:sldMk cId="2668657357" sldId="2147483085"/>
            <ac:cxnSpMk id="611" creationId="{D67D894C-C0BD-4C18-ED39-516C05031E80}"/>
          </ac:cxnSpMkLst>
        </pc:cxnChg>
        <pc:cxnChg chg="add del mod ord">
          <ac:chgData name="Yiqun Dai" userId="360a2182-b97f-4635-b990-04f846616e33" providerId="ADAL" clId="{8F04EA49-0EFC-48F3-A4D8-E0F0D3B461A8}" dt="2025-11-16T02:40:27.299" v="443431"/>
          <ac:cxnSpMkLst>
            <pc:docMk/>
            <pc:sldMk cId="2668657357" sldId="2147483085"/>
            <ac:cxnSpMk id="612" creationId="{B3EDFCA3-DA03-8917-1FDF-0CCE901CAFBC}"/>
          </ac:cxnSpMkLst>
        </pc:cxnChg>
        <pc:cxnChg chg="add del mod ord">
          <ac:chgData name="Yiqun Dai" userId="360a2182-b97f-4635-b990-04f846616e33" providerId="ADAL" clId="{8F04EA49-0EFC-48F3-A4D8-E0F0D3B461A8}" dt="2025-11-16T02:40:27.231" v="443353"/>
          <ac:cxnSpMkLst>
            <pc:docMk/>
            <pc:sldMk cId="2668657357" sldId="2147483085"/>
            <ac:cxnSpMk id="613" creationId="{FA232E81-7CA0-5C21-D065-82846E15A665}"/>
          </ac:cxnSpMkLst>
        </pc:cxnChg>
        <pc:cxnChg chg="add del mod ord">
          <ac:chgData name="Yiqun Dai" userId="360a2182-b97f-4635-b990-04f846616e33" providerId="ADAL" clId="{8F04EA49-0EFC-48F3-A4D8-E0F0D3B461A8}" dt="2025-11-16T02:40:27.301" v="443433"/>
          <ac:cxnSpMkLst>
            <pc:docMk/>
            <pc:sldMk cId="2668657357" sldId="2147483085"/>
            <ac:cxnSpMk id="614" creationId="{F99FE168-7555-D7E0-4404-665F04AD0816}"/>
          </ac:cxnSpMkLst>
        </pc:cxnChg>
        <pc:cxnChg chg="add del mod ord">
          <ac:chgData name="Yiqun Dai" userId="360a2182-b97f-4635-b990-04f846616e33" providerId="ADAL" clId="{8F04EA49-0EFC-48F3-A4D8-E0F0D3B461A8}" dt="2025-11-16T02:40:27.230" v="443351"/>
          <ac:cxnSpMkLst>
            <pc:docMk/>
            <pc:sldMk cId="2668657357" sldId="2147483085"/>
            <ac:cxnSpMk id="615" creationId="{0F44E1DD-5547-3DBD-9083-40765E0A86DD}"/>
          </ac:cxnSpMkLst>
        </pc:cxnChg>
        <pc:cxnChg chg="add del mod ord">
          <ac:chgData name="Yiqun Dai" userId="360a2182-b97f-4635-b990-04f846616e33" providerId="ADAL" clId="{8F04EA49-0EFC-48F3-A4D8-E0F0D3B461A8}" dt="2025-11-16T02:40:27.302" v="443435"/>
          <ac:cxnSpMkLst>
            <pc:docMk/>
            <pc:sldMk cId="2668657357" sldId="2147483085"/>
            <ac:cxnSpMk id="616" creationId="{FFE4FB02-9EE9-FA99-5EC7-FAD8EE411B54}"/>
          </ac:cxnSpMkLst>
        </pc:cxnChg>
        <pc:cxnChg chg="add del mod ord">
          <ac:chgData name="Yiqun Dai" userId="360a2182-b97f-4635-b990-04f846616e33" providerId="ADAL" clId="{8F04EA49-0EFC-48F3-A4D8-E0F0D3B461A8}" dt="2025-11-16T02:40:27.229" v="443349"/>
          <ac:cxnSpMkLst>
            <pc:docMk/>
            <pc:sldMk cId="2668657357" sldId="2147483085"/>
            <ac:cxnSpMk id="617" creationId="{472C8CA6-B951-0EBC-C073-56C2C2DFD45D}"/>
          </ac:cxnSpMkLst>
        </pc:cxnChg>
        <pc:cxnChg chg="add del mod ord">
          <ac:chgData name="Yiqun Dai" userId="360a2182-b97f-4635-b990-04f846616e33" providerId="ADAL" clId="{8F04EA49-0EFC-48F3-A4D8-E0F0D3B461A8}" dt="2025-11-16T02:40:27.304" v="443437"/>
          <ac:cxnSpMkLst>
            <pc:docMk/>
            <pc:sldMk cId="2668657357" sldId="2147483085"/>
            <ac:cxnSpMk id="618" creationId="{60CACB3D-E829-77CD-263F-05DCF27348D2}"/>
          </ac:cxnSpMkLst>
        </pc:cxnChg>
        <pc:cxnChg chg="add del mod ord">
          <ac:chgData name="Yiqun Dai" userId="360a2182-b97f-4635-b990-04f846616e33" providerId="ADAL" clId="{8F04EA49-0EFC-48F3-A4D8-E0F0D3B461A8}" dt="2025-11-16T02:39:49.224" v="442531"/>
          <ac:cxnSpMkLst>
            <pc:docMk/>
            <pc:sldMk cId="2668657357" sldId="2147483085"/>
            <ac:cxnSpMk id="621" creationId="{836CA80B-AC84-84B9-83EA-C3D7F8D51F62}"/>
          </ac:cxnSpMkLst>
        </pc:cxnChg>
        <pc:cxnChg chg="add del mod ord">
          <ac:chgData name="Yiqun Dai" userId="360a2182-b97f-4635-b990-04f846616e33" providerId="ADAL" clId="{8F04EA49-0EFC-48F3-A4D8-E0F0D3B461A8}" dt="2025-11-16T02:39:49.226" v="442533"/>
          <ac:cxnSpMkLst>
            <pc:docMk/>
            <pc:sldMk cId="2668657357" sldId="2147483085"/>
            <ac:cxnSpMk id="622" creationId="{4D91FCE8-0BFD-CBF3-374B-4E9C07BC9318}"/>
          </ac:cxnSpMkLst>
        </pc:cxnChg>
        <pc:cxnChg chg="add del mod ord">
          <ac:chgData name="Yiqun Dai" userId="360a2182-b97f-4635-b990-04f846616e33" providerId="ADAL" clId="{8F04EA49-0EFC-48F3-A4D8-E0F0D3B461A8}" dt="2025-11-16T02:39:49.137" v="442484"/>
          <ac:cxnSpMkLst>
            <pc:docMk/>
            <pc:sldMk cId="2668657357" sldId="2147483085"/>
            <ac:cxnSpMk id="623" creationId="{809075CD-F49D-06C4-F5BF-A7DDC165026E}"/>
          </ac:cxnSpMkLst>
        </pc:cxnChg>
        <pc:cxnChg chg="add del mod ord">
          <ac:chgData name="Yiqun Dai" userId="360a2182-b97f-4635-b990-04f846616e33" providerId="ADAL" clId="{8F04EA49-0EFC-48F3-A4D8-E0F0D3B461A8}" dt="2025-11-16T02:39:49.139" v="442488"/>
          <ac:cxnSpMkLst>
            <pc:docMk/>
            <pc:sldMk cId="2668657357" sldId="2147483085"/>
            <ac:cxnSpMk id="624" creationId="{83F1E23B-3179-86C3-EC52-FC6AD27E8234}"/>
          </ac:cxnSpMkLst>
        </pc:cxnChg>
        <pc:cxnChg chg="add del mod ord">
          <ac:chgData name="Yiqun Dai" userId="360a2182-b97f-4635-b990-04f846616e33" providerId="ADAL" clId="{8F04EA49-0EFC-48F3-A4D8-E0F0D3B461A8}" dt="2025-11-16T02:40:16.770" v="442971"/>
          <ac:cxnSpMkLst>
            <pc:docMk/>
            <pc:sldMk cId="2668657357" sldId="2147483085"/>
            <ac:cxnSpMk id="629" creationId="{9B44D2B6-58C0-87C9-E157-F1802CE9464A}"/>
          </ac:cxnSpMkLst>
        </pc:cxnChg>
        <pc:cxnChg chg="add del mod ord">
          <ac:chgData name="Yiqun Dai" userId="360a2182-b97f-4635-b990-04f846616e33" providerId="ADAL" clId="{8F04EA49-0EFC-48F3-A4D8-E0F0D3B461A8}" dt="2025-11-16T02:40:16.772" v="442973"/>
          <ac:cxnSpMkLst>
            <pc:docMk/>
            <pc:sldMk cId="2668657357" sldId="2147483085"/>
            <ac:cxnSpMk id="630" creationId="{D06153A3-101A-E04E-6463-172C374E6803}"/>
          </ac:cxnSpMkLst>
        </pc:cxnChg>
        <pc:cxnChg chg="add del mod ord">
          <ac:chgData name="Yiqun Dai" userId="360a2182-b97f-4635-b990-04f846616e33" providerId="ADAL" clId="{8F04EA49-0EFC-48F3-A4D8-E0F0D3B461A8}" dt="2025-11-16T02:40:27.271" v="443385"/>
          <ac:cxnSpMkLst>
            <pc:docMk/>
            <pc:sldMk cId="2668657357" sldId="2147483085"/>
            <ac:cxnSpMk id="635" creationId="{F444885B-1F9B-5F06-22CE-120FE54B5F1E}"/>
          </ac:cxnSpMkLst>
        </pc:cxnChg>
        <pc:cxnChg chg="add del mod ord">
          <ac:chgData name="Yiqun Dai" userId="360a2182-b97f-4635-b990-04f846616e33" providerId="ADAL" clId="{8F04EA49-0EFC-48F3-A4D8-E0F0D3B461A8}" dt="2025-11-16T02:40:27.278" v="443397"/>
          <ac:cxnSpMkLst>
            <pc:docMk/>
            <pc:sldMk cId="2668657357" sldId="2147483085"/>
            <ac:cxnSpMk id="636" creationId="{F56C46F5-71E9-9127-779C-71EDD7E789D0}"/>
          </ac:cxnSpMkLst>
        </pc:cxnChg>
        <pc:cxnChg chg="add del mod ord">
          <ac:chgData name="Yiqun Dai" userId="360a2182-b97f-4635-b990-04f846616e33" providerId="ADAL" clId="{8F04EA49-0EFC-48F3-A4D8-E0F0D3B461A8}" dt="2025-11-16T02:42:17.355" v="449039"/>
          <ac:cxnSpMkLst>
            <pc:docMk/>
            <pc:sldMk cId="2668657357" sldId="2147483085"/>
            <ac:cxnSpMk id="640" creationId="{2C3F56F5-3D0A-2AF2-BB64-9DF028D2A788}"/>
          </ac:cxnSpMkLst>
        </pc:cxnChg>
        <pc:cxnChg chg="add del mod ord">
          <ac:chgData name="Yiqun Dai" userId="360a2182-b97f-4635-b990-04f846616e33" providerId="ADAL" clId="{8F04EA49-0EFC-48F3-A4D8-E0F0D3B461A8}" dt="2025-11-16T02:42:27.731" v="449692"/>
          <ac:cxnSpMkLst>
            <pc:docMk/>
            <pc:sldMk cId="2668657357" sldId="2147483085"/>
            <ac:cxnSpMk id="645" creationId="{7DA8FD69-856F-E88A-31E0-82EF2E96D7DE}"/>
          </ac:cxnSpMkLst>
        </pc:cxnChg>
        <pc:cxnChg chg="add del mod ord">
          <ac:chgData name="Yiqun Dai" userId="360a2182-b97f-4635-b990-04f846616e33" providerId="ADAL" clId="{8F04EA49-0EFC-48F3-A4D8-E0F0D3B461A8}" dt="2025-11-16T02:43:50.355" v="455080"/>
          <ac:cxnSpMkLst>
            <pc:docMk/>
            <pc:sldMk cId="2668657357" sldId="2147483085"/>
            <ac:cxnSpMk id="650" creationId="{A7A618B7-FFD1-54F2-FD22-BB85F2CA4EB0}"/>
          </ac:cxnSpMkLst>
        </pc:cxnChg>
        <pc:cxnChg chg="add del mod ord">
          <ac:chgData name="Yiqun Dai" userId="360a2182-b97f-4635-b990-04f846616e33" providerId="ADAL" clId="{8F04EA49-0EFC-48F3-A4D8-E0F0D3B461A8}" dt="2025-11-16T02:42:39.955" v="450231"/>
          <ac:cxnSpMkLst>
            <pc:docMk/>
            <pc:sldMk cId="2668657357" sldId="2147483085"/>
            <ac:cxnSpMk id="651" creationId="{39681575-59EC-4FDC-E585-82B2702CDFFE}"/>
          </ac:cxnSpMkLst>
        </pc:cxnChg>
        <pc:cxnChg chg="add del mod ord">
          <ac:chgData name="Yiqun Dai" userId="360a2182-b97f-4635-b990-04f846616e33" providerId="ADAL" clId="{8F04EA49-0EFC-48F3-A4D8-E0F0D3B461A8}" dt="2025-11-16T02:43:50.353" v="455077"/>
          <ac:cxnSpMkLst>
            <pc:docMk/>
            <pc:sldMk cId="2668657357" sldId="2147483085"/>
            <ac:cxnSpMk id="652" creationId="{A5C88D94-605F-6916-3CE1-A1F4C3C0D86F}"/>
          </ac:cxnSpMkLst>
        </pc:cxnChg>
        <pc:cxnChg chg="add del mod ord">
          <ac:chgData name="Yiqun Dai" userId="360a2182-b97f-4635-b990-04f846616e33" providerId="ADAL" clId="{8F04EA49-0EFC-48F3-A4D8-E0F0D3B461A8}" dt="2025-11-16T02:42:50.360" v="452379"/>
          <ac:cxnSpMkLst>
            <pc:docMk/>
            <pc:sldMk cId="2668657357" sldId="2147483085"/>
            <ac:cxnSpMk id="653" creationId="{0C763909-7BF3-44F5-7DCF-D03103EF9A60}"/>
          </ac:cxnSpMkLst>
        </pc:cxnChg>
        <pc:cxnChg chg="add del mod ord">
          <ac:chgData name="Yiqun Dai" userId="360a2182-b97f-4635-b990-04f846616e33" providerId="ADAL" clId="{8F04EA49-0EFC-48F3-A4D8-E0F0D3B461A8}" dt="2025-11-16T02:42:40.043" v="450276"/>
          <ac:cxnSpMkLst>
            <pc:docMk/>
            <pc:sldMk cId="2668657357" sldId="2147483085"/>
            <ac:cxnSpMk id="656" creationId="{155FCCBD-7AB5-4213-FD47-FB0F7CC33AC3}"/>
          </ac:cxnSpMkLst>
        </pc:cxnChg>
        <pc:cxnChg chg="del mod ord">
          <ac:chgData name="Yiqun Dai" userId="360a2182-b97f-4635-b990-04f846616e33" providerId="ADAL" clId="{8F04EA49-0EFC-48F3-A4D8-E0F0D3B461A8}" dt="2025-11-16T02:42:42.972" v="450564"/>
          <ac:cxnSpMkLst>
            <pc:docMk/>
            <pc:sldMk cId="2668657357" sldId="2147483085"/>
            <ac:cxnSpMk id="661" creationId="{8447FC02-BFFE-B679-49A3-4923FAA085F9}"/>
          </ac:cxnSpMkLst>
        </pc:cxnChg>
        <pc:cxnChg chg="add del mod ord">
          <ac:chgData name="Yiqun Dai" userId="360a2182-b97f-4635-b990-04f846616e33" providerId="ADAL" clId="{8F04EA49-0EFC-48F3-A4D8-E0F0D3B461A8}" dt="2025-11-16T02:42:44.672" v="450949"/>
          <ac:cxnSpMkLst>
            <pc:docMk/>
            <pc:sldMk cId="2668657357" sldId="2147483085"/>
            <ac:cxnSpMk id="666" creationId="{2ED9BF57-3F60-E73F-3507-7FB758E82454}"/>
          </ac:cxnSpMkLst>
        </pc:cxnChg>
        <pc:cxnChg chg="add del mod ord">
          <ac:chgData name="Yiqun Dai" userId="360a2182-b97f-4635-b990-04f846616e33" providerId="ADAL" clId="{8F04EA49-0EFC-48F3-A4D8-E0F0D3B461A8}" dt="2025-11-16T02:42:45.886" v="451328"/>
          <ac:cxnSpMkLst>
            <pc:docMk/>
            <pc:sldMk cId="2668657357" sldId="2147483085"/>
            <ac:cxnSpMk id="671" creationId="{8C2CE729-2C58-4589-94E8-7191BC9283C9}"/>
          </ac:cxnSpMkLst>
        </pc:cxnChg>
        <pc:cxnChg chg="add del mod ord">
          <ac:chgData name="Yiqun Dai" userId="360a2182-b97f-4635-b990-04f846616e33" providerId="ADAL" clId="{8F04EA49-0EFC-48F3-A4D8-E0F0D3B461A8}" dt="2025-11-16T02:42:47.200" v="451703"/>
          <ac:cxnSpMkLst>
            <pc:docMk/>
            <pc:sldMk cId="2668657357" sldId="2147483085"/>
            <ac:cxnSpMk id="676" creationId="{6E522DD8-1601-E131-3F8A-409211EBFE93}"/>
          </ac:cxnSpMkLst>
        </pc:cxnChg>
        <pc:cxnChg chg="add del mod ord">
          <ac:chgData name="Yiqun Dai" userId="360a2182-b97f-4635-b990-04f846616e33" providerId="ADAL" clId="{8F04EA49-0EFC-48F3-A4D8-E0F0D3B461A8}" dt="2025-11-16T02:42:49.291" v="452067"/>
          <ac:cxnSpMkLst>
            <pc:docMk/>
            <pc:sldMk cId="2668657357" sldId="2147483085"/>
            <ac:cxnSpMk id="681" creationId="{4C813282-4BA8-D776-CDFC-F55EC40DBB0C}"/>
          </ac:cxnSpMkLst>
        </pc:cxnChg>
        <pc:cxnChg chg="add del mod ord">
          <ac:chgData name="Yiqun Dai" userId="360a2182-b97f-4635-b990-04f846616e33" providerId="ADAL" clId="{8F04EA49-0EFC-48F3-A4D8-E0F0D3B461A8}" dt="2025-11-16T02:42:50.477" v="452421"/>
          <ac:cxnSpMkLst>
            <pc:docMk/>
            <pc:sldMk cId="2668657357" sldId="2147483085"/>
            <ac:cxnSpMk id="686" creationId="{103A5643-C463-994D-3598-157CF23B83DE}"/>
          </ac:cxnSpMkLst>
        </pc:cxnChg>
        <pc:cxnChg chg="add del mod ord">
          <ac:chgData name="Yiqun Dai" userId="360a2182-b97f-4635-b990-04f846616e33" providerId="ADAL" clId="{8F04EA49-0EFC-48F3-A4D8-E0F0D3B461A8}" dt="2025-11-16T02:42:58.878" v="452769"/>
          <ac:cxnSpMkLst>
            <pc:docMk/>
            <pc:sldMk cId="2668657357" sldId="2147483085"/>
            <ac:cxnSpMk id="691" creationId="{A04C5AF4-8384-9639-455E-F9D0314710B1}"/>
          </ac:cxnSpMkLst>
        </pc:cxnChg>
        <pc:cxnChg chg="add del mod ord">
          <ac:chgData name="Yiqun Dai" userId="360a2182-b97f-4635-b990-04f846616e33" providerId="ADAL" clId="{8F04EA49-0EFC-48F3-A4D8-E0F0D3B461A8}" dt="2025-11-16T02:43:06.820" v="454668"/>
          <ac:cxnSpMkLst>
            <pc:docMk/>
            <pc:sldMk cId="2668657357" sldId="2147483085"/>
            <ac:cxnSpMk id="694" creationId="{F467E3FB-131C-08C5-0D0C-17F0B6232189}"/>
          </ac:cxnSpMkLst>
        </pc:cxnChg>
        <pc:cxnChg chg="add del mod ord">
          <ac:chgData name="Yiqun Dai" userId="360a2182-b97f-4635-b990-04f846616e33" providerId="ADAL" clId="{8F04EA49-0EFC-48F3-A4D8-E0F0D3B461A8}" dt="2025-11-16T02:43:05.026" v="454308"/>
          <ac:cxnSpMkLst>
            <pc:docMk/>
            <pc:sldMk cId="2668657357" sldId="2147483085"/>
            <ac:cxnSpMk id="695" creationId="{C68E622B-B584-14CE-4FAA-13D5D975EE68}"/>
          </ac:cxnSpMkLst>
        </pc:cxnChg>
        <pc:cxnChg chg="add del mod ord">
          <ac:chgData name="Yiqun Dai" userId="360a2182-b97f-4635-b990-04f846616e33" providerId="ADAL" clId="{8F04EA49-0EFC-48F3-A4D8-E0F0D3B461A8}" dt="2025-11-16T02:43:03.433" v="453944"/>
          <ac:cxnSpMkLst>
            <pc:docMk/>
            <pc:sldMk cId="2668657357" sldId="2147483085"/>
            <ac:cxnSpMk id="696" creationId="{34F02FE1-A715-BC04-C91B-DA259C34B8D0}"/>
          </ac:cxnSpMkLst>
        </pc:cxnChg>
        <pc:cxnChg chg="add del mod ord">
          <ac:chgData name="Yiqun Dai" userId="360a2182-b97f-4635-b990-04f846616e33" providerId="ADAL" clId="{8F04EA49-0EFC-48F3-A4D8-E0F0D3B461A8}" dt="2025-11-16T02:43:02.272" v="453576"/>
          <ac:cxnSpMkLst>
            <pc:docMk/>
            <pc:sldMk cId="2668657357" sldId="2147483085"/>
            <ac:cxnSpMk id="697" creationId="{6EC56FD8-5ADA-2EB1-4D5A-08E6C5832BA6}"/>
          </ac:cxnSpMkLst>
        </pc:cxnChg>
        <pc:cxnChg chg="add del mod ord">
          <ac:chgData name="Yiqun Dai" userId="360a2182-b97f-4635-b990-04f846616e33" providerId="ADAL" clId="{8F04EA49-0EFC-48F3-A4D8-E0F0D3B461A8}" dt="2025-11-16T02:43:00.729" v="453204"/>
          <ac:cxnSpMkLst>
            <pc:docMk/>
            <pc:sldMk cId="2668657357" sldId="2147483085"/>
            <ac:cxnSpMk id="698" creationId="{C8159909-227B-8E0D-D6A8-84F8F93C3A8D}"/>
          </ac:cxnSpMkLst>
        </pc:cxnChg>
        <pc:cxnChg chg="add del mod ord">
          <ac:chgData name="Yiqun Dai" userId="360a2182-b97f-4635-b990-04f846616e33" providerId="ADAL" clId="{8F04EA49-0EFC-48F3-A4D8-E0F0D3B461A8}" dt="2025-11-16T02:51:55.128" v="466396"/>
          <ac:cxnSpMkLst>
            <pc:docMk/>
            <pc:sldMk cId="2668657357" sldId="2147483085"/>
            <ac:cxnSpMk id="699" creationId="{63803959-3E8C-D477-D512-168F330A3247}"/>
          </ac:cxnSpMkLst>
        </pc:cxnChg>
        <pc:cxnChg chg="add del mod ord">
          <ac:chgData name="Yiqun Dai" userId="360a2182-b97f-4635-b990-04f846616e33" providerId="ADAL" clId="{8F04EA49-0EFC-48F3-A4D8-E0F0D3B461A8}" dt="2025-11-16T02:44:05.532" v="455669"/>
          <ac:cxnSpMkLst>
            <pc:docMk/>
            <pc:sldMk cId="2668657357" sldId="2147483085"/>
            <ac:cxnSpMk id="700" creationId="{0A849BC7-7E1D-91E4-6242-0E5CF05DF9EA}"/>
          </ac:cxnSpMkLst>
        </pc:cxnChg>
        <pc:cxnChg chg="add del mod ord">
          <ac:chgData name="Yiqun Dai" userId="360a2182-b97f-4635-b990-04f846616e33" providerId="ADAL" clId="{8F04EA49-0EFC-48F3-A4D8-E0F0D3B461A8}" dt="2025-11-16T02:43:00.896" v="453246"/>
          <ac:cxnSpMkLst>
            <pc:docMk/>
            <pc:sldMk cId="2668657357" sldId="2147483085"/>
            <ac:cxnSpMk id="703" creationId="{59123DFC-CD3B-EEBD-9400-457C6535EA2B}"/>
          </ac:cxnSpMkLst>
        </pc:cxnChg>
        <pc:cxnChg chg="add del mod ord">
          <ac:chgData name="Yiqun Dai" userId="360a2182-b97f-4635-b990-04f846616e33" providerId="ADAL" clId="{8F04EA49-0EFC-48F3-A4D8-E0F0D3B461A8}" dt="2025-11-16T02:43:02.406" v="453618"/>
          <ac:cxnSpMkLst>
            <pc:docMk/>
            <pc:sldMk cId="2668657357" sldId="2147483085"/>
            <ac:cxnSpMk id="708" creationId="{233C3226-764B-133C-BEFE-53B46D012B34}"/>
          </ac:cxnSpMkLst>
        </pc:cxnChg>
        <pc:cxnChg chg="add del mod ord">
          <ac:chgData name="Yiqun Dai" userId="360a2182-b97f-4635-b990-04f846616e33" providerId="ADAL" clId="{8F04EA49-0EFC-48F3-A4D8-E0F0D3B461A8}" dt="2025-11-16T02:43:03.557" v="453986"/>
          <ac:cxnSpMkLst>
            <pc:docMk/>
            <pc:sldMk cId="2668657357" sldId="2147483085"/>
            <ac:cxnSpMk id="713" creationId="{93276525-8098-FCED-48A4-AF35E2AC9D6D}"/>
          </ac:cxnSpMkLst>
        </pc:cxnChg>
        <pc:cxnChg chg="add del mod ord">
          <ac:chgData name="Yiqun Dai" userId="360a2182-b97f-4635-b990-04f846616e33" providerId="ADAL" clId="{8F04EA49-0EFC-48F3-A4D8-E0F0D3B461A8}" dt="2025-11-16T02:43:05.164" v="454350"/>
          <ac:cxnSpMkLst>
            <pc:docMk/>
            <pc:sldMk cId="2668657357" sldId="2147483085"/>
            <ac:cxnSpMk id="718" creationId="{8E3EE248-ED0B-78D8-DC7F-4C29A0FAC503}"/>
          </ac:cxnSpMkLst>
        </pc:cxnChg>
        <pc:cxnChg chg="add del mod ord">
          <ac:chgData name="Yiqun Dai" userId="360a2182-b97f-4635-b990-04f846616e33" providerId="ADAL" clId="{8F04EA49-0EFC-48F3-A4D8-E0F0D3B461A8}" dt="2025-11-16T02:43:06.962" v="454710"/>
          <ac:cxnSpMkLst>
            <pc:docMk/>
            <pc:sldMk cId="2668657357" sldId="2147483085"/>
            <ac:cxnSpMk id="723" creationId="{40FEF6F1-23C4-0285-62FC-7BA8330F3F52}"/>
          </ac:cxnSpMkLst>
        </pc:cxnChg>
        <pc:cxnChg chg="add del mod ord">
          <ac:chgData name="Yiqun Dai" userId="360a2182-b97f-4635-b990-04f846616e33" providerId="ADAL" clId="{8F04EA49-0EFC-48F3-A4D8-E0F0D3B461A8}" dt="2025-11-16T02:43:50.402" v="455125"/>
          <ac:cxnSpMkLst>
            <pc:docMk/>
            <pc:sldMk cId="2668657357" sldId="2147483085"/>
            <ac:cxnSpMk id="728" creationId="{30682B21-34B0-5CB2-DF74-E2D8E2C31FA6}"/>
          </ac:cxnSpMkLst>
        </pc:cxnChg>
        <pc:cxnChg chg="add del mod ord">
          <ac:chgData name="Yiqun Dai" userId="360a2182-b97f-4635-b990-04f846616e33" providerId="ADAL" clId="{8F04EA49-0EFC-48F3-A4D8-E0F0D3B461A8}" dt="2025-11-16T02:44:05.648" v="455753"/>
          <ac:cxnSpMkLst>
            <pc:docMk/>
            <pc:sldMk cId="2668657357" sldId="2147483085"/>
            <ac:cxnSpMk id="733" creationId="{B92125A9-4A52-E41D-9B77-F28F7E927333}"/>
          </ac:cxnSpMkLst>
        </pc:cxnChg>
        <pc:cxnChg chg="add del mod ord">
          <ac:chgData name="Yiqun Dai" userId="360a2182-b97f-4635-b990-04f846616e33" providerId="ADAL" clId="{8F04EA49-0EFC-48F3-A4D8-E0F0D3B461A8}" dt="2025-11-16T02:44:05.677" v="455792"/>
          <ac:cxnSpMkLst>
            <pc:docMk/>
            <pc:sldMk cId="2668657357" sldId="2147483085"/>
            <ac:cxnSpMk id="734" creationId="{821F847A-DCF4-94CE-5209-42A2E713CC4C}"/>
          </ac:cxnSpMkLst>
        </pc:cxnChg>
        <pc:cxnChg chg="add del mod ord">
          <ac:chgData name="Yiqun Dai" userId="360a2182-b97f-4635-b990-04f846616e33" providerId="ADAL" clId="{8F04EA49-0EFC-48F3-A4D8-E0F0D3B461A8}" dt="2025-11-16T02:44:06.808" v="456357"/>
          <ac:cxnSpMkLst>
            <pc:docMk/>
            <pc:sldMk cId="2668657357" sldId="2147483085"/>
            <ac:cxnSpMk id="739" creationId="{22858758-DA83-0614-FBC9-50334922E7B2}"/>
          </ac:cxnSpMkLst>
        </pc:cxnChg>
        <pc:cxnChg chg="add del mod ord">
          <ac:chgData name="Yiqun Dai" userId="360a2182-b97f-4635-b990-04f846616e33" providerId="ADAL" clId="{8F04EA49-0EFC-48F3-A4D8-E0F0D3B461A8}" dt="2025-11-16T02:44:06.810" v="456359"/>
          <ac:cxnSpMkLst>
            <pc:docMk/>
            <pc:sldMk cId="2668657357" sldId="2147483085"/>
            <ac:cxnSpMk id="740" creationId="{38329F50-081C-7557-0875-2935A52819FA}"/>
          </ac:cxnSpMkLst>
        </pc:cxnChg>
        <pc:cxnChg chg="add del mod ord">
          <ac:chgData name="Yiqun Dai" userId="360a2182-b97f-4635-b990-04f846616e33" providerId="ADAL" clId="{8F04EA49-0EFC-48F3-A4D8-E0F0D3B461A8}" dt="2025-11-16T02:44:23.906" v="456686"/>
          <ac:cxnSpMkLst>
            <pc:docMk/>
            <pc:sldMk cId="2668657357" sldId="2147483085"/>
            <ac:cxnSpMk id="745" creationId="{F777A2F8-6A85-A40A-3388-D22C2DD0FBB5}"/>
          </ac:cxnSpMkLst>
        </pc:cxnChg>
        <pc:cxnChg chg="add del mod ord">
          <ac:chgData name="Yiqun Dai" userId="360a2182-b97f-4635-b990-04f846616e33" providerId="ADAL" clId="{8F04EA49-0EFC-48F3-A4D8-E0F0D3B461A8}" dt="2025-11-16T02:47:27.454" v="458050"/>
          <ac:cxnSpMkLst>
            <pc:docMk/>
            <pc:sldMk cId="2668657357" sldId="2147483085"/>
            <ac:cxnSpMk id="748" creationId="{D67CD2A9-0979-793E-4B86-4E97CCA35DDA}"/>
          </ac:cxnSpMkLst>
        </pc:cxnChg>
        <pc:cxnChg chg="add del mod ord">
          <ac:chgData name="Yiqun Dai" userId="360a2182-b97f-4635-b990-04f846616e33" providerId="ADAL" clId="{8F04EA49-0EFC-48F3-A4D8-E0F0D3B461A8}" dt="2025-11-16T02:51:55.128" v="466398"/>
          <ac:cxnSpMkLst>
            <pc:docMk/>
            <pc:sldMk cId="2668657357" sldId="2147483085"/>
            <ac:cxnSpMk id="749" creationId="{EE3773EA-4349-607C-14CA-09A4813A1589}"/>
          </ac:cxnSpMkLst>
        </pc:cxnChg>
        <pc:cxnChg chg="add del mod ord">
          <ac:chgData name="Yiqun Dai" userId="360a2182-b97f-4635-b990-04f846616e33" providerId="ADAL" clId="{8F04EA49-0EFC-48F3-A4D8-E0F0D3B461A8}" dt="2025-11-16T02:44:30.367" v="457145"/>
          <ac:cxnSpMkLst>
            <pc:docMk/>
            <pc:sldMk cId="2668657357" sldId="2147483085"/>
            <ac:cxnSpMk id="752" creationId="{50A31EB0-FF3E-2CB4-9B62-A447CD26E865}"/>
          </ac:cxnSpMkLst>
        </pc:cxnChg>
        <pc:cxnChg chg="add del mod ord">
          <ac:chgData name="Yiqun Dai" userId="360a2182-b97f-4635-b990-04f846616e33" providerId="ADAL" clId="{8F04EA49-0EFC-48F3-A4D8-E0F0D3B461A8}" dt="2025-11-16T02:47:24.548" v="457515"/>
          <ac:cxnSpMkLst>
            <pc:docMk/>
            <pc:sldMk cId="2668657357" sldId="2147483085"/>
            <ac:cxnSpMk id="755" creationId="{BCCC2779-C917-5910-C864-ED733C5172FA}"/>
          </ac:cxnSpMkLst>
        </pc:cxnChg>
        <pc:cxnChg chg="add del mod ord">
          <ac:chgData name="Yiqun Dai" userId="360a2182-b97f-4635-b990-04f846616e33" providerId="ADAL" clId="{8F04EA49-0EFC-48F3-A4D8-E0F0D3B461A8}" dt="2025-11-16T02:47:24.947" v="457770"/>
          <ac:cxnSpMkLst>
            <pc:docMk/>
            <pc:sldMk cId="2668657357" sldId="2147483085"/>
            <ac:cxnSpMk id="758" creationId="{CC4ADF35-3F7C-7041-0BFF-C945F487525D}"/>
          </ac:cxnSpMkLst>
        </pc:cxnChg>
        <pc:cxnChg chg="add del mod ord">
          <ac:chgData name="Yiqun Dai" userId="360a2182-b97f-4635-b990-04f846616e33" providerId="ADAL" clId="{8F04EA49-0EFC-48F3-A4D8-E0F0D3B461A8}" dt="2025-11-16T02:47:27.557" v="458094"/>
          <ac:cxnSpMkLst>
            <pc:docMk/>
            <pc:sldMk cId="2668657357" sldId="2147483085"/>
            <ac:cxnSpMk id="763" creationId="{23EA04EA-EDE7-570C-195F-9905835EAE29}"/>
          </ac:cxnSpMkLst>
        </pc:cxnChg>
        <pc:cxnChg chg="add del mod ord">
          <ac:chgData name="Yiqun Dai" userId="360a2182-b97f-4635-b990-04f846616e33" providerId="ADAL" clId="{8F04EA49-0EFC-48F3-A4D8-E0F0D3B461A8}" dt="2025-11-16T02:47:30.481" v="458391"/>
          <ac:cxnSpMkLst>
            <pc:docMk/>
            <pc:sldMk cId="2668657357" sldId="2147483085"/>
            <ac:cxnSpMk id="768" creationId="{0F0083DF-09E5-EA86-D477-33837ABEAB2C}"/>
          </ac:cxnSpMkLst>
        </pc:cxnChg>
        <pc:cxnChg chg="add del mod ord">
          <ac:chgData name="Yiqun Dai" userId="360a2182-b97f-4635-b990-04f846616e33" providerId="ADAL" clId="{8F04EA49-0EFC-48F3-A4D8-E0F0D3B461A8}" dt="2025-11-16T02:47:32.519" v="458788"/>
          <ac:cxnSpMkLst>
            <pc:docMk/>
            <pc:sldMk cId="2668657357" sldId="2147483085"/>
            <ac:cxnSpMk id="771" creationId="{CD7DC595-EEF0-F7A4-D5AD-10311653FC36}"/>
          </ac:cxnSpMkLst>
        </pc:cxnChg>
        <pc:cxnChg chg="add del mod ord">
          <ac:chgData name="Yiqun Dai" userId="360a2182-b97f-4635-b990-04f846616e33" providerId="ADAL" clId="{8F04EA49-0EFC-48F3-A4D8-E0F0D3B461A8}" dt="2025-11-16T02:47:34.319" v="459110"/>
          <ac:cxnSpMkLst>
            <pc:docMk/>
            <pc:sldMk cId="2668657357" sldId="2147483085"/>
            <ac:cxnSpMk id="772" creationId="{ADDAC584-7DE2-F5F6-1C41-46FFED3BDA53}"/>
          </ac:cxnSpMkLst>
        </pc:cxnChg>
        <pc:cxnChg chg="add del mod ord">
          <ac:chgData name="Yiqun Dai" userId="360a2182-b97f-4635-b990-04f846616e33" providerId="ADAL" clId="{8F04EA49-0EFC-48F3-A4D8-E0F0D3B461A8}" dt="2025-11-16T02:47:35.877" v="459429"/>
          <ac:cxnSpMkLst>
            <pc:docMk/>
            <pc:sldMk cId="2668657357" sldId="2147483085"/>
            <ac:cxnSpMk id="773" creationId="{981A8530-0DF6-A67B-A32F-E19AD6992AEA}"/>
          </ac:cxnSpMkLst>
        </pc:cxnChg>
        <pc:cxnChg chg="add del mod ord">
          <ac:chgData name="Yiqun Dai" userId="360a2182-b97f-4635-b990-04f846616e33" providerId="ADAL" clId="{8F04EA49-0EFC-48F3-A4D8-E0F0D3B461A8}" dt="2025-11-16T02:47:37.596" v="459742"/>
          <ac:cxnSpMkLst>
            <pc:docMk/>
            <pc:sldMk cId="2668657357" sldId="2147483085"/>
            <ac:cxnSpMk id="774" creationId="{DE77E7E8-AF10-DB0C-E4ED-FE7627423671}"/>
          </ac:cxnSpMkLst>
        </pc:cxnChg>
        <pc:cxnChg chg="add del mod ord">
          <ac:chgData name="Yiqun Dai" userId="360a2182-b97f-4635-b990-04f846616e33" providerId="ADAL" clId="{8F04EA49-0EFC-48F3-A4D8-E0F0D3B461A8}" dt="2025-11-16T02:47:39.189" v="460050"/>
          <ac:cxnSpMkLst>
            <pc:docMk/>
            <pc:sldMk cId="2668657357" sldId="2147483085"/>
            <ac:cxnSpMk id="775" creationId="{39AAFBEC-BCDB-BBEB-483A-8A6DA4133253}"/>
          </ac:cxnSpMkLst>
        </pc:cxnChg>
        <pc:cxnChg chg="add mod ord">
          <ac:chgData name="Yiqun Dai" userId="360a2182-b97f-4635-b990-04f846616e33" providerId="ADAL" clId="{8F04EA49-0EFC-48F3-A4D8-E0F0D3B461A8}" dt="2025-11-16T02:51:55.126" v="466392"/>
          <ac:cxnSpMkLst>
            <pc:docMk/>
            <pc:sldMk cId="2668657357" sldId="2147483085"/>
            <ac:cxnSpMk id="776" creationId="{EDA1FDBF-E66D-AB04-45D4-AABB846F7B0E}"/>
          </ac:cxnSpMkLst>
        </pc:cxnChg>
        <pc:cxnChg chg="add del mod ord">
          <ac:chgData name="Yiqun Dai" userId="360a2182-b97f-4635-b990-04f846616e33" providerId="ADAL" clId="{8F04EA49-0EFC-48F3-A4D8-E0F0D3B461A8}" dt="2025-11-16T02:47:44.741" v="460349"/>
          <ac:cxnSpMkLst>
            <pc:docMk/>
            <pc:sldMk cId="2668657357" sldId="2147483085"/>
            <ac:cxnSpMk id="777" creationId="{284278B7-50E4-4959-CED2-A65DA3BB7B23}"/>
          </ac:cxnSpMkLst>
        </pc:cxnChg>
        <pc:cxnChg chg="add mod ord">
          <ac:chgData name="Yiqun Dai" userId="360a2182-b97f-4635-b990-04f846616e33" providerId="ADAL" clId="{8F04EA49-0EFC-48F3-A4D8-E0F0D3B461A8}" dt="2025-11-16T02:51:55.127" v="466394"/>
          <ac:cxnSpMkLst>
            <pc:docMk/>
            <pc:sldMk cId="2668657357" sldId="2147483085"/>
            <ac:cxnSpMk id="778" creationId="{87F1B811-5C1F-5CAB-362E-22374BAF27FB}"/>
          </ac:cxnSpMkLst>
        </pc:cxnChg>
        <pc:cxnChg chg="add del mod ord">
          <ac:chgData name="Yiqun Dai" userId="360a2182-b97f-4635-b990-04f846616e33" providerId="ADAL" clId="{8F04EA49-0EFC-48F3-A4D8-E0F0D3B461A8}" dt="2025-11-16T02:47:32.620" v="458832"/>
          <ac:cxnSpMkLst>
            <pc:docMk/>
            <pc:sldMk cId="2668657357" sldId="2147483085"/>
            <ac:cxnSpMk id="781" creationId="{DEDC3147-9365-211B-157E-7DF756F28839}"/>
          </ac:cxnSpMkLst>
        </pc:cxnChg>
        <pc:cxnChg chg="add del mod ord">
          <ac:chgData name="Yiqun Dai" userId="360a2182-b97f-4635-b990-04f846616e33" providerId="ADAL" clId="{8F04EA49-0EFC-48F3-A4D8-E0F0D3B461A8}" dt="2025-11-16T02:47:34.421" v="459157"/>
          <ac:cxnSpMkLst>
            <pc:docMk/>
            <pc:sldMk cId="2668657357" sldId="2147483085"/>
            <ac:cxnSpMk id="786" creationId="{44082A93-8C73-BC90-EE21-542FD8D22E45}"/>
          </ac:cxnSpMkLst>
        </pc:cxnChg>
        <pc:cxnChg chg="add del mod ord">
          <ac:chgData name="Yiqun Dai" userId="360a2182-b97f-4635-b990-04f846616e33" providerId="ADAL" clId="{8F04EA49-0EFC-48F3-A4D8-E0F0D3B461A8}" dt="2025-11-16T02:47:36.002" v="459476"/>
          <ac:cxnSpMkLst>
            <pc:docMk/>
            <pc:sldMk cId="2668657357" sldId="2147483085"/>
            <ac:cxnSpMk id="791" creationId="{B74532A3-659B-1734-62C9-FFA8167FF508}"/>
          </ac:cxnSpMkLst>
        </pc:cxnChg>
        <pc:cxnChg chg="add del mod ord">
          <ac:chgData name="Yiqun Dai" userId="360a2182-b97f-4635-b990-04f846616e33" providerId="ADAL" clId="{8F04EA49-0EFC-48F3-A4D8-E0F0D3B461A8}" dt="2025-11-16T02:47:37.729" v="459792"/>
          <ac:cxnSpMkLst>
            <pc:docMk/>
            <pc:sldMk cId="2668657357" sldId="2147483085"/>
            <ac:cxnSpMk id="796" creationId="{70E4F6FD-118B-B048-BBD7-F176D8FC4367}"/>
          </ac:cxnSpMkLst>
        </pc:cxnChg>
        <pc:cxnChg chg="add del mod ord">
          <ac:chgData name="Yiqun Dai" userId="360a2182-b97f-4635-b990-04f846616e33" providerId="ADAL" clId="{8F04EA49-0EFC-48F3-A4D8-E0F0D3B461A8}" dt="2025-11-16T02:47:39.298" v="460097"/>
          <ac:cxnSpMkLst>
            <pc:docMk/>
            <pc:sldMk cId="2668657357" sldId="2147483085"/>
            <ac:cxnSpMk id="801" creationId="{156305CA-62AD-0EFF-E8C8-43979DB5D8D4}"/>
          </ac:cxnSpMkLst>
        </pc:cxnChg>
        <pc:cxnChg chg="add del mod ord">
          <ac:chgData name="Yiqun Dai" userId="360a2182-b97f-4635-b990-04f846616e33" providerId="ADAL" clId="{8F04EA49-0EFC-48F3-A4D8-E0F0D3B461A8}" dt="2025-11-16T02:47:44.859" v="460396"/>
          <ac:cxnSpMkLst>
            <pc:docMk/>
            <pc:sldMk cId="2668657357" sldId="2147483085"/>
            <ac:cxnSpMk id="806" creationId="{141EF6D4-60E4-673D-1482-0EAC98444EC0}"/>
          </ac:cxnSpMkLst>
        </pc:cxnChg>
        <pc:cxnChg chg="add del mod ord">
          <ac:chgData name="Yiqun Dai" userId="360a2182-b97f-4635-b990-04f846616e33" providerId="ADAL" clId="{8F04EA49-0EFC-48F3-A4D8-E0F0D3B461A8}" dt="2025-11-16T02:50:29.480" v="463329"/>
          <ac:cxnSpMkLst>
            <pc:docMk/>
            <pc:sldMk cId="2668657357" sldId="2147483085"/>
            <ac:cxnSpMk id="811" creationId="{C38F7278-3836-1D6A-782B-F5426402AF64}"/>
          </ac:cxnSpMkLst>
        </pc:cxnChg>
        <pc:cxnChg chg="add del mod ord">
          <ac:chgData name="Yiqun Dai" userId="360a2182-b97f-4635-b990-04f846616e33" providerId="ADAL" clId="{8F04EA49-0EFC-48F3-A4D8-E0F0D3B461A8}" dt="2025-11-16T02:49:53.208" v="461827"/>
          <ac:cxnSpMkLst>
            <pc:docMk/>
            <pc:sldMk cId="2668657357" sldId="2147483085"/>
            <ac:cxnSpMk id="825" creationId="{D9E00FD2-840D-ACD3-1EDC-E9719A646CA8}"/>
          </ac:cxnSpMkLst>
        </pc:cxnChg>
        <pc:cxnChg chg="add del mod ord">
          <ac:chgData name="Yiqun Dai" userId="360a2182-b97f-4635-b990-04f846616e33" providerId="ADAL" clId="{8F04EA49-0EFC-48F3-A4D8-E0F0D3B461A8}" dt="2025-11-16T02:49:53.210" v="461829"/>
          <ac:cxnSpMkLst>
            <pc:docMk/>
            <pc:sldMk cId="2668657357" sldId="2147483085"/>
            <ac:cxnSpMk id="826" creationId="{0424C901-0ED8-5A12-6729-29248B85BD7C}"/>
          </ac:cxnSpMkLst>
        </pc:cxnChg>
        <pc:cxnChg chg="add del mod ord">
          <ac:chgData name="Yiqun Dai" userId="360a2182-b97f-4635-b990-04f846616e33" providerId="ADAL" clId="{8F04EA49-0EFC-48F3-A4D8-E0F0D3B461A8}" dt="2025-11-16T02:49:53.211" v="461831"/>
          <ac:cxnSpMkLst>
            <pc:docMk/>
            <pc:sldMk cId="2668657357" sldId="2147483085"/>
            <ac:cxnSpMk id="827" creationId="{5CBEF29B-6FF5-34BF-D337-171C8EF2BE2F}"/>
          </ac:cxnSpMkLst>
        </pc:cxnChg>
        <pc:cxnChg chg="add del mod ord">
          <ac:chgData name="Yiqun Dai" userId="360a2182-b97f-4635-b990-04f846616e33" providerId="ADAL" clId="{8F04EA49-0EFC-48F3-A4D8-E0F0D3B461A8}" dt="2025-11-16T02:49:53.212" v="461833"/>
          <ac:cxnSpMkLst>
            <pc:docMk/>
            <pc:sldMk cId="2668657357" sldId="2147483085"/>
            <ac:cxnSpMk id="828" creationId="{5FEEC5CD-7D29-0DA8-9D7D-0F5CAAB38E77}"/>
          </ac:cxnSpMkLst>
        </pc:cxnChg>
        <pc:cxnChg chg="add del mod ord">
          <ac:chgData name="Yiqun Dai" userId="360a2182-b97f-4635-b990-04f846616e33" providerId="ADAL" clId="{8F04EA49-0EFC-48F3-A4D8-E0F0D3B461A8}" dt="2025-11-16T02:49:53.213" v="461835"/>
          <ac:cxnSpMkLst>
            <pc:docMk/>
            <pc:sldMk cId="2668657357" sldId="2147483085"/>
            <ac:cxnSpMk id="829" creationId="{4E592C71-8153-EB15-F11C-BA8F90978005}"/>
          </ac:cxnSpMkLst>
        </pc:cxnChg>
        <pc:cxnChg chg="add del mod ord">
          <ac:chgData name="Yiqun Dai" userId="360a2182-b97f-4635-b990-04f846616e33" providerId="ADAL" clId="{8F04EA49-0EFC-48F3-A4D8-E0F0D3B461A8}" dt="2025-11-16T02:49:53.213" v="461837"/>
          <ac:cxnSpMkLst>
            <pc:docMk/>
            <pc:sldMk cId="2668657357" sldId="2147483085"/>
            <ac:cxnSpMk id="830" creationId="{46EFEFDC-4326-679F-7BF1-407DF05C75AC}"/>
          </ac:cxnSpMkLst>
        </pc:cxnChg>
        <pc:cxnChg chg="add del mod ord">
          <ac:chgData name="Yiqun Dai" userId="360a2182-b97f-4635-b990-04f846616e33" providerId="ADAL" clId="{8F04EA49-0EFC-48F3-A4D8-E0F0D3B461A8}" dt="2025-11-16T02:49:53.215" v="461839"/>
          <ac:cxnSpMkLst>
            <pc:docMk/>
            <pc:sldMk cId="2668657357" sldId="2147483085"/>
            <ac:cxnSpMk id="831" creationId="{E17EC4B7-4B55-EAFC-9756-00DAFBFB2B6A}"/>
          </ac:cxnSpMkLst>
        </pc:cxnChg>
        <pc:cxnChg chg="add del mod ord">
          <ac:chgData name="Yiqun Dai" userId="360a2182-b97f-4635-b990-04f846616e33" providerId="ADAL" clId="{8F04EA49-0EFC-48F3-A4D8-E0F0D3B461A8}" dt="2025-11-16T02:49:59.752" v="462239"/>
          <ac:cxnSpMkLst>
            <pc:docMk/>
            <pc:sldMk cId="2668657357" sldId="2147483085"/>
            <ac:cxnSpMk id="836" creationId="{C8D1E642-338B-5786-1579-94E0FC8F3A75}"/>
          </ac:cxnSpMkLst>
        </pc:cxnChg>
        <pc:cxnChg chg="add del mod ord">
          <ac:chgData name="Yiqun Dai" userId="360a2182-b97f-4635-b990-04f846616e33" providerId="ADAL" clId="{8F04EA49-0EFC-48F3-A4D8-E0F0D3B461A8}" dt="2025-11-16T02:49:59.753" v="462241"/>
          <ac:cxnSpMkLst>
            <pc:docMk/>
            <pc:sldMk cId="2668657357" sldId="2147483085"/>
            <ac:cxnSpMk id="837" creationId="{6038C5B6-652E-B23A-349E-4B20B51529B7}"/>
          </ac:cxnSpMkLst>
        </pc:cxnChg>
        <pc:cxnChg chg="add del mod ord">
          <ac:chgData name="Yiqun Dai" userId="360a2182-b97f-4635-b990-04f846616e33" providerId="ADAL" clId="{8F04EA49-0EFC-48F3-A4D8-E0F0D3B461A8}" dt="2025-11-16T02:49:59.754" v="462243"/>
          <ac:cxnSpMkLst>
            <pc:docMk/>
            <pc:sldMk cId="2668657357" sldId="2147483085"/>
            <ac:cxnSpMk id="838" creationId="{1AD91641-1FB2-E2B8-F830-187FE1836A55}"/>
          </ac:cxnSpMkLst>
        </pc:cxnChg>
        <pc:cxnChg chg="add del mod ord">
          <ac:chgData name="Yiqun Dai" userId="360a2182-b97f-4635-b990-04f846616e33" providerId="ADAL" clId="{8F04EA49-0EFC-48F3-A4D8-E0F0D3B461A8}" dt="2025-11-16T02:49:59.755" v="462245"/>
          <ac:cxnSpMkLst>
            <pc:docMk/>
            <pc:sldMk cId="2668657357" sldId="2147483085"/>
            <ac:cxnSpMk id="839" creationId="{FA31D2C8-0587-BEC2-3C9B-2FC7352E116A}"/>
          </ac:cxnSpMkLst>
        </pc:cxnChg>
        <pc:cxnChg chg="add del mod ord">
          <ac:chgData name="Yiqun Dai" userId="360a2182-b97f-4635-b990-04f846616e33" providerId="ADAL" clId="{8F04EA49-0EFC-48F3-A4D8-E0F0D3B461A8}" dt="2025-11-16T02:49:59.756" v="462247"/>
          <ac:cxnSpMkLst>
            <pc:docMk/>
            <pc:sldMk cId="2668657357" sldId="2147483085"/>
            <ac:cxnSpMk id="840" creationId="{3CB5F7B5-A25A-8EF8-0CAE-B3476793D4E5}"/>
          </ac:cxnSpMkLst>
        </pc:cxnChg>
        <pc:cxnChg chg="add del mod ord">
          <ac:chgData name="Yiqun Dai" userId="360a2182-b97f-4635-b990-04f846616e33" providerId="ADAL" clId="{8F04EA49-0EFC-48F3-A4D8-E0F0D3B461A8}" dt="2025-11-16T02:49:59.758" v="462249"/>
          <ac:cxnSpMkLst>
            <pc:docMk/>
            <pc:sldMk cId="2668657357" sldId="2147483085"/>
            <ac:cxnSpMk id="841" creationId="{EDB97582-72B8-99CF-CA88-EDFEFDEDE407}"/>
          </ac:cxnSpMkLst>
        </pc:cxnChg>
        <pc:cxnChg chg="add del mod ord">
          <ac:chgData name="Yiqun Dai" userId="360a2182-b97f-4635-b990-04f846616e33" providerId="ADAL" clId="{8F04EA49-0EFC-48F3-A4D8-E0F0D3B461A8}" dt="2025-11-16T02:49:59.759" v="462251"/>
          <ac:cxnSpMkLst>
            <pc:docMk/>
            <pc:sldMk cId="2668657357" sldId="2147483085"/>
            <ac:cxnSpMk id="842" creationId="{32CFC5BA-062C-26D9-5DEC-9DCE25E6B4CE}"/>
          </ac:cxnSpMkLst>
        </pc:cxnChg>
        <pc:cxnChg chg="add del mod ord">
          <ac:chgData name="Yiqun Dai" userId="360a2182-b97f-4635-b990-04f846616e33" providerId="ADAL" clId="{8F04EA49-0EFC-48F3-A4D8-E0F0D3B461A8}" dt="2025-11-16T02:50:05.472" v="462651"/>
          <ac:cxnSpMkLst>
            <pc:docMk/>
            <pc:sldMk cId="2668657357" sldId="2147483085"/>
            <ac:cxnSpMk id="847" creationId="{213CF590-CF91-434D-D99A-1AD16499590F}"/>
          </ac:cxnSpMkLst>
        </pc:cxnChg>
        <pc:cxnChg chg="add del mod ord">
          <ac:chgData name="Yiqun Dai" userId="360a2182-b97f-4635-b990-04f846616e33" providerId="ADAL" clId="{8F04EA49-0EFC-48F3-A4D8-E0F0D3B461A8}" dt="2025-11-16T02:50:05.474" v="462653"/>
          <ac:cxnSpMkLst>
            <pc:docMk/>
            <pc:sldMk cId="2668657357" sldId="2147483085"/>
            <ac:cxnSpMk id="848" creationId="{4C34832B-4012-7B81-2842-4AD03C81DAC5}"/>
          </ac:cxnSpMkLst>
        </pc:cxnChg>
        <pc:cxnChg chg="add del mod ord">
          <ac:chgData name="Yiqun Dai" userId="360a2182-b97f-4635-b990-04f846616e33" providerId="ADAL" clId="{8F04EA49-0EFC-48F3-A4D8-E0F0D3B461A8}" dt="2025-11-16T02:50:05.475" v="462655"/>
          <ac:cxnSpMkLst>
            <pc:docMk/>
            <pc:sldMk cId="2668657357" sldId="2147483085"/>
            <ac:cxnSpMk id="849" creationId="{1343E507-3468-D8FB-18EF-08D7618B78B8}"/>
          </ac:cxnSpMkLst>
        </pc:cxnChg>
        <pc:cxnChg chg="add del mod ord">
          <ac:chgData name="Yiqun Dai" userId="360a2182-b97f-4635-b990-04f846616e33" providerId="ADAL" clId="{8F04EA49-0EFC-48F3-A4D8-E0F0D3B461A8}" dt="2025-11-16T02:50:05.476" v="462657"/>
          <ac:cxnSpMkLst>
            <pc:docMk/>
            <pc:sldMk cId="2668657357" sldId="2147483085"/>
            <ac:cxnSpMk id="850" creationId="{9247777C-C752-AF82-0075-57C9D7D7BCD7}"/>
          </ac:cxnSpMkLst>
        </pc:cxnChg>
        <pc:cxnChg chg="add del mod ord">
          <ac:chgData name="Yiqun Dai" userId="360a2182-b97f-4635-b990-04f846616e33" providerId="ADAL" clId="{8F04EA49-0EFC-48F3-A4D8-E0F0D3B461A8}" dt="2025-11-16T02:50:05.478" v="462659"/>
          <ac:cxnSpMkLst>
            <pc:docMk/>
            <pc:sldMk cId="2668657357" sldId="2147483085"/>
            <ac:cxnSpMk id="851" creationId="{95CE4220-F777-66E4-C2D3-4FAC80C11965}"/>
          </ac:cxnSpMkLst>
        </pc:cxnChg>
        <pc:cxnChg chg="add del mod ord">
          <ac:chgData name="Yiqun Dai" userId="360a2182-b97f-4635-b990-04f846616e33" providerId="ADAL" clId="{8F04EA49-0EFC-48F3-A4D8-E0F0D3B461A8}" dt="2025-11-16T02:50:05.479" v="462661"/>
          <ac:cxnSpMkLst>
            <pc:docMk/>
            <pc:sldMk cId="2668657357" sldId="2147483085"/>
            <ac:cxnSpMk id="852" creationId="{17C92C26-1F8E-C0B7-5B5B-7A1A363F2460}"/>
          </ac:cxnSpMkLst>
        </pc:cxnChg>
        <pc:cxnChg chg="add del mod ord">
          <ac:chgData name="Yiqun Dai" userId="360a2182-b97f-4635-b990-04f846616e33" providerId="ADAL" clId="{8F04EA49-0EFC-48F3-A4D8-E0F0D3B461A8}" dt="2025-11-16T02:50:05.480" v="462663"/>
          <ac:cxnSpMkLst>
            <pc:docMk/>
            <pc:sldMk cId="2668657357" sldId="2147483085"/>
            <ac:cxnSpMk id="853" creationId="{E4F1784A-7C68-539F-B8DB-4EC621274C15}"/>
          </ac:cxnSpMkLst>
        </pc:cxnChg>
        <pc:cxnChg chg="add del mod ord">
          <ac:chgData name="Yiqun Dai" userId="360a2182-b97f-4635-b990-04f846616e33" providerId="ADAL" clId="{8F04EA49-0EFC-48F3-A4D8-E0F0D3B461A8}" dt="2025-11-16T02:50:58.291" v="464007"/>
          <ac:cxnSpMkLst>
            <pc:docMk/>
            <pc:sldMk cId="2668657357" sldId="2147483085"/>
            <ac:cxnSpMk id="858" creationId="{6118C70E-0941-6138-5170-0ED2B3A72330}"/>
          </ac:cxnSpMkLst>
        </pc:cxnChg>
        <pc:cxnChg chg="add del mod ord">
          <ac:chgData name="Yiqun Dai" userId="360a2182-b97f-4635-b990-04f846616e33" providerId="ADAL" clId="{8F04EA49-0EFC-48F3-A4D8-E0F0D3B461A8}" dt="2025-11-16T02:50:58.292" v="464009"/>
          <ac:cxnSpMkLst>
            <pc:docMk/>
            <pc:sldMk cId="2668657357" sldId="2147483085"/>
            <ac:cxnSpMk id="859" creationId="{21EA8590-0F05-2E04-478A-1DF30DC95510}"/>
          </ac:cxnSpMkLst>
        </pc:cxnChg>
        <pc:cxnChg chg="add del mod ord">
          <ac:chgData name="Yiqun Dai" userId="360a2182-b97f-4635-b990-04f846616e33" providerId="ADAL" clId="{8F04EA49-0EFC-48F3-A4D8-E0F0D3B461A8}" dt="2025-11-16T02:50:58.294" v="464011"/>
          <ac:cxnSpMkLst>
            <pc:docMk/>
            <pc:sldMk cId="2668657357" sldId="2147483085"/>
            <ac:cxnSpMk id="860" creationId="{5950DC8A-3049-0E00-6DB8-11134790909A}"/>
          </ac:cxnSpMkLst>
        </pc:cxnChg>
        <pc:cxnChg chg="add del mod ord">
          <ac:chgData name="Yiqun Dai" userId="360a2182-b97f-4635-b990-04f846616e33" providerId="ADAL" clId="{8F04EA49-0EFC-48F3-A4D8-E0F0D3B461A8}" dt="2025-11-16T02:50:58.295" v="464013"/>
          <ac:cxnSpMkLst>
            <pc:docMk/>
            <pc:sldMk cId="2668657357" sldId="2147483085"/>
            <ac:cxnSpMk id="861" creationId="{757F61D6-1616-D66E-5AB4-363989C130D9}"/>
          </ac:cxnSpMkLst>
        </pc:cxnChg>
        <pc:cxnChg chg="add del mod ord">
          <ac:chgData name="Yiqun Dai" userId="360a2182-b97f-4635-b990-04f846616e33" providerId="ADAL" clId="{8F04EA49-0EFC-48F3-A4D8-E0F0D3B461A8}" dt="2025-11-16T02:50:58.297" v="464015"/>
          <ac:cxnSpMkLst>
            <pc:docMk/>
            <pc:sldMk cId="2668657357" sldId="2147483085"/>
            <ac:cxnSpMk id="862" creationId="{12517DD9-B00E-52DE-D838-CF0EB3A7E773}"/>
          </ac:cxnSpMkLst>
        </pc:cxnChg>
        <pc:cxnChg chg="add del mod ord">
          <ac:chgData name="Yiqun Dai" userId="360a2182-b97f-4635-b990-04f846616e33" providerId="ADAL" clId="{8F04EA49-0EFC-48F3-A4D8-E0F0D3B461A8}" dt="2025-11-16T02:50:58.301" v="464020"/>
          <ac:cxnSpMkLst>
            <pc:docMk/>
            <pc:sldMk cId="2668657357" sldId="2147483085"/>
            <ac:cxnSpMk id="863" creationId="{0CF5E5CF-5A21-E55E-99BA-98FDC2200EE7}"/>
          </ac:cxnSpMkLst>
        </pc:cxnChg>
        <pc:cxnChg chg="add del mod ord">
          <ac:chgData name="Yiqun Dai" userId="360a2182-b97f-4635-b990-04f846616e33" providerId="ADAL" clId="{8F04EA49-0EFC-48F3-A4D8-E0F0D3B461A8}" dt="2025-11-16T02:50:58.303" v="464022"/>
          <ac:cxnSpMkLst>
            <pc:docMk/>
            <pc:sldMk cId="2668657357" sldId="2147483085"/>
            <ac:cxnSpMk id="864" creationId="{DB270B12-114B-667B-1E7B-D1C08C5458D7}"/>
          </ac:cxnSpMkLst>
        </pc:cxnChg>
        <pc:cxnChg chg="add del mod ord">
          <ac:chgData name="Yiqun Dai" userId="360a2182-b97f-4635-b990-04f846616e33" providerId="ADAL" clId="{8F04EA49-0EFC-48F3-A4D8-E0F0D3B461A8}" dt="2025-11-16T02:50:36.141" v="463665"/>
          <ac:cxnSpMkLst>
            <pc:docMk/>
            <pc:sldMk cId="2668657357" sldId="2147483085"/>
            <ac:cxnSpMk id="874" creationId="{9A25C3D8-E15D-8F6C-0A9B-CACB146F2797}"/>
          </ac:cxnSpMkLst>
        </pc:cxnChg>
        <pc:cxnChg chg="add del mod ord">
          <ac:chgData name="Yiqun Dai" userId="360a2182-b97f-4635-b990-04f846616e33" providerId="ADAL" clId="{8F04EA49-0EFC-48F3-A4D8-E0F0D3B461A8}" dt="2025-11-16T02:51:23.883" v="464422"/>
          <ac:cxnSpMkLst>
            <pc:docMk/>
            <pc:sldMk cId="2668657357" sldId="2147483085"/>
            <ac:cxnSpMk id="879" creationId="{286AD082-2E51-EFAB-FE0F-C0CB4DD45505}"/>
          </ac:cxnSpMkLst>
        </pc:cxnChg>
        <pc:cxnChg chg="add mod ord">
          <ac:chgData name="Yiqun Dai" userId="360a2182-b97f-4635-b990-04f846616e33" providerId="ADAL" clId="{8F04EA49-0EFC-48F3-A4D8-E0F0D3B461A8}" dt="2025-11-16T02:51:55.096" v="466352"/>
          <ac:cxnSpMkLst>
            <pc:docMk/>
            <pc:sldMk cId="2668657357" sldId="2147483085"/>
            <ac:cxnSpMk id="884" creationId="{CBE3D2C9-1558-1B45-B9B3-367E8267730D}"/>
          </ac:cxnSpMkLst>
        </pc:cxnChg>
        <pc:cxnChg chg="add mod ord">
          <ac:chgData name="Yiqun Dai" userId="360a2182-b97f-4635-b990-04f846616e33" providerId="ADAL" clId="{8F04EA49-0EFC-48F3-A4D8-E0F0D3B461A8}" dt="2025-11-16T02:51:55.097" v="466354"/>
          <ac:cxnSpMkLst>
            <pc:docMk/>
            <pc:sldMk cId="2668657357" sldId="2147483085"/>
            <ac:cxnSpMk id="885" creationId="{22BB3B06-D6D9-2FF8-98DF-0A3C53585563}"/>
          </ac:cxnSpMkLst>
        </pc:cxnChg>
        <pc:cxnChg chg="add mod ord">
          <ac:chgData name="Yiqun Dai" userId="360a2182-b97f-4635-b990-04f846616e33" providerId="ADAL" clId="{8F04EA49-0EFC-48F3-A4D8-E0F0D3B461A8}" dt="2025-11-16T02:51:55.097" v="466356"/>
          <ac:cxnSpMkLst>
            <pc:docMk/>
            <pc:sldMk cId="2668657357" sldId="2147483085"/>
            <ac:cxnSpMk id="886" creationId="{68B65DEE-1308-0561-4394-AA147A6F7EC3}"/>
          </ac:cxnSpMkLst>
        </pc:cxnChg>
        <pc:cxnChg chg="add mod ord">
          <ac:chgData name="Yiqun Dai" userId="360a2182-b97f-4635-b990-04f846616e33" providerId="ADAL" clId="{8F04EA49-0EFC-48F3-A4D8-E0F0D3B461A8}" dt="2025-11-16T02:51:55.099" v="466358"/>
          <ac:cxnSpMkLst>
            <pc:docMk/>
            <pc:sldMk cId="2668657357" sldId="2147483085"/>
            <ac:cxnSpMk id="887" creationId="{782D2F28-9D33-385B-5B8D-FBAD58CAADE9}"/>
          </ac:cxnSpMkLst>
        </pc:cxnChg>
        <pc:cxnChg chg="add mod ord">
          <ac:chgData name="Yiqun Dai" userId="360a2182-b97f-4635-b990-04f846616e33" providerId="ADAL" clId="{8F04EA49-0EFC-48F3-A4D8-E0F0D3B461A8}" dt="2025-11-16T02:51:55.100" v="466360"/>
          <ac:cxnSpMkLst>
            <pc:docMk/>
            <pc:sldMk cId="2668657357" sldId="2147483085"/>
            <ac:cxnSpMk id="888" creationId="{DC93B935-8056-FD5E-65D5-F78F125AA6A8}"/>
          </ac:cxnSpMkLst>
        </pc:cxnChg>
        <pc:cxnChg chg="add mod ord">
          <ac:chgData name="Yiqun Dai" userId="360a2182-b97f-4635-b990-04f846616e33" providerId="ADAL" clId="{8F04EA49-0EFC-48F3-A4D8-E0F0D3B461A8}" dt="2025-11-16T02:51:55.101" v="466362"/>
          <ac:cxnSpMkLst>
            <pc:docMk/>
            <pc:sldMk cId="2668657357" sldId="2147483085"/>
            <ac:cxnSpMk id="889" creationId="{FAD00AFA-FE22-DDBC-6CFF-2CEF7A11D4AA}"/>
          </ac:cxnSpMkLst>
        </pc:cxnChg>
        <pc:cxnChg chg="add mod ord">
          <ac:chgData name="Yiqun Dai" userId="360a2182-b97f-4635-b990-04f846616e33" providerId="ADAL" clId="{8F04EA49-0EFC-48F3-A4D8-E0F0D3B461A8}" dt="2025-11-16T02:51:55.102" v="466364"/>
          <ac:cxnSpMkLst>
            <pc:docMk/>
            <pc:sldMk cId="2668657357" sldId="2147483085"/>
            <ac:cxnSpMk id="890" creationId="{49B6F17D-1844-4717-00CD-315239E5699F}"/>
          </ac:cxnSpMkLst>
        </pc:cxnChg>
        <pc:cxnChg chg="add del mod ord">
          <ac:chgData name="Yiqun Dai" userId="360a2182-b97f-4635-b990-04f846616e33" providerId="ADAL" clId="{8F04EA49-0EFC-48F3-A4D8-E0F0D3B461A8}" dt="2025-11-16T02:51:29.585" v="465365"/>
          <ac:cxnSpMkLst>
            <pc:docMk/>
            <pc:sldMk cId="2668657357" sldId="2147483085"/>
            <ac:cxnSpMk id="895" creationId="{0D6B7B60-992A-71FF-D89B-DD8FB836292A}"/>
          </ac:cxnSpMkLst>
        </pc:cxnChg>
        <pc:cxnChg chg="add del mod ord">
          <ac:chgData name="Yiqun Dai" userId="360a2182-b97f-4635-b990-04f846616e33" providerId="ADAL" clId="{8F04EA49-0EFC-48F3-A4D8-E0F0D3B461A8}" dt="2025-11-16T02:51:35.867" v="465862"/>
          <ac:cxnSpMkLst>
            <pc:docMk/>
            <pc:sldMk cId="2668657357" sldId="2147483085"/>
            <ac:cxnSpMk id="913" creationId="{09F2A2B5-EA93-7B98-604D-BE1A81FB19C2}"/>
          </ac:cxnSpMkLst>
        </pc:cxnChg>
        <pc:cxnChg chg="add del mod ord">
          <ac:chgData name="Yiqun Dai" userId="360a2182-b97f-4635-b990-04f846616e33" providerId="ADAL" clId="{8F04EA49-0EFC-48F3-A4D8-E0F0D3B461A8}" dt="2025-11-16T02:51:54.480" v="466172"/>
          <ac:cxnSpMkLst>
            <pc:docMk/>
            <pc:sldMk cId="2668657357" sldId="2147483085"/>
            <ac:cxnSpMk id="918" creationId="{4BC6397B-B265-9F1B-1212-9C671836B4F3}"/>
          </ac:cxnSpMkLst>
        </pc:cxnChg>
        <pc:cxnChg chg="add mod ord">
          <ac:chgData name="Yiqun Dai" userId="360a2182-b97f-4635-b990-04f846616e33" providerId="ADAL" clId="{8F04EA49-0EFC-48F3-A4D8-E0F0D3B461A8}" dt="2025-11-16T02:51:55.131" v="466402"/>
          <ac:cxnSpMkLst>
            <pc:docMk/>
            <pc:sldMk cId="2668657357" sldId="2147483085"/>
            <ac:cxnSpMk id="923" creationId="{3F3B748B-B2F9-722C-4CDD-ECC77409312C}"/>
          </ac:cxnSpMkLst>
        </pc:cxnChg>
        <pc:cxnChg chg="add mod">
          <ac:chgData name="Yiqun Dai" userId="360a2182-b97f-4635-b990-04f846616e33" providerId="ADAL" clId="{8F04EA49-0EFC-48F3-A4D8-E0F0D3B461A8}" dt="2025-11-16T02:54:39.443" v="466570" actId="1035"/>
          <ac:cxnSpMkLst>
            <pc:docMk/>
            <pc:sldMk cId="2668657357" sldId="2147483085"/>
            <ac:cxnSpMk id="927" creationId="{0FDBD70D-2D4A-560B-6673-3B012D81D54B}"/>
          </ac:cxnSpMkLst>
        </pc:cxnChg>
        <pc:cxnChg chg="add mod">
          <ac:chgData name="Yiqun Dai" userId="360a2182-b97f-4635-b990-04f846616e33" providerId="ADAL" clId="{8F04EA49-0EFC-48F3-A4D8-E0F0D3B461A8}" dt="2025-11-16T02:54:39.443" v="466570" actId="1035"/>
          <ac:cxnSpMkLst>
            <pc:docMk/>
            <pc:sldMk cId="2668657357" sldId="2147483085"/>
            <ac:cxnSpMk id="928" creationId="{6519B981-368D-83BF-6DD5-4303DC1B0CD8}"/>
          </ac:cxnSpMkLst>
        </pc:cxnChg>
      </pc:sldChg>
      <pc:sldMasterChg chg="del delSldLayout">
        <pc:chgData name="Yiqun Dai" userId="360a2182-b97f-4635-b990-04f846616e33" providerId="ADAL" clId="{8F04EA49-0EFC-48F3-A4D8-E0F0D3B461A8}" dt="2025-11-17T01:55:16.247" v="466874" actId="47"/>
        <pc:sldMasterMkLst>
          <pc:docMk/>
          <pc:sldMasterMk cId="1676383472" sldId="2147483923"/>
        </pc:sldMasterMkLst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3442319104" sldId="2147483924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2008465220" sldId="2147483925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3502194382" sldId="2147483926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1305600625" sldId="2147483927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2039945654" sldId="2147483928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1681176645" sldId="2147483929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3094489166" sldId="2147483930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3605956071" sldId="2147483931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2446065530" sldId="2147483932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2577297291" sldId="2147483933"/>
          </pc:sldLayoutMkLst>
        </pc:sldLayoutChg>
        <pc:sldLayoutChg chg="del">
          <pc:chgData name="Yiqun Dai" userId="360a2182-b97f-4635-b990-04f846616e33" providerId="ADAL" clId="{8F04EA49-0EFC-48F3-A4D8-E0F0D3B461A8}" dt="2025-11-17T01:55:16.247" v="466874" actId="47"/>
          <pc:sldLayoutMkLst>
            <pc:docMk/>
            <pc:sldMasterMk cId="1676383472" sldId="2147483923"/>
            <pc:sldLayoutMk cId="4166658029" sldId="2147483934"/>
          </pc:sldLayoutMkLst>
        </pc:sldLayoutChg>
      </pc:sldMasterChg>
    </pc:docChg>
  </pc:docChgLst>
  <pc:docChgLst>
    <pc:chgData name="Yudi Zhu" userId="571e1a55-055f-4c28-8b35-fca6dd1c1369" providerId="ADAL" clId="{75A88773-6EE1-484E-AADE-FE631E01463B}"/>
    <pc:docChg chg="undo redo custSel addSld delSld modSld sldOrd modMainMaster addSection modSection">
      <pc:chgData name="Yudi Zhu" userId="571e1a55-055f-4c28-8b35-fca6dd1c1369" providerId="ADAL" clId="{75A88773-6EE1-484E-AADE-FE631E01463B}" dt="2025-11-26T07:07:21.685" v="765919" actId="20577"/>
      <pc:docMkLst>
        <pc:docMk/>
      </pc:docMkLst>
      <pc:sldChg chg="addSp delSp modSp mod">
        <pc:chgData name="Yudi Zhu" userId="571e1a55-055f-4c28-8b35-fca6dd1c1369" providerId="ADAL" clId="{75A88773-6EE1-484E-AADE-FE631E01463B}" dt="2025-11-21T06:05:08.359" v="91475"/>
        <pc:sldMkLst>
          <pc:docMk/>
          <pc:sldMk cId="398489134" sldId="2147480002"/>
        </pc:sldMkLst>
        <pc:spChg chg="mod">
          <ac:chgData name="Yudi Zhu" userId="571e1a55-055f-4c28-8b35-fca6dd1c1369" providerId="ADAL" clId="{75A88773-6EE1-484E-AADE-FE631E01463B}" dt="2025-11-21T06:01:55.263" v="57120" actId="948"/>
          <ac:spMkLst>
            <pc:docMk/>
            <pc:sldMk cId="398489134" sldId="2147480002"/>
            <ac:spMk id="2" creationId="{24C1EEC9-BC41-8798-6B4C-7B3B72CE3B4F}"/>
          </ac:spMkLst>
        </pc:spChg>
        <pc:spChg chg="add del mod modVis">
          <ac:chgData name="Yudi Zhu" userId="571e1a55-055f-4c28-8b35-fca6dd1c1369" providerId="ADAL" clId="{75A88773-6EE1-484E-AADE-FE631E01463B}" dt="2025-11-21T06:02:24.734" v="70148" actId="478"/>
          <ac:spMkLst>
            <pc:docMk/>
            <pc:sldMk cId="398489134" sldId="2147480002"/>
            <ac:spMk id="3" creationId="{32342569-E2EB-A62D-012E-28764FD6AC51}"/>
          </ac:spMkLst>
        </pc:spChg>
        <pc:graphicFrameChg chg="mod">
          <ac:chgData name="Yudi Zhu" userId="571e1a55-055f-4c28-8b35-fca6dd1c1369" providerId="ADAL" clId="{75A88773-6EE1-484E-AADE-FE631E01463B}" dt="2025-11-21T06:05:08.359" v="91475"/>
          <ac:graphicFrameMkLst>
            <pc:docMk/>
            <pc:sldMk cId="398489134" sldId="2147480002"/>
            <ac:graphicFrameMk id="4" creationId="{699490CD-87F4-5A04-DE60-BE63EEBD87C6}"/>
          </ac:graphicFrameMkLst>
        </pc:graphicFrameChg>
      </pc:sldChg>
      <pc:sldChg chg="addSp delSp modSp mod">
        <pc:chgData name="Yudi Zhu" userId="571e1a55-055f-4c28-8b35-fca6dd1c1369" providerId="ADAL" clId="{75A88773-6EE1-484E-AADE-FE631E01463B}" dt="2025-11-21T06:05:08.352" v="91473"/>
        <pc:sldMkLst>
          <pc:docMk/>
          <pc:sldMk cId="3568808484" sldId="2147481930"/>
        </pc:sldMkLst>
        <pc:spChg chg="mod ord">
          <ac:chgData name="Yudi Zhu" userId="571e1a55-055f-4c28-8b35-fca6dd1c1369" providerId="ADAL" clId="{75A88773-6EE1-484E-AADE-FE631E01463B}" dt="2025-11-21T06:04:53.900" v="86095"/>
          <ac:spMkLst>
            <pc:docMk/>
            <pc:sldMk cId="3568808484" sldId="2147481930"/>
            <ac:spMk id="2" creationId="{39A00C0B-F679-7159-B550-38C4962A6F4A}"/>
          </ac:spMkLst>
        </pc:spChg>
        <pc:spChg chg="add del mod modVis">
          <ac:chgData name="Yudi Zhu" userId="571e1a55-055f-4c28-8b35-fca6dd1c1369" providerId="ADAL" clId="{75A88773-6EE1-484E-AADE-FE631E01463B}" dt="2025-11-21T06:02:24.728" v="70146" actId="478"/>
          <ac:spMkLst>
            <pc:docMk/>
            <pc:sldMk cId="3568808484" sldId="2147481930"/>
            <ac:spMk id="3" creationId="{8700B08E-E67C-21C4-E267-99DED9EFBAAF}"/>
          </ac:spMkLst>
        </pc:spChg>
        <pc:spChg chg="add del mod modVis">
          <ac:chgData name="Yudi Zhu" userId="571e1a55-055f-4c28-8b35-fca6dd1c1369" providerId="ADAL" clId="{75A88773-6EE1-484E-AADE-FE631E01463B}" dt="2025-11-19T07:01:48.939" v="4629"/>
          <ac:spMkLst>
            <pc:docMk/>
            <pc:sldMk cId="3568808484" sldId="2147481930"/>
            <ac:spMk id="3" creationId="{E7249DA6-393F-E95A-24A0-ED756BB0629A}"/>
          </ac:spMkLst>
        </pc:spChg>
        <pc:spChg chg="add del mod ord">
          <ac:chgData name="Yudi Zhu" userId="571e1a55-055f-4c28-8b35-fca6dd1c1369" providerId="ADAL" clId="{75A88773-6EE1-484E-AADE-FE631E01463B}" dt="2025-11-19T07:01:49.222" v="4644"/>
          <ac:spMkLst>
            <pc:docMk/>
            <pc:sldMk cId="3568808484" sldId="2147481930"/>
            <ac:spMk id="4" creationId="{6E4D21D3-EC43-09F2-5739-75E695B0459F}"/>
          </ac:spMkLst>
        </pc:spChg>
        <pc:spChg chg="add del mod">
          <ac:chgData name="Yudi Zhu" userId="571e1a55-055f-4c28-8b35-fca6dd1c1369" providerId="ADAL" clId="{75A88773-6EE1-484E-AADE-FE631E01463B}" dt="2025-11-21T06:04:53.858" v="86082"/>
          <ac:spMkLst>
            <pc:docMk/>
            <pc:sldMk cId="3568808484" sldId="2147481930"/>
            <ac:spMk id="4" creationId="{BBAB4FDE-B1D7-46C3-92E7-C6B5BBC3900F}"/>
          </ac:spMkLst>
        </pc:spChg>
        <pc:spChg chg="add del mod">
          <ac:chgData name="Yudi Zhu" userId="571e1a55-055f-4c28-8b35-fca6dd1c1369" providerId="ADAL" clId="{75A88773-6EE1-484E-AADE-FE631E01463B}" dt="2025-11-21T06:04:53.860" v="86083"/>
          <ac:spMkLst>
            <pc:docMk/>
            <pc:sldMk cId="3568808484" sldId="2147481930"/>
            <ac:spMk id="5" creationId="{EDA372F0-4BF6-A448-F60E-A2D8CCE274CA}"/>
          </ac:spMkLst>
        </pc:spChg>
        <pc:spChg chg="mod">
          <ac:chgData name="Yudi Zhu" userId="571e1a55-055f-4c28-8b35-fca6dd1c1369" providerId="ADAL" clId="{75A88773-6EE1-484E-AADE-FE631E01463B}" dt="2025-11-21T06:04:53.912" v="86105"/>
          <ac:spMkLst>
            <pc:docMk/>
            <pc:sldMk cId="3568808484" sldId="2147481930"/>
            <ac:spMk id="6" creationId="{0895951C-BE9A-0836-165D-C589C042F482}"/>
          </ac:spMkLst>
        </pc:spChg>
        <pc:spChg chg="add del mod">
          <ac:chgData name="Yudi Zhu" userId="571e1a55-055f-4c28-8b35-fca6dd1c1369" providerId="ADAL" clId="{75A88773-6EE1-484E-AADE-FE631E01463B}" dt="2025-11-21T06:04:53.862" v="86084"/>
          <ac:spMkLst>
            <pc:docMk/>
            <pc:sldMk cId="3568808484" sldId="2147481930"/>
            <ac:spMk id="7" creationId="{241EB54D-E862-7C63-2FC8-C1A046041824}"/>
          </ac:spMkLst>
        </pc:spChg>
        <pc:spChg chg="add del mod modVis">
          <ac:chgData name="Yudi Zhu" userId="571e1a55-055f-4c28-8b35-fca6dd1c1369" providerId="ADAL" clId="{75A88773-6EE1-484E-AADE-FE631E01463B}" dt="2025-11-19T07:01:49.493" v="4721"/>
          <ac:spMkLst>
            <pc:docMk/>
            <pc:sldMk cId="3568808484" sldId="2147481930"/>
            <ac:spMk id="7" creationId="{51F0CD8C-1CE7-785D-F81F-56951D98EFDF}"/>
          </ac:spMkLst>
        </pc:spChg>
        <pc:spChg chg="mod">
          <ac:chgData name="Yudi Zhu" userId="571e1a55-055f-4c28-8b35-fca6dd1c1369" providerId="ADAL" clId="{75A88773-6EE1-484E-AADE-FE631E01463B}" dt="2025-11-21T06:04:53.916" v="86106"/>
          <ac:spMkLst>
            <pc:docMk/>
            <pc:sldMk cId="3568808484" sldId="2147481930"/>
            <ac:spMk id="8" creationId="{1E1A8FDA-D1D1-AA64-7402-C3046578B8BD}"/>
          </ac:spMkLst>
        </pc:spChg>
        <pc:spChg chg="mod">
          <ac:chgData name="Yudi Zhu" userId="571e1a55-055f-4c28-8b35-fca6dd1c1369" providerId="ADAL" clId="{75A88773-6EE1-484E-AADE-FE631E01463B}" dt="2025-11-21T06:04:53.918" v="86107"/>
          <ac:spMkLst>
            <pc:docMk/>
            <pc:sldMk cId="3568808484" sldId="2147481930"/>
            <ac:spMk id="9" creationId="{C092E1CB-2DDF-7990-5AB9-49AAB5914937}"/>
          </ac:spMkLst>
        </pc:spChg>
        <pc:spChg chg="add del mod">
          <ac:chgData name="Yudi Zhu" userId="571e1a55-055f-4c28-8b35-fca6dd1c1369" providerId="ADAL" clId="{75A88773-6EE1-484E-AADE-FE631E01463B}" dt="2025-11-21T06:04:53.864" v="86085"/>
          <ac:spMkLst>
            <pc:docMk/>
            <pc:sldMk cId="3568808484" sldId="2147481930"/>
            <ac:spMk id="12" creationId="{ED305792-3317-5874-6E74-9B3C21D5B701}"/>
          </ac:spMkLst>
        </pc:spChg>
        <pc:spChg chg="add del mod modVis">
          <ac:chgData name="Yudi Zhu" userId="571e1a55-055f-4c28-8b35-fca6dd1c1369" providerId="ADAL" clId="{75A88773-6EE1-484E-AADE-FE631E01463B}" dt="2025-11-19T07:01:50.011" v="4866"/>
          <ac:spMkLst>
            <pc:docMk/>
            <pc:sldMk cId="3568808484" sldId="2147481930"/>
            <ac:spMk id="14" creationId="{8F3734DA-667B-61C3-B7F4-5ABFD82523E2}"/>
          </ac:spMkLst>
        </pc:spChg>
        <pc:spChg chg="add del mod">
          <ac:chgData name="Yudi Zhu" userId="571e1a55-055f-4c28-8b35-fca6dd1c1369" providerId="ADAL" clId="{75A88773-6EE1-484E-AADE-FE631E01463B}" dt="2025-11-21T06:04:53.866" v="86086"/>
          <ac:spMkLst>
            <pc:docMk/>
            <pc:sldMk cId="3568808484" sldId="2147481930"/>
            <ac:spMk id="14" creationId="{BE0F3673-4425-EAF4-A5B3-BE5B03C0B04E}"/>
          </ac:spMkLst>
        </pc:spChg>
        <pc:spChg chg="add del mod ord">
          <ac:chgData name="Yudi Zhu" userId="571e1a55-055f-4c28-8b35-fca6dd1c1369" providerId="ADAL" clId="{75A88773-6EE1-484E-AADE-FE631E01463B}" dt="2025-11-19T07:01:51.840" v="4881"/>
          <ac:spMkLst>
            <pc:docMk/>
            <pc:sldMk cId="3568808484" sldId="2147481930"/>
            <ac:spMk id="15" creationId="{3DC182DC-E0CD-7162-0BDE-C3D4F004409A}"/>
          </ac:spMkLst>
        </pc:spChg>
        <pc:spChg chg="add del mod modVis">
          <ac:chgData name="Yudi Zhu" userId="571e1a55-055f-4c28-8b35-fca6dd1c1369" providerId="ADAL" clId="{75A88773-6EE1-484E-AADE-FE631E01463B}" dt="2025-11-21T06:05:08.349" v="91471"/>
          <ac:spMkLst>
            <pc:docMk/>
            <pc:sldMk cId="3568808484" sldId="2147481930"/>
            <ac:spMk id="16" creationId="{96FD70B5-D562-3831-C1A6-D0FDC7D6E7A3}"/>
          </ac:spMkLst>
        </pc:spChg>
        <pc:spChg chg="add del mod modVis">
          <ac:chgData name="Yudi Zhu" userId="571e1a55-055f-4c28-8b35-fca6dd1c1369" providerId="ADAL" clId="{75A88773-6EE1-484E-AADE-FE631E01463B}" dt="2025-11-19T07:01:51.928" v="4958"/>
          <ac:spMkLst>
            <pc:docMk/>
            <pc:sldMk cId="3568808484" sldId="2147481930"/>
            <ac:spMk id="18" creationId="{0B871DB8-CD88-7DF0-4671-B5A779F61F7C}"/>
          </ac:spMkLst>
        </pc:spChg>
        <pc:spChg chg="add del mod modVis">
          <ac:chgData name="Yudi Zhu" userId="571e1a55-055f-4c28-8b35-fca6dd1c1369" providerId="ADAL" clId="{75A88773-6EE1-484E-AADE-FE631E01463B}" dt="2025-11-19T07:02:00.694" v="5037"/>
          <ac:spMkLst>
            <pc:docMk/>
            <pc:sldMk cId="3568808484" sldId="2147481930"/>
            <ac:spMk id="20" creationId="{45128E31-9C7C-EA65-DBBB-872DD54D5F69}"/>
          </ac:spMkLst>
        </pc:spChg>
        <pc:spChg chg="mod">
          <ac:chgData name="Yudi Zhu" userId="571e1a55-055f-4c28-8b35-fca6dd1c1369" providerId="ADAL" clId="{75A88773-6EE1-484E-AADE-FE631E01463B}" dt="2025-11-21T06:04:53.920" v="86108"/>
          <ac:spMkLst>
            <pc:docMk/>
            <pc:sldMk cId="3568808484" sldId="2147481930"/>
            <ac:spMk id="24" creationId="{02631FAE-2A52-F922-9D08-B1571E8F6AF6}"/>
          </ac:spMkLst>
        </pc:spChg>
        <pc:spChg chg="mod">
          <ac:chgData name="Yudi Zhu" userId="571e1a55-055f-4c28-8b35-fca6dd1c1369" providerId="ADAL" clId="{75A88773-6EE1-484E-AADE-FE631E01463B}" dt="2025-11-21T06:04:53.921" v="86109"/>
          <ac:spMkLst>
            <pc:docMk/>
            <pc:sldMk cId="3568808484" sldId="2147481930"/>
            <ac:spMk id="25" creationId="{34366C6F-0E86-7C3A-D58F-3C94C0829B6A}"/>
          </ac:spMkLst>
        </pc:spChg>
        <pc:spChg chg="mod ord">
          <ac:chgData name="Yudi Zhu" userId="571e1a55-055f-4c28-8b35-fca6dd1c1369" providerId="ADAL" clId="{75A88773-6EE1-484E-AADE-FE631E01463B}" dt="2025-11-21T06:04:53.923" v="86111"/>
          <ac:spMkLst>
            <pc:docMk/>
            <pc:sldMk cId="3568808484" sldId="2147481930"/>
            <ac:spMk id="102" creationId="{B99FF0BF-5112-520F-8AD0-FDBAE16AABEE}"/>
          </ac:spMkLst>
        </pc:spChg>
        <pc:spChg chg="mod ord">
          <ac:chgData name="Yudi Zhu" userId="571e1a55-055f-4c28-8b35-fca6dd1c1369" providerId="ADAL" clId="{75A88773-6EE1-484E-AADE-FE631E01463B}" dt="2025-11-21T06:04:53.926" v="86115"/>
          <ac:spMkLst>
            <pc:docMk/>
            <pc:sldMk cId="3568808484" sldId="2147481930"/>
            <ac:spMk id="148" creationId="{D5A30386-DBA0-7A38-7003-E3278DA58C16}"/>
          </ac:spMkLst>
        </pc:spChg>
        <pc:spChg chg="mod ord">
          <ac:chgData name="Yudi Zhu" userId="571e1a55-055f-4c28-8b35-fca6dd1c1369" providerId="ADAL" clId="{75A88773-6EE1-484E-AADE-FE631E01463B}" dt="2025-11-21T06:04:53.927" v="86117"/>
          <ac:spMkLst>
            <pc:docMk/>
            <pc:sldMk cId="3568808484" sldId="2147481930"/>
            <ac:spMk id="156" creationId="{1B046CA3-E00D-02BC-6DA3-124E25B3794E}"/>
          </ac:spMkLst>
        </pc:spChg>
        <pc:graphicFrameChg chg="add del mod">
          <ac:chgData name="Yudi Zhu" userId="571e1a55-055f-4c28-8b35-fca6dd1c1369" providerId="ADAL" clId="{75A88773-6EE1-484E-AADE-FE631E01463B}" dt="2025-11-19T07:01:49.289" v="4686"/>
          <ac:graphicFrameMkLst>
            <pc:docMk/>
            <pc:sldMk cId="3568808484" sldId="2147481930"/>
            <ac:graphicFrameMk id="5" creationId="{A27EEE40-7991-71E9-17CF-EDD520093B2B}"/>
          </ac:graphicFrameMkLst>
        </pc:graphicFrameChg>
        <pc:graphicFrameChg chg="add del mod">
          <ac:chgData name="Yudi Zhu" userId="571e1a55-055f-4c28-8b35-fca6dd1c1369" providerId="ADAL" clId="{75A88773-6EE1-484E-AADE-FE631E01463B}" dt="2025-11-19T07:01:49.991" v="4829"/>
          <ac:graphicFrameMkLst>
            <pc:docMk/>
            <pc:sldMk cId="3568808484" sldId="2147481930"/>
            <ac:graphicFrameMk id="12" creationId="{B4B3761B-E29E-0DCB-1D27-9520FFB98826}"/>
          </ac:graphicFrameMkLst>
        </pc:graphicFrameChg>
        <pc:graphicFrameChg chg="mod">
          <ac:chgData name="Yudi Zhu" userId="571e1a55-055f-4c28-8b35-fca6dd1c1369" providerId="ADAL" clId="{75A88773-6EE1-484E-AADE-FE631E01463B}" dt="2025-11-21T06:05:08.352" v="91473"/>
          <ac:graphicFrameMkLst>
            <pc:docMk/>
            <pc:sldMk cId="3568808484" sldId="2147481930"/>
            <ac:graphicFrameMk id="13" creationId="{91FF847D-61BE-B470-EC2C-8FDA41AC1B9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3.869" v="86088"/>
          <ac:graphicFrameMkLst>
            <pc:docMk/>
            <pc:sldMk cId="3568808484" sldId="2147481930"/>
            <ac:graphicFrameMk id="15" creationId="{0F17D51E-35BF-396A-68DF-5D8DC4076890}"/>
          </ac:graphicFrameMkLst>
        </pc:graphicFrameChg>
        <pc:graphicFrameChg chg="del">
          <ac:chgData name="Yudi Zhu" userId="571e1a55-055f-4c28-8b35-fca6dd1c1369" providerId="ADAL" clId="{75A88773-6EE1-484E-AADE-FE631E01463B}" dt="2025-11-19T07:01:48.873" v="4592"/>
          <ac:graphicFrameMkLst>
            <pc:docMk/>
            <pc:sldMk cId="3568808484" sldId="2147481930"/>
            <ac:graphicFrameMk id="16" creationId="{58AC35BA-1E0C-1CD8-E6CD-FC72F782A8F2}"/>
          </ac:graphicFrameMkLst>
        </pc:graphicFrameChg>
        <pc:graphicFrameChg chg="add del mod">
          <ac:chgData name="Yudi Zhu" userId="571e1a55-055f-4c28-8b35-fca6dd1c1369" providerId="ADAL" clId="{75A88773-6EE1-484E-AADE-FE631E01463B}" dt="2025-11-19T07:01:51.887" v="4923"/>
          <ac:graphicFrameMkLst>
            <pc:docMk/>
            <pc:sldMk cId="3568808484" sldId="2147481930"/>
            <ac:graphicFrameMk id="17" creationId="{8652F409-6635-9425-12C9-8141C2A6B8D5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3.912" v="86104"/>
          <ac:graphicFrameMkLst>
            <pc:docMk/>
            <pc:sldMk cId="3568808484" sldId="2147481930"/>
            <ac:graphicFrameMk id="17" creationId="{B0814968-A569-9561-7228-ECA018788699}"/>
          </ac:graphicFrameMkLst>
        </pc:graphicFrameChg>
        <pc:graphicFrameChg chg="add del mod">
          <ac:chgData name="Yudi Zhu" userId="571e1a55-055f-4c28-8b35-fca6dd1c1369" providerId="ADAL" clId="{75A88773-6EE1-484E-AADE-FE631E01463B}" dt="2025-11-19T07:02:00.667" v="5002"/>
          <ac:graphicFrameMkLst>
            <pc:docMk/>
            <pc:sldMk cId="3568808484" sldId="2147481930"/>
            <ac:graphicFrameMk id="19" creationId="{FF38AD4E-0784-136C-511B-F9150C8601E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4.068" v="61423"/>
          <ac:graphicFrameMkLst>
            <pc:docMk/>
            <pc:sldMk cId="3568808484" sldId="2147481930"/>
            <ac:graphicFrameMk id="21" creationId="{DDAC3D77-421D-4B57-4D2E-57D8846D46E5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3.924" v="86113"/>
          <ac:graphicFrameMkLst>
            <pc:docMk/>
            <pc:sldMk cId="3568808484" sldId="2147481930"/>
            <ac:graphicFrameMk id="129" creationId="{9E727365-0DCA-9C39-CF98-DFB4A282778B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3.929" v="86119"/>
          <ac:graphicFrameMkLst>
            <pc:docMk/>
            <pc:sldMk cId="3568808484" sldId="2147481930"/>
            <ac:graphicFrameMk id="161" creationId="{96136F6B-3FFB-3D4C-7F27-C8C5E8B16301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3.931" v="86121"/>
          <ac:graphicFrameMkLst>
            <pc:docMk/>
            <pc:sldMk cId="3568808484" sldId="2147481930"/>
            <ac:graphicFrameMk id="162" creationId="{CAF3D428-EDDD-D848-BBAD-2CCCDEE41345}"/>
          </ac:graphicFrameMkLst>
        </pc:graphicFrameChg>
        <pc:cxnChg chg="mod ord">
          <ac:chgData name="Yudi Zhu" userId="571e1a55-055f-4c28-8b35-fca6dd1c1369" providerId="ADAL" clId="{75A88773-6EE1-484E-AADE-FE631E01463B}" dt="2025-11-21T06:04:53.901" v="86097"/>
          <ac:cxnSpMkLst>
            <pc:docMk/>
            <pc:sldMk cId="3568808484" sldId="2147481930"/>
            <ac:cxnSpMk id="10" creationId="{1DD178AA-E65B-A64B-BE83-7A130B1A7DD7}"/>
          </ac:cxnSpMkLst>
        </pc:cxnChg>
        <pc:cxnChg chg="mod ord">
          <ac:chgData name="Yudi Zhu" userId="571e1a55-055f-4c28-8b35-fca6dd1c1369" providerId="ADAL" clId="{75A88773-6EE1-484E-AADE-FE631E01463B}" dt="2025-11-21T06:04:53.905" v="86099"/>
          <ac:cxnSpMkLst>
            <pc:docMk/>
            <pc:sldMk cId="3568808484" sldId="2147481930"/>
            <ac:cxnSpMk id="11" creationId="{B7E39E64-51E8-B2CD-03BB-0A8F9F3DCF71}"/>
          </ac:cxnSpMkLst>
        </pc:cxnChg>
        <pc:cxnChg chg="mod ord">
          <ac:chgData name="Yudi Zhu" userId="571e1a55-055f-4c28-8b35-fca6dd1c1369" providerId="ADAL" clId="{75A88773-6EE1-484E-AADE-FE631E01463B}" dt="2025-11-21T06:04:53.907" v="86101"/>
          <ac:cxnSpMkLst>
            <pc:docMk/>
            <pc:sldMk cId="3568808484" sldId="2147481930"/>
            <ac:cxnSpMk id="29" creationId="{56FFE01A-35C4-A4B0-8961-EC384FEAA508}"/>
          </ac:cxnSpMkLst>
        </pc:cxnChg>
        <pc:cxnChg chg="mod ord">
          <ac:chgData name="Yudi Zhu" userId="571e1a55-055f-4c28-8b35-fca6dd1c1369" providerId="ADAL" clId="{75A88773-6EE1-484E-AADE-FE631E01463B}" dt="2025-11-21T06:04:53.909" v="86103"/>
          <ac:cxnSpMkLst>
            <pc:docMk/>
            <pc:sldMk cId="3568808484" sldId="2147481930"/>
            <ac:cxnSpMk id="30" creationId="{30D02998-32AC-3B65-4BD3-62C14FF92119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8.337" v="91469"/>
        <pc:sldMkLst>
          <pc:docMk/>
          <pc:sldMk cId="317869439" sldId="2147481931"/>
        </pc:sldMkLst>
        <pc:spChg chg="mod ord">
          <ac:chgData name="Yudi Zhu" userId="571e1a55-055f-4c28-8b35-fca6dd1c1369" providerId="ADAL" clId="{75A88773-6EE1-484E-AADE-FE631E01463B}" dt="2025-11-21T06:04:53.394" v="85839"/>
          <ac:spMkLst>
            <pc:docMk/>
            <pc:sldMk cId="317869439" sldId="2147481931"/>
            <ac:spMk id="2" creationId="{36443FED-FD0D-DC17-31B8-E4DA4C086FDF}"/>
          </ac:spMkLst>
        </pc:spChg>
        <pc:spChg chg="add del mod modVis">
          <ac:chgData name="Yudi Zhu" userId="571e1a55-055f-4c28-8b35-fca6dd1c1369" providerId="ADAL" clId="{75A88773-6EE1-484E-AADE-FE631E01463B}" dt="2025-11-21T06:02:24.718" v="70144" actId="478"/>
          <ac:spMkLst>
            <pc:docMk/>
            <pc:sldMk cId="317869439" sldId="2147481931"/>
            <ac:spMk id="3" creationId="{7FDFB5A5-2FA1-3AA2-318F-2BA805442108}"/>
          </ac:spMkLst>
        </pc:spChg>
        <pc:spChg chg="mod">
          <ac:chgData name="Yudi Zhu" userId="571e1a55-055f-4c28-8b35-fca6dd1c1369" providerId="ADAL" clId="{75A88773-6EE1-484E-AADE-FE631E01463B}" dt="2025-11-21T06:04:53.508" v="85944"/>
          <ac:spMkLst>
            <pc:docMk/>
            <pc:sldMk cId="317869439" sldId="2147481931"/>
            <ac:spMk id="6" creationId="{0DC9A1BE-9AA0-1C8C-7A3F-1D0DD8777E0F}"/>
          </ac:spMkLst>
        </pc:spChg>
        <pc:spChg chg="mod">
          <ac:chgData name="Yudi Zhu" userId="571e1a55-055f-4c28-8b35-fca6dd1c1369" providerId="ADAL" clId="{75A88773-6EE1-484E-AADE-FE631E01463B}" dt="2025-11-21T06:04:53.509" v="85945"/>
          <ac:spMkLst>
            <pc:docMk/>
            <pc:sldMk cId="317869439" sldId="2147481931"/>
            <ac:spMk id="7" creationId="{A3064D15-7E1B-5E62-2E30-AC6C66B51D54}"/>
          </ac:spMkLst>
        </pc:spChg>
        <pc:spChg chg="mod">
          <ac:chgData name="Yudi Zhu" userId="571e1a55-055f-4c28-8b35-fca6dd1c1369" providerId="ADAL" clId="{75A88773-6EE1-484E-AADE-FE631E01463B}" dt="2025-11-21T06:04:53.511" v="85946"/>
          <ac:spMkLst>
            <pc:docMk/>
            <pc:sldMk cId="317869439" sldId="2147481931"/>
            <ac:spMk id="8" creationId="{955C64BA-A0B9-C05A-3633-7D3FDA3294FD}"/>
          </ac:spMkLst>
        </pc:spChg>
        <pc:spChg chg="mod">
          <ac:chgData name="Yudi Zhu" userId="571e1a55-055f-4c28-8b35-fca6dd1c1369" providerId="ADAL" clId="{75A88773-6EE1-484E-AADE-FE631E01463B}" dt="2025-11-21T06:04:53.513" v="85947"/>
          <ac:spMkLst>
            <pc:docMk/>
            <pc:sldMk cId="317869439" sldId="2147481931"/>
            <ac:spMk id="9" creationId="{D69C7873-BE91-B253-DC9C-489D16FD64A5}"/>
          </ac:spMkLst>
        </pc:spChg>
        <pc:spChg chg="mod">
          <ac:chgData name="Yudi Zhu" userId="571e1a55-055f-4c28-8b35-fca6dd1c1369" providerId="ADAL" clId="{75A88773-6EE1-484E-AADE-FE631E01463B}" dt="2025-11-21T06:04:53.515" v="85948"/>
          <ac:spMkLst>
            <pc:docMk/>
            <pc:sldMk cId="317869439" sldId="2147481931"/>
            <ac:spMk id="10" creationId="{8A7B12D6-922A-4601-3B99-646531F3C222}"/>
          </ac:spMkLst>
        </pc:spChg>
        <pc:spChg chg="mod">
          <ac:chgData name="Yudi Zhu" userId="571e1a55-055f-4c28-8b35-fca6dd1c1369" providerId="ADAL" clId="{75A88773-6EE1-484E-AADE-FE631E01463B}" dt="2025-11-21T06:04:53.517" v="85949"/>
          <ac:spMkLst>
            <pc:docMk/>
            <pc:sldMk cId="317869439" sldId="2147481931"/>
            <ac:spMk id="11" creationId="{4F36B3C0-7F01-131F-23AA-CD9F5F6F6F5C}"/>
          </ac:spMkLst>
        </pc:spChg>
        <pc:spChg chg="mod">
          <ac:chgData name="Yudi Zhu" userId="571e1a55-055f-4c28-8b35-fca6dd1c1369" providerId="ADAL" clId="{75A88773-6EE1-484E-AADE-FE631E01463B}" dt="2025-11-21T06:04:53.517" v="85950"/>
          <ac:spMkLst>
            <pc:docMk/>
            <pc:sldMk cId="317869439" sldId="2147481931"/>
            <ac:spMk id="12" creationId="{C521A423-3549-2919-98B1-C36EBE9E6FE4}"/>
          </ac:spMkLst>
        </pc:spChg>
        <pc:spChg chg="mod">
          <ac:chgData name="Yudi Zhu" userId="571e1a55-055f-4c28-8b35-fca6dd1c1369" providerId="ADAL" clId="{75A88773-6EE1-484E-AADE-FE631E01463B}" dt="2025-11-21T06:04:53.519" v="85951"/>
          <ac:spMkLst>
            <pc:docMk/>
            <pc:sldMk cId="317869439" sldId="2147481931"/>
            <ac:spMk id="13" creationId="{77E40A6D-AD41-984B-2BEC-00627D82E49E}"/>
          </ac:spMkLst>
        </pc:spChg>
        <pc:spChg chg="mod">
          <ac:chgData name="Yudi Zhu" userId="571e1a55-055f-4c28-8b35-fca6dd1c1369" providerId="ADAL" clId="{75A88773-6EE1-484E-AADE-FE631E01463B}" dt="2025-11-21T06:04:53.411" v="85857"/>
          <ac:spMkLst>
            <pc:docMk/>
            <pc:sldMk cId="317869439" sldId="2147481931"/>
            <ac:spMk id="14" creationId="{9714E7D5-9892-6632-3199-747D40696A09}"/>
          </ac:spMkLst>
        </pc:spChg>
        <pc:spChg chg="mod">
          <ac:chgData name="Yudi Zhu" userId="571e1a55-055f-4c28-8b35-fca6dd1c1369" providerId="ADAL" clId="{75A88773-6EE1-484E-AADE-FE631E01463B}" dt="2025-11-21T06:04:53.412" v="85858"/>
          <ac:spMkLst>
            <pc:docMk/>
            <pc:sldMk cId="317869439" sldId="2147481931"/>
            <ac:spMk id="15" creationId="{E91BF01B-877C-7019-2DB4-11835F8E22C2}"/>
          </ac:spMkLst>
        </pc:spChg>
        <pc:spChg chg="mod">
          <ac:chgData name="Yudi Zhu" userId="571e1a55-055f-4c28-8b35-fca6dd1c1369" providerId="ADAL" clId="{75A88773-6EE1-484E-AADE-FE631E01463B}" dt="2025-11-21T06:04:53.414" v="85859"/>
          <ac:spMkLst>
            <pc:docMk/>
            <pc:sldMk cId="317869439" sldId="2147481931"/>
            <ac:spMk id="17" creationId="{D9579A60-33DA-EFDE-88A2-38B29FFD4E5B}"/>
          </ac:spMkLst>
        </pc:spChg>
        <pc:spChg chg="mod">
          <ac:chgData name="Yudi Zhu" userId="571e1a55-055f-4c28-8b35-fca6dd1c1369" providerId="ADAL" clId="{75A88773-6EE1-484E-AADE-FE631E01463B}" dt="2025-11-21T06:04:53.427" v="85867"/>
          <ac:spMkLst>
            <pc:docMk/>
            <pc:sldMk cId="317869439" sldId="2147481931"/>
            <ac:spMk id="18" creationId="{BCBC75D5-9947-393A-32A4-67A1443536ED}"/>
          </ac:spMkLst>
        </pc:spChg>
        <pc:spChg chg="mod ord">
          <ac:chgData name="Yudi Zhu" userId="571e1a55-055f-4c28-8b35-fca6dd1c1369" providerId="ADAL" clId="{75A88773-6EE1-484E-AADE-FE631E01463B}" dt="2025-11-21T06:04:53.417" v="85861"/>
          <ac:spMkLst>
            <pc:docMk/>
            <pc:sldMk cId="317869439" sldId="2147481931"/>
            <ac:spMk id="19" creationId="{EB7CCEC5-3C5A-ED80-902C-9A2438DCEE4A}"/>
          </ac:spMkLst>
        </pc:spChg>
        <pc:spChg chg="mod">
          <ac:chgData name="Yudi Zhu" userId="571e1a55-055f-4c28-8b35-fca6dd1c1369" providerId="ADAL" clId="{75A88773-6EE1-484E-AADE-FE631E01463B}" dt="2025-11-21T06:04:53.442" v="85879"/>
          <ac:spMkLst>
            <pc:docMk/>
            <pc:sldMk cId="317869439" sldId="2147481931"/>
            <ac:spMk id="20" creationId="{DD9A3430-D7A5-1E2E-4F83-3678F5A5D5D8}"/>
          </ac:spMkLst>
        </pc:spChg>
        <pc:spChg chg="mod ord">
          <ac:chgData name="Yudi Zhu" userId="571e1a55-055f-4c28-8b35-fca6dd1c1369" providerId="ADAL" clId="{75A88773-6EE1-484E-AADE-FE631E01463B}" dt="2025-11-21T06:04:53.419" v="85863"/>
          <ac:spMkLst>
            <pc:docMk/>
            <pc:sldMk cId="317869439" sldId="2147481931"/>
            <ac:spMk id="21" creationId="{B0BCF451-911F-1D2A-4E63-00D8C1AF70E4}"/>
          </ac:spMkLst>
        </pc:spChg>
        <pc:spChg chg="mod">
          <ac:chgData name="Yudi Zhu" userId="571e1a55-055f-4c28-8b35-fca6dd1c1369" providerId="ADAL" clId="{75A88773-6EE1-484E-AADE-FE631E01463B}" dt="2025-11-21T06:04:53.422" v="85864"/>
          <ac:spMkLst>
            <pc:docMk/>
            <pc:sldMk cId="317869439" sldId="2147481931"/>
            <ac:spMk id="22" creationId="{D82FE366-B49F-4806-DF1D-F061D881514B}"/>
          </ac:spMkLst>
        </pc:spChg>
        <pc:spChg chg="mod">
          <ac:chgData name="Yudi Zhu" userId="571e1a55-055f-4c28-8b35-fca6dd1c1369" providerId="ADAL" clId="{75A88773-6EE1-484E-AADE-FE631E01463B}" dt="2025-11-21T06:04:53.424" v="85865"/>
          <ac:spMkLst>
            <pc:docMk/>
            <pc:sldMk cId="317869439" sldId="2147481931"/>
            <ac:spMk id="23" creationId="{8D2C4A28-CF5A-5CF4-4FF8-1F47C9F9F22A}"/>
          </ac:spMkLst>
        </pc:spChg>
        <pc:spChg chg="mod">
          <ac:chgData name="Yudi Zhu" userId="571e1a55-055f-4c28-8b35-fca6dd1c1369" providerId="ADAL" clId="{75A88773-6EE1-484E-AADE-FE631E01463B}" dt="2025-11-21T06:04:53.425" v="85866"/>
          <ac:spMkLst>
            <pc:docMk/>
            <pc:sldMk cId="317869439" sldId="2147481931"/>
            <ac:spMk id="24" creationId="{1BB7F63E-EAAF-87C5-3A15-A78E5476572A}"/>
          </ac:spMkLst>
        </pc:spChg>
        <pc:spChg chg="mod">
          <ac:chgData name="Yudi Zhu" userId="571e1a55-055f-4c28-8b35-fca6dd1c1369" providerId="ADAL" clId="{75A88773-6EE1-484E-AADE-FE631E01463B}" dt="2025-11-21T06:04:53.444" v="85880"/>
          <ac:spMkLst>
            <pc:docMk/>
            <pc:sldMk cId="317869439" sldId="2147481931"/>
            <ac:spMk id="25" creationId="{D6D42341-3911-A45E-6249-9A2DDC258DEF}"/>
          </ac:spMkLst>
        </pc:spChg>
        <pc:spChg chg="mod">
          <ac:chgData name="Yudi Zhu" userId="571e1a55-055f-4c28-8b35-fca6dd1c1369" providerId="ADAL" clId="{75A88773-6EE1-484E-AADE-FE631E01463B}" dt="2025-11-21T06:04:53.429" v="85868"/>
          <ac:spMkLst>
            <pc:docMk/>
            <pc:sldMk cId="317869439" sldId="2147481931"/>
            <ac:spMk id="26" creationId="{FCA0A87C-1C6B-BFA7-9D48-5A56757E48F8}"/>
          </ac:spMkLst>
        </pc:spChg>
        <pc:spChg chg="mod ord">
          <ac:chgData name="Yudi Zhu" userId="571e1a55-055f-4c28-8b35-fca6dd1c1369" providerId="ADAL" clId="{75A88773-6EE1-484E-AADE-FE631E01463B}" dt="2025-11-21T06:04:53.432" v="85870"/>
          <ac:spMkLst>
            <pc:docMk/>
            <pc:sldMk cId="317869439" sldId="2147481931"/>
            <ac:spMk id="27" creationId="{482BEB0F-8F52-39A0-AFDE-DDC409B4B6F3}"/>
          </ac:spMkLst>
        </pc:spChg>
        <pc:spChg chg="mod">
          <ac:chgData name="Yudi Zhu" userId="571e1a55-055f-4c28-8b35-fca6dd1c1369" providerId="ADAL" clId="{75A88773-6EE1-484E-AADE-FE631E01463B}" dt="2025-11-21T06:04:53.434" v="85871"/>
          <ac:spMkLst>
            <pc:docMk/>
            <pc:sldMk cId="317869439" sldId="2147481931"/>
            <ac:spMk id="28" creationId="{2B2A774E-0221-5AC7-2DA2-F02757E45FCF}"/>
          </ac:spMkLst>
        </pc:spChg>
        <pc:spChg chg="mod ord">
          <ac:chgData name="Yudi Zhu" userId="571e1a55-055f-4c28-8b35-fca6dd1c1369" providerId="ADAL" clId="{75A88773-6EE1-484E-AADE-FE631E01463B}" dt="2025-11-21T06:04:53.436" v="85873"/>
          <ac:spMkLst>
            <pc:docMk/>
            <pc:sldMk cId="317869439" sldId="2147481931"/>
            <ac:spMk id="29" creationId="{0F725E83-64D2-51A8-3A35-7F2D3B610660}"/>
          </ac:spMkLst>
        </pc:spChg>
        <pc:spChg chg="mod ord">
          <ac:chgData name="Yudi Zhu" userId="571e1a55-055f-4c28-8b35-fca6dd1c1369" providerId="ADAL" clId="{75A88773-6EE1-484E-AADE-FE631E01463B}" dt="2025-11-21T06:04:53.438" v="85875"/>
          <ac:spMkLst>
            <pc:docMk/>
            <pc:sldMk cId="317869439" sldId="2147481931"/>
            <ac:spMk id="30" creationId="{3747B6B7-45AC-9105-EDB8-B7558EE2604D}"/>
          </ac:spMkLst>
        </pc:spChg>
        <pc:spChg chg="mod">
          <ac:chgData name="Yudi Zhu" userId="571e1a55-055f-4c28-8b35-fca6dd1c1369" providerId="ADAL" clId="{75A88773-6EE1-484E-AADE-FE631E01463B}" dt="2025-11-21T06:04:53.439" v="85876"/>
          <ac:spMkLst>
            <pc:docMk/>
            <pc:sldMk cId="317869439" sldId="2147481931"/>
            <ac:spMk id="31" creationId="{A1500145-8EBF-0567-0D08-B5C362C44306}"/>
          </ac:spMkLst>
        </pc:spChg>
        <pc:spChg chg="mod">
          <ac:chgData name="Yudi Zhu" userId="571e1a55-055f-4c28-8b35-fca6dd1c1369" providerId="ADAL" clId="{75A88773-6EE1-484E-AADE-FE631E01463B}" dt="2025-11-21T06:04:53.441" v="85877"/>
          <ac:spMkLst>
            <pc:docMk/>
            <pc:sldMk cId="317869439" sldId="2147481931"/>
            <ac:spMk id="32" creationId="{A2A12C4D-776E-B909-6C93-3AA55E2D80AE}"/>
          </ac:spMkLst>
        </pc:spChg>
        <pc:spChg chg="mod">
          <ac:chgData name="Yudi Zhu" userId="571e1a55-055f-4c28-8b35-fca6dd1c1369" providerId="ADAL" clId="{75A88773-6EE1-484E-AADE-FE631E01463B}" dt="2025-11-21T06:04:53.442" v="85878"/>
          <ac:spMkLst>
            <pc:docMk/>
            <pc:sldMk cId="317869439" sldId="2147481931"/>
            <ac:spMk id="33" creationId="{5EF1C3A3-CAC3-70DF-B0E8-778CABBEC01E}"/>
          </ac:spMkLst>
        </pc:spChg>
        <pc:spChg chg="mod">
          <ac:chgData name="Yudi Zhu" userId="571e1a55-055f-4c28-8b35-fca6dd1c1369" providerId="ADAL" clId="{75A88773-6EE1-484E-AADE-FE631E01463B}" dt="2025-11-21T06:04:53.445" v="85881"/>
          <ac:spMkLst>
            <pc:docMk/>
            <pc:sldMk cId="317869439" sldId="2147481931"/>
            <ac:spMk id="34" creationId="{692F588D-9EDE-A165-C962-04D121028EDE}"/>
          </ac:spMkLst>
        </pc:spChg>
        <pc:spChg chg="add del mod modVis">
          <ac:chgData name="Yudi Zhu" userId="571e1a55-055f-4c28-8b35-fca6dd1c1369" providerId="ADAL" clId="{75A88773-6EE1-484E-AADE-FE631E01463B}" dt="2025-11-21T06:05:08.334" v="91467"/>
          <ac:spMkLst>
            <pc:docMk/>
            <pc:sldMk cId="317869439" sldId="2147481931"/>
            <ac:spMk id="40" creationId="{7B6E7B80-991E-798A-02D4-ACB1623D626F}"/>
          </ac:spMkLst>
        </pc:spChg>
        <pc:spChg chg="mod">
          <ac:chgData name="Yudi Zhu" userId="571e1a55-055f-4c28-8b35-fca6dd1c1369" providerId="ADAL" clId="{75A88773-6EE1-484E-AADE-FE631E01463B}" dt="2025-11-21T06:04:53.498" v="85936"/>
          <ac:spMkLst>
            <pc:docMk/>
            <pc:sldMk cId="317869439" sldId="2147481931"/>
            <ac:spMk id="54" creationId="{3A96AD27-770D-1604-5C10-D0E8E2ACC7CB}"/>
          </ac:spMkLst>
        </pc:spChg>
        <pc:spChg chg="mod">
          <ac:chgData name="Yudi Zhu" userId="571e1a55-055f-4c28-8b35-fca6dd1c1369" providerId="ADAL" clId="{75A88773-6EE1-484E-AADE-FE631E01463B}" dt="2025-11-21T06:04:53.500" v="85937"/>
          <ac:spMkLst>
            <pc:docMk/>
            <pc:sldMk cId="317869439" sldId="2147481931"/>
            <ac:spMk id="55" creationId="{6FA2D864-C595-D53B-EBD6-D991E359B8ED}"/>
          </ac:spMkLst>
        </pc:spChg>
        <pc:spChg chg="mod">
          <ac:chgData name="Yudi Zhu" userId="571e1a55-055f-4c28-8b35-fca6dd1c1369" providerId="ADAL" clId="{75A88773-6EE1-484E-AADE-FE631E01463B}" dt="2025-11-21T06:04:53.501" v="85938"/>
          <ac:spMkLst>
            <pc:docMk/>
            <pc:sldMk cId="317869439" sldId="2147481931"/>
            <ac:spMk id="56" creationId="{524E1A60-8D8D-8573-0C84-4D08538F1BF3}"/>
          </ac:spMkLst>
        </pc:spChg>
        <pc:spChg chg="mod">
          <ac:chgData name="Yudi Zhu" userId="571e1a55-055f-4c28-8b35-fca6dd1c1369" providerId="ADAL" clId="{75A88773-6EE1-484E-AADE-FE631E01463B}" dt="2025-11-21T06:04:53.502" v="85939"/>
          <ac:spMkLst>
            <pc:docMk/>
            <pc:sldMk cId="317869439" sldId="2147481931"/>
            <ac:spMk id="57" creationId="{60B6995E-AAA1-9007-4B22-D422E929C909}"/>
          </ac:spMkLst>
        </pc:spChg>
        <pc:spChg chg="mod">
          <ac:chgData name="Yudi Zhu" userId="571e1a55-055f-4c28-8b35-fca6dd1c1369" providerId="ADAL" clId="{75A88773-6EE1-484E-AADE-FE631E01463B}" dt="2025-11-21T06:04:53.504" v="85940"/>
          <ac:spMkLst>
            <pc:docMk/>
            <pc:sldMk cId="317869439" sldId="2147481931"/>
            <ac:spMk id="58" creationId="{DDE99BF2-A0C2-AAAC-8B6F-EF39A5879B7C}"/>
          </ac:spMkLst>
        </pc:spChg>
        <pc:spChg chg="mod">
          <ac:chgData name="Yudi Zhu" userId="571e1a55-055f-4c28-8b35-fca6dd1c1369" providerId="ADAL" clId="{75A88773-6EE1-484E-AADE-FE631E01463B}" dt="2025-11-21T06:04:53.505" v="85941"/>
          <ac:spMkLst>
            <pc:docMk/>
            <pc:sldMk cId="317869439" sldId="2147481931"/>
            <ac:spMk id="59" creationId="{873F987F-6241-337D-893B-A05A9B5185CA}"/>
          </ac:spMkLst>
        </pc:spChg>
        <pc:spChg chg="mod">
          <ac:chgData name="Yudi Zhu" userId="571e1a55-055f-4c28-8b35-fca6dd1c1369" providerId="ADAL" clId="{75A88773-6EE1-484E-AADE-FE631E01463B}" dt="2025-11-21T06:04:53.506" v="85942"/>
          <ac:spMkLst>
            <pc:docMk/>
            <pc:sldMk cId="317869439" sldId="2147481931"/>
            <ac:spMk id="60" creationId="{382C2D33-B6C1-73D0-4E2C-A6C7069B9509}"/>
          </ac:spMkLst>
        </pc:spChg>
        <pc:spChg chg="mod">
          <ac:chgData name="Yudi Zhu" userId="571e1a55-055f-4c28-8b35-fca6dd1c1369" providerId="ADAL" clId="{75A88773-6EE1-484E-AADE-FE631E01463B}" dt="2025-11-21T06:04:53.507" v="85943"/>
          <ac:spMkLst>
            <pc:docMk/>
            <pc:sldMk cId="317869439" sldId="2147481931"/>
            <ac:spMk id="61" creationId="{8A11D334-71EC-5BA0-E4B0-6C4C715875FF}"/>
          </ac:spMkLst>
        </pc:spChg>
        <pc:spChg chg="mod ord">
          <ac:chgData name="Yudi Zhu" userId="571e1a55-055f-4c28-8b35-fca6dd1c1369" providerId="ADAL" clId="{75A88773-6EE1-484E-AADE-FE631E01463B}" dt="2025-11-21T06:04:53.446" v="85883"/>
          <ac:spMkLst>
            <pc:docMk/>
            <pc:sldMk cId="317869439" sldId="2147481931"/>
            <ac:spMk id="62" creationId="{55C3843E-B667-4CB0-0BAD-4C660B2C1DF0}"/>
          </ac:spMkLst>
        </pc:spChg>
        <pc:spChg chg="mod">
          <ac:chgData name="Yudi Zhu" userId="571e1a55-055f-4c28-8b35-fca6dd1c1369" providerId="ADAL" clId="{75A88773-6EE1-484E-AADE-FE631E01463B}" dt="2025-11-21T06:04:53.454" v="85891"/>
          <ac:spMkLst>
            <pc:docMk/>
            <pc:sldMk cId="317869439" sldId="2147481931"/>
            <ac:spMk id="133" creationId="{AE6845E2-EDBC-8D2A-F46F-A65037936D6D}"/>
          </ac:spMkLst>
        </pc:spChg>
        <pc:spChg chg="mod">
          <ac:chgData name="Yudi Zhu" userId="571e1a55-055f-4c28-8b35-fca6dd1c1369" providerId="ADAL" clId="{75A88773-6EE1-484E-AADE-FE631E01463B}" dt="2025-11-21T06:04:53.455" v="85892"/>
          <ac:spMkLst>
            <pc:docMk/>
            <pc:sldMk cId="317869439" sldId="2147481931"/>
            <ac:spMk id="134" creationId="{C8FA23E7-1954-535F-167C-B22C70800949}"/>
          </ac:spMkLst>
        </pc:spChg>
        <pc:spChg chg="mod">
          <ac:chgData name="Yudi Zhu" userId="571e1a55-055f-4c28-8b35-fca6dd1c1369" providerId="ADAL" clId="{75A88773-6EE1-484E-AADE-FE631E01463B}" dt="2025-11-21T06:04:53.456" v="85893"/>
          <ac:spMkLst>
            <pc:docMk/>
            <pc:sldMk cId="317869439" sldId="2147481931"/>
            <ac:spMk id="135" creationId="{771EEA91-D085-6321-84F5-87A71F520D98}"/>
          </ac:spMkLst>
        </pc:spChg>
        <pc:spChg chg="mod">
          <ac:chgData name="Yudi Zhu" userId="571e1a55-055f-4c28-8b35-fca6dd1c1369" providerId="ADAL" clId="{75A88773-6EE1-484E-AADE-FE631E01463B}" dt="2025-11-21T06:04:53.457" v="85894"/>
          <ac:spMkLst>
            <pc:docMk/>
            <pc:sldMk cId="317869439" sldId="2147481931"/>
            <ac:spMk id="136" creationId="{25E348C1-2A17-012D-4E60-303EE0E6BB7F}"/>
          </ac:spMkLst>
        </pc:spChg>
        <pc:spChg chg="mod">
          <ac:chgData name="Yudi Zhu" userId="571e1a55-055f-4c28-8b35-fca6dd1c1369" providerId="ADAL" clId="{75A88773-6EE1-484E-AADE-FE631E01463B}" dt="2025-11-21T06:04:53.457" v="85895"/>
          <ac:spMkLst>
            <pc:docMk/>
            <pc:sldMk cId="317869439" sldId="2147481931"/>
            <ac:spMk id="137" creationId="{EA1C72A7-76CB-A34B-4CA0-D444C92149E8}"/>
          </ac:spMkLst>
        </pc:spChg>
        <pc:spChg chg="mod">
          <ac:chgData name="Yudi Zhu" userId="571e1a55-055f-4c28-8b35-fca6dd1c1369" providerId="ADAL" clId="{75A88773-6EE1-484E-AADE-FE631E01463B}" dt="2025-11-21T06:04:53.459" v="85896"/>
          <ac:spMkLst>
            <pc:docMk/>
            <pc:sldMk cId="317869439" sldId="2147481931"/>
            <ac:spMk id="138" creationId="{C8927A0A-99E8-29F6-F9E2-8BE439DE1155}"/>
          </ac:spMkLst>
        </pc:spChg>
        <pc:spChg chg="mod">
          <ac:chgData name="Yudi Zhu" userId="571e1a55-055f-4c28-8b35-fca6dd1c1369" providerId="ADAL" clId="{75A88773-6EE1-484E-AADE-FE631E01463B}" dt="2025-11-21T06:04:53.459" v="85897"/>
          <ac:spMkLst>
            <pc:docMk/>
            <pc:sldMk cId="317869439" sldId="2147481931"/>
            <ac:spMk id="139" creationId="{88BFF69C-67DE-55EE-77EF-C44A279EA198}"/>
          </ac:spMkLst>
        </pc:spChg>
        <pc:spChg chg="mod">
          <ac:chgData name="Yudi Zhu" userId="571e1a55-055f-4c28-8b35-fca6dd1c1369" providerId="ADAL" clId="{75A88773-6EE1-484E-AADE-FE631E01463B}" dt="2025-11-21T06:04:53.460" v="85898"/>
          <ac:spMkLst>
            <pc:docMk/>
            <pc:sldMk cId="317869439" sldId="2147481931"/>
            <ac:spMk id="140" creationId="{1CDCE2EF-567A-3C91-39D3-A63357A6FAD5}"/>
          </ac:spMkLst>
        </pc:spChg>
        <pc:spChg chg="mod">
          <ac:chgData name="Yudi Zhu" userId="571e1a55-055f-4c28-8b35-fca6dd1c1369" providerId="ADAL" clId="{75A88773-6EE1-484E-AADE-FE631E01463B}" dt="2025-11-21T06:04:53.461" v="85899"/>
          <ac:spMkLst>
            <pc:docMk/>
            <pc:sldMk cId="317869439" sldId="2147481931"/>
            <ac:spMk id="141" creationId="{CDE592CC-8D65-22C9-3EB4-20D94764C7D4}"/>
          </ac:spMkLst>
        </pc:spChg>
        <pc:spChg chg="mod">
          <ac:chgData name="Yudi Zhu" userId="571e1a55-055f-4c28-8b35-fca6dd1c1369" providerId="ADAL" clId="{75A88773-6EE1-484E-AADE-FE631E01463B}" dt="2025-11-21T06:04:53.462" v="85900"/>
          <ac:spMkLst>
            <pc:docMk/>
            <pc:sldMk cId="317869439" sldId="2147481931"/>
            <ac:spMk id="142" creationId="{F9047896-EDBB-AA6E-56FB-79808C1CFAAD}"/>
          </ac:spMkLst>
        </pc:spChg>
        <pc:spChg chg="mod">
          <ac:chgData name="Yudi Zhu" userId="571e1a55-055f-4c28-8b35-fca6dd1c1369" providerId="ADAL" clId="{75A88773-6EE1-484E-AADE-FE631E01463B}" dt="2025-11-21T06:04:53.464" v="85901"/>
          <ac:spMkLst>
            <pc:docMk/>
            <pc:sldMk cId="317869439" sldId="2147481931"/>
            <ac:spMk id="143" creationId="{89DB4891-2500-E430-AD73-AC415FFBC83F}"/>
          </ac:spMkLst>
        </pc:spChg>
        <pc:spChg chg="mod">
          <ac:chgData name="Yudi Zhu" userId="571e1a55-055f-4c28-8b35-fca6dd1c1369" providerId="ADAL" clId="{75A88773-6EE1-484E-AADE-FE631E01463B}" dt="2025-11-21T06:04:53.465" v="85902"/>
          <ac:spMkLst>
            <pc:docMk/>
            <pc:sldMk cId="317869439" sldId="2147481931"/>
            <ac:spMk id="144" creationId="{3127D0B9-C711-7C74-2BC3-FAFF8C3014C8}"/>
          </ac:spMkLst>
        </pc:spChg>
        <pc:spChg chg="mod">
          <ac:chgData name="Yudi Zhu" userId="571e1a55-055f-4c28-8b35-fca6dd1c1369" providerId="ADAL" clId="{75A88773-6EE1-484E-AADE-FE631E01463B}" dt="2025-11-21T06:04:53.467" v="85903"/>
          <ac:spMkLst>
            <pc:docMk/>
            <pc:sldMk cId="317869439" sldId="2147481931"/>
            <ac:spMk id="145" creationId="{BD08D012-DA9B-4087-D308-23F58F7EAD87}"/>
          </ac:spMkLst>
        </pc:spChg>
        <pc:spChg chg="mod">
          <ac:chgData name="Yudi Zhu" userId="571e1a55-055f-4c28-8b35-fca6dd1c1369" providerId="ADAL" clId="{75A88773-6EE1-484E-AADE-FE631E01463B}" dt="2025-11-21T06:04:53.467" v="85904"/>
          <ac:spMkLst>
            <pc:docMk/>
            <pc:sldMk cId="317869439" sldId="2147481931"/>
            <ac:spMk id="146" creationId="{C229F3EC-FAD2-78F0-E710-E98B2D7CC01B}"/>
          </ac:spMkLst>
        </pc:spChg>
        <pc:spChg chg="mod ord">
          <ac:chgData name="Yudi Zhu" userId="571e1a55-055f-4c28-8b35-fca6dd1c1369" providerId="ADAL" clId="{75A88773-6EE1-484E-AADE-FE631E01463B}" dt="2025-11-21T06:04:53.468" v="85906"/>
          <ac:spMkLst>
            <pc:docMk/>
            <pc:sldMk cId="317869439" sldId="2147481931"/>
            <ac:spMk id="147" creationId="{E42A8CD2-EC16-3A24-2012-0961E847DB71}"/>
          </ac:spMkLst>
        </pc:spChg>
        <pc:spChg chg="mod ord">
          <ac:chgData name="Yudi Zhu" userId="571e1a55-055f-4c28-8b35-fca6dd1c1369" providerId="ADAL" clId="{75A88773-6EE1-484E-AADE-FE631E01463B}" dt="2025-11-21T06:04:53.470" v="85908"/>
          <ac:spMkLst>
            <pc:docMk/>
            <pc:sldMk cId="317869439" sldId="2147481931"/>
            <ac:spMk id="148" creationId="{197BEDFD-06CE-2217-A7B3-13B157E0E5A0}"/>
          </ac:spMkLst>
        </pc:spChg>
        <pc:spChg chg="mod ord">
          <ac:chgData name="Yudi Zhu" userId="571e1a55-055f-4c28-8b35-fca6dd1c1369" providerId="ADAL" clId="{75A88773-6EE1-484E-AADE-FE631E01463B}" dt="2025-11-21T06:04:53.471" v="85910"/>
          <ac:spMkLst>
            <pc:docMk/>
            <pc:sldMk cId="317869439" sldId="2147481931"/>
            <ac:spMk id="149" creationId="{D01B7963-E67D-A423-8FF7-16E42B4B86E2}"/>
          </ac:spMkLst>
        </pc:spChg>
        <pc:spChg chg="mod ord">
          <ac:chgData name="Yudi Zhu" userId="571e1a55-055f-4c28-8b35-fca6dd1c1369" providerId="ADAL" clId="{75A88773-6EE1-484E-AADE-FE631E01463B}" dt="2025-11-21T06:04:53.472" v="85912"/>
          <ac:spMkLst>
            <pc:docMk/>
            <pc:sldMk cId="317869439" sldId="2147481931"/>
            <ac:spMk id="150" creationId="{9601CE43-9B9F-6999-011E-8591BC57F396}"/>
          </ac:spMkLst>
        </pc:spChg>
        <pc:spChg chg="mod ord">
          <ac:chgData name="Yudi Zhu" userId="571e1a55-055f-4c28-8b35-fca6dd1c1369" providerId="ADAL" clId="{75A88773-6EE1-484E-AADE-FE631E01463B}" dt="2025-11-21T06:04:53.473" v="85914"/>
          <ac:spMkLst>
            <pc:docMk/>
            <pc:sldMk cId="317869439" sldId="2147481931"/>
            <ac:spMk id="151" creationId="{23A3B88A-F154-5D22-247F-0F950D7C12C7}"/>
          </ac:spMkLst>
        </pc:spChg>
        <pc:spChg chg="mod ord">
          <ac:chgData name="Yudi Zhu" userId="571e1a55-055f-4c28-8b35-fca6dd1c1369" providerId="ADAL" clId="{75A88773-6EE1-484E-AADE-FE631E01463B}" dt="2025-11-21T06:04:53.475" v="85916"/>
          <ac:spMkLst>
            <pc:docMk/>
            <pc:sldMk cId="317869439" sldId="2147481931"/>
            <ac:spMk id="152" creationId="{5E5CCC8B-E673-2657-F769-A9408472F896}"/>
          </ac:spMkLst>
        </pc:spChg>
        <pc:spChg chg="mod">
          <ac:chgData name="Yudi Zhu" userId="571e1a55-055f-4c28-8b35-fca6dd1c1369" providerId="ADAL" clId="{75A88773-6EE1-484E-AADE-FE631E01463B}" dt="2025-11-21T06:04:53.476" v="85917"/>
          <ac:spMkLst>
            <pc:docMk/>
            <pc:sldMk cId="317869439" sldId="2147481931"/>
            <ac:spMk id="153" creationId="{DE5B07B7-E510-9377-DF49-9E965BF92BB5}"/>
          </ac:spMkLst>
        </pc:spChg>
        <pc:spChg chg="mod">
          <ac:chgData name="Yudi Zhu" userId="571e1a55-055f-4c28-8b35-fca6dd1c1369" providerId="ADAL" clId="{75A88773-6EE1-484E-AADE-FE631E01463B}" dt="2025-11-21T06:04:53.477" v="85918"/>
          <ac:spMkLst>
            <pc:docMk/>
            <pc:sldMk cId="317869439" sldId="2147481931"/>
            <ac:spMk id="154" creationId="{C0A39C8B-D806-47B0-3C39-34F79B4AD03B}"/>
          </ac:spMkLst>
        </pc:spChg>
        <pc:spChg chg="mod">
          <ac:chgData name="Yudi Zhu" userId="571e1a55-055f-4c28-8b35-fca6dd1c1369" providerId="ADAL" clId="{75A88773-6EE1-484E-AADE-FE631E01463B}" dt="2025-11-21T06:04:53.478" v="85919"/>
          <ac:spMkLst>
            <pc:docMk/>
            <pc:sldMk cId="317869439" sldId="2147481931"/>
            <ac:spMk id="155" creationId="{BB07258B-35C6-C6D0-E0B0-F3D41C98BBC5}"/>
          </ac:spMkLst>
        </pc:spChg>
        <pc:spChg chg="mod">
          <ac:chgData name="Yudi Zhu" userId="571e1a55-055f-4c28-8b35-fca6dd1c1369" providerId="ADAL" clId="{75A88773-6EE1-484E-AADE-FE631E01463B}" dt="2025-11-21T06:04:53.480" v="85920"/>
          <ac:spMkLst>
            <pc:docMk/>
            <pc:sldMk cId="317869439" sldId="2147481931"/>
            <ac:spMk id="156" creationId="{035B6720-AB37-565D-1AF1-BF601F11F891}"/>
          </ac:spMkLst>
        </pc:spChg>
        <pc:spChg chg="mod">
          <ac:chgData name="Yudi Zhu" userId="571e1a55-055f-4c28-8b35-fca6dd1c1369" providerId="ADAL" clId="{75A88773-6EE1-484E-AADE-FE631E01463B}" dt="2025-11-21T06:04:53.482" v="85921"/>
          <ac:spMkLst>
            <pc:docMk/>
            <pc:sldMk cId="317869439" sldId="2147481931"/>
            <ac:spMk id="157" creationId="{E8A397CB-F924-C9DD-1E4C-C86476911E84}"/>
          </ac:spMkLst>
        </pc:spChg>
        <pc:spChg chg="mod ord">
          <ac:chgData name="Yudi Zhu" userId="571e1a55-055f-4c28-8b35-fca6dd1c1369" providerId="ADAL" clId="{75A88773-6EE1-484E-AADE-FE631E01463B}" dt="2025-11-21T06:04:53.489" v="85927"/>
          <ac:spMkLst>
            <pc:docMk/>
            <pc:sldMk cId="317869439" sldId="2147481931"/>
            <ac:spMk id="171" creationId="{DD391F86-DA93-AABD-672C-E4C2B02A9D78}"/>
          </ac:spMkLst>
        </pc:spChg>
        <pc:spChg chg="mod ord">
          <ac:chgData name="Yudi Zhu" userId="571e1a55-055f-4c28-8b35-fca6dd1c1369" providerId="ADAL" clId="{75A88773-6EE1-484E-AADE-FE631E01463B}" dt="2025-11-21T06:04:53.490" v="85929"/>
          <ac:spMkLst>
            <pc:docMk/>
            <pc:sldMk cId="317869439" sldId="2147481931"/>
            <ac:spMk id="172" creationId="{532D764F-858C-BA72-A9BC-8552B0331330}"/>
          </ac:spMkLst>
        </pc:spChg>
        <pc:spChg chg="mod ord">
          <ac:chgData name="Yudi Zhu" userId="571e1a55-055f-4c28-8b35-fca6dd1c1369" providerId="ADAL" clId="{75A88773-6EE1-484E-AADE-FE631E01463B}" dt="2025-11-21T06:04:53.496" v="85935"/>
          <ac:spMkLst>
            <pc:docMk/>
            <pc:sldMk cId="317869439" sldId="2147481931"/>
            <ac:spMk id="238" creationId="{0DC74E1D-B0AB-2B92-392F-342520BC3CDA}"/>
          </ac:spMkLst>
        </pc:spChg>
        <pc:graphicFrameChg chg="add del mod">
          <ac:chgData name="Yudi Zhu" userId="571e1a55-055f-4c28-8b35-fca6dd1c1369" providerId="ADAL" clId="{75A88773-6EE1-484E-AADE-FE631E01463B}" dt="2025-11-21T06:04:53.176" v="85770"/>
          <ac:graphicFrameMkLst>
            <pc:docMk/>
            <pc:sldMk cId="317869439" sldId="2147481931"/>
            <ac:graphicFrameMk id="4" creationId="{29E9FBBC-A8AE-6401-1CE6-733254E29D2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3.361" v="85832"/>
          <ac:graphicFrameMkLst>
            <pc:docMk/>
            <pc:sldMk cId="317869439" sldId="2147481931"/>
            <ac:graphicFrameMk id="5" creationId="{CD5053DD-C015-FCE6-2465-54AEECF73C92}"/>
          </ac:graphicFrameMkLst>
        </pc:graphicFrameChg>
        <pc:graphicFrameChg chg="mod">
          <ac:chgData name="Yudi Zhu" userId="571e1a55-055f-4c28-8b35-fca6dd1c1369" providerId="ADAL" clId="{75A88773-6EE1-484E-AADE-FE631E01463B}" dt="2025-11-21T06:05:08.337" v="91469"/>
          <ac:graphicFrameMkLst>
            <pc:docMk/>
            <pc:sldMk cId="317869439" sldId="2147481931"/>
            <ac:graphicFrameMk id="16" creationId="{65B5CA95-ECCE-EB50-DD56-79CAD703FDB6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3.397" v="85840"/>
          <ac:graphicFrameMkLst>
            <pc:docMk/>
            <pc:sldMk cId="317869439" sldId="2147481931"/>
            <ac:graphicFrameMk id="41" creationId="{2B9C982E-D1CD-E000-73E0-A0C90EA3DB0E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3.447" v="85884"/>
          <ac:graphicFrameMkLst>
            <pc:docMk/>
            <pc:sldMk cId="317869439" sldId="2147481931"/>
            <ac:graphicFrameMk id="42" creationId="{C43AF161-62C3-8A94-D135-75120A1175FE}"/>
          </ac:graphicFrameMkLst>
        </pc:graphicFrameChg>
        <pc:graphicFrameChg chg="del">
          <ac:chgData name="Yudi Zhu" userId="571e1a55-055f-4c28-8b35-fca6dd1c1369" providerId="ADAL" clId="{75A88773-6EE1-484E-AADE-FE631E01463B}" dt="2025-11-21T06:02:02.926" v="60852"/>
          <ac:graphicFrameMkLst>
            <pc:docMk/>
            <pc:sldMk cId="317869439" sldId="2147481931"/>
            <ac:graphicFrameMk id="52" creationId="{5C8E763C-1DF5-FCF4-4B32-F80125C61BE3}"/>
          </ac:graphicFrameMkLst>
        </pc:graphicFrameChg>
        <pc:graphicFrameChg chg="del">
          <ac:chgData name="Yudi Zhu" userId="571e1a55-055f-4c28-8b35-fca6dd1c1369" providerId="ADAL" clId="{75A88773-6EE1-484E-AADE-FE631E01463B}" dt="2025-11-21T06:02:02.737" v="60770"/>
          <ac:graphicFrameMkLst>
            <pc:docMk/>
            <pc:sldMk cId="317869439" sldId="2147481931"/>
            <ac:graphicFrameMk id="161" creationId="{A1F5031A-EB6E-73B3-C69E-617E2413D77E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3.485" v="85923"/>
          <ac:graphicFrameMkLst>
            <pc:docMk/>
            <pc:sldMk cId="317869439" sldId="2147481931"/>
            <ac:graphicFrameMk id="168" creationId="{41341B5E-7290-A5BC-D177-CFB53DDB78CA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3.487" v="85925"/>
          <ac:graphicFrameMkLst>
            <pc:docMk/>
            <pc:sldMk cId="317869439" sldId="2147481931"/>
            <ac:graphicFrameMk id="170" creationId="{AB2724A2-0DAF-4C97-F933-61D4107DE3C1}"/>
          </ac:graphicFrameMkLst>
        </pc:graphicFrameChg>
        <pc:cxnChg chg="mod ord">
          <ac:chgData name="Yudi Zhu" userId="571e1a55-055f-4c28-8b35-fca6dd1c1369" providerId="ADAL" clId="{75A88773-6EE1-484E-AADE-FE631E01463B}" dt="2025-11-21T06:04:53.408" v="85852"/>
          <ac:cxnSpMkLst>
            <pc:docMk/>
            <pc:sldMk cId="317869439" sldId="2147481931"/>
            <ac:cxnSpMk id="35" creationId="{C4A47111-37E3-6353-7D5A-DE648D2F826E}"/>
          </ac:cxnSpMkLst>
        </pc:cxnChg>
        <pc:cxnChg chg="mod ord">
          <ac:chgData name="Yudi Zhu" userId="571e1a55-055f-4c28-8b35-fca6dd1c1369" providerId="ADAL" clId="{75A88773-6EE1-484E-AADE-FE631E01463B}" dt="2025-11-21T06:04:53.406" v="85850"/>
          <ac:cxnSpMkLst>
            <pc:docMk/>
            <pc:sldMk cId="317869439" sldId="2147481931"/>
            <ac:cxnSpMk id="36" creationId="{1B122B5D-47CF-69CB-80F8-B316CD38B193}"/>
          </ac:cxnSpMkLst>
        </pc:cxnChg>
        <pc:cxnChg chg="mod ord">
          <ac:chgData name="Yudi Zhu" userId="571e1a55-055f-4c28-8b35-fca6dd1c1369" providerId="ADAL" clId="{75A88773-6EE1-484E-AADE-FE631E01463B}" dt="2025-11-21T06:04:53.405" v="85848"/>
          <ac:cxnSpMkLst>
            <pc:docMk/>
            <pc:sldMk cId="317869439" sldId="2147481931"/>
            <ac:cxnSpMk id="37" creationId="{743D03B1-5AC9-0E8D-5737-877D4598E3DC}"/>
          </ac:cxnSpMkLst>
        </pc:cxnChg>
        <pc:cxnChg chg="mod ord">
          <ac:chgData name="Yudi Zhu" userId="571e1a55-055f-4c28-8b35-fca6dd1c1369" providerId="ADAL" clId="{75A88773-6EE1-484E-AADE-FE631E01463B}" dt="2025-11-21T06:04:53.410" v="85856"/>
          <ac:cxnSpMkLst>
            <pc:docMk/>
            <pc:sldMk cId="317869439" sldId="2147481931"/>
            <ac:cxnSpMk id="38" creationId="{2A3B443B-D82A-90C4-3B8B-781298476BAF}"/>
          </ac:cxnSpMkLst>
        </pc:cxnChg>
        <pc:cxnChg chg="mod ord">
          <ac:chgData name="Yudi Zhu" userId="571e1a55-055f-4c28-8b35-fca6dd1c1369" providerId="ADAL" clId="{75A88773-6EE1-484E-AADE-FE631E01463B}" dt="2025-11-21T06:04:53.409" v="85854"/>
          <ac:cxnSpMkLst>
            <pc:docMk/>
            <pc:sldMk cId="317869439" sldId="2147481931"/>
            <ac:cxnSpMk id="39" creationId="{9B60F73E-5671-E2CD-3DC5-870648574E0C}"/>
          </ac:cxnSpMkLst>
        </pc:cxnChg>
        <pc:cxnChg chg="mod ord">
          <ac:chgData name="Yudi Zhu" userId="571e1a55-055f-4c28-8b35-fca6dd1c1369" providerId="ADAL" clId="{75A88773-6EE1-484E-AADE-FE631E01463B}" dt="2025-11-21T06:04:53.400" v="85842"/>
          <ac:cxnSpMkLst>
            <pc:docMk/>
            <pc:sldMk cId="317869439" sldId="2147481931"/>
            <ac:cxnSpMk id="128" creationId="{1B5EAE37-2991-E288-66B2-751F51554891}"/>
          </ac:cxnSpMkLst>
        </pc:cxnChg>
        <pc:cxnChg chg="mod ord">
          <ac:chgData name="Yudi Zhu" userId="571e1a55-055f-4c28-8b35-fca6dd1c1369" providerId="ADAL" clId="{75A88773-6EE1-484E-AADE-FE631E01463B}" dt="2025-11-21T06:04:53.402" v="85844"/>
          <ac:cxnSpMkLst>
            <pc:docMk/>
            <pc:sldMk cId="317869439" sldId="2147481931"/>
            <ac:cxnSpMk id="129" creationId="{4840EEC2-27E6-7D90-3DCC-7F49E8B28189}"/>
          </ac:cxnSpMkLst>
        </pc:cxnChg>
        <pc:cxnChg chg="mod ord">
          <ac:chgData name="Yudi Zhu" userId="571e1a55-055f-4c28-8b35-fca6dd1c1369" providerId="ADAL" clId="{75A88773-6EE1-484E-AADE-FE631E01463B}" dt="2025-11-21T06:04:53.450" v="85886"/>
          <ac:cxnSpMkLst>
            <pc:docMk/>
            <pc:sldMk cId="317869439" sldId="2147481931"/>
            <ac:cxnSpMk id="130" creationId="{6BD47B67-A5D7-0163-BD79-5C6B9C3215AA}"/>
          </ac:cxnSpMkLst>
        </pc:cxnChg>
        <pc:cxnChg chg="mod ord">
          <ac:chgData name="Yudi Zhu" userId="571e1a55-055f-4c28-8b35-fca6dd1c1369" providerId="ADAL" clId="{75A88773-6EE1-484E-AADE-FE631E01463B}" dt="2025-11-21T06:04:53.451" v="85888"/>
          <ac:cxnSpMkLst>
            <pc:docMk/>
            <pc:sldMk cId="317869439" sldId="2147481931"/>
            <ac:cxnSpMk id="131" creationId="{C635AE8F-0039-D7EA-E856-75F94FA5F11E}"/>
          </ac:cxnSpMkLst>
        </pc:cxnChg>
        <pc:cxnChg chg="mod ord">
          <ac:chgData name="Yudi Zhu" userId="571e1a55-055f-4c28-8b35-fca6dd1c1369" providerId="ADAL" clId="{75A88773-6EE1-484E-AADE-FE631E01463B}" dt="2025-11-21T06:04:53.452" v="85890"/>
          <ac:cxnSpMkLst>
            <pc:docMk/>
            <pc:sldMk cId="317869439" sldId="2147481931"/>
            <ac:cxnSpMk id="132" creationId="{A643D541-8243-C309-788C-EA99A1F01D93}"/>
          </ac:cxnSpMkLst>
        </pc:cxnChg>
        <pc:cxnChg chg="mod ord">
          <ac:chgData name="Yudi Zhu" userId="571e1a55-055f-4c28-8b35-fca6dd1c1369" providerId="ADAL" clId="{75A88773-6EE1-484E-AADE-FE631E01463B}" dt="2025-11-21T06:04:53.404" v="85846"/>
          <ac:cxnSpMkLst>
            <pc:docMk/>
            <pc:sldMk cId="317869439" sldId="2147481931"/>
            <ac:cxnSpMk id="158" creationId="{D4F8FE18-0750-3353-068A-388205AC1C92}"/>
          </ac:cxnSpMkLst>
        </pc:cxnChg>
        <pc:cxnChg chg="mod ord">
          <ac:chgData name="Yudi Zhu" userId="571e1a55-055f-4c28-8b35-fca6dd1c1369" providerId="ADAL" clId="{75A88773-6EE1-484E-AADE-FE631E01463B}" dt="2025-11-21T06:04:53.492" v="85931"/>
          <ac:cxnSpMkLst>
            <pc:docMk/>
            <pc:sldMk cId="317869439" sldId="2147481931"/>
            <ac:cxnSpMk id="176" creationId="{65F6B28F-6BAE-58F0-D8DA-2044FA7934A0}"/>
          </ac:cxnSpMkLst>
        </pc:cxnChg>
        <pc:cxnChg chg="mod ord">
          <ac:chgData name="Yudi Zhu" userId="571e1a55-055f-4c28-8b35-fca6dd1c1369" providerId="ADAL" clId="{75A88773-6EE1-484E-AADE-FE631E01463B}" dt="2025-11-21T06:04:53.494" v="85933"/>
          <ac:cxnSpMkLst>
            <pc:docMk/>
            <pc:sldMk cId="317869439" sldId="2147481931"/>
            <ac:cxnSpMk id="178" creationId="{CD65E4C7-3010-9375-2004-B79B428E8C51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39:20.859" v="171740"/>
        <pc:sldMkLst>
          <pc:docMk/>
          <pc:sldMk cId="2692683206" sldId="2147481932"/>
        </pc:sldMkLst>
        <pc:spChg chg="add del mod modVis">
          <ac:chgData name="Yudi Zhu" userId="571e1a55-055f-4c28-8b35-fca6dd1c1369" providerId="ADAL" clId="{75A88773-6EE1-484E-AADE-FE631E01463B}" dt="2025-11-21T06:02:24.738" v="70150" actId="478"/>
          <ac:spMkLst>
            <pc:docMk/>
            <pc:sldMk cId="2692683206" sldId="2147481932"/>
            <ac:spMk id="2" creationId="{BC476F39-88CC-966D-2DBA-5632D2A302CB}"/>
          </ac:spMkLst>
        </pc:spChg>
        <pc:spChg chg="add del mod modVis">
          <ac:chgData name="Yudi Zhu" userId="571e1a55-055f-4c28-8b35-fca6dd1c1369" providerId="ADAL" clId="{75A88773-6EE1-484E-AADE-FE631E01463B}" dt="2025-11-19T07:06:05.173" v="5530"/>
          <ac:spMkLst>
            <pc:docMk/>
            <pc:sldMk cId="2692683206" sldId="2147481932"/>
            <ac:spMk id="2" creationId="{F5A2E5B8-8857-A35E-7B0E-9A32CDC9E331}"/>
          </ac:spMkLst>
        </pc:spChg>
        <pc:spChg chg="add del mod">
          <ac:chgData name="Yudi Zhu" userId="571e1a55-055f-4c28-8b35-fca6dd1c1369" providerId="ADAL" clId="{75A88773-6EE1-484E-AADE-FE631E01463B}" dt="2025-11-21T06:02:43.396" v="72243"/>
          <ac:spMkLst>
            <pc:docMk/>
            <pc:sldMk cId="2692683206" sldId="2147481932"/>
            <ac:spMk id="3" creationId="{434FCF24-91CC-CCE6-97F9-DAC61EAE31AF}"/>
          </ac:spMkLst>
        </pc:spChg>
        <pc:spChg chg="add del mod">
          <ac:chgData name="Yudi Zhu" userId="571e1a55-055f-4c28-8b35-fca6dd1c1369" providerId="ADAL" clId="{75A88773-6EE1-484E-AADE-FE631E01463B}" dt="2025-11-19T07:06:09.329" v="5587"/>
          <ac:spMkLst>
            <pc:docMk/>
            <pc:sldMk cId="2692683206" sldId="2147481932"/>
            <ac:spMk id="3" creationId="{47917DE6-BE8D-A8F9-5015-26BF4A35BCCE}"/>
          </ac:spMkLst>
        </pc:spChg>
        <pc:spChg chg="add del mod ord">
          <ac:chgData name="Yudi Zhu" userId="571e1a55-055f-4c28-8b35-fca6dd1c1369" providerId="ADAL" clId="{75A88773-6EE1-484E-AADE-FE631E01463B}" dt="2025-11-19T07:06:09.330" v="5589"/>
          <ac:spMkLst>
            <pc:docMk/>
            <pc:sldMk cId="2692683206" sldId="2147481932"/>
            <ac:spMk id="4" creationId="{15C2F7AD-5399-E8BC-B827-B7BC49E4D9E8}"/>
          </ac:spMkLst>
        </pc:spChg>
        <pc:spChg chg="add del mod">
          <ac:chgData name="Yudi Zhu" userId="571e1a55-055f-4c28-8b35-fca6dd1c1369" providerId="ADAL" clId="{75A88773-6EE1-484E-AADE-FE631E01463B}" dt="2025-11-21T06:02:43.396" v="72244"/>
          <ac:spMkLst>
            <pc:docMk/>
            <pc:sldMk cId="2692683206" sldId="2147481932"/>
            <ac:spMk id="4" creationId="{3B64A7F1-AE99-8054-3812-2191861B24E1}"/>
          </ac:spMkLst>
        </pc:spChg>
        <pc:spChg chg="add del mod">
          <ac:chgData name="Yudi Zhu" userId="571e1a55-055f-4c28-8b35-fca6dd1c1369" providerId="ADAL" clId="{75A88773-6EE1-484E-AADE-FE631E01463B}" dt="2025-11-21T06:02:43.397" v="72245"/>
          <ac:spMkLst>
            <pc:docMk/>
            <pc:sldMk cId="2692683206" sldId="2147481932"/>
            <ac:spMk id="5" creationId="{DD92CE46-F888-4531-434E-176D40C49414}"/>
          </ac:spMkLst>
        </pc:spChg>
        <pc:spChg chg="mod">
          <ac:chgData name="Yudi Zhu" userId="571e1a55-055f-4c28-8b35-fca6dd1c1369" providerId="ADAL" clId="{75A88773-6EE1-484E-AADE-FE631E01463B}" dt="2025-11-21T06:04:54.109" v="86169"/>
          <ac:spMkLst>
            <pc:docMk/>
            <pc:sldMk cId="2692683206" sldId="2147481932"/>
            <ac:spMk id="6" creationId="{1E5D5D29-396E-6356-09A6-7C14D9D86E8A}"/>
          </ac:spMkLst>
        </pc:spChg>
        <pc:spChg chg="add del mod">
          <ac:chgData name="Yudi Zhu" userId="571e1a55-055f-4c28-8b35-fca6dd1c1369" providerId="ADAL" clId="{75A88773-6EE1-484E-AADE-FE631E01463B}" dt="2025-11-21T06:02:43.397" v="72246"/>
          <ac:spMkLst>
            <pc:docMk/>
            <pc:sldMk cId="2692683206" sldId="2147481932"/>
            <ac:spMk id="7" creationId="{E319BC93-EECD-A06E-07A2-8A7E7975C0FC}"/>
          </ac:spMkLst>
        </pc:spChg>
        <pc:spChg chg="add del mod modVis">
          <ac:chgData name="Yudi Zhu" userId="571e1a55-055f-4c28-8b35-fca6dd1c1369" providerId="ADAL" clId="{75A88773-6EE1-484E-AADE-FE631E01463B}" dt="2025-11-19T07:06:09.402" v="5707"/>
          <ac:spMkLst>
            <pc:docMk/>
            <pc:sldMk cId="2692683206" sldId="2147481932"/>
            <ac:spMk id="7" creationId="{E61D18E5-28F6-6420-912F-FA7E92AFBE92}"/>
          </ac:spMkLst>
        </pc:spChg>
        <pc:spChg chg="mod">
          <ac:chgData name="Yudi Zhu" userId="571e1a55-055f-4c28-8b35-fca6dd1c1369" providerId="ADAL" clId="{75A88773-6EE1-484E-AADE-FE631E01463B}" dt="2025-11-21T06:04:54.110" v="86170"/>
          <ac:spMkLst>
            <pc:docMk/>
            <pc:sldMk cId="2692683206" sldId="2147481932"/>
            <ac:spMk id="8" creationId="{9FDD8D02-1D00-15FA-D423-A32123E4CDE8}"/>
          </ac:spMkLst>
        </pc:spChg>
        <pc:spChg chg="mod">
          <ac:chgData name="Yudi Zhu" userId="571e1a55-055f-4c28-8b35-fca6dd1c1369" providerId="ADAL" clId="{75A88773-6EE1-484E-AADE-FE631E01463B}" dt="2025-11-21T06:04:54.112" v="86171"/>
          <ac:spMkLst>
            <pc:docMk/>
            <pc:sldMk cId="2692683206" sldId="2147481932"/>
            <ac:spMk id="9" creationId="{661734C9-E572-DFE8-890F-918F19A3D242}"/>
          </ac:spMkLst>
        </pc:spChg>
        <pc:spChg chg="add del mod modVis">
          <ac:chgData name="Yudi Zhu" userId="571e1a55-055f-4c28-8b35-fca6dd1c1369" providerId="ADAL" clId="{75A88773-6EE1-484E-AADE-FE631E01463B}" dt="2025-11-19T07:06:23.832" v="6346"/>
          <ac:spMkLst>
            <pc:docMk/>
            <pc:sldMk cId="2692683206" sldId="2147481932"/>
            <ac:spMk id="14" creationId="{16C99670-14A4-E641-FA41-1976CBABE6CB}"/>
          </ac:spMkLst>
        </pc:spChg>
        <pc:spChg chg="add del mod">
          <ac:chgData name="Yudi Zhu" userId="571e1a55-055f-4c28-8b35-fca6dd1c1369" providerId="ADAL" clId="{75A88773-6EE1-484E-AADE-FE631E01463B}" dt="2025-11-21T06:02:43.620" v="72408"/>
          <ac:spMkLst>
            <pc:docMk/>
            <pc:sldMk cId="2692683206" sldId="2147481932"/>
            <ac:spMk id="14" creationId="{BC9DAD84-2BA9-2B81-BD96-564DC7E32D90}"/>
          </ac:spMkLst>
        </pc:spChg>
        <pc:spChg chg="add mod">
          <ac:chgData name="Yudi Zhu" userId="571e1a55-055f-4c28-8b35-fca6dd1c1369" providerId="ADAL" clId="{75A88773-6EE1-484E-AADE-FE631E01463B}" dt="2025-11-21T06:04:54.113" v="86172"/>
          <ac:spMkLst>
            <pc:docMk/>
            <pc:sldMk cId="2692683206" sldId="2147481932"/>
            <ac:spMk id="15" creationId="{DFFF05C9-99D2-4961-C5EE-CA7EC4CFF299}"/>
          </ac:spMkLst>
        </pc:spChg>
        <pc:spChg chg="add mod ord">
          <ac:chgData name="Yudi Zhu" userId="571e1a55-055f-4c28-8b35-fca6dd1c1369" providerId="ADAL" clId="{75A88773-6EE1-484E-AADE-FE631E01463B}" dt="2025-11-21T06:04:54.107" v="86168"/>
          <ac:spMkLst>
            <pc:docMk/>
            <pc:sldMk cId="2692683206" sldId="2147481932"/>
            <ac:spMk id="16" creationId="{4714B34A-FA31-298C-95E2-13B1B599CBE5}"/>
          </ac:spMkLst>
        </pc:spChg>
        <pc:spChg chg="add del mod">
          <ac:chgData name="Yudi Zhu" userId="571e1a55-055f-4c28-8b35-fca6dd1c1369" providerId="ADAL" clId="{75A88773-6EE1-484E-AADE-FE631E01463B}" dt="2025-11-21T06:02:43.620" v="72409"/>
          <ac:spMkLst>
            <pc:docMk/>
            <pc:sldMk cId="2692683206" sldId="2147481932"/>
            <ac:spMk id="17" creationId="{439CC361-1068-51C0-A14C-D86AA54E5E81}"/>
          </ac:spMkLst>
        </pc:spChg>
        <pc:spChg chg="add del mod">
          <ac:chgData name="Yudi Zhu" userId="571e1a55-055f-4c28-8b35-fca6dd1c1369" providerId="ADAL" clId="{75A88773-6EE1-484E-AADE-FE631E01463B}" dt="2025-11-21T06:02:43.622" v="72410"/>
          <ac:spMkLst>
            <pc:docMk/>
            <pc:sldMk cId="2692683206" sldId="2147481932"/>
            <ac:spMk id="18" creationId="{8D817C0A-0091-0CDF-9148-BA6A37607CFA}"/>
          </ac:spMkLst>
        </pc:spChg>
        <pc:spChg chg="add del mod">
          <ac:chgData name="Yudi Zhu" userId="571e1a55-055f-4c28-8b35-fca6dd1c1369" providerId="ADAL" clId="{75A88773-6EE1-484E-AADE-FE631E01463B}" dt="2025-11-21T06:02:43.622" v="72411"/>
          <ac:spMkLst>
            <pc:docMk/>
            <pc:sldMk cId="2692683206" sldId="2147481932"/>
            <ac:spMk id="19" creationId="{A2BAE55C-B684-4421-DBBC-FA2D7F2C2DDB}"/>
          </ac:spMkLst>
        </pc:spChg>
        <pc:spChg chg="add del mod modVis">
          <ac:chgData name="Yudi Zhu" userId="571e1a55-055f-4c28-8b35-fca6dd1c1369" providerId="ADAL" clId="{75A88773-6EE1-484E-AADE-FE631E01463B}" dt="2025-11-19T07:06:31.402" v="6643"/>
          <ac:spMkLst>
            <pc:docMk/>
            <pc:sldMk cId="2692683206" sldId="2147481932"/>
            <ac:spMk id="20" creationId="{51581FDE-646D-080E-09E4-BBB7D7651F31}"/>
          </ac:spMkLst>
        </pc:spChg>
        <pc:spChg chg="add del mod">
          <ac:chgData name="Yudi Zhu" userId="571e1a55-055f-4c28-8b35-fca6dd1c1369" providerId="ADAL" clId="{75A88773-6EE1-484E-AADE-FE631E01463B}" dt="2025-11-21T06:02:43.846" v="72573"/>
          <ac:spMkLst>
            <pc:docMk/>
            <pc:sldMk cId="2692683206" sldId="2147481932"/>
            <ac:spMk id="21" creationId="{53DC957C-5C2C-5688-D507-DD3177640590}"/>
          </ac:spMkLst>
        </pc:spChg>
        <pc:spChg chg="del mod ord">
          <ac:chgData name="Yudi Zhu" userId="571e1a55-055f-4c28-8b35-fca6dd1c1369" providerId="ADAL" clId="{75A88773-6EE1-484E-AADE-FE631E01463B}" dt="2025-11-19T07:09:13.713" v="7142"/>
          <ac:spMkLst>
            <pc:docMk/>
            <pc:sldMk cId="2692683206" sldId="2147481932"/>
            <ac:spMk id="21" creationId="{70AEFBDA-C3D8-780A-5259-71AC0FC26029}"/>
          </ac:spMkLst>
        </pc:spChg>
        <pc:spChg chg="mod ord">
          <ac:chgData name="Yudi Zhu" userId="571e1a55-055f-4c28-8b35-fca6dd1c1369" providerId="ADAL" clId="{75A88773-6EE1-484E-AADE-FE631E01463B}" dt="2025-11-21T06:04:54.119" v="86178"/>
          <ac:spMkLst>
            <pc:docMk/>
            <pc:sldMk cId="2692683206" sldId="2147481932"/>
            <ac:spMk id="22" creationId="{FBE74710-AEF7-B291-14F6-9A8FD0D918F8}"/>
          </ac:spMkLst>
        </pc:spChg>
        <pc:spChg chg="add del mod">
          <ac:chgData name="Yudi Zhu" userId="571e1a55-055f-4c28-8b35-fca6dd1c1369" providerId="ADAL" clId="{75A88773-6EE1-484E-AADE-FE631E01463B}" dt="2025-11-21T06:02:43.846" v="72574"/>
          <ac:spMkLst>
            <pc:docMk/>
            <pc:sldMk cId="2692683206" sldId="2147481932"/>
            <ac:spMk id="23" creationId="{0612226B-1544-3CAC-35F9-AC29602A854E}"/>
          </ac:spMkLst>
        </pc:spChg>
        <pc:spChg chg="mod">
          <ac:chgData name="Yudi Zhu" userId="571e1a55-055f-4c28-8b35-fca6dd1c1369" providerId="ADAL" clId="{75A88773-6EE1-484E-AADE-FE631E01463B}" dt="2025-11-21T06:04:54.114" v="86173"/>
          <ac:spMkLst>
            <pc:docMk/>
            <pc:sldMk cId="2692683206" sldId="2147481932"/>
            <ac:spMk id="24" creationId="{4CABBFDD-CC62-CD8A-3873-CACB8640FA8C}"/>
          </ac:spMkLst>
        </pc:spChg>
        <pc:spChg chg="mod">
          <ac:chgData name="Yudi Zhu" userId="571e1a55-055f-4c28-8b35-fca6dd1c1369" providerId="ADAL" clId="{75A88773-6EE1-484E-AADE-FE631E01463B}" dt="2025-11-21T06:04:54.116" v="86174"/>
          <ac:spMkLst>
            <pc:docMk/>
            <pc:sldMk cId="2692683206" sldId="2147481932"/>
            <ac:spMk id="25" creationId="{6ADD620B-2055-C00B-CC41-64FDBDAC01C5}"/>
          </ac:spMkLst>
        </pc:spChg>
        <pc:spChg chg="mod">
          <ac:chgData name="Yudi Zhu" userId="571e1a55-055f-4c28-8b35-fca6dd1c1369" providerId="ADAL" clId="{75A88773-6EE1-484E-AADE-FE631E01463B}" dt="2025-11-21T06:04:54.127" v="86188"/>
          <ac:spMkLst>
            <pc:docMk/>
            <pc:sldMk cId="2692683206" sldId="2147481932"/>
            <ac:spMk id="33" creationId="{70C9A136-40F1-0810-7941-4250EAA3A49B}"/>
          </ac:spMkLst>
        </pc:spChg>
        <pc:spChg chg="mod">
          <ac:chgData name="Yudi Zhu" userId="571e1a55-055f-4c28-8b35-fca6dd1c1369" providerId="ADAL" clId="{75A88773-6EE1-484E-AADE-FE631E01463B}" dt="2025-11-21T06:04:54.129" v="86189"/>
          <ac:spMkLst>
            <pc:docMk/>
            <pc:sldMk cId="2692683206" sldId="2147481932"/>
            <ac:spMk id="34" creationId="{F9B50E05-8F8A-7DB1-66F0-01F8E33A845E}"/>
          </ac:spMkLst>
        </pc:spChg>
        <pc:spChg chg="mod ord">
          <ac:chgData name="Yudi Zhu" userId="571e1a55-055f-4c28-8b35-fca6dd1c1369" providerId="ADAL" clId="{75A88773-6EE1-484E-AADE-FE631E01463B}" dt="2025-11-21T06:04:54.131" v="86191"/>
          <ac:spMkLst>
            <pc:docMk/>
            <pc:sldMk cId="2692683206" sldId="2147481932"/>
            <ac:spMk id="35" creationId="{C8684864-1FDA-34CB-FCFC-11B004CC614D}"/>
          </ac:spMkLst>
        </pc:spChg>
        <pc:spChg chg="mod">
          <ac:chgData name="Yudi Zhu" userId="571e1a55-055f-4c28-8b35-fca6dd1c1369" providerId="ADAL" clId="{75A88773-6EE1-484E-AADE-FE631E01463B}" dt="2025-11-21T06:04:54.133" v="86192"/>
          <ac:spMkLst>
            <pc:docMk/>
            <pc:sldMk cId="2692683206" sldId="2147481932"/>
            <ac:spMk id="36" creationId="{49FF13CE-05CD-66A2-EA47-B81422AF04A8}"/>
          </ac:spMkLst>
        </pc:spChg>
        <pc:spChg chg="mod">
          <ac:chgData name="Yudi Zhu" userId="571e1a55-055f-4c28-8b35-fca6dd1c1369" providerId="ADAL" clId="{75A88773-6EE1-484E-AADE-FE631E01463B}" dt="2025-11-21T06:04:54.135" v="86193"/>
          <ac:spMkLst>
            <pc:docMk/>
            <pc:sldMk cId="2692683206" sldId="2147481932"/>
            <ac:spMk id="37" creationId="{B26FB86E-B2A4-9D28-116E-91EBC3FCE821}"/>
          </ac:spMkLst>
        </pc:spChg>
        <pc:spChg chg="mod">
          <ac:chgData name="Yudi Zhu" userId="571e1a55-055f-4c28-8b35-fca6dd1c1369" providerId="ADAL" clId="{75A88773-6EE1-484E-AADE-FE631E01463B}" dt="2025-11-21T06:04:54.137" v="86194"/>
          <ac:spMkLst>
            <pc:docMk/>
            <pc:sldMk cId="2692683206" sldId="2147481932"/>
            <ac:spMk id="38" creationId="{E6C8994A-1897-4B65-87E1-94332F2614D7}"/>
          </ac:spMkLst>
        </pc:spChg>
        <pc:spChg chg="add del mod">
          <ac:chgData name="Yudi Zhu" userId="571e1a55-055f-4c28-8b35-fca6dd1c1369" providerId="ADAL" clId="{75A88773-6EE1-484E-AADE-FE631E01463B}" dt="2025-11-21T06:02:43.847" v="72575"/>
          <ac:spMkLst>
            <pc:docMk/>
            <pc:sldMk cId="2692683206" sldId="2147481932"/>
            <ac:spMk id="39" creationId="{D74CFAF5-C851-BDEE-6938-8D3BD121C910}"/>
          </ac:spMkLst>
        </pc:spChg>
        <pc:spChg chg="add del mod modVis">
          <ac:chgData name="Yudi Zhu" userId="571e1a55-055f-4c28-8b35-fca6dd1c1369" providerId="ADAL" clId="{75A88773-6EE1-484E-AADE-FE631E01463B}" dt="2025-11-19T07:07:27.099" v="6962"/>
          <ac:spMkLst>
            <pc:docMk/>
            <pc:sldMk cId="2692683206" sldId="2147481932"/>
            <ac:spMk id="40" creationId="{89BB6E91-CB99-A90D-6A2A-98BDF6F26FAC}"/>
          </ac:spMkLst>
        </pc:spChg>
        <pc:spChg chg="add del mod">
          <ac:chgData name="Yudi Zhu" userId="571e1a55-055f-4c28-8b35-fca6dd1c1369" providerId="ADAL" clId="{75A88773-6EE1-484E-AADE-FE631E01463B}" dt="2025-11-21T06:02:43.847" v="72576"/>
          <ac:spMkLst>
            <pc:docMk/>
            <pc:sldMk cId="2692683206" sldId="2147481932"/>
            <ac:spMk id="40" creationId="{D81467FE-D97B-3540-C889-121DEB027A1A}"/>
          </ac:spMkLst>
        </pc:spChg>
        <pc:spChg chg="mod ord">
          <ac:chgData name="Yudi Zhu" userId="571e1a55-055f-4c28-8b35-fca6dd1c1369" providerId="ADAL" clId="{75A88773-6EE1-484E-AADE-FE631E01463B}" dt="2025-11-21T06:04:54.139" v="86198"/>
          <ac:spMkLst>
            <pc:docMk/>
            <pc:sldMk cId="2692683206" sldId="2147481932"/>
            <ac:spMk id="42" creationId="{9EFA78D0-0E7D-5C99-B099-CEE12F7A47E1}"/>
          </ac:spMkLst>
        </pc:spChg>
        <pc:spChg chg="add mod ord">
          <ac:chgData name="Yudi Zhu" userId="571e1a55-055f-4c28-8b35-fca6dd1c1369" providerId="ADAL" clId="{75A88773-6EE1-484E-AADE-FE631E01463B}" dt="2025-11-21T06:04:54.150" v="86209"/>
          <ac:spMkLst>
            <pc:docMk/>
            <pc:sldMk cId="2692683206" sldId="2147481932"/>
            <ac:spMk id="43" creationId="{CB29D600-D421-C1AB-595C-0EC9DA745C89}"/>
          </ac:spMkLst>
        </pc:spChg>
        <pc:spChg chg="add del mod modVis">
          <ac:chgData name="Yudi Zhu" userId="571e1a55-055f-4c28-8b35-fca6dd1c1369" providerId="ADAL" clId="{75A88773-6EE1-484E-AADE-FE631E01463B}" dt="2025-11-19T07:09:13.806" v="7259"/>
          <ac:spMkLst>
            <pc:docMk/>
            <pc:sldMk cId="2692683206" sldId="2147481932"/>
            <ac:spMk id="45" creationId="{A3553D01-CEA4-0D49-8F67-7DF5CE2C10F5}"/>
          </ac:spMkLst>
        </pc:spChg>
        <pc:spChg chg="add del mod modVis">
          <ac:chgData name="Yudi Zhu" userId="571e1a55-055f-4c28-8b35-fca6dd1c1369" providerId="ADAL" clId="{75A88773-6EE1-484E-AADE-FE631E01463B}" dt="2025-11-19T07:14:27.818" v="7591"/>
          <ac:spMkLst>
            <pc:docMk/>
            <pc:sldMk cId="2692683206" sldId="2147481932"/>
            <ac:spMk id="47" creationId="{278FE625-901C-0D98-06FD-165D8C86E154}"/>
          </ac:spMkLst>
        </pc:spChg>
        <pc:spChg chg="add del mod">
          <ac:chgData name="Yudi Zhu" userId="571e1a55-055f-4c28-8b35-fca6dd1c1369" providerId="ADAL" clId="{75A88773-6EE1-484E-AADE-FE631E01463B}" dt="2025-11-21T06:02:44.077" v="72738"/>
          <ac:spMkLst>
            <pc:docMk/>
            <pc:sldMk cId="2692683206" sldId="2147481932"/>
            <ac:spMk id="47" creationId="{84C59BE3-8A44-136D-31F5-A4FAE60C1B90}"/>
          </ac:spMkLst>
        </pc:spChg>
        <pc:spChg chg="add del mod">
          <ac:chgData name="Yudi Zhu" userId="571e1a55-055f-4c28-8b35-fca6dd1c1369" providerId="ADAL" clId="{75A88773-6EE1-484E-AADE-FE631E01463B}" dt="2025-11-21T06:02:44.078" v="72739"/>
          <ac:spMkLst>
            <pc:docMk/>
            <pc:sldMk cId="2692683206" sldId="2147481932"/>
            <ac:spMk id="49" creationId="{46194A5C-C21F-7278-06E5-EF36976781A1}"/>
          </ac:spMkLst>
        </pc:spChg>
        <pc:spChg chg="add del mod modVis">
          <ac:chgData name="Yudi Zhu" userId="571e1a55-055f-4c28-8b35-fca6dd1c1369" providerId="ADAL" clId="{75A88773-6EE1-484E-AADE-FE631E01463B}" dt="2025-11-21T06:02:44.145" v="72839"/>
          <ac:spMkLst>
            <pc:docMk/>
            <pc:sldMk cId="2692683206" sldId="2147481932"/>
            <ac:spMk id="51" creationId="{5EB3BAA5-E906-44DA-9663-A1C41618355F}"/>
          </ac:spMkLst>
        </pc:spChg>
        <pc:spChg chg="add mod">
          <ac:chgData name="Yudi Zhu" userId="571e1a55-055f-4c28-8b35-fca6dd1c1369" providerId="ADAL" clId="{75A88773-6EE1-484E-AADE-FE631E01463B}" dt="2025-11-21T06:39:20.859" v="171740"/>
          <ac:spMkLst>
            <pc:docMk/>
            <pc:sldMk cId="2692683206" sldId="2147481932"/>
            <ac:spMk id="60" creationId="{036DFB34-CFD6-C36F-2BDE-7E582E6989E6}"/>
          </ac:spMkLst>
        </pc:spChg>
        <pc:spChg chg="mod">
          <ac:chgData name="Yudi Zhu" userId="571e1a55-055f-4c28-8b35-fca6dd1c1369" providerId="ADAL" clId="{75A88773-6EE1-484E-AADE-FE631E01463B}" dt="2025-11-21T06:04:54.151" v="86210"/>
          <ac:spMkLst>
            <pc:docMk/>
            <pc:sldMk cId="2692683206" sldId="2147481932"/>
            <ac:spMk id="66" creationId="{8B72AD0A-75B7-AAD3-EADE-B80E2A328E6B}"/>
          </ac:spMkLst>
        </pc:spChg>
        <pc:spChg chg="mod">
          <ac:chgData name="Yudi Zhu" userId="571e1a55-055f-4c28-8b35-fca6dd1c1369" providerId="ADAL" clId="{75A88773-6EE1-484E-AADE-FE631E01463B}" dt="2025-11-21T06:04:54.153" v="86211"/>
          <ac:spMkLst>
            <pc:docMk/>
            <pc:sldMk cId="2692683206" sldId="2147481932"/>
            <ac:spMk id="67" creationId="{FFD3DCF6-FBCD-C26A-9F10-972E68C4BA83}"/>
          </ac:spMkLst>
        </pc:spChg>
        <pc:spChg chg="del mod ord">
          <ac:chgData name="Yudi Zhu" userId="571e1a55-055f-4c28-8b35-fca6dd1c1369" providerId="ADAL" clId="{75A88773-6EE1-484E-AADE-FE631E01463B}" dt="2025-11-19T07:07:26.981" v="6836"/>
          <ac:spMkLst>
            <pc:docMk/>
            <pc:sldMk cId="2692683206" sldId="2147481932"/>
            <ac:spMk id="68" creationId="{96B6D25E-70C5-4672-9D20-6BEE5EE59590}"/>
          </ac:spMkLst>
        </pc:spChg>
        <pc:spChg chg="mod">
          <ac:chgData name="Yudi Zhu" userId="571e1a55-055f-4c28-8b35-fca6dd1c1369" providerId="ADAL" clId="{75A88773-6EE1-484E-AADE-FE631E01463B}" dt="2025-11-21T06:04:54.154" v="86212"/>
          <ac:spMkLst>
            <pc:docMk/>
            <pc:sldMk cId="2692683206" sldId="2147481932"/>
            <ac:spMk id="69" creationId="{2FA0AE85-F049-58E7-8BC1-1DB32987C62E}"/>
          </ac:spMkLst>
        </pc:spChg>
        <pc:spChg chg="mod">
          <ac:chgData name="Yudi Zhu" userId="571e1a55-055f-4c28-8b35-fca6dd1c1369" providerId="ADAL" clId="{75A88773-6EE1-484E-AADE-FE631E01463B}" dt="2025-11-21T06:04:54.156" v="86214"/>
          <ac:spMkLst>
            <pc:docMk/>
            <pc:sldMk cId="2692683206" sldId="2147481932"/>
            <ac:spMk id="70" creationId="{A75A0DA5-6584-3182-4DB5-A8A726FF346B}"/>
          </ac:spMkLst>
        </pc:spChg>
        <pc:spChg chg="mod">
          <ac:chgData name="Yudi Zhu" userId="571e1a55-055f-4c28-8b35-fca6dd1c1369" providerId="ADAL" clId="{75A88773-6EE1-484E-AADE-FE631E01463B}" dt="2025-11-21T06:04:54.157" v="86215"/>
          <ac:spMkLst>
            <pc:docMk/>
            <pc:sldMk cId="2692683206" sldId="2147481932"/>
            <ac:spMk id="71" creationId="{C4B13215-78B5-D707-1309-4846742A29F9}"/>
          </ac:spMkLst>
        </pc:spChg>
        <pc:spChg chg="mod">
          <ac:chgData name="Yudi Zhu" userId="571e1a55-055f-4c28-8b35-fca6dd1c1369" providerId="ADAL" clId="{75A88773-6EE1-484E-AADE-FE631E01463B}" dt="2025-11-21T06:04:54.164" v="86225"/>
          <ac:spMkLst>
            <pc:docMk/>
            <pc:sldMk cId="2692683206" sldId="2147481932"/>
            <ac:spMk id="81" creationId="{A536BB0F-F6F1-E22B-3C92-3CD5934F2169}"/>
          </ac:spMkLst>
        </pc:spChg>
        <pc:spChg chg="mod">
          <ac:chgData name="Yudi Zhu" userId="571e1a55-055f-4c28-8b35-fca6dd1c1369" providerId="ADAL" clId="{75A88773-6EE1-484E-AADE-FE631E01463B}" dt="2025-11-21T06:04:54.167" v="86227"/>
          <ac:spMkLst>
            <pc:docMk/>
            <pc:sldMk cId="2692683206" sldId="2147481932"/>
            <ac:spMk id="82" creationId="{75C294F3-D6AC-5299-49E7-BE9D01A8D6C4}"/>
          </ac:spMkLst>
        </pc:spChg>
        <pc:spChg chg="mod">
          <ac:chgData name="Yudi Zhu" userId="571e1a55-055f-4c28-8b35-fca6dd1c1369" providerId="ADAL" clId="{75A88773-6EE1-484E-AADE-FE631E01463B}" dt="2025-11-21T06:04:54.169" v="86228"/>
          <ac:spMkLst>
            <pc:docMk/>
            <pc:sldMk cId="2692683206" sldId="2147481932"/>
            <ac:spMk id="83" creationId="{F480B6C1-EBB1-7ED0-BAF0-FE629A1C70F8}"/>
          </ac:spMkLst>
        </pc:spChg>
        <pc:spChg chg="mod">
          <ac:chgData name="Yudi Zhu" userId="571e1a55-055f-4c28-8b35-fca6dd1c1369" providerId="ADAL" clId="{75A88773-6EE1-484E-AADE-FE631E01463B}" dt="2025-11-21T06:04:54.170" v="86229"/>
          <ac:spMkLst>
            <pc:docMk/>
            <pc:sldMk cId="2692683206" sldId="2147481932"/>
            <ac:spMk id="84" creationId="{50668D2B-078B-E791-E60E-71505FDAE1EC}"/>
          </ac:spMkLst>
        </pc:spChg>
        <pc:spChg chg="mod">
          <ac:chgData name="Yudi Zhu" userId="571e1a55-055f-4c28-8b35-fca6dd1c1369" providerId="ADAL" clId="{75A88773-6EE1-484E-AADE-FE631E01463B}" dt="2025-11-21T06:04:54.172" v="86231"/>
          <ac:spMkLst>
            <pc:docMk/>
            <pc:sldMk cId="2692683206" sldId="2147481932"/>
            <ac:spMk id="85" creationId="{24934F34-7773-F039-2640-2C16DE44CBF9}"/>
          </ac:spMkLst>
        </pc:spChg>
        <pc:spChg chg="mod">
          <ac:chgData name="Yudi Zhu" userId="571e1a55-055f-4c28-8b35-fca6dd1c1369" providerId="ADAL" clId="{75A88773-6EE1-484E-AADE-FE631E01463B}" dt="2025-11-21T06:04:54.173" v="86232"/>
          <ac:spMkLst>
            <pc:docMk/>
            <pc:sldMk cId="2692683206" sldId="2147481932"/>
            <ac:spMk id="87" creationId="{E35196B0-9481-E82B-D1ED-F60EED897FE3}"/>
          </ac:spMkLst>
        </pc:spChg>
        <pc:spChg chg="mod">
          <ac:chgData name="Yudi Zhu" userId="571e1a55-055f-4c28-8b35-fca6dd1c1369" providerId="ADAL" clId="{75A88773-6EE1-484E-AADE-FE631E01463B}" dt="2025-11-21T06:04:54.171" v="86230"/>
          <ac:spMkLst>
            <pc:docMk/>
            <pc:sldMk cId="2692683206" sldId="2147481932"/>
            <ac:spMk id="88" creationId="{D975FDA5-7B32-A391-A19D-C8CB0A25A817}"/>
          </ac:spMkLst>
        </pc:spChg>
        <pc:spChg chg="mod ord">
          <ac:chgData name="Yudi Zhu" userId="571e1a55-055f-4c28-8b35-fca6dd1c1369" providerId="ADAL" clId="{75A88773-6EE1-484E-AADE-FE631E01463B}" dt="2025-11-21T06:04:54.174" v="86234"/>
          <ac:spMkLst>
            <pc:docMk/>
            <pc:sldMk cId="2692683206" sldId="2147481932"/>
            <ac:spMk id="91" creationId="{AAB26264-5D29-36D7-A700-E345C052FC14}"/>
          </ac:spMkLst>
        </pc:spChg>
        <pc:spChg chg="mod ord">
          <ac:chgData name="Yudi Zhu" userId="571e1a55-055f-4c28-8b35-fca6dd1c1369" providerId="ADAL" clId="{75A88773-6EE1-484E-AADE-FE631E01463B}" dt="2025-11-21T06:04:54.175" v="86236"/>
          <ac:spMkLst>
            <pc:docMk/>
            <pc:sldMk cId="2692683206" sldId="2147481932"/>
            <ac:spMk id="92" creationId="{D7C2AD69-3F9D-9F37-2339-783D65397DDF}"/>
          </ac:spMkLst>
        </pc:spChg>
        <pc:spChg chg="mod ord">
          <ac:chgData name="Yudi Zhu" userId="571e1a55-055f-4c28-8b35-fca6dd1c1369" providerId="ADAL" clId="{75A88773-6EE1-484E-AADE-FE631E01463B}" dt="2025-11-21T06:04:54.094" v="86157"/>
          <ac:spMkLst>
            <pc:docMk/>
            <pc:sldMk cId="2692683206" sldId="2147481932"/>
            <ac:spMk id="108" creationId="{2B610A96-6FF3-5767-544C-045F110037E9}"/>
          </ac:spMkLst>
        </pc:spChg>
        <pc:spChg chg="mod ord">
          <ac:chgData name="Yudi Zhu" userId="571e1a55-055f-4c28-8b35-fca6dd1c1369" providerId="ADAL" clId="{75A88773-6EE1-484E-AADE-FE631E01463B}" dt="2025-11-21T06:04:54.092" v="86155"/>
          <ac:spMkLst>
            <pc:docMk/>
            <pc:sldMk cId="2692683206" sldId="2147481932"/>
            <ac:spMk id="112" creationId="{E6487927-47EA-B695-96EA-CB7CB6849BBB}"/>
          </ac:spMkLst>
        </pc:spChg>
        <pc:spChg chg="mod ord">
          <ac:chgData name="Yudi Zhu" userId="571e1a55-055f-4c28-8b35-fca6dd1c1369" providerId="ADAL" clId="{75A88773-6EE1-484E-AADE-FE631E01463B}" dt="2025-11-21T06:04:54.091" v="86153"/>
          <ac:spMkLst>
            <pc:docMk/>
            <pc:sldMk cId="2692683206" sldId="2147481932"/>
            <ac:spMk id="113" creationId="{4F51EDAF-B002-9C31-5284-D32A15484065}"/>
          </ac:spMkLst>
        </pc:spChg>
        <pc:spChg chg="mod ord">
          <ac:chgData name="Yudi Zhu" userId="571e1a55-055f-4c28-8b35-fca6dd1c1369" providerId="ADAL" clId="{75A88773-6EE1-484E-AADE-FE631E01463B}" dt="2025-11-21T06:04:54.090" v="86151"/>
          <ac:spMkLst>
            <pc:docMk/>
            <pc:sldMk cId="2692683206" sldId="2147481932"/>
            <ac:spMk id="114" creationId="{B2D5B544-0F37-E8E1-4BC5-3636FD99FF0A}"/>
          </ac:spMkLst>
        </pc:spChg>
        <pc:spChg chg="mod">
          <ac:chgData name="Yudi Zhu" userId="571e1a55-055f-4c28-8b35-fca6dd1c1369" providerId="ADAL" clId="{75A88773-6EE1-484E-AADE-FE631E01463B}" dt="2025-11-21T06:04:54.155" v="86213"/>
          <ac:spMkLst>
            <pc:docMk/>
            <pc:sldMk cId="2692683206" sldId="2147481932"/>
            <ac:spMk id="116" creationId="{EAAEA2C5-B6A3-AFCB-052F-A600DB10E99F}"/>
          </ac:spMkLst>
        </pc:spChg>
        <pc:spChg chg="del mod ord">
          <ac:chgData name="Yudi Zhu" userId="571e1a55-055f-4c28-8b35-fca6dd1c1369" providerId="ADAL" clId="{75A88773-6EE1-484E-AADE-FE631E01463B}" dt="2025-11-19T07:07:26.998" v="6838"/>
          <ac:spMkLst>
            <pc:docMk/>
            <pc:sldMk cId="2692683206" sldId="2147481932"/>
            <ac:spMk id="117" creationId="{C651B339-D7B8-0BFF-4FDB-770BEAEDCC39}"/>
          </ac:spMkLst>
        </pc:spChg>
        <pc:spChg chg="mod ord">
          <ac:chgData name="Yudi Zhu" userId="571e1a55-055f-4c28-8b35-fca6dd1c1369" providerId="ADAL" clId="{75A88773-6EE1-484E-AADE-FE631E01463B}" dt="2025-11-21T06:04:54.166" v="86226"/>
          <ac:spMkLst>
            <pc:docMk/>
            <pc:sldMk cId="2692683206" sldId="2147481932"/>
            <ac:spMk id="127" creationId="{70FD1CE8-FDCA-AB98-732B-0D9CAB569F5A}"/>
          </ac:spMkLst>
        </pc:spChg>
        <pc:graphicFrameChg chg="add del mod">
          <ac:chgData name="Yudi Zhu" userId="571e1a55-055f-4c28-8b35-fca6dd1c1369" providerId="ADAL" clId="{75A88773-6EE1-484E-AADE-FE631E01463B}" dt="2025-11-19T07:06:09.337" v="5607"/>
          <ac:graphicFrameMkLst>
            <pc:docMk/>
            <pc:sldMk cId="2692683206" sldId="2147481932"/>
            <ac:graphicFrameMk id="5" creationId="{C1538892-B971-9BCA-8BC0-A5F92133BB5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43.399" v="72248"/>
          <ac:graphicFrameMkLst>
            <pc:docMk/>
            <pc:sldMk cId="2692683206" sldId="2147481932"/>
            <ac:graphicFrameMk id="12" creationId="{0FE1435A-1200-945E-D5A7-D3C374FCCF85}"/>
          </ac:graphicFrameMkLst>
        </pc:graphicFrameChg>
        <pc:graphicFrameChg chg="add del mod">
          <ac:chgData name="Yudi Zhu" userId="571e1a55-055f-4c28-8b35-fca6dd1c1369" providerId="ADAL" clId="{75A88773-6EE1-484E-AADE-FE631E01463B}" dt="2025-11-19T07:06:23.832" v="6346"/>
          <ac:graphicFrameMkLst>
            <pc:docMk/>
            <pc:sldMk cId="2692683206" sldId="2147481932"/>
            <ac:graphicFrameMk id="12" creationId="{B8255E54-FB84-0DF8-CFAD-8B8FDD281801}"/>
          </ac:graphicFrameMkLst>
        </pc:graphicFrameChg>
        <pc:graphicFrameChg chg="mod">
          <ac:chgData name="Yudi Zhu" userId="571e1a55-055f-4c28-8b35-fca6dd1c1369" providerId="ADAL" clId="{75A88773-6EE1-484E-AADE-FE631E01463B}" dt="2025-11-21T06:05:08.365" v="91477"/>
          <ac:graphicFrameMkLst>
            <pc:docMk/>
            <pc:sldMk cId="2692683206" sldId="2147481932"/>
            <ac:graphicFrameMk id="13" creationId="{DA3678F1-834E-B449-D634-970C7AF99DB9}"/>
          </ac:graphicFrameMkLst>
        </pc:graphicFrameChg>
        <pc:graphicFrameChg chg="del">
          <ac:chgData name="Yudi Zhu" userId="571e1a55-055f-4c28-8b35-fca6dd1c1369" providerId="ADAL" clId="{75A88773-6EE1-484E-AADE-FE631E01463B}" dt="2025-11-19T07:06:05.098" v="5427"/>
          <ac:graphicFrameMkLst>
            <pc:docMk/>
            <pc:sldMk cId="2692683206" sldId="2147481932"/>
            <ac:graphicFrameMk id="17" creationId="{DDD5AD65-AF81-A966-64C1-56C7889B5212}"/>
          </ac:graphicFrameMkLst>
        </pc:graphicFrameChg>
        <pc:graphicFrameChg chg="add del mod">
          <ac:chgData name="Yudi Zhu" userId="571e1a55-055f-4c28-8b35-fca6dd1c1369" providerId="ADAL" clId="{75A88773-6EE1-484E-AADE-FE631E01463B}" dt="2025-11-19T07:06:31.338" v="6540"/>
          <ac:graphicFrameMkLst>
            <pc:docMk/>
            <pc:sldMk cId="2692683206" sldId="2147481932"/>
            <ac:graphicFrameMk id="18" creationId="{ED20F392-6C1A-9E34-40FF-3D96599526DD}"/>
          </ac:graphicFrameMkLst>
        </pc:graphicFrameChg>
        <pc:graphicFrameChg chg="del mod">
          <ac:chgData name="Yudi Zhu" userId="571e1a55-055f-4c28-8b35-fca6dd1c1369" providerId="ADAL" clId="{75A88773-6EE1-484E-AADE-FE631E01463B}" dt="2025-11-19T07:07:27.020" v="6861"/>
          <ac:graphicFrameMkLst>
            <pc:docMk/>
            <pc:sldMk cId="2692683206" sldId="2147481932"/>
            <ac:graphicFrameMk id="19" creationId="{9739FCB8-A743-4973-AA6C-DBE3500C5BC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43.623" v="72413"/>
          <ac:graphicFrameMkLst>
            <pc:docMk/>
            <pc:sldMk cId="2692683206" sldId="2147481932"/>
            <ac:graphicFrameMk id="20" creationId="{40349AB8-96E6-3A42-5005-F0B0A848B325}"/>
          </ac:graphicFrameMkLst>
        </pc:graphicFrameChg>
        <pc:graphicFrameChg chg="del mod">
          <ac:chgData name="Yudi Zhu" userId="571e1a55-055f-4c28-8b35-fca6dd1c1369" providerId="ADAL" clId="{75A88773-6EE1-484E-AADE-FE631E01463B}" dt="2025-11-19T07:09:13.727" v="7160"/>
          <ac:graphicFrameMkLst>
            <pc:docMk/>
            <pc:sldMk cId="2692683206" sldId="2147481932"/>
            <ac:graphicFrameMk id="23" creationId="{E9F8A01F-CC4E-688A-066D-1D42CEA0D4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5.054" v="61857"/>
          <ac:graphicFrameMkLst>
            <pc:docMk/>
            <pc:sldMk cId="2692683206" sldId="2147481932"/>
            <ac:graphicFrameMk id="32" creationId="{FBA49C7A-08E2-3708-7546-6C36C5102B03}"/>
          </ac:graphicFrameMkLst>
        </pc:graphicFrameChg>
        <pc:graphicFrameChg chg="del mod">
          <ac:chgData name="Yudi Zhu" userId="571e1a55-055f-4c28-8b35-fca6dd1c1369" providerId="ADAL" clId="{75A88773-6EE1-484E-AADE-FE631E01463B}" dt="2025-11-19T07:14:27.751" v="7493"/>
          <ac:graphicFrameMkLst>
            <pc:docMk/>
            <pc:sldMk cId="2692683206" sldId="2147481932"/>
            <ac:graphicFrameMk id="39" creationId="{53139B41-E5E1-B83F-ECAE-10A458C609A0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4.138" v="86196"/>
          <ac:graphicFrameMkLst>
            <pc:docMk/>
            <pc:sldMk cId="2692683206" sldId="2147481932"/>
            <ac:graphicFrameMk id="41" creationId="{488903C8-AD48-B632-9270-76A3B84882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6.941" v="62635"/>
          <ac:graphicFrameMkLst>
            <pc:docMk/>
            <pc:sldMk cId="2692683206" sldId="2147481932"/>
            <ac:graphicFrameMk id="44" creationId="{86417074-D74D-7237-5A82-C2BB1B91DD5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43.849" v="72578"/>
          <ac:graphicFrameMkLst>
            <pc:docMk/>
            <pc:sldMk cId="2692683206" sldId="2147481932"/>
            <ac:graphicFrameMk id="45" creationId="{650433EF-4350-BB14-7F42-A12D929BB6E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6.018" v="62246"/>
          <ac:graphicFrameMkLst>
            <pc:docMk/>
            <pc:sldMk cId="2692683206" sldId="2147481932"/>
            <ac:graphicFrameMk id="46" creationId="{E9A22F93-5129-523F-2D88-13C885262EF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7.612" v="62913"/>
          <ac:graphicFrameMkLst>
            <pc:docMk/>
            <pc:sldMk cId="2692683206" sldId="2147481932"/>
            <ac:graphicFrameMk id="48" creationId="{91E0A717-D884-F285-35E5-BC22D2612C1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44.079" v="72741"/>
          <ac:graphicFrameMkLst>
            <pc:docMk/>
            <pc:sldMk cId="2692683206" sldId="2147481932"/>
            <ac:graphicFrameMk id="50" creationId="{52DA3A3B-4A79-25AB-1AF9-C610B4F343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3.935" v="86123"/>
          <ac:graphicFrameMkLst>
            <pc:docMk/>
            <pc:sldMk cId="2692683206" sldId="2147481932"/>
            <ac:graphicFrameMk id="52" creationId="{ED200758-A4A2-7F67-C2DC-50F01A7E1DF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3.972" v="86130"/>
          <ac:graphicFrameMkLst>
            <pc:docMk/>
            <pc:sldMk cId="2692683206" sldId="2147481932"/>
            <ac:graphicFrameMk id="53" creationId="{E31D0A22-247C-11E8-54C4-8D822139481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4.010" v="86137"/>
          <ac:graphicFrameMkLst>
            <pc:docMk/>
            <pc:sldMk cId="2692683206" sldId="2147481932"/>
            <ac:graphicFrameMk id="54" creationId="{3A98917D-9B04-94A0-350C-E1A31258477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4.053" v="86144"/>
          <ac:graphicFrameMkLst>
            <pc:docMk/>
            <pc:sldMk cId="2692683206" sldId="2147481932"/>
            <ac:graphicFrameMk id="55" creationId="{E20817F6-0068-3282-372D-12D2782A8684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4.105" v="86166"/>
          <ac:graphicFrameMkLst>
            <pc:docMk/>
            <pc:sldMk cId="2692683206" sldId="2147481932"/>
            <ac:graphicFrameMk id="56" creationId="{CA4B9A81-489B-6FB5-3095-9B3F885654AD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4.126" v="86187"/>
          <ac:graphicFrameMkLst>
            <pc:docMk/>
            <pc:sldMk cId="2692683206" sldId="2147481932"/>
            <ac:graphicFrameMk id="57" creationId="{B0D8713E-947B-5E11-FB73-0F4A7551605A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4.148" v="86207"/>
          <ac:graphicFrameMkLst>
            <pc:docMk/>
            <pc:sldMk cId="2692683206" sldId="2147481932"/>
            <ac:graphicFrameMk id="58" creationId="{CD6183E9-9663-6A19-E33A-63316A39CAA5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4.163" v="86224"/>
          <ac:graphicFrameMkLst>
            <pc:docMk/>
            <pc:sldMk cId="2692683206" sldId="2147481932"/>
            <ac:graphicFrameMk id="59" creationId="{554C74DD-E6F3-7C42-8156-9861E5D23DB3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4.177" v="86238"/>
          <ac:graphicFrameMkLst>
            <pc:docMk/>
            <pc:sldMk cId="2692683206" sldId="2147481932"/>
            <ac:graphicFrameMk id="93" creationId="{38F994C3-C9EA-2D4A-915E-235D3718A2A9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4.178" v="86240"/>
          <ac:graphicFrameMkLst>
            <pc:docMk/>
            <pc:sldMk cId="2692683206" sldId="2147481932"/>
            <ac:graphicFrameMk id="94" creationId="{461D8840-04BD-AA46-D003-54192697E095}"/>
          </ac:graphicFrameMkLst>
        </pc:graphicFrameChg>
        <pc:graphicFrameChg chg="mod ord modGraphic">
          <ac:chgData name="Yudi Zhu" userId="571e1a55-055f-4c28-8b35-fca6dd1c1369" providerId="ADAL" clId="{75A88773-6EE1-484E-AADE-FE631E01463B}" dt="2025-11-21T06:04:54.117" v="86176"/>
          <ac:graphicFrameMkLst>
            <pc:docMk/>
            <pc:sldMk cId="2692683206" sldId="2147481932"/>
            <ac:graphicFrameMk id="129" creationId="{3921879A-2403-68A0-BC71-86601B3FF88D}"/>
          </ac:graphicFrameMkLst>
        </pc:graphicFrameChg>
        <pc:cxnChg chg="mod ord">
          <ac:chgData name="Yudi Zhu" userId="571e1a55-055f-4c28-8b35-fca6dd1c1369" providerId="ADAL" clId="{75A88773-6EE1-484E-AADE-FE631E01463B}" dt="2025-11-21T06:04:54.095" v="86159"/>
          <ac:cxnSpMkLst>
            <pc:docMk/>
            <pc:sldMk cId="2692683206" sldId="2147481932"/>
            <ac:cxnSpMk id="10" creationId="{B721F5F4-6B3E-1F96-8371-523131FAE771}"/>
          </ac:cxnSpMkLst>
        </pc:cxnChg>
        <pc:cxnChg chg="mod ord">
          <ac:chgData name="Yudi Zhu" userId="571e1a55-055f-4c28-8b35-fca6dd1c1369" providerId="ADAL" clId="{75A88773-6EE1-484E-AADE-FE631E01463B}" dt="2025-11-21T06:04:54.098" v="86161"/>
          <ac:cxnSpMkLst>
            <pc:docMk/>
            <pc:sldMk cId="2692683206" sldId="2147481932"/>
            <ac:cxnSpMk id="11" creationId="{615E640E-BE7E-EE88-F67A-B4FE8458349D}"/>
          </ac:cxnSpMkLst>
        </pc:cxnChg>
        <pc:cxnChg chg="mod ord">
          <ac:chgData name="Yudi Zhu" userId="571e1a55-055f-4c28-8b35-fca6dd1c1369" providerId="ADAL" clId="{75A88773-6EE1-484E-AADE-FE631E01463B}" dt="2025-11-21T06:04:54.120" v="86180"/>
          <ac:cxnSpMkLst>
            <pc:docMk/>
            <pc:sldMk cId="2692683206" sldId="2147481932"/>
            <ac:cxnSpMk id="26" creationId="{387CF6F8-9C16-522B-536A-2E70337F3996}"/>
          </ac:cxnSpMkLst>
        </pc:cxnChg>
        <pc:cxnChg chg="mod ord">
          <ac:chgData name="Yudi Zhu" userId="571e1a55-055f-4c28-8b35-fca6dd1c1369" providerId="ADAL" clId="{75A88773-6EE1-484E-AADE-FE631E01463B}" dt="2025-11-21T06:04:54.121" v="86182"/>
          <ac:cxnSpMkLst>
            <pc:docMk/>
            <pc:sldMk cId="2692683206" sldId="2147481932"/>
            <ac:cxnSpMk id="27" creationId="{EE5592A1-77FD-2E6D-FC21-8D2B14FBD3E8}"/>
          </ac:cxnSpMkLst>
        </pc:cxnChg>
        <pc:cxnChg chg="mod ord">
          <ac:chgData name="Yudi Zhu" userId="571e1a55-055f-4c28-8b35-fca6dd1c1369" providerId="ADAL" clId="{75A88773-6EE1-484E-AADE-FE631E01463B}" dt="2025-11-21T06:04:54.123" v="86184"/>
          <ac:cxnSpMkLst>
            <pc:docMk/>
            <pc:sldMk cId="2692683206" sldId="2147481932"/>
            <ac:cxnSpMk id="28" creationId="{BC49BD2E-7AF1-89B1-91F4-B11C0CDCB6FA}"/>
          </ac:cxnSpMkLst>
        </pc:cxnChg>
        <pc:cxnChg chg="mod ord">
          <ac:chgData name="Yudi Zhu" userId="571e1a55-055f-4c28-8b35-fca6dd1c1369" providerId="ADAL" clId="{75A88773-6EE1-484E-AADE-FE631E01463B}" dt="2025-11-21T06:04:54.101" v="86163"/>
          <ac:cxnSpMkLst>
            <pc:docMk/>
            <pc:sldMk cId="2692683206" sldId="2147481932"/>
            <ac:cxnSpMk id="29" creationId="{118AB4B8-773E-4176-5D6D-0B51C313B70A}"/>
          </ac:cxnSpMkLst>
        </pc:cxnChg>
        <pc:cxnChg chg="mod ord">
          <ac:chgData name="Yudi Zhu" userId="571e1a55-055f-4c28-8b35-fca6dd1c1369" providerId="ADAL" clId="{75A88773-6EE1-484E-AADE-FE631E01463B}" dt="2025-11-21T06:04:54.103" v="86165"/>
          <ac:cxnSpMkLst>
            <pc:docMk/>
            <pc:sldMk cId="2692683206" sldId="2147481932"/>
            <ac:cxnSpMk id="30" creationId="{B37578DA-AE3B-8F79-B2B6-1B57006443E5}"/>
          </ac:cxnSpMkLst>
        </pc:cxnChg>
        <pc:cxnChg chg="mod ord">
          <ac:chgData name="Yudi Zhu" userId="571e1a55-055f-4c28-8b35-fca6dd1c1369" providerId="ADAL" clId="{75A88773-6EE1-484E-AADE-FE631E01463B}" dt="2025-11-21T06:04:54.125" v="86186"/>
          <ac:cxnSpMkLst>
            <pc:docMk/>
            <pc:sldMk cId="2692683206" sldId="2147481932"/>
            <ac:cxnSpMk id="31" creationId="{CAF4796F-D426-24DA-CC6D-FBE9CE3E8AC4}"/>
          </ac:cxnSpMkLst>
        </pc:cxnChg>
        <pc:cxnChg chg="mod ord">
          <ac:chgData name="Yudi Zhu" userId="571e1a55-055f-4c28-8b35-fca6dd1c1369" providerId="ADAL" clId="{75A88773-6EE1-484E-AADE-FE631E01463B}" dt="2025-11-21T06:04:54.141" v="86200"/>
          <ac:cxnSpMkLst>
            <pc:docMk/>
            <pc:sldMk cId="2692683206" sldId="2147481932"/>
            <ac:cxnSpMk id="61" creationId="{B236781C-ED6D-B83F-919D-FF5E496AF7A7}"/>
          </ac:cxnSpMkLst>
        </pc:cxnChg>
        <pc:cxnChg chg="mod ord">
          <ac:chgData name="Yudi Zhu" userId="571e1a55-055f-4c28-8b35-fca6dd1c1369" providerId="ADAL" clId="{75A88773-6EE1-484E-AADE-FE631E01463B}" dt="2025-11-21T06:04:54.143" v="86202"/>
          <ac:cxnSpMkLst>
            <pc:docMk/>
            <pc:sldMk cId="2692683206" sldId="2147481932"/>
            <ac:cxnSpMk id="62" creationId="{A7B60F95-043F-8F53-AB03-C662FF7B4F56}"/>
          </ac:cxnSpMkLst>
        </pc:cxnChg>
        <pc:cxnChg chg="mod ord">
          <ac:chgData name="Yudi Zhu" userId="571e1a55-055f-4c28-8b35-fca6dd1c1369" providerId="ADAL" clId="{75A88773-6EE1-484E-AADE-FE631E01463B}" dt="2025-11-21T06:04:54.145" v="86204"/>
          <ac:cxnSpMkLst>
            <pc:docMk/>
            <pc:sldMk cId="2692683206" sldId="2147481932"/>
            <ac:cxnSpMk id="63" creationId="{94984A50-DE98-07F9-BF03-002AF78F2D8E}"/>
          </ac:cxnSpMkLst>
        </pc:cxnChg>
        <pc:cxnChg chg="mod ord">
          <ac:chgData name="Yudi Zhu" userId="571e1a55-055f-4c28-8b35-fca6dd1c1369" providerId="ADAL" clId="{75A88773-6EE1-484E-AADE-FE631E01463B}" dt="2025-11-21T06:04:54.146" v="86206"/>
          <ac:cxnSpMkLst>
            <pc:docMk/>
            <pc:sldMk cId="2692683206" sldId="2147481932"/>
            <ac:cxnSpMk id="64" creationId="{E55FF59B-55CA-40AA-4186-364EBADAC6C7}"/>
          </ac:cxnSpMkLst>
        </pc:cxnChg>
        <pc:cxnChg chg="mod ord">
          <ac:chgData name="Yudi Zhu" userId="571e1a55-055f-4c28-8b35-fca6dd1c1369" providerId="ADAL" clId="{75A88773-6EE1-484E-AADE-FE631E01463B}" dt="2025-11-21T06:04:54.158" v="86217"/>
          <ac:cxnSpMkLst>
            <pc:docMk/>
            <pc:sldMk cId="2692683206" sldId="2147481932"/>
            <ac:cxnSpMk id="75" creationId="{BE689C71-ADEE-AF2D-03AC-61D53D05A713}"/>
          </ac:cxnSpMkLst>
        </pc:cxnChg>
        <pc:cxnChg chg="mod ord">
          <ac:chgData name="Yudi Zhu" userId="571e1a55-055f-4c28-8b35-fca6dd1c1369" providerId="ADAL" clId="{75A88773-6EE1-484E-AADE-FE631E01463B}" dt="2025-11-21T06:04:54.160" v="86219"/>
          <ac:cxnSpMkLst>
            <pc:docMk/>
            <pc:sldMk cId="2692683206" sldId="2147481932"/>
            <ac:cxnSpMk id="76" creationId="{CD1C166F-1548-11D8-6493-CFD26A8F3499}"/>
          </ac:cxnSpMkLst>
        </pc:cxnChg>
        <pc:cxnChg chg="mod ord">
          <ac:chgData name="Yudi Zhu" userId="571e1a55-055f-4c28-8b35-fca6dd1c1369" providerId="ADAL" clId="{75A88773-6EE1-484E-AADE-FE631E01463B}" dt="2025-11-21T06:04:54.161" v="86221"/>
          <ac:cxnSpMkLst>
            <pc:docMk/>
            <pc:sldMk cId="2692683206" sldId="2147481932"/>
            <ac:cxnSpMk id="77" creationId="{31D67C6E-A26A-BEBE-4887-9EA28998EF2C}"/>
          </ac:cxnSpMkLst>
        </pc:cxnChg>
        <pc:cxnChg chg="mod ord">
          <ac:chgData name="Yudi Zhu" userId="571e1a55-055f-4c28-8b35-fca6dd1c1369" providerId="ADAL" clId="{75A88773-6EE1-484E-AADE-FE631E01463B}" dt="2025-11-21T06:04:54.162" v="86223"/>
          <ac:cxnSpMkLst>
            <pc:docMk/>
            <pc:sldMk cId="2692683206" sldId="2147481932"/>
            <ac:cxnSpMk id="78" creationId="{4A079F2C-0CE8-B997-9165-0308E107DB67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7.076" v="90993"/>
        <pc:sldMkLst>
          <pc:docMk/>
          <pc:sldMk cId="3829580534" sldId="2147481934"/>
        </pc:sldMkLst>
        <pc:spChg chg="mod ord">
          <ac:chgData name="Yudi Zhu" userId="571e1a55-055f-4c28-8b35-fca6dd1c1369" providerId="ADAL" clId="{75A88773-6EE1-484E-AADE-FE631E01463B}" dt="2025-11-21T06:04:50.236" v="84312"/>
          <ac:spMkLst>
            <pc:docMk/>
            <pc:sldMk cId="3829580534" sldId="2147481934"/>
            <ac:spMk id="2" creationId="{278A37AC-AD05-C7F5-1FDA-4C86873D81E6}"/>
          </ac:spMkLst>
        </pc:spChg>
        <pc:spChg chg="add del mod modVis">
          <ac:chgData name="Yudi Zhu" userId="571e1a55-055f-4c28-8b35-fca6dd1c1369" providerId="ADAL" clId="{75A88773-6EE1-484E-AADE-FE631E01463B}" dt="2025-11-21T06:02:23.701" v="69743" actId="478"/>
          <ac:spMkLst>
            <pc:docMk/>
            <pc:sldMk cId="3829580534" sldId="2147481934"/>
            <ac:spMk id="3" creationId="{DE4F703D-F443-7BCF-03CE-0EC0D2123957}"/>
          </ac:spMkLst>
        </pc:spChg>
        <pc:spChg chg="add del mod modVis">
          <ac:chgData name="Yudi Zhu" userId="571e1a55-055f-4c28-8b35-fca6dd1c1369" providerId="ADAL" clId="{75A88773-6EE1-484E-AADE-FE631E01463B}" dt="2025-11-21T06:05:07.073" v="90991"/>
          <ac:spMkLst>
            <pc:docMk/>
            <pc:sldMk cId="3829580534" sldId="2147481934"/>
            <ac:spMk id="5" creationId="{BC145DCA-39C2-A7D5-5035-B7424F8B4A6B}"/>
          </ac:spMkLst>
        </pc:spChg>
        <pc:spChg chg="mod ord">
          <ac:chgData name="Yudi Zhu" userId="571e1a55-055f-4c28-8b35-fca6dd1c1369" providerId="ADAL" clId="{75A88773-6EE1-484E-AADE-FE631E01463B}" dt="2025-11-21T06:04:50.301" v="84409"/>
          <ac:spMkLst>
            <pc:docMk/>
            <pc:sldMk cId="3829580534" sldId="2147481934"/>
            <ac:spMk id="15" creationId="{4A103377-C801-2B61-AF0A-2BF9A7099C61}"/>
          </ac:spMkLst>
        </pc:spChg>
        <pc:spChg chg="mod">
          <ac:chgData name="Yudi Zhu" userId="571e1a55-055f-4c28-8b35-fca6dd1c1369" providerId="ADAL" clId="{75A88773-6EE1-484E-AADE-FE631E01463B}" dt="2025-11-21T06:04:50.283" v="84378"/>
          <ac:spMkLst>
            <pc:docMk/>
            <pc:sldMk cId="3829580534" sldId="2147481934"/>
            <ac:spMk id="17" creationId="{2F1216DB-C5F1-D7C8-4CC7-BCA2F1019C79}"/>
          </ac:spMkLst>
        </pc:spChg>
        <pc:spChg chg="mod">
          <ac:chgData name="Yudi Zhu" userId="571e1a55-055f-4c28-8b35-fca6dd1c1369" providerId="ADAL" clId="{75A88773-6EE1-484E-AADE-FE631E01463B}" dt="2025-11-21T06:04:50.245" v="84327"/>
          <ac:spMkLst>
            <pc:docMk/>
            <pc:sldMk cId="3829580534" sldId="2147481934"/>
            <ac:spMk id="18" creationId="{F43A72A9-B431-42E3-5480-AF874F40CF61}"/>
          </ac:spMkLst>
        </pc:spChg>
        <pc:spChg chg="mod">
          <ac:chgData name="Yudi Zhu" userId="571e1a55-055f-4c28-8b35-fca6dd1c1369" providerId="ADAL" clId="{75A88773-6EE1-484E-AADE-FE631E01463B}" dt="2025-11-21T06:04:50.254" v="84335"/>
          <ac:spMkLst>
            <pc:docMk/>
            <pc:sldMk cId="3829580534" sldId="2147481934"/>
            <ac:spMk id="20" creationId="{B6A5E9AF-F9C5-5B0B-BC41-15D6BC59E67D}"/>
          </ac:spMkLst>
        </pc:spChg>
        <pc:spChg chg="mod">
          <ac:chgData name="Yudi Zhu" userId="571e1a55-055f-4c28-8b35-fca6dd1c1369" providerId="ADAL" clId="{75A88773-6EE1-484E-AADE-FE631E01463B}" dt="2025-11-21T06:04:50.278" v="84373"/>
          <ac:spMkLst>
            <pc:docMk/>
            <pc:sldMk cId="3829580534" sldId="2147481934"/>
            <ac:spMk id="22" creationId="{B51D1EA3-CFE3-EEEA-E714-45C6DB4A937E}"/>
          </ac:spMkLst>
        </pc:spChg>
        <pc:spChg chg="mod ord">
          <ac:chgData name="Yudi Zhu" userId="571e1a55-055f-4c28-8b35-fca6dd1c1369" providerId="ADAL" clId="{75A88773-6EE1-484E-AADE-FE631E01463B}" dt="2025-11-21T06:04:50.302" v="84411"/>
          <ac:spMkLst>
            <pc:docMk/>
            <pc:sldMk cId="3829580534" sldId="2147481934"/>
            <ac:spMk id="23" creationId="{ACC49587-17C7-53E2-2433-687864B39EE6}"/>
          </ac:spMkLst>
        </pc:spChg>
        <pc:spChg chg="mod ord">
          <ac:chgData name="Yudi Zhu" userId="571e1a55-055f-4c28-8b35-fca6dd1c1369" providerId="ADAL" clId="{75A88773-6EE1-484E-AADE-FE631E01463B}" dt="2025-11-21T06:04:50.303" v="84413"/>
          <ac:spMkLst>
            <pc:docMk/>
            <pc:sldMk cId="3829580534" sldId="2147481934"/>
            <ac:spMk id="24" creationId="{B0118694-CC71-4015-7662-0E2E6C66C639}"/>
          </ac:spMkLst>
        </pc:spChg>
        <pc:spChg chg="mod">
          <ac:chgData name="Yudi Zhu" userId="571e1a55-055f-4c28-8b35-fca6dd1c1369" providerId="ADAL" clId="{75A88773-6EE1-484E-AADE-FE631E01463B}" dt="2025-11-21T06:04:50.260" v="84347"/>
          <ac:spMkLst>
            <pc:docMk/>
            <pc:sldMk cId="3829580534" sldId="2147481934"/>
            <ac:spMk id="133" creationId="{34D9A0B1-FF50-257D-B1A5-FA7C8FD5D2B0}"/>
          </ac:spMkLst>
        </pc:spChg>
        <pc:spChg chg="mod">
          <ac:chgData name="Yudi Zhu" userId="571e1a55-055f-4c28-8b35-fca6dd1c1369" providerId="ADAL" clId="{75A88773-6EE1-484E-AADE-FE631E01463B}" dt="2025-11-21T06:04:50.261" v="84348"/>
          <ac:spMkLst>
            <pc:docMk/>
            <pc:sldMk cId="3829580534" sldId="2147481934"/>
            <ac:spMk id="134" creationId="{F984D200-FDB2-821F-0AD5-3AAD7577E475}"/>
          </ac:spMkLst>
        </pc:spChg>
        <pc:spChg chg="mod">
          <ac:chgData name="Yudi Zhu" userId="571e1a55-055f-4c28-8b35-fca6dd1c1369" providerId="ADAL" clId="{75A88773-6EE1-484E-AADE-FE631E01463B}" dt="2025-11-21T06:04:50.263" v="84349"/>
          <ac:spMkLst>
            <pc:docMk/>
            <pc:sldMk cId="3829580534" sldId="2147481934"/>
            <ac:spMk id="135" creationId="{E576F83E-556F-04A1-DDDD-BED5A3F1365C}"/>
          </ac:spMkLst>
        </pc:spChg>
        <pc:spChg chg="mod">
          <ac:chgData name="Yudi Zhu" userId="571e1a55-055f-4c28-8b35-fca6dd1c1369" providerId="ADAL" clId="{75A88773-6EE1-484E-AADE-FE631E01463B}" dt="2025-11-21T06:04:50.263" v="84350"/>
          <ac:spMkLst>
            <pc:docMk/>
            <pc:sldMk cId="3829580534" sldId="2147481934"/>
            <ac:spMk id="136" creationId="{ED28E0D5-1846-3991-0F70-92C5B61AB65B}"/>
          </ac:spMkLst>
        </pc:spChg>
        <pc:spChg chg="mod ord">
          <ac:chgData name="Yudi Zhu" userId="571e1a55-055f-4c28-8b35-fca6dd1c1369" providerId="ADAL" clId="{75A88773-6EE1-484E-AADE-FE631E01463B}" dt="2025-11-21T06:04:50.265" v="84352"/>
          <ac:spMkLst>
            <pc:docMk/>
            <pc:sldMk cId="3829580534" sldId="2147481934"/>
            <ac:spMk id="137" creationId="{BB386973-F59D-476F-5ED2-8B7B1FB4DF11}"/>
          </ac:spMkLst>
        </pc:spChg>
        <pc:spChg chg="mod">
          <ac:chgData name="Yudi Zhu" userId="571e1a55-055f-4c28-8b35-fca6dd1c1369" providerId="ADAL" clId="{75A88773-6EE1-484E-AADE-FE631E01463B}" dt="2025-11-21T06:04:50.266" v="84353"/>
          <ac:spMkLst>
            <pc:docMk/>
            <pc:sldMk cId="3829580534" sldId="2147481934"/>
            <ac:spMk id="138" creationId="{1783964A-FCA7-51DE-0480-6C903FB8E5C5}"/>
          </ac:spMkLst>
        </pc:spChg>
        <pc:spChg chg="mod">
          <ac:chgData name="Yudi Zhu" userId="571e1a55-055f-4c28-8b35-fca6dd1c1369" providerId="ADAL" clId="{75A88773-6EE1-484E-AADE-FE631E01463B}" dt="2025-11-21T06:04:50.268" v="84354"/>
          <ac:spMkLst>
            <pc:docMk/>
            <pc:sldMk cId="3829580534" sldId="2147481934"/>
            <ac:spMk id="139" creationId="{E465AA34-ACC2-C212-CBB5-608E3E73AD9C}"/>
          </ac:spMkLst>
        </pc:spChg>
        <pc:spChg chg="mod">
          <ac:chgData name="Yudi Zhu" userId="571e1a55-055f-4c28-8b35-fca6dd1c1369" providerId="ADAL" clId="{75A88773-6EE1-484E-AADE-FE631E01463B}" dt="2025-11-21T06:04:50.269" v="84355"/>
          <ac:spMkLst>
            <pc:docMk/>
            <pc:sldMk cId="3829580534" sldId="2147481934"/>
            <ac:spMk id="140" creationId="{626DAB8F-F3A2-D383-4A40-5358F6A8CA71}"/>
          </ac:spMkLst>
        </pc:spChg>
        <pc:spChg chg="mod">
          <ac:chgData name="Yudi Zhu" userId="571e1a55-055f-4c28-8b35-fca6dd1c1369" providerId="ADAL" clId="{75A88773-6EE1-484E-AADE-FE631E01463B}" dt="2025-11-21T06:04:50.269" v="84356"/>
          <ac:spMkLst>
            <pc:docMk/>
            <pc:sldMk cId="3829580534" sldId="2147481934"/>
            <ac:spMk id="141" creationId="{CFB05BAF-8E1A-BAD6-1F75-F1CA3103EB14}"/>
          </ac:spMkLst>
        </pc:spChg>
        <pc:spChg chg="mod">
          <ac:chgData name="Yudi Zhu" userId="571e1a55-055f-4c28-8b35-fca6dd1c1369" providerId="ADAL" clId="{75A88773-6EE1-484E-AADE-FE631E01463B}" dt="2025-11-21T06:04:50.270" v="84357"/>
          <ac:spMkLst>
            <pc:docMk/>
            <pc:sldMk cId="3829580534" sldId="2147481934"/>
            <ac:spMk id="142" creationId="{2047E2BE-3D52-36B3-9736-2F615626D64D}"/>
          </ac:spMkLst>
        </pc:spChg>
        <pc:spChg chg="mod ord">
          <ac:chgData name="Yudi Zhu" userId="571e1a55-055f-4c28-8b35-fca6dd1c1369" providerId="ADAL" clId="{75A88773-6EE1-484E-AADE-FE631E01463B}" dt="2025-11-21T06:04:50.271" v="84359"/>
          <ac:spMkLst>
            <pc:docMk/>
            <pc:sldMk cId="3829580534" sldId="2147481934"/>
            <ac:spMk id="143" creationId="{D5CF4083-6A60-3A60-56C1-B2C05CC22146}"/>
          </ac:spMkLst>
        </pc:spChg>
        <pc:spChg chg="mod">
          <ac:chgData name="Yudi Zhu" userId="571e1a55-055f-4c28-8b35-fca6dd1c1369" providerId="ADAL" clId="{75A88773-6EE1-484E-AADE-FE631E01463B}" dt="2025-11-21T06:04:50.272" v="84360"/>
          <ac:spMkLst>
            <pc:docMk/>
            <pc:sldMk cId="3829580534" sldId="2147481934"/>
            <ac:spMk id="144" creationId="{A63880FC-DA7D-DE51-3A30-A5271227E1A6}"/>
          </ac:spMkLst>
        </pc:spChg>
        <pc:spChg chg="mod">
          <ac:chgData name="Yudi Zhu" userId="571e1a55-055f-4c28-8b35-fca6dd1c1369" providerId="ADAL" clId="{75A88773-6EE1-484E-AADE-FE631E01463B}" dt="2025-11-21T06:04:50.272" v="84361"/>
          <ac:spMkLst>
            <pc:docMk/>
            <pc:sldMk cId="3829580534" sldId="2147481934"/>
            <ac:spMk id="145" creationId="{D2938EFF-8EED-1D65-B92E-A7976F23ABD6}"/>
          </ac:spMkLst>
        </pc:spChg>
        <pc:spChg chg="mod">
          <ac:chgData name="Yudi Zhu" userId="571e1a55-055f-4c28-8b35-fca6dd1c1369" providerId="ADAL" clId="{75A88773-6EE1-484E-AADE-FE631E01463B}" dt="2025-11-21T06:04:50.273" v="84362"/>
          <ac:spMkLst>
            <pc:docMk/>
            <pc:sldMk cId="3829580534" sldId="2147481934"/>
            <ac:spMk id="146" creationId="{18E54252-72A2-EF4C-580D-B136FA25CE8F}"/>
          </ac:spMkLst>
        </pc:spChg>
        <pc:spChg chg="mod ord">
          <ac:chgData name="Yudi Zhu" userId="571e1a55-055f-4c28-8b35-fca6dd1c1369" providerId="ADAL" clId="{75A88773-6EE1-484E-AADE-FE631E01463B}" dt="2025-11-21T06:04:50.274" v="84364"/>
          <ac:spMkLst>
            <pc:docMk/>
            <pc:sldMk cId="3829580534" sldId="2147481934"/>
            <ac:spMk id="147" creationId="{5FC4F210-5D86-0AB8-BE66-4E8A84ECBAAF}"/>
          </ac:spMkLst>
        </pc:spChg>
        <pc:spChg chg="mod ord">
          <ac:chgData name="Yudi Zhu" userId="571e1a55-055f-4c28-8b35-fca6dd1c1369" providerId="ADAL" clId="{75A88773-6EE1-484E-AADE-FE631E01463B}" dt="2025-11-21T06:04:50.275" v="84366"/>
          <ac:spMkLst>
            <pc:docMk/>
            <pc:sldMk cId="3829580534" sldId="2147481934"/>
            <ac:spMk id="148" creationId="{CC2E9F28-58F2-0808-F3D1-5D2575667207}"/>
          </ac:spMkLst>
        </pc:spChg>
        <pc:spChg chg="mod ord">
          <ac:chgData name="Yudi Zhu" userId="571e1a55-055f-4c28-8b35-fca6dd1c1369" providerId="ADAL" clId="{75A88773-6EE1-484E-AADE-FE631E01463B}" dt="2025-11-21T06:04:50.276" v="84368"/>
          <ac:spMkLst>
            <pc:docMk/>
            <pc:sldMk cId="3829580534" sldId="2147481934"/>
            <ac:spMk id="149" creationId="{92E2C93A-0B06-EA2B-6C20-A4739F0C2BF3}"/>
          </ac:spMkLst>
        </pc:spChg>
        <pc:spChg chg="mod ord">
          <ac:chgData name="Yudi Zhu" userId="571e1a55-055f-4c28-8b35-fca6dd1c1369" providerId="ADAL" clId="{75A88773-6EE1-484E-AADE-FE631E01463B}" dt="2025-11-21T06:04:50.277" v="84370"/>
          <ac:spMkLst>
            <pc:docMk/>
            <pc:sldMk cId="3829580534" sldId="2147481934"/>
            <ac:spMk id="150" creationId="{93D6BC83-E867-D33E-8328-44DD43431A31}"/>
          </ac:spMkLst>
        </pc:spChg>
        <pc:spChg chg="mod ord">
          <ac:chgData name="Yudi Zhu" userId="571e1a55-055f-4c28-8b35-fca6dd1c1369" providerId="ADAL" clId="{75A88773-6EE1-484E-AADE-FE631E01463B}" dt="2025-11-21T06:04:50.278" v="84372"/>
          <ac:spMkLst>
            <pc:docMk/>
            <pc:sldMk cId="3829580534" sldId="2147481934"/>
            <ac:spMk id="151" creationId="{F670F7CA-C795-80D3-C2E0-A6299000B47D}"/>
          </ac:spMkLst>
        </pc:spChg>
        <pc:spChg chg="mod">
          <ac:chgData name="Yudi Zhu" userId="571e1a55-055f-4c28-8b35-fca6dd1c1369" providerId="ADAL" clId="{75A88773-6EE1-484E-AADE-FE631E01463B}" dt="2025-11-21T06:04:50.279" v="84374"/>
          <ac:spMkLst>
            <pc:docMk/>
            <pc:sldMk cId="3829580534" sldId="2147481934"/>
            <ac:spMk id="153" creationId="{2BC05C50-9D1E-4A9A-319A-E066D3415B54}"/>
          </ac:spMkLst>
        </pc:spChg>
        <pc:spChg chg="mod">
          <ac:chgData name="Yudi Zhu" userId="571e1a55-055f-4c28-8b35-fca6dd1c1369" providerId="ADAL" clId="{75A88773-6EE1-484E-AADE-FE631E01463B}" dt="2025-11-21T06:04:50.280" v="84375"/>
          <ac:spMkLst>
            <pc:docMk/>
            <pc:sldMk cId="3829580534" sldId="2147481934"/>
            <ac:spMk id="154" creationId="{F08EC7B1-9694-D47B-253D-9B958C33ED57}"/>
          </ac:spMkLst>
        </pc:spChg>
        <pc:spChg chg="mod">
          <ac:chgData name="Yudi Zhu" userId="571e1a55-055f-4c28-8b35-fca6dd1c1369" providerId="ADAL" clId="{75A88773-6EE1-484E-AADE-FE631E01463B}" dt="2025-11-21T06:04:50.281" v="84376"/>
          <ac:spMkLst>
            <pc:docMk/>
            <pc:sldMk cId="3829580534" sldId="2147481934"/>
            <ac:spMk id="155" creationId="{F9D56110-1671-5B97-CA27-C2B6D88D52D8}"/>
          </ac:spMkLst>
        </pc:spChg>
        <pc:spChg chg="mod">
          <ac:chgData name="Yudi Zhu" userId="571e1a55-055f-4c28-8b35-fca6dd1c1369" providerId="ADAL" clId="{75A88773-6EE1-484E-AADE-FE631E01463B}" dt="2025-11-21T06:04:50.282" v="84377"/>
          <ac:spMkLst>
            <pc:docMk/>
            <pc:sldMk cId="3829580534" sldId="2147481934"/>
            <ac:spMk id="156" creationId="{9A973DB6-B33D-9FEA-0E31-C92560C794CC}"/>
          </ac:spMkLst>
        </pc:spChg>
        <pc:spChg chg="mod ord">
          <ac:chgData name="Yudi Zhu" userId="571e1a55-055f-4c28-8b35-fca6dd1c1369" providerId="ADAL" clId="{75A88773-6EE1-484E-AADE-FE631E01463B}" dt="2025-11-21T06:04:50.286" v="84384"/>
          <ac:spMkLst>
            <pc:docMk/>
            <pc:sldMk cId="3829580534" sldId="2147481934"/>
            <ac:spMk id="171" creationId="{51A010F1-CBBA-2FF7-5F55-08C24B4BAFF8}"/>
          </ac:spMkLst>
        </pc:spChg>
        <pc:spChg chg="mod ord">
          <ac:chgData name="Yudi Zhu" userId="571e1a55-055f-4c28-8b35-fca6dd1c1369" providerId="ADAL" clId="{75A88773-6EE1-484E-AADE-FE631E01463B}" dt="2025-11-21T06:04:50.287" v="84386"/>
          <ac:spMkLst>
            <pc:docMk/>
            <pc:sldMk cId="3829580534" sldId="2147481934"/>
            <ac:spMk id="172" creationId="{488F4B9C-2DC6-91A7-BFC3-39A4292C7601}"/>
          </ac:spMkLst>
        </pc:spChg>
        <pc:spChg chg="mod ord">
          <ac:chgData name="Yudi Zhu" userId="571e1a55-055f-4c28-8b35-fca6dd1c1369" providerId="ADAL" clId="{75A88773-6EE1-484E-AADE-FE631E01463B}" dt="2025-11-21T06:04:50.288" v="84388"/>
          <ac:spMkLst>
            <pc:docMk/>
            <pc:sldMk cId="3829580534" sldId="2147481934"/>
            <ac:spMk id="173" creationId="{F734EDEE-81E2-BE77-7EA6-2DCF6F3365B3}"/>
          </ac:spMkLst>
        </pc:spChg>
        <pc:spChg chg="mod">
          <ac:chgData name="Yudi Zhu" userId="571e1a55-055f-4c28-8b35-fca6dd1c1369" providerId="ADAL" clId="{75A88773-6EE1-484E-AADE-FE631E01463B}" dt="2025-11-21T06:04:50.241" v="84320"/>
          <ac:spMkLst>
            <pc:docMk/>
            <pc:sldMk cId="3829580534" sldId="2147481934"/>
            <ac:spMk id="189" creationId="{C777A144-5DAB-9761-177B-11390B1A57F2}"/>
          </ac:spMkLst>
        </pc:spChg>
        <pc:spChg chg="mod ord">
          <ac:chgData name="Yudi Zhu" userId="571e1a55-055f-4c28-8b35-fca6dd1c1369" providerId="ADAL" clId="{75A88773-6EE1-484E-AADE-FE631E01463B}" dt="2025-11-21T06:04:50.242" v="84322"/>
          <ac:spMkLst>
            <pc:docMk/>
            <pc:sldMk cId="3829580534" sldId="2147481934"/>
            <ac:spMk id="190" creationId="{3336E68E-4BFB-ECC2-3996-CBC2F52632A2}"/>
          </ac:spMkLst>
        </pc:spChg>
        <pc:spChg chg="mod ord">
          <ac:chgData name="Yudi Zhu" userId="571e1a55-055f-4c28-8b35-fca6dd1c1369" providerId="ADAL" clId="{75A88773-6EE1-484E-AADE-FE631E01463B}" dt="2025-11-21T06:04:50.243" v="84324"/>
          <ac:spMkLst>
            <pc:docMk/>
            <pc:sldMk cId="3829580534" sldId="2147481934"/>
            <ac:spMk id="191" creationId="{947CDD78-E4F5-07DD-09A6-2256315B3E6D}"/>
          </ac:spMkLst>
        </pc:spChg>
        <pc:spChg chg="mod">
          <ac:chgData name="Yudi Zhu" userId="571e1a55-055f-4c28-8b35-fca6dd1c1369" providerId="ADAL" clId="{75A88773-6EE1-484E-AADE-FE631E01463B}" dt="2025-11-21T06:04:50.244" v="84325"/>
          <ac:spMkLst>
            <pc:docMk/>
            <pc:sldMk cId="3829580534" sldId="2147481934"/>
            <ac:spMk id="192" creationId="{C4CA2FBA-28FE-4223-4BE4-33583552196B}"/>
          </ac:spMkLst>
        </pc:spChg>
        <pc:spChg chg="mod">
          <ac:chgData name="Yudi Zhu" userId="571e1a55-055f-4c28-8b35-fca6dd1c1369" providerId="ADAL" clId="{75A88773-6EE1-484E-AADE-FE631E01463B}" dt="2025-11-21T06:04:50.244" v="84326"/>
          <ac:spMkLst>
            <pc:docMk/>
            <pc:sldMk cId="3829580534" sldId="2147481934"/>
            <ac:spMk id="193" creationId="{B7595E2C-2748-256D-05CC-F146CACDC0D7}"/>
          </ac:spMkLst>
        </pc:spChg>
        <pc:spChg chg="mod">
          <ac:chgData name="Yudi Zhu" userId="571e1a55-055f-4c28-8b35-fca6dd1c1369" providerId="ADAL" clId="{75A88773-6EE1-484E-AADE-FE631E01463B}" dt="2025-11-21T06:04:50.255" v="84336"/>
          <ac:spMkLst>
            <pc:docMk/>
            <pc:sldMk cId="3829580534" sldId="2147481934"/>
            <ac:spMk id="195" creationId="{35E32FB4-95D3-BF63-2B56-864881595B50}"/>
          </ac:spMkLst>
        </pc:spChg>
        <pc:spChg chg="mod ord">
          <ac:chgData name="Yudi Zhu" userId="571e1a55-055f-4c28-8b35-fca6dd1c1369" providerId="ADAL" clId="{75A88773-6EE1-484E-AADE-FE631E01463B}" dt="2025-11-21T06:04:50.246" v="84329"/>
          <ac:spMkLst>
            <pc:docMk/>
            <pc:sldMk cId="3829580534" sldId="2147481934"/>
            <ac:spMk id="196" creationId="{BCEDCD3B-CAE7-85CC-E3AB-16390C4502D7}"/>
          </ac:spMkLst>
        </pc:spChg>
        <pc:spChg chg="mod">
          <ac:chgData name="Yudi Zhu" userId="571e1a55-055f-4c28-8b35-fca6dd1c1369" providerId="ADAL" clId="{75A88773-6EE1-484E-AADE-FE631E01463B}" dt="2025-11-21T06:04:50.249" v="84330"/>
          <ac:spMkLst>
            <pc:docMk/>
            <pc:sldMk cId="3829580534" sldId="2147481934"/>
            <ac:spMk id="197" creationId="{DB3BE6E2-E313-A686-7EF6-122DB5314A8A}"/>
          </ac:spMkLst>
        </pc:spChg>
        <pc:spChg chg="mod ord">
          <ac:chgData name="Yudi Zhu" userId="571e1a55-055f-4c28-8b35-fca6dd1c1369" providerId="ADAL" clId="{75A88773-6EE1-484E-AADE-FE631E01463B}" dt="2025-11-21T06:04:50.251" v="84332"/>
          <ac:spMkLst>
            <pc:docMk/>
            <pc:sldMk cId="3829580534" sldId="2147481934"/>
            <ac:spMk id="198" creationId="{885B4C29-6FB3-744B-93C5-7EFCFF1EDD56}"/>
          </ac:spMkLst>
        </pc:spChg>
        <pc:spChg chg="mod">
          <ac:chgData name="Yudi Zhu" userId="571e1a55-055f-4c28-8b35-fca6dd1c1369" providerId="ADAL" clId="{75A88773-6EE1-484E-AADE-FE631E01463B}" dt="2025-11-21T06:04:50.252" v="84333"/>
          <ac:spMkLst>
            <pc:docMk/>
            <pc:sldMk cId="3829580534" sldId="2147481934"/>
            <ac:spMk id="199" creationId="{FF2B5B09-4C0F-6FAD-B29D-2798B57F4F3E}"/>
          </ac:spMkLst>
        </pc:spChg>
        <pc:spChg chg="mod">
          <ac:chgData name="Yudi Zhu" userId="571e1a55-055f-4c28-8b35-fca6dd1c1369" providerId="ADAL" clId="{75A88773-6EE1-484E-AADE-FE631E01463B}" dt="2025-11-21T06:04:50.253" v="84334"/>
          <ac:spMkLst>
            <pc:docMk/>
            <pc:sldMk cId="3829580534" sldId="2147481934"/>
            <ac:spMk id="200" creationId="{BCC93580-63DA-4DCD-63BB-741C17F1F9E8}"/>
          </ac:spMkLst>
        </pc:spChg>
        <pc:spChg chg="mod">
          <ac:chgData name="Yudi Zhu" userId="571e1a55-055f-4c28-8b35-fca6dd1c1369" providerId="ADAL" clId="{75A88773-6EE1-484E-AADE-FE631E01463B}" dt="2025-11-21T06:04:50.255" v="84337"/>
          <ac:spMkLst>
            <pc:docMk/>
            <pc:sldMk cId="3829580534" sldId="2147481934"/>
            <ac:spMk id="202" creationId="{049A0AEC-2F3B-1A15-A2B2-05710674AB1B}"/>
          </ac:spMkLst>
        </pc:spChg>
        <pc:spChg chg="mod">
          <ac:chgData name="Yudi Zhu" userId="571e1a55-055f-4c28-8b35-fca6dd1c1369" providerId="ADAL" clId="{75A88773-6EE1-484E-AADE-FE631E01463B}" dt="2025-11-21T06:04:50.295" v="84403"/>
          <ac:spMkLst>
            <pc:docMk/>
            <pc:sldMk cId="3829580534" sldId="2147481934"/>
            <ac:spMk id="212" creationId="{E4C6BDE5-1543-ACA6-9466-24BA187A93D3}"/>
          </ac:spMkLst>
        </pc:spChg>
        <pc:spChg chg="mod">
          <ac:chgData name="Yudi Zhu" userId="571e1a55-055f-4c28-8b35-fca6dd1c1369" providerId="ADAL" clId="{75A88773-6EE1-484E-AADE-FE631E01463B}" dt="2025-11-21T06:04:50.296" v="84404"/>
          <ac:spMkLst>
            <pc:docMk/>
            <pc:sldMk cId="3829580534" sldId="2147481934"/>
            <ac:spMk id="214" creationId="{266BEFE0-2BAE-FE9D-74EC-BB45B975B5A4}"/>
          </ac:spMkLst>
        </pc:spChg>
        <pc:spChg chg="mod">
          <ac:chgData name="Yudi Zhu" userId="571e1a55-055f-4c28-8b35-fca6dd1c1369" providerId="ADAL" clId="{75A88773-6EE1-484E-AADE-FE631E01463B}" dt="2025-11-21T06:04:50.298" v="84405"/>
          <ac:spMkLst>
            <pc:docMk/>
            <pc:sldMk cId="3829580534" sldId="2147481934"/>
            <ac:spMk id="216" creationId="{A61E0BF6-F585-DE2F-B5B8-7293EEC99631}"/>
          </ac:spMkLst>
        </pc:spChg>
        <pc:spChg chg="mod">
          <ac:chgData name="Yudi Zhu" userId="571e1a55-055f-4c28-8b35-fca6dd1c1369" providerId="ADAL" clId="{75A88773-6EE1-484E-AADE-FE631E01463B}" dt="2025-11-21T06:04:50.299" v="84406"/>
          <ac:spMkLst>
            <pc:docMk/>
            <pc:sldMk cId="3829580534" sldId="2147481934"/>
            <ac:spMk id="217" creationId="{A0B501F8-03F1-0A38-EA9D-A17C6A0A335B}"/>
          </ac:spMkLst>
        </pc:spChg>
        <pc:spChg chg="mod">
          <ac:chgData name="Yudi Zhu" userId="571e1a55-055f-4c28-8b35-fca6dd1c1369" providerId="ADAL" clId="{75A88773-6EE1-484E-AADE-FE631E01463B}" dt="2025-11-21T06:04:50.300" v="84407"/>
          <ac:spMkLst>
            <pc:docMk/>
            <pc:sldMk cId="3829580534" sldId="2147481934"/>
            <ac:spMk id="218" creationId="{1915A7A8-2846-7EDC-0E54-BF7262428E46}"/>
          </ac:spMkLst>
        </pc:spChg>
        <pc:spChg chg="mod ord">
          <ac:chgData name="Yudi Zhu" userId="571e1a55-055f-4c28-8b35-fca6dd1c1369" providerId="ADAL" clId="{75A88773-6EE1-484E-AADE-FE631E01463B}" dt="2025-11-21T06:04:50.290" v="84394"/>
          <ac:spMkLst>
            <pc:docMk/>
            <pc:sldMk cId="3829580534" sldId="2147481934"/>
            <ac:spMk id="220" creationId="{84B30B41-3D63-110D-C6C4-D92405FC5F3A}"/>
          </ac:spMkLst>
        </pc:spChg>
        <pc:spChg chg="mod ord">
          <ac:chgData name="Yudi Zhu" userId="571e1a55-055f-4c28-8b35-fca6dd1c1369" providerId="ADAL" clId="{75A88773-6EE1-484E-AADE-FE631E01463B}" dt="2025-11-21T06:04:50.291" v="84396"/>
          <ac:spMkLst>
            <pc:docMk/>
            <pc:sldMk cId="3829580534" sldId="2147481934"/>
            <ac:spMk id="221" creationId="{17A21362-DFA2-107E-17F3-A10741F34C75}"/>
          </ac:spMkLst>
        </pc:spChg>
        <pc:spChg chg="mod ord">
          <ac:chgData name="Yudi Zhu" userId="571e1a55-055f-4c28-8b35-fca6dd1c1369" providerId="ADAL" clId="{75A88773-6EE1-484E-AADE-FE631E01463B}" dt="2025-11-21T06:04:50.292" v="84398"/>
          <ac:spMkLst>
            <pc:docMk/>
            <pc:sldMk cId="3829580534" sldId="2147481934"/>
            <ac:spMk id="222" creationId="{98CA396F-DF7D-5CFC-4635-434CD910594D}"/>
          </ac:spMkLst>
        </pc:spChg>
        <pc:spChg chg="mod ord">
          <ac:chgData name="Yudi Zhu" userId="571e1a55-055f-4c28-8b35-fca6dd1c1369" providerId="ADAL" clId="{75A88773-6EE1-484E-AADE-FE631E01463B}" dt="2025-11-21T06:04:50.293" v="84400"/>
          <ac:spMkLst>
            <pc:docMk/>
            <pc:sldMk cId="3829580534" sldId="2147481934"/>
            <ac:spMk id="223" creationId="{6A483516-4D5B-3D59-58D5-573AC158F4D1}"/>
          </ac:spMkLst>
        </pc:spChg>
        <pc:spChg chg="mod ord">
          <ac:chgData name="Yudi Zhu" userId="571e1a55-055f-4c28-8b35-fca6dd1c1369" providerId="ADAL" clId="{75A88773-6EE1-484E-AADE-FE631E01463B}" dt="2025-11-21T06:04:50.294" v="84402"/>
          <ac:spMkLst>
            <pc:docMk/>
            <pc:sldMk cId="3829580534" sldId="2147481934"/>
            <ac:spMk id="224" creationId="{266E575C-98F1-D09E-CAA3-94D0AAF3ED38}"/>
          </ac:spMkLst>
        </pc:spChg>
        <pc:spChg chg="mod ord">
          <ac:chgData name="Yudi Zhu" userId="571e1a55-055f-4c28-8b35-fca6dd1c1369" providerId="ADAL" clId="{75A88773-6EE1-484E-AADE-FE631E01463B}" dt="2025-11-21T06:04:50.256" v="84339"/>
          <ac:spMkLst>
            <pc:docMk/>
            <pc:sldMk cId="3829580534" sldId="2147481934"/>
            <ac:spMk id="226" creationId="{DC20FA80-A269-2DF3-92C3-D523233343CD}"/>
          </ac:spMkLst>
        </pc:spChg>
        <pc:graphicFrameChg chg="add del mod">
          <ac:chgData name="Yudi Zhu" userId="571e1a55-055f-4c28-8b35-fca6dd1c1369" providerId="ADAL" clId="{75A88773-6EE1-484E-AADE-FE631E01463B}" dt="2025-11-21T06:04:50.205" v="84305"/>
          <ac:graphicFrameMkLst>
            <pc:docMk/>
            <pc:sldMk cId="3829580534" sldId="2147481934"/>
            <ac:graphicFrameMk id="4" creationId="{860D6E84-3A1A-8CEB-856A-FEC57BDEC2BF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0.257" v="84340"/>
          <ac:graphicFrameMkLst>
            <pc:docMk/>
            <pc:sldMk cId="3829580534" sldId="2147481934"/>
            <ac:graphicFrameMk id="6" creationId="{6B1D8DA8-F3BF-2BAF-7CF7-B4448F8A5BE5}"/>
          </ac:graphicFrameMkLst>
        </pc:graphicFrameChg>
        <pc:graphicFrameChg chg="mod">
          <ac:chgData name="Yudi Zhu" userId="571e1a55-055f-4c28-8b35-fca6dd1c1369" providerId="ADAL" clId="{75A88773-6EE1-484E-AADE-FE631E01463B}" dt="2025-11-21T06:04:50.237" v="84313"/>
          <ac:graphicFrameMkLst>
            <pc:docMk/>
            <pc:sldMk cId="3829580534" sldId="2147481934"/>
            <ac:graphicFrameMk id="10" creationId="{C02CD86E-2385-E5F6-B2B3-207825E07B00}"/>
          </ac:graphicFrameMkLst>
        </pc:graphicFrameChg>
        <pc:graphicFrameChg chg="mod">
          <ac:chgData name="Yudi Zhu" userId="571e1a55-055f-4c28-8b35-fca6dd1c1369" providerId="ADAL" clId="{75A88773-6EE1-484E-AADE-FE631E01463B}" dt="2025-11-21T06:05:07.076" v="90993"/>
          <ac:graphicFrameMkLst>
            <pc:docMk/>
            <pc:sldMk cId="3829580534" sldId="2147481934"/>
            <ac:graphicFrameMk id="16" creationId="{B94CFC1D-F52B-2E3B-7AE0-EE8808DCB3DD}"/>
          </ac:graphicFrameMkLst>
        </pc:graphicFrameChg>
        <pc:graphicFrameChg chg="del">
          <ac:chgData name="Yudi Zhu" userId="571e1a55-055f-4c28-8b35-fca6dd1c1369" providerId="ADAL" clId="{75A88773-6EE1-484E-AADE-FE631E01463B}" dt="2025-11-21T06:01:58.477" v="58781"/>
          <ac:graphicFrameMkLst>
            <pc:docMk/>
            <pc:sldMk cId="3829580534" sldId="2147481934"/>
            <ac:graphicFrameMk id="21" creationId="{1690C32B-5C26-02CC-7490-871B2033C5FE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0.284" v="84380"/>
          <ac:graphicFrameMkLst>
            <pc:docMk/>
            <pc:sldMk cId="3829580534" sldId="2147481934"/>
            <ac:graphicFrameMk id="168" creationId="{934DADF8-0A9C-CD15-F81E-00C06E0892B6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0.285" v="84382"/>
          <ac:graphicFrameMkLst>
            <pc:docMk/>
            <pc:sldMk cId="3829580534" sldId="2147481934"/>
            <ac:graphicFrameMk id="170" creationId="{E54797A4-E7A7-4CEF-4F8B-D52CF73CB7BB}"/>
          </ac:graphicFrameMkLst>
        </pc:graphicFrameChg>
        <pc:cxnChg chg="mod ord">
          <ac:chgData name="Yudi Zhu" userId="571e1a55-055f-4c28-8b35-fca6dd1c1369" providerId="ADAL" clId="{75A88773-6EE1-484E-AADE-FE631E01463B}" dt="2025-11-21T06:04:50.258" v="84342"/>
          <ac:cxnSpMkLst>
            <pc:docMk/>
            <pc:sldMk cId="3829580534" sldId="2147481934"/>
            <ac:cxnSpMk id="130" creationId="{CE4630F9-A19E-9EE0-147D-18AAB1473823}"/>
          </ac:cxnSpMkLst>
        </pc:cxnChg>
        <pc:cxnChg chg="mod ord">
          <ac:chgData name="Yudi Zhu" userId="571e1a55-055f-4c28-8b35-fca6dd1c1369" providerId="ADAL" clId="{75A88773-6EE1-484E-AADE-FE631E01463B}" dt="2025-11-21T06:04:50.259" v="84344"/>
          <ac:cxnSpMkLst>
            <pc:docMk/>
            <pc:sldMk cId="3829580534" sldId="2147481934"/>
            <ac:cxnSpMk id="131" creationId="{3AD927E6-F63F-7BF4-F968-0E0E95D87971}"/>
          </ac:cxnSpMkLst>
        </pc:cxnChg>
        <pc:cxnChg chg="mod ord">
          <ac:chgData name="Yudi Zhu" userId="571e1a55-055f-4c28-8b35-fca6dd1c1369" providerId="ADAL" clId="{75A88773-6EE1-484E-AADE-FE631E01463B}" dt="2025-11-21T06:04:50.260" v="84346"/>
          <ac:cxnSpMkLst>
            <pc:docMk/>
            <pc:sldMk cId="3829580534" sldId="2147481934"/>
            <ac:cxnSpMk id="132" creationId="{210C6D30-8ADF-1C24-5F67-EBCEF938DDED}"/>
          </ac:cxnSpMkLst>
        </pc:cxnChg>
        <pc:cxnChg chg="mod ord">
          <ac:chgData name="Yudi Zhu" userId="571e1a55-055f-4c28-8b35-fca6dd1c1369" providerId="ADAL" clId="{75A88773-6EE1-484E-AADE-FE631E01463B}" dt="2025-11-21T06:04:50.289" v="84390"/>
          <ac:cxnSpMkLst>
            <pc:docMk/>
            <pc:sldMk cId="3829580534" sldId="2147481934"/>
            <ac:cxnSpMk id="176" creationId="{7B4158EF-BE8C-B4A5-FE80-91D74D7232D6}"/>
          </ac:cxnSpMkLst>
        </pc:cxnChg>
        <pc:cxnChg chg="mod ord">
          <ac:chgData name="Yudi Zhu" userId="571e1a55-055f-4c28-8b35-fca6dd1c1369" providerId="ADAL" clId="{75A88773-6EE1-484E-AADE-FE631E01463B}" dt="2025-11-21T06:04:50.290" v="84392"/>
          <ac:cxnSpMkLst>
            <pc:docMk/>
            <pc:sldMk cId="3829580534" sldId="2147481934"/>
            <ac:cxnSpMk id="178" creationId="{4DA69E04-DF07-462E-3DFA-239CA89B0699}"/>
          </ac:cxnSpMkLst>
        </pc:cxnChg>
        <pc:cxnChg chg="mod ord">
          <ac:chgData name="Yudi Zhu" userId="571e1a55-055f-4c28-8b35-fca6dd1c1369" providerId="ADAL" clId="{75A88773-6EE1-484E-AADE-FE631E01463B}" dt="2025-11-21T06:04:50.238" v="84315"/>
          <ac:cxnSpMkLst>
            <pc:docMk/>
            <pc:sldMk cId="3829580534" sldId="2147481934"/>
            <ac:cxnSpMk id="228" creationId="{6396FC13-4F90-DC6F-4C39-0C1F5B8E0187}"/>
          </ac:cxnSpMkLst>
        </pc:cxnChg>
        <pc:cxnChg chg="mod ord">
          <ac:chgData name="Yudi Zhu" userId="571e1a55-055f-4c28-8b35-fca6dd1c1369" providerId="ADAL" clId="{75A88773-6EE1-484E-AADE-FE631E01463B}" dt="2025-11-21T06:04:50.239" v="84317"/>
          <ac:cxnSpMkLst>
            <pc:docMk/>
            <pc:sldMk cId="3829580534" sldId="2147481934"/>
            <ac:cxnSpMk id="229" creationId="{BED14E0F-3895-23D5-35B3-235C1DF911F0}"/>
          </ac:cxnSpMkLst>
        </pc:cxnChg>
        <pc:cxnChg chg="mod ord">
          <ac:chgData name="Yudi Zhu" userId="571e1a55-055f-4c28-8b35-fca6dd1c1369" providerId="ADAL" clId="{75A88773-6EE1-484E-AADE-FE631E01463B}" dt="2025-11-21T06:04:50.240" v="84319"/>
          <ac:cxnSpMkLst>
            <pc:docMk/>
            <pc:sldMk cId="3829580534" sldId="2147481934"/>
            <ac:cxnSpMk id="230" creationId="{46C388D3-7051-46D8-C2FB-BA466BE5CC9D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58:39.548" v="200231"/>
        <pc:sldMkLst>
          <pc:docMk/>
          <pc:sldMk cId="3686276671" sldId="2147481935"/>
        </pc:sldMkLst>
        <pc:spChg chg="mod ord">
          <ac:chgData name="Yudi Zhu" userId="571e1a55-055f-4c28-8b35-fca6dd1c1369" providerId="ADAL" clId="{75A88773-6EE1-484E-AADE-FE631E01463B}" dt="2025-11-21T06:04:52.890" v="85621"/>
          <ac:spMkLst>
            <pc:docMk/>
            <pc:sldMk cId="3686276671" sldId="2147481935"/>
            <ac:spMk id="2" creationId="{3260AD85-A093-F255-29AF-98CEE1B520F1}"/>
          </ac:spMkLst>
        </pc:spChg>
        <pc:spChg chg="mod">
          <ac:chgData name="Yudi Zhu" userId="571e1a55-055f-4c28-8b35-fca6dd1c1369" providerId="ADAL" clId="{75A88773-6EE1-484E-AADE-FE631E01463B}" dt="2025-11-21T06:04:52.937" v="85664"/>
          <ac:spMkLst>
            <pc:docMk/>
            <pc:sldMk cId="3686276671" sldId="2147481935"/>
            <ac:spMk id="3" creationId="{9D5C54A0-1704-CBDF-39BB-89DA96DB902A}"/>
          </ac:spMkLst>
        </pc:spChg>
        <pc:spChg chg="mod">
          <ac:chgData name="Yudi Zhu" userId="571e1a55-055f-4c28-8b35-fca6dd1c1369" providerId="ADAL" clId="{75A88773-6EE1-484E-AADE-FE631E01463B}" dt="2025-11-21T06:04:52.944" v="85673"/>
          <ac:spMkLst>
            <pc:docMk/>
            <pc:sldMk cId="3686276671" sldId="2147481935"/>
            <ac:spMk id="4" creationId="{D6D01AAF-6D8E-7132-9D26-C190B28AD55F}"/>
          </ac:spMkLst>
        </pc:spChg>
        <pc:spChg chg="mod">
          <ac:chgData name="Yudi Zhu" userId="571e1a55-055f-4c28-8b35-fca6dd1c1369" providerId="ADAL" clId="{75A88773-6EE1-484E-AADE-FE631E01463B}" dt="2025-11-21T06:04:52.955" v="85682"/>
          <ac:spMkLst>
            <pc:docMk/>
            <pc:sldMk cId="3686276671" sldId="2147481935"/>
            <ac:spMk id="5" creationId="{802F7274-5954-7104-7ED3-0307B1A25ACD}"/>
          </ac:spMkLst>
        </pc:spChg>
        <pc:spChg chg="mod">
          <ac:chgData name="Yudi Zhu" userId="571e1a55-055f-4c28-8b35-fca6dd1c1369" providerId="ADAL" clId="{75A88773-6EE1-484E-AADE-FE631E01463B}" dt="2025-11-21T06:04:52.948" v="85675"/>
          <ac:spMkLst>
            <pc:docMk/>
            <pc:sldMk cId="3686276671" sldId="2147481935"/>
            <ac:spMk id="6" creationId="{88278491-5B37-4D80-9C24-C0EF40F19F2A}"/>
          </ac:spMkLst>
        </pc:spChg>
        <pc:spChg chg="mod">
          <ac:chgData name="Yudi Zhu" userId="571e1a55-055f-4c28-8b35-fca6dd1c1369" providerId="ADAL" clId="{75A88773-6EE1-484E-AADE-FE631E01463B}" dt="2025-11-21T06:04:52.951" v="85677"/>
          <ac:spMkLst>
            <pc:docMk/>
            <pc:sldMk cId="3686276671" sldId="2147481935"/>
            <ac:spMk id="7" creationId="{BCD64E76-2DC5-A0B5-6283-F0A83F0DDF92}"/>
          </ac:spMkLst>
        </pc:spChg>
        <pc:spChg chg="add del mod modVis">
          <ac:chgData name="Yudi Zhu" userId="571e1a55-055f-4c28-8b35-fca6dd1c1369" providerId="ADAL" clId="{75A88773-6EE1-484E-AADE-FE631E01463B}" dt="2025-11-21T06:02:24.711" v="70142" actId="478"/>
          <ac:spMkLst>
            <pc:docMk/>
            <pc:sldMk cId="3686276671" sldId="2147481935"/>
            <ac:spMk id="10" creationId="{4BDBE2A3-F02D-19E3-FDF7-52F336B4D67A}"/>
          </ac:spMkLst>
        </pc:spChg>
        <pc:spChg chg="mod">
          <ac:chgData name="Yudi Zhu" userId="571e1a55-055f-4c28-8b35-fca6dd1c1369" providerId="ADAL" clId="{75A88773-6EE1-484E-AADE-FE631E01463B}" dt="2025-11-21T06:04:52.958" v="85685"/>
          <ac:spMkLst>
            <pc:docMk/>
            <pc:sldMk cId="3686276671" sldId="2147481935"/>
            <ac:spMk id="12" creationId="{ACD878F8-3CB4-29E6-B884-A9F7A03FC6B1}"/>
          </ac:spMkLst>
        </pc:spChg>
        <pc:spChg chg="mod">
          <ac:chgData name="Yudi Zhu" userId="571e1a55-055f-4c28-8b35-fca6dd1c1369" providerId="ADAL" clId="{75A88773-6EE1-484E-AADE-FE631E01463B}" dt="2025-11-21T06:04:52.961" v="85689"/>
          <ac:spMkLst>
            <pc:docMk/>
            <pc:sldMk cId="3686276671" sldId="2147481935"/>
            <ac:spMk id="13" creationId="{85C416CB-5F7E-F1E2-F920-DD765E842F95}"/>
          </ac:spMkLst>
        </pc:spChg>
        <pc:spChg chg="mod">
          <ac:chgData name="Yudi Zhu" userId="571e1a55-055f-4c28-8b35-fca6dd1c1369" providerId="ADAL" clId="{75A88773-6EE1-484E-AADE-FE631E01463B}" dt="2025-11-21T06:04:52.967" v="85694"/>
          <ac:spMkLst>
            <pc:docMk/>
            <pc:sldMk cId="3686276671" sldId="2147481935"/>
            <ac:spMk id="14" creationId="{954E1A72-3970-D613-1ABE-7F609E8ACC4D}"/>
          </ac:spMkLst>
        </pc:spChg>
        <pc:spChg chg="mod">
          <ac:chgData name="Yudi Zhu" userId="571e1a55-055f-4c28-8b35-fca6dd1c1369" providerId="ADAL" clId="{75A88773-6EE1-484E-AADE-FE631E01463B}" dt="2025-11-21T06:04:52.927" v="85655"/>
          <ac:spMkLst>
            <pc:docMk/>
            <pc:sldMk cId="3686276671" sldId="2147481935"/>
            <ac:spMk id="15" creationId="{694088D1-A9F9-204F-7F99-5BBAE6ADBA29}"/>
          </ac:spMkLst>
        </pc:spChg>
        <pc:spChg chg="mod">
          <ac:chgData name="Yudi Zhu" userId="571e1a55-055f-4c28-8b35-fca6dd1c1369" providerId="ADAL" clId="{75A88773-6EE1-484E-AADE-FE631E01463B}" dt="2025-11-21T06:04:52.959" v="85686"/>
          <ac:spMkLst>
            <pc:docMk/>
            <pc:sldMk cId="3686276671" sldId="2147481935"/>
            <ac:spMk id="16" creationId="{EDFF3E04-646E-9876-B57D-D70DC4DC2AC1}"/>
          </ac:spMkLst>
        </pc:spChg>
        <pc:spChg chg="mod">
          <ac:chgData name="Yudi Zhu" userId="571e1a55-055f-4c28-8b35-fca6dd1c1369" providerId="ADAL" clId="{75A88773-6EE1-484E-AADE-FE631E01463B}" dt="2025-11-21T06:04:52.931" v="85659"/>
          <ac:spMkLst>
            <pc:docMk/>
            <pc:sldMk cId="3686276671" sldId="2147481935"/>
            <ac:spMk id="17" creationId="{EED4E39C-6809-37EB-6C58-B9900263FDF2}"/>
          </ac:spMkLst>
        </pc:spChg>
        <pc:spChg chg="mod">
          <ac:chgData name="Yudi Zhu" userId="571e1a55-055f-4c28-8b35-fca6dd1c1369" providerId="ADAL" clId="{75A88773-6EE1-484E-AADE-FE631E01463B}" dt="2025-11-21T06:04:52.934" v="85662"/>
          <ac:spMkLst>
            <pc:docMk/>
            <pc:sldMk cId="3686276671" sldId="2147481935"/>
            <ac:spMk id="18" creationId="{BCA30A7E-AADF-1E96-E9E9-6A99419D3084}"/>
          </ac:spMkLst>
        </pc:spChg>
        <pc:spChg chg="mod">
          <ac:chgData name="Yudi Zhu" userId="571e1a55-055f-4c28-8b35-fca6dd1c1369" providerId="ADAL" clId="{75A88773-6EE1-484E-AADE-FE631E01463B}" dt="2025-11-21T06:04:52.944" v="85672"/>
          <ac:spMkLst>
            <pc:docMk/>
            <pc:sldMk cId="3686276671" sldId="2147481935"/>
            <ac:spMk id="19" creationId="{0BB315B8-6FC5-256F-F590-7266A31874A5}"/>
          </ac:spMkLst>
        </pc:spChg>
        <pc:spChg chg="mod">
          <ac:chgData name="Yudi Zhu" userId="571e1a55-055f-4c28-8b35-fca6dd1c1369" providerId="ADAL" clId="{75A88773-6EE1-484E-AADE-FE631E01463B}" dt="2025-11-21T06:04:52.939" v="85667"/>
          <ac:spMkLst>
            <pc:docMk/>
            <pc:sldMk cId="3686276671" sldId="2147481935"/>
            <ac:spMk id="20" creationId="{27BC8CE3-355B-2AAF-7DD8-C2A313E4B845}"/>
          </ac:spMkLst>
        </pc:spChg>
        <pc:spChg chg="mod">
          <ac:chgData name="Yudi Zhu" userId="571e1a55-055f-4c28-8b35-fca6dd1c1369" providerId="ADAL" clId="{75A88773-6EE1-484E-AADE-FE631E01463B}" dt="2025-11-21T06:04:52.942" v="85670"/>
          <ac:spMkLst>
            <pc:docMk/>
            <pc:sldMk cId="3686276671" sldId="2147481935"/>
            <ac:spMk id="21" creationId="{2934348B-7DF6-B39F-E353-4627F274F0A4}"/>
          </ac:spMkLst>
        </pc:spChg>
        <pc:spChg chg="mod">
          <ac:chgData name="Yudi Zhu" userId="571e1a55-055f-4c28-8b35-fca6dd1c1369" providerId="ADAL" clId="{75A88773-6EE1-484E-AADE-FE631E01463B}" dt="2025-11-21T06:04:52.943" v="85671"/>
          <ac:spMkLst>
            <pc:docMk/>
            <pc:sldMk cId="3686276671" sldId="2147481935"/>
            <ac:spMk id="22" creationId="{0E1D8E54-85B5-95FA-B7A7-FC3DA9B4E943}"/>
          </ac:spMkLst>
        </pc:spChg>
        <pc:spChg chg="add del mod modVis">
          <ac:chgData name="Yudi Zhu" userId="571e1a55-055f-4c28-8b35-fca6dd1c1369" providerId="ADAL" clId="{75A88773-6EE1-484E-AADE-FE631E01463B}" dt="2025-11-21T06:05:08.321" v="91463"/>
          <ac:spMkLst>
            <pc:docMk/>
            <pc:sldMk cId="3686276671" sldId="2147481935"/>
            <ac:spMk id="24" creationId="{C9EFE48E-B39A-2A6E-D126-C5DD0CE65088}"/>
          </ac:spMkLst>
        </pc:spChg>
        <pc:spChg chg="mod ord">
          <ac:chgData name="Yudi Zhu" userId="571e1a55-055f-4c28-8b35-fca6dd1c1369" providerId="ADAL" clId="{75A88773-6EE1-484E-AADE-FE631E01463B}" dt="2025-11-21T06:04:52.957" v="85684"/>
          <ac:spMkLst>
            <pc:docMk/>
            <pc:sldMk cId="3686276671" sldId="2147481935"/>
            <ac:spMk id="33" creationId="{7DC94E67-346E-31AC-62D8-6F0C7314FA3F}"/>
          </ac:spMkLst>
        </pc:spChg>
        <pc:spChg chg="mod ord">
          <ac:chgData name="Yudi Zhu" userId="571e1a55-055f-4c28-8b35-fca6dd1c1369" providerId="ADAL" clId="{75A88773-6EE1-484E-AADE-FE631E01463B}" dt="2025-11-21T06:04:52.962" v="85691"/>
          <ac:spMkLst>
            <pc:docMk/>
            <pc:sldMk cId="3686276671" sldId="2147481935"/>
            <ac:spMk id="34" creationId="{7810DE28-8088-3B27-7541-4204BCAB17F7}"/>
          </ac:spMkLst>
        </pc:spChg>
        <pc:spChg chg="mod ord">
          <ac:chgData name="Yudi Zhu" userId="571e1a55-055f-4c28-8b35-fca6dd1c1369" providerId="ADAL" clId="{75A88773-6EE1-484E-AADE-FE631E01463B}" dt="2025-11-21T06:04:52.928" v="85657"/>
          <ac:spMkLst>
            <pc:docMk/>
            <pc:sldMk cId="3686276671" sldId="2147481935"/>
            <ac:spMk id="35" creationId="{388ECE33-AFE1-3699-2522-E2FBEC1E0AF6}"/>
          </ac:spMkLst>
        </pc:spChg>
        <pc:spChg chg="mod">
          <ac:chgData name="Yudi Zhu" userId="571e1a55-055f-4c28-8b35-fca6dd1c1369" providerId="ADAL" clId="{75A88773-6EE1-484E-AADE-FE631E01463B}" dt="2025-11-21T06:04:52.929" v="85658"/>
          <ac:spMkLst>
            <pc:docMk/>
            <pc:sldMk cId="3686276671" sldId="2147481935"/>
            <ac:spMk id="36" creationId="{AAE46AC2-2296-FB9E-2A80-FBC2A14D05EF}"/>
          </ac:spMkLst>
        </pc:spChg>
        <pc:spChg chg="mod ord">
          <ac:chgData name="Yudi Zhu" userId="571e1a55-055f-4c28-8b35-fca6dd1c1369" providerId="ADAL" clId="{75A88773-6EE1-484E-AADE-FE631E01463B}" dt="2025-11-21T06:04:52.933" v="85661"/>
          <ac:spMkLst>
            <pc:docMk/>
            <pc:sldMk cId="3686276671" sldId="2147481935"/>
            <ac:spMk id="50" creationId="{2E9B96A2-A425-18B3-1E20-7BEC4A1AF4C2}"/>
          </ac:spMkLst>
        </pc:spChg>
        <pc:spChg chg="mod">
          <ac:chgData name="Yudi Zhu" userId="571e1a55-055f-4c28-8b35-fca6dd1c1369" providerId="ADAL" clId="{75A88773-6EE1-484E-AADE-FE631E01463B}" dt="2025-11-21T06:04:52.935" v="85663"/>
          <ac:spMkLst>
            <pc:docMk/>
            <pc:sldMk cId="3686276671" sldId="2147481935"/>
            <ac:spMk id="51" creationId="{669BA855-E23A-5BB8-5D43-41D3641770A3}"/>
          </ac:spMkLst>
        </pc:spChg>
        <pc:spChg chg="mod ord">
          <ac:chgData name="Yudi Zhu" userId="571e1a55-055f-4c28-8b35-fca6dd1c1369" providerId="ADAL" clId="{75A88773-6EE1-484E-AADE-FE631E01463B}" dt="2025-11-21T06:04:52.960" v="85688"/>
          <ac:spMkLst>
            <pc:docMk/>
            <pc:sldMk cId="3686276671" sldId="2147481935"/>
            <ac:spMk id="52" creationId="{654C4289-2782-9191-0F3B-66F6A5E1E887}"/>
          </ac:spMkLst>
        </pc:spChg>
        <pc:spChg chg="mod ord">
          <ac:chgData name="Yudi Zhu" userId="571e1a55-055f-4c28-8b35-fca6dd1c1369" providerId="ADAL" clId="{75A88773-6EE1-484E-AADE-FE631E01463B}" dt="2025-11-21T06:04:52.938" v="85666"/>
          <ac:spMkLst>
            <pc:docMk/>
            <pc:sldMk cId="3686276671" sldId="2147481935"/>
            <ac:spMk id="54" creationId="{86AD5039-7B40-87A7-2C4C-C38E98A57D84}"/>
          </ac:spMkLst>
        </pc:spChg>
        <pc:spChg chg="mod ord">
          <ac:chgData name="Yudi Zhu" userId="571e1a55-055f-4c28-8b35-fca6dd1c1369" providerId="ADAL" clId="{75A88773-6EE1-484E-AADE-FE631E01463B}" dt="2025-11-21T06:04:52.940" v="85669"/>
          <ac:spMkLst>
            <pc:docMk/>
            <pc:sldMk cId="3686276671" sldId="2147481935"/>
            <ac:spMk id="55" creationId="{A13E476B-F12C-EE1E-0ADC-4EC55FD6F5C7}"/>
          </ac:spMkLst>
        </pc:spChg>
        <pc:spChg chg="mod">
          <ac:chgData name="Yudi Zhu" userId="571e1a55-055f-4c28-8b35-fca6dd1c1369" providerId="ADAL" clId="{75A88773-6EE1-484E-AADE-FE631E01463B}" dt="2025-11-21T06:04:52.964" v="85692"/>
          <ac:spMkLst>
            <pc:docMk/>
            <pc:sldMk cId="3686276671" sldId="2147481935"/>
            <ac:spMk id="73" creationId="{483789DC-A167-CA55-00A7-A61DA216B3EC}"/>
          </ac:spMkLst>
        </pc:spChg>
        <pc:spChg chg="mod">
          <ac:chgData name="Yudi Zhu" userId="571e1a55-055f-4c28-8b35-fca6dd1c1369" providerId="ADAL" clId="{75A88773-6EE1-484E-AADE-FE631E01463B}" dt="2025-11-21T06:04:52.946" v="85674"/>
          <ac:spMkLst>
            <pc:docMk/>
            <pc:sldMk cId="3686276671" sldId="2147481935"/>
            <ac:spMk id="77" creationId="{5F51C474-FC4A-CB2B-81A0-2361479586A6}"/>
          </ac:spMkLst>
        </pc:spChg>
        <pc:spChg chg="mod">
          <ac:chgData name="Yudi Zhu" userId="571e1a55-055f-4c28-8b35-fca6dd1c1369" providerId="ADAL" clId="{75A88773-6EE1-484E-AADE-FE631E01463B}" dt="2025-11-21T06:04:52.950" v="85676"/>
          <ac:spMkLst>
            <pc:docMk/>
            <pc:sldMk cId="3686276671" sldId="2147481935"/>
            <ac:spMk id="78" creationId="{EAEC9EA8-FFDC-EFC9-24CB-BBCCF5654D42}"/>
          </ac:spMkLst>
        </pc:spChg>
        <pc:spChg chg="mod ord">
          <ac:chgData name="Yudi Zhu" userId="571e1a55-055f-4c28-8b35-fca6dd1c1369" providerId="ADAL" clId="{75A88773-6EE1-484E-AADE-FE631E01463B}" dt="2025-11-21T06:04:52.953" v="85679"/>
          <ac:spMkLst>
            <pc:docMk/>
            <pc:sldMk cId="3686276671" sldId="2147481935"/>
            <ac:spMk id="79" creationId="{D2DC0E44-A3A9-AC35-D89B-E6C4CEC8C990}"/>
          </ac:spMkLst>
        </pc:spChg>
        <pc:spChg chg="mod ord">
          <ac:chgData name="Yudi Zhu" userId="571e1a55-055f-4c28-8b35-fca6dd1c1369" providerId="ADAL" clId="{75A88773-6EE1-484E-AADE-FE631E01463B}" dt="2025-11-21T06:04:52.954" v="85681"/>
          <ac:spMkLst>
            <pc:docMk/>
            <pc:sldMk cId="3686276671" sldId="2147481935"/>
            <ac:spMk id="80" creationId="{1E42E93E-736F-9049-8290-B8F5BE4AD143}"/>
          </ac:spMkLst>
        </pc:spChg>
        <pc:spChg chg="mod ord">
          <ac:chgData name="Yudi Zhu" userId="571e1a55-055f-4c28-8b35-fca6dd1c1369" providerId="ADAL" clId="{75A88773-6EE1-484E-AADE-FE631E01463B}" dt="2025-11-21T06:04:52.926" v="85654"/>
          <ac:spMkLst>
            <pc:docMk/>
            <pc:sldMk cId="3686276671" sldId="2147481935"/>
            <ac:spMk id="82" creationId="{43BBDE7D-080B-328D-F0DC-DCB7C0AD1BBC}"/>
          </ac:spMkLst>
        </pc:spChg>
        <pc:spChg chg="mod">
          <ac:chgData name="Yudi Zhu" userId="571e1a55-055f-4c28-8b35-fca6dd1c1369" providerId="ADAL" clId="{75A88773-6EE1-484E-AADE-FE631E01463B}" dt="2025-11-21T06:04:52.966" v="85693"/>
          <ac:spMkLst>
            <pc:docMk/>
            <pc:sldMk cId="3686276671" sldId="2147481935"/>
            <ac:spMk id="89" creationId="{98DF5DE4-1650-E9F4-9C78-C86933682143}"/>
          </ac:spMkLst>
        </pc:spChg>
        <pc:spChg chg="mod ord">
          <ac:chgData name="Yudi Zhu" userId="571e1a55-055f-4c28-8b35-fca6dd1c1369" providerId="ADAL" clId="{75A88773-6EE1-484E-AADE-FE631E01463B}" dt="2025-11-21T06:04:52.970" v="85698"/>
          <ac:spMkLst>
            <pc:docMk/>
            <pc:sldMk cId="3686276671" sldId="2147481935"/>
            <ac:spMk id="156" creationId="{6A90D04E-AFF0-A530-4C42-7FE457531D14}"/>
          </ac:spMkLst>
        </pc:spChg>
        <pc:graphicFrameChg chg="mod">
          <ac:chgData name="Yudi Zhu" userId="571e1a55-055f-4c28-8b35-fca6dd1c1369" providerId="ADAL" clId="{75A88773-6EE1-484E-AADE-FE631E01463B}" dt="2025-11-21T06:05:08.324" v="91465"/>
          <ac:graphicFrameMkLst>
            <pc:docMk/>
            <pc:sldMk cId="3686276671" sldId="2147481935"/>
            <ac:graphicFrameMk id="11" creationId="{641BBF53-6821-87F8-C638-20E9CA2440B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2.857" v="85614"/>
          <ac:graphicFrameMkLst>
            <pc:docMk/>
            <pc:sldMk cId="3686276671" sldId="2147481935"/>
            <ac:graphicFrameMk id="23" creationId="{566E67B8-21DA-21AA-318B-028FB7AC074D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2.924" v="85652"/>
          <ac:graphicFrameMkLst>
            <pc:docMk/>
            <pc:sldMk cId="3686276671" sldId="2147481935"/>
            <ac:graphicFrameMk id="25" creationId="{1970D199-547D-ACF0-C54A-C5843E0581E1}"/>
          </ac:graphicFrameMkLst>
        </pc:graphicFrameChg>
        <pc:graphicFrameChg chg="del">
          <ac:chgData name="Yudi Zhu" userId="571e1a55-055f-4c28-8b35-fca6dd1c1369" providerId="ADAL" clId="{75A88773-6EE1-484E-AADE-FE631E01463B}" dt="2025-11-21T06:02:02.431" v="60594"/>
          <ac:graphicFrameMkLst>
            <pc:docMk/>
            <pc:sldMk cId="3686276671" sldId="2147481935"/>
            <ac:graphicFrameMk id="107" creationId="{585745C6-5FD4-9DA4-0417-B13F19AA3AD8}"/>
          </ac:graphicFrameMkLst>
        </pc:graphicFrameChg>
        <pc:graphicFrameChg chg="mod ord">
          <ac:chgData name="Yudi Zhu" userId="571e1a55-055f-4c28-8b35-fca6dd1c1369" providerId="ADAL" clId="{75A88773-6EE1-484E-AADE-FE631E01463B}" dt="2025-11-21T06:58:39.548" v="200231"/>
          <ac:graphicFrameMkLst>
            <pc:docMk/>
            <pc:sldMk cId="3686276671" sldId="2147481935"/>
            <ac:graphicFrameMk id="150" creationId="{536AA08A-F01E-75E3-80BE-231F14381C71}"/>
          </ac:graphicFrameMkLst>
        </pc:graphicFrameChg>
        <pc:cxnChg chg="mod ord">
          <ac:chgData name="Yudi Zhu" userId="571e1a55-055f-4c28-8b35-fca6dd1c1369" providerId="ADAL" clId="{75A88773-6EE1-484E-AADE-FE631E01463B}" dt="2025-11-21T06:04:52.894" v="85625"/>
          <ac:cxnSpMkLst>
            <pc:docMk/>
            <pc:sldMk cId="3686276671" sldId="2147481935"/>
            <ac:cxnSpMk id="8" creationId="{682E05BD-C0DD-0BB1-BAE5-4BF06AC1BCCD}"/>
          </ac:cxnSpMkLst>
        </pc:cxnChg>
        <pc:cxnChg chg="mod ord">
          <ac:chgData name="Yudi Zhu" userId="571e1a55-055f-4c28-8b35-fca6dd1c1369" providerId="ADAL" clId="{75A88773-6EE1-484E-AADE-FE631E01463B}" dt="2025-11-21T06:04:52.898" v="85627"/>
          <ac:cxnSpMkLst>
            <pc:docMk/>
            <pc:sldMk cId="3686276671" sldId="2147481935"/>
            <ac:cxnSpMk id="9" creationId="{FBC43A04-1111-A5DD-160E-982FB399D77B}"/>
          </ac:cxnSpMkLst>
        </pc:cxnChg>
        <pc:cxnChg chg="mod ord">
          <ac:chgData name="Yudi Zhu" userId="571e1a55-055f-4c28-8b35-fca6dd1c1369" providerId="ADAL" clId="{75A88773-6EE1-484E-AADE-FE631E01463B}" dt="2025-11-21T06:04:52.901" v="85629"/>
          <ac:cxnSpMkLst>
            <pc:docMk/>
            <pc:sldMk cId="3686276671" sldId="2147481935"/>
            <ac:cxnSpMk id="37" creationId="{E31E111A-8741-939C-9453-657B7F8EB850}"/>
          </ac:cxnSpMkLst>
        </pc:cxnChg>
        <pc:cxnChg chg="mod ord">
          <ac:chgData name="Yudi Zhu" userId="571e1a55-055f-4c28-8b35-fca6dd1c1369" providerId="ADAL" clId="{75A88773-6EE1-484E-AADE-FE631E01463B}" dt="2025-11-21T06:04:52.904" v="85631"/>
          <ac:cxnSpMkLst>
            <pc:docMk/>
            <pc:sldMk cId="3686276671" sldId="2147481935"/>
            <ac:cxnSpMk id="38" creationId="{C3A9570C-E34E-5562-413D-1029E9DBFD69}"/>
          </ac:cxnSpMkLst>
        </pc:cxnChg>
        <pc:cxnChg chg="mod ord">
          <ac:chgData name="Yudi Zhu" userId="571e1a55-055f-4c28-8b35-fca6dd1c1369" providerId="ADAL" clId="{75A88773-6EE1-484E-AADE-FE631E01463B}" dt="2025-11-21T06:04:52.906" v="85633"/>
          <ac:cxnSpMkLst>
            <pc:docMk/>
            <pc:sldMk cId="3686276671" sldId="2147481935"/>
            <ac:cxnSpMk id="39" creationId="{C965C546-ABFE-7774-C63F-3FF1E3FD3324}"/>
          </ac:cxnSpMkLst>
        </pc:cxnChg>
        <pc:cxnChg chg="mod ord">
          <ac:chgData name="Yudi Zhu" userId="571e1a55-055f-4c28-8b35-fca6dd1c1369" providerId="ADAL" clId="{75A88773-6EE1-484E-AADE-FE631E01463B}" dt="2025-11-21T06:04:52.909" v="85635"/>
          <ac:cxnSpMkLst>
            <pc:docMk/>
            <pc:sldMk cId="3686276671" sldId="2147481935"/>
            <ac:cxnSpMk id="40" creationId="{5F845711-8F8B-586E-ED39-0DCF88A6BA61}"/>
          </ac:cxnSpMkLst>
        </pc:cxnChg>
        <pc:cxnChg chg="mod ord">
          <ac:chgData name="Yudi Zhu" userId="571e1a55-055f-4c28-8b35-fca6dd1c1369" providerId="ADAL" clId="{75A88773-6EE1-484E-AADE-FE631E01463B}" dt="2025-11-21T06:04:52.911" v="85637"/>
          <ac:cxnSpMkLst>
            <pc:docMk/>
            <pc:sldMk cId="3686276671" sldId="2147481935"/>
            <ac:cxnSpMk id="41" creationId="{FD04714B-84BF-846B-016B-902763B19A85}"/>
          </ac:cxnSpMkLst>
        </pc:cxnChg>
        <pc:cxnChg chg="mod ord">
          <ac:chgData name="Yudi Zhu" userId="571e1a55-055f-4c28-8b35-fca6dd1c1369" providerId="ADAL" clId="{75A88773-6EE1-484E-AADE-FE631E01463B}" dt="2025-11-21T06:04:52.913" v="85639"/>
          <ac:cxnSpMkLst>
            <pc:docMk/>
            <pc:sldMk cId="3686276671" sldId="2147481935"/>
            <ac:cxnSpMk id="42" creationId="{6FF4CE60-27EE-6F7D-7AAE-BD745A175393}"/>
          </ac:cxnSpMkLst>
        </pc:cxnChg>
        <pc:cxnChg chg="mod ord">
          <ac:chgData name="Yudi Zhu" userId="571e1a55-055f-4c28-8b35-fca6dd1c1369" providerId="ADAL" clId="{75A88773-6EE1-484E-AADE-FE631E01463B}" dt="2025-11-21T06:04:52.915" v="85641"/>
          <ac:cxnSpMkLst>
            <pc:docMk/>
            <pc:sldMk cId="3686276671" sldId="2147481935"/>
            <ac:cxnSpMk id="43" creationId="{5CE318FF-429B-B32E-87E2-DEC4B6BA389E}"/>
          </ac:cxnSpMkLst>
        </pc:cxnChg>
        <pc:cxnChg chg="mod ord">
          <ac:chgData name="Yudi Zhu" userId="571e1a55-055f-4c28-8b35-fca6dd1c1369" providerId="ADAL" clId="{75A88773-6EE1-484E-AADE-FE631E01463B}" dt="2025-11-21T06:04:52.917" v="85643"/>
          <ac:cxnSpMkLst>
            <pc:docMk/>
            <pc:sldMk cId="3686276671" sldId="2147481935"/>
            <ac:cxnSpMk id="44" creationId="{18314241-E1F1-0AE7-C24E-CCDEDE6BE0AA}"/>
          </ac:cxnSpMkLst>
        </pc:cxnChg>
        <pc:cxnChg chg="mod ord">
          <ac:chgData name="Yudi Zhu" userId="571e1a55-055f-4c28-8b35-fca6dd1c1369" providerId="ADAL" clId="{75A88773-6EE1-484E-AADE-FE631E01463B}" dt="2025-11-21T06:04:52.919" v="85645"/>
          <ac:cxnSpMkLst>
            <pc:docMk/>
            <pc:sldMk cId="3686276671" sldId="2147481935"/>
            <ac:cxnSpMk id="45" creationId="{7F4EE3E8-EE87-F538-289C-5E8D768E0018}"/>
          </ac:cxnSpMkLst>
        </pc:cxnChg>
        <pc:cxnChg chg="mod ord">
          <ac:chgData name="Yudi Zhu" userId="571e1a55-055f-4c28-8b35-fca6dd1c1369" providerId="ADAL" clId="{75A88773-6EE1-484E-AADE-FE631E01463B}" dt="2025-11-21T06:04:52.892" v="85623"/>
          <ac:cxnSpMkLst>
            <pc:docMk/>
            <pc:sldMk cId="3686276671" sldId="2147481935"/>
            <ac:cxnSpMk id="46" creationId="{683830DE-EACC-FB5A-4393-56B7300839B6}"/>
          </ac:cxnSpMkLst>
        </pc:cxnChg>
        <pc:cxnChg chg="mod ord">
          <ac:chgData name="Yudi Zhu" userId="571e1a55-055f-4c28-8b35-fca6dd1c1369" providerId="ADAL" clId="{75A88773-6EE1-484E-AADE-FE631E01463B}" dt="2025-11-21T06:04:52.921" v="85647"/>
          <ac:cxnSpMkLst>
            <pc:docMk/>
            <pc:sldMk cId="3686276671" sldId="2147481935"/>
            <ac:cxnSpMk id="47" creationId="{6CE8E4A5-3FA5-59E4-D363-B3C8C48B0933}"/>
          </ac:cxnSpMkLst>
        </pc:cxnChg>
        <pc:cxnChg chg="mod ord">
          <ac:chgData name="Yudi Zhu" userId="571e1a55-055f-4c28-8b35-fca6dd1c1369" providerId="ADAL" clId="{75A88773-6EE1-484E-AADE-FE631E01463B}" dt="2025-11-21T06:04:52.922" v="85649"/>
          <ac:cxnSpMkLst>
            <pc:docMk/>
            <pc:sldMk cId="3686276671" sldId="2147481935"/>
            <ac:cxnSpMk id="48" creationId="{E3F2FA70-5DF5-58AC-9F3B-CC113ED715DA}"/>
          </ac:cxnSpMkLst>
        </pc:cxnChg>
        <pc:cxnChg chg="mod ord">
          <ac:chgData name="Yudi Zhu" userId="571e1a55-055f-4c28-8b35-fca6dd1c1369" providerId="ADAL" clId="{75A88773-6EE1-484E-AADE-FE631E01463B}" dt="2025-11-21T06:04:52.923" v="85651"/>
          <ac:cxnSpMkLst>
            <pc:docMk/>
            <pc:sldMk cId="3686276671" sldId="2147481935"/>
            <ac:cxnSpMk id="49" creationId="{F99CFA1A-CB5F-F34F-EEEA-0C582B01987D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8.544" v="91537"/>
        <pc:sldMkLst>
          <pc:docMk/>
          <pc:sldMk cId="2899142470" sldId="2147483070"/>
        </pc:sldMkLst>
        <pc:spChg chg="mod ord">
          <ac:chgData name="Yudi Zhu" userId="571e1a55-055f-4c28-8b35-fca6dd1c1369" providerId="ADAL" clId="{75A88773-6EE1-484E-AADE-FE631E01463B}" dt="2025-11-21T06:05:01.706" v="88851"/>
          <ac:spMkLst>
            <pc:docMk/>
            <pc:sldMk cId="2899142470" sldId="2147483070"/>
            <ac:spMk id="2" creationId="{F25AEF0F-A188-A557-9F92-FCEC301761CD}"/>
          </ac:spMkLst>
        </pc:spChg>
        <pc:spChg chg="mod">
          <ac:chgData name="Yudi Zhu" userId="571e1a55-055f-4c28-8b35-fca6dd1c1369" providerId="ADAL" clId="{75A88773-6EE1-484E-AADE-FE631E01463B}" dt="2025-11-21T06:05:01.725" v="88873"/>
          <ac:spMkLst>
            <pc:docMk/>
            <pc:sldMk cId="2899142470" sldId="2147483070"/>
            <ac:spMk id="3" creationId="{0DD94722-AD7E-E114-A3B2-DE7CF1823F6C}"/>
          </ac:spMkLst>
        </pc:spChg>
        <pc:spChg chg="mod">
          <ac:chgData name="Yudi Zhu" userId="571e1a55-055f-4c28-8b35-fca6dd1c1369" providerId="ADAL" clId="{75A88773-6EE1-484E-AADE-FE631E01463B}" dt="2025-11-21T06:05:01.744" v="88894"/>
          <ac:spMkLst>
            <pc:docMk/>
            <pc:sldMk cId="2899142470" sldId="2147483070"/>
            <ac:spMk id="4" creationId="{0CAC4A56-E311-E90E-8A29-B3D118A2692E}"/>
          </ac:spMkLst>
        </pc:spChg>
        <pc:spChg chg="mod">
          <ac:chgData name="Yudi Zhu" userId="571e1a55-055f-4c28-8b35-fca6dd1c1369" providerId="ADAL" clId="{75A88773-6EE1-484E-AADE-FE631E01463B}" dt="2025-11-21T06:05:01.728" v="88876"/>
          <ac:spMkLst>
            <pc:docMk/>
            <pc:sldMk cId="2899142470" sldId="2147483070"/>
            <ac:spMk id="5" creationId="{8E3FD90C-EFB1-20AA-091F-952CC2FD0731}"/>
          </ac:spMkLst>
        </pc:spChg>
        <pc:spChg chg="mod">
          <ac:chgData name="Yudi Zhu" userId="571e1a55-055f-4c28-8b35-fca6dd1c1369" providerId="ADAL" clId="{75A88773-6EE1-484E-AADE-FE631E01463B}" dt="2025-11-21T06:05:01.750" v="88900"/>
          <ac:spMkLst>
            <pc:docMk/>
            <pc:sldMk cId="2899142470" sldId="2147483070"/>
            <ac:spMk id="6" creationId="{5C601F02-2A68-F1C2-3008-83BA2D842C0D}"/>
          </ac:spMkLst>
        </pc:spChg>
        <pc:spChg chg="mod">
          <ac:chgData name="Yudi Zhu" userId="571e1a55-055f-4c28-8b35-fca6dd1c1369" providerId="ADAL" clId="{75A88773-6EE1-484E-AADE-FE631E01463B}" dt="2025-11-21T06:05:01.753" v="88903"/>
          <ac:spMkLst>
            <pc:docMk/>
            <pc:sldMk cId="2899142470" sldId="2147483070"/>
            <ac:spMk id="7" creationId="{3F20AAF8-379C-D37E-F24E-0525047BDC63}"/>
          </ac:spMkLst>
        </pc:spChg>
        <pc:spChg chg="mod">
          <ac:chgData name="Yudi Zhu" userId="571e1a55-055f-4c28-8b35-fca6dd1c1369" providerId="ADAL" clId="{75A88773-6EE1-484E-AADE-FE631E01463B}" dt="2025-11-21T06:05:01.757" v="88908"/>
          <ac:spMkLst>
            <pc:docMk/>
            <pc:sldMk cId="2899142470" sldId="2147483070"/>
            <ac:spMk id="10" creationId="{44850864-58DA-7AB8-4291-66CE43897D1A}"/>
          </ac:spMkLst>
        </pc:spChg>
        <pc:spChg chg="mod">
          <ac:chgData name="Yudi Zhu" userId="571e1a55-055f-4c28-8b35-fca6dd1c1369" providerId="ADAL" clId="{75A88773-6EE1-484E-AADE-FE631E01463B}" dt="2025-11-21T06:05:01.733" v="88880"/>
          <ac:spMkLst>
            <pc:docMk/>
            <pc:sldMk cId="2899142470" sldId="2147483070"/>
            <ac:spMk id="12" creationId="{8E9B598D-1A8D-8A28-3F8A-77C2CCD4E69C}"/>
          </ac:spMkLst>
        </pc:spChg>
        <pc:spChg chg="mod">
          <ac:chgData name="Yudi Zhu" userId="571e1a55-055f-4c28-8b35-fca6dd1c1369" providerId="ADAL" clId="{75A88773-6EE1-484E-AADE-FE631E01463B}" dt="2025-11-21T06:05:01.736" v="88883"/>
          <ac:spMkLst>
            <pc:docMk/>
            <pc:sldMk cId="2899142470" sldId="2147483070"/>
            <ac:spMk id="13" creationId="{87BF8D50-56E3-FDD3-C683-3DD323BBC5F2}"/>
          </ac:spMkLst>
        </pc:spChg>
        <pc:spChg chg="mod">
          <ac:chgData name="Yudi Zhu" userId="571e1a55-055f-4c28-8b35-fca6dd1c1369" providerId="ADAL" clId="{75A88773-6EE1-484E-AADE-FE631E01463B}" dt="2025-11-21T06:05:01.755" v="88905"/>
          <ac:spMkLst>
            <pc:docMk/>
            <pc:sldMk cId="2899142470" sldId="2147483070"/>
            <ac:spMk id="14" creationId="{BCD87637-821F-D8CA-909E-4AA2C6FB9C5B}"/>
          </ac:spMkLst>
        </pc:spChg>
        <pc:spChg chg="mod">
          <ac:chgData name="Yudi Zhu" userId="571e1a55-055f-4c28-8b35-fca6dd1c1369" providerId="ADAL" clId="{75A88773-6EE1-484E-AADE-FE631E01463B}" dt="2025-11-21T06:05:01.754" v="88904"/>
          <ac:spMkLst>
            <pc:docMk/>
            <pc:sldMk cId="2899142470" sldId="2147483070"/>
            <ac:spMk id="15" creationId="{A4D7BB68-3C8C-15C5-F184-18CA62D4BD42}"/>
          </ac:spMkLst>
        </pc:spChg>
        <pc:spChg chg="mod">
          <ac:chgData name="Yudi Zhu" userId="571e1a55-055f-4c28-8b35-fca6dd1c1369" providerId="ADAL" clId="{75A88773-6EE1-484E-AADE-FE631E01463B}" dt="2025-11-21T06:05:01.759" v="88909"/>
          <ac:spMkLst>
            <pc:docMk/>
            <pc:sldMk cId="2899142470" sldId="2147483070"/>
            <ac:spMk id="16" creationId="{0B876B99-1AB0-0849-76D2-4265D99FAD93}"/>
          </ac:spMkLst>
        </pc:spChg>
        <pc:spChg chg="mod">
          <ac:chgData name="Yudi Zhu" userId="571e1a55-055f-4c28-8b35-fca6dd1c1369" providerId="ADAL" clId="{75A88773-6EE1-484E-AADE-FE631E01463B}" dt="2025-11-21T06:05:01.727" v="88875"/>
          <ac:spMkLst>
            <pc:docMk/>
            <pc:sldMk cId="2899142470" sldId="2147483070"/>
            <ac:spMk id="17" creationId="{E038E65C-294B-820D-D280-E5926F289D19}"/>
          </ac:spMkLst>
        </pc:spChg>
        <pc:spChg chg="mod">
          <ac:chgData name="Yudi Zhu" userId="571e1a55-055f-4c28-8b35-fca6dd1c1369" providerId="ADAL" clId="{75A88773-6EE1-484E-AADE-FE631E01463B}" dt="2025-11-21T06:05:01.726" v="88874"/>
          <ac:spMkLst>
            <pc:docMk/>
            <pc:sldMk cId="2899142470" sldId="2147483070"/>
            <ac:spMk id="18" creationId="{81121563-BD42-64A3-745F-C8F00D80AFFD}"/>
          </ac:spMkLst>
        </pc:spChg>
        <pc:spChg chg="mod">
          <ac:chgData name="Yudi Zhu" userId="571e1a55-055f-4c28-8b35-fca6dd1c1369" providerId="ADAL" clId="{75A88773-6EE1-484E-AADE-FE631E01463B}" dt="2025-11-21T06:05:01.756" v="88906"/>
          <ac:spMkLst>
            <pc:docMk/>
            <pc:sldMk cId="2899142470" sldId="2147483070"/>
            <ac:spMk id="19" creationId="{F963019A-4848-DBDD-09A9-BE1F3B4BDE01}"/>
          </ac:spMkLst>
        </pc:spChg>
        <pc:spChg chg="mod">
          <ac:chgData name="Yudi Zhu" userId="571e1a55-055f-4c28-8b35-fca6dd1c1369" providerId="ADAL" clId="{75A88773-6EE1-484E-AADE-FE631E01463B}" dt="2025-11-21T06:05:01.751" v="88901"/>
          <ac:spMkLst>
            <pc:docMk/>
            <pc:sldMk cId="2899142470" sldId="2147483070"/>
            <ac:spMk id="20" creationId="{5E006FFB-3945-CFD4-5017-B6E732B419FC}"/>
          </ac:spMkLst>
        </pc:spChg>
        <pc:spChg chg="mod">
          <ac:chgData name="Yudi Zhu" userId="571e1a55-055f-4c28-8b35-fca6dd1c1369" providerId="ADAL" clId="{75A88773-6EE1-484E-AADE-FE631E01463B}" dt="2025-11-21T06:05:01.752" v="88902"/>
          <ac:spMkLst>
            <pc:docMk/>
            <pc:sldMk cId="2899142470" sldId="2147483070"/>
            <ac:spMk id="21" creationId="{E2DDFDC7-05F0-FB01-BB82-25BBEBBDAAC0}"/>
          </ac:spMkLst>
        </pc:spChg>
        <pc:spChg chg="mod">
          <ac:chgData name="Yudi Zhu" userId="571e1a55-055f-4c28-8b35-fca6dd1c1369" providerId="ADAL" clId="{75A88773-6EE1-484E-AADE-FE631E01463B}" dt="2025-11-21T06:05:01.757" v="88907"/>
          <ac:spMkLst>
            <pc:docMk/>
            <pc:sldMk cId="2899142470" sldId="2147483070"/>
            <ac:spMk id="22" creationId="{8BB47AF4-D0DE-C98B-9606-2C5242F951C5}"/>
          </ac:spMkLst>
        </pc:spChg>
        <pc:spChg chg="add del mod modVis">
          <ac:chgData name="Yudi Zhu" userId="571e1a55-055f-4c28-8b35-fca6dd1c1369" providerId="ADAL" clId="{75A88773-6EE1-484E-AADE-FE631E01463B}" dt="2025-11-21T06:02:24.871" v="70197" actId="478"/>
          <ac:spMkLst>
            <pc:docMk/>
            <pc:sldMk cId="2899142470" sldId="2147483070"/>
            <ac:spMk id="23" creationId="{13AA4889-4EFA-F768-1EA2-946204A51C8E}"/>
          </ac:spMkLst>
        </pc:spChg>
        <pc:spChg chg="mod">
          <ac:chgData name="Yudi Zhu" userId="571e1a55-055f-4c28-8b35-fca6dd1c1369" providerId="ADAL" clId="{75A88773-6EE1-484E-AADE-FE631E01463B}" dt="2025-11-21T06:05:01.766" v="88915"/>
          <ac:spMkLst>
            <pc:docMk/>
            <pc:sldMk cId="2899142470" sldId="2147483070"/>
            <ac:spMk id="24" creationId="{22827FC0-9656-B97A-CC7F-6299AB75CFFB}"/>
          </ac:spMkLst>
        </pc:spChg>
        <pc:spChg chg="add del mod modVis">
          <ac:chgData name="Yudi Zhu" userId="571e1a55-055f-4c28-8b35-fca6dd1c1369" providerId="ADAL" clId="{75A88773-6EE1-484E-AADE-FE631E01463B}" dt="2025-11-21T06:05:08.542" v="91535"/>
          <ac:spMkLst>
            <pc:docMk/>
            <pc:sldMk cId="2899142470" sldId="2147483070"/>
            <ac:spMk id="28" creationId="{9A0E70A9-DA7B-9E73-C0B2-2B589C83B324}"/>
          </ac:spMkLst>
        </pc:spChg>
        <pc:spChg chg="mod ord">
          <ac:chgData name="Yudi Zhu" userId="571e1a55-055f-4c28-8b35-fca6dd1c1369" providerId="ADAL" clId="{75A88773-6EE1-484E-AADE-FE631E01463B}" dt="2025-11-21T06:05:01.702" v="88845"/>
          <ac:spMkLst>
            <pc:docMk/>
            <pc:sldMk cId="2899142470" sldId="2147483070"/>
            <ac:spMk id="35" creationId="{55F07485-D2D8-49AA-9911-C6A4DFD0EB00}"/>
          </ac:spMkLst>
        </pc:spChg>
        <pc:spChg chg="mod ord">
          <ac:chgData name="Yudi Zhu" userId="571e1a55-055f-4c28-8b35-fca6dd1c1369" providerId="ADAL" clId="{75A88773-6EE1-484E-AADE-FE631E01463B}" dt="2025-11-21T06:05:01.699" v="88843"/>
          <ac:spMkLst>
            <pc:docMk/>
            <pc:sldMk cId="2899142470" sldId="2147483070"/>
            <ac:spMk id="51" creationId="{529D6169-4D5A-5AE8-7E70-B61C46E90E24}"/>
          </ac:spMkLst>
        </pc:spChg>
        <pc:spChg chg="mod ord">
          <ac:chgData name="Yudi Zhu" userId="571e1a55-055f-4c28-8b35-fca6dd1c1369" providerId="ADAL" clId="{75A88773-6EE1-484E-AADE-FE631E01463B}" dt="2025-11-21T06:05:01.697" v="88841"/>
          <ac:spMkLst>
            <pc:docMk/>
            <pc:sldMk cId="2899142470" sldId="2147483070"/>
            <ac:spMk id="52" creationId="{86DD79CF-CE1D-C9D6-A7EA-2DED078E288D}"/>
          </ac:spMkLst>
        </pc:spChg>
        <pc:spChg chg="mod">
          <ac:chgData name="Yudi Zhu" userId="571e1a55-055f-4c28-8b35-fca6dd1c1369" providerId="ADAL" clId="{75A88773-6EE1-484E-AADE-FE631E01463B}" dt="2025-11-21T06:05:01.729" v="88877"/>
          <ac:spMkLst>
            <pc:docMk/>
            <pc:sldMk cId="2899142470" sldId="2147483070"/>
            <ac:spMk id="64" creationId="{B5F13B52-F4F0-2A19-1E4F-BCEF2A5F9B22}"/>
          </ac:spMkLst>
        </pc:spChg>
        <pc:spChg chg="mod ord">
          <ac:chgData name="Yudi Zhu" userId="571e1a55-055f-4c28-8b35-fca6dd1c1369" providerId="ADAL" clId="{75A88773-6EE1-484E-AADE-FE631E01463B}" dt="2025-11-21T06:05:01.748" v="88899"/>
          <ac:spMkLst>
            <pc:docMk/>
            <pc:sldMk cId="2899142470" sldId="2147483070"/>
            <ac:spMk id="80" creationId="{2E0CBEE1-4736-4D1C-2820-0BE163CA25CA}"/>
          </ac:spMkLst>
        </pc:spChg>
        <pc:spChg chg="mod">
          <ac:chgData name="Yudi Zhu" userId="571e1a55-055f-4c28-8b35-fca6dd1c1369" providerId="ADAL" clId="{75A88773-6EE1-484E-AADE-FE631E01463B}" dt="2025-11-21T06:05:01.760" v="88910"/>
          <ac:spMkLst>
            <pc:docMk/>
            <pc:sldMk cId="2899142470" sldId="2147483070"/>
            <ac:spMk id="89" creationId="{3D1D9D56-4EC8-A22E-D468-50F0970298B5}"/>
          </ac:spMkLst>
        </pc:spChg>
        <pc:spChg chg="mod">
          <ac:chgData name="Yudi Zhu" userId="571e1a55-055f-4c28-8b35-fca6dd1c1369" providerId="ADAL" clId="{75A88773-6EE1-484E-AADE-FE631E01463B}" dt="2025-11-21T06:05:01.747" v="88897"/>
          <ac:spMkLst>
            <pc:docMk/>
            <pc:sldMk cId="2899142470" sldId="2147483070"/>
            <ac:spMk id="92" creationId="{134F5522-800A-525F-4B1B-2B04B0033C3A}"/>
          </ac:spMkLst>
        </pc:spChg>
        <pc:spChg chg="mod ord">
          <ac:chgData name="Yudi Zhu" userId="571e1a55-055f-4c28-8b35-fca6dd1c1369" providerId="ADAL" clId="{75A88773-6EE1-484E-AADE-FE631E01463B}" dt="2025-11-21T06:05:01.731" v="88879"/>
          <ac:spMkLst>
            <pc:docMk/>
            <pc:sldMk cId="2899142470" sldId="2147483070"/>
            <ac:spMk id="96" creationId="{21D065E4-18E5-55EC-CD73-6D9C12A43948}"/>
          </ac:spMkLst>
        </pc:spChg>
        <pc:spChg chg="mod">
          <ac:chgData name="Yudi Zhu" userId="571e1a55-055f-4c28-8b35-fca6dd1c1369" providerId="ADAL" clId="{75A88773-6EE1-484E-AADE-FE631E01463B}" dt="2025-11-21T06:05:01.761" v="88911"/>
          <ac:spMkLst>
            <pc:docMk/>
            <pc:sldMk cId="2899142470" sldId="2147483070"/>
            <ac:spMk id="99" creationId="{1B60522C-4EE1-C6B3-6961-F53AC81F1E44}"/>
          </ac:spMkLst>
        </pc:spChg>
        <pc:spChg chg="mod">
          <ac:chgData name="Yudi Zhu" userId="571e1a55-055f-4c28-8b35-fca6dd1c1369" providerId="ADAL" clId="{75A88773-6EE1-484E-AADE-FE631E01463B}" dt="2025-11-21T06:05:01.739" v="88887"/>
          <ac:spMkLst>
            <pc:docMk/>
            <pc:sldMk cId="2899142470" sldId="2147483070"/>
            <ac:spMk id="109" creationId="{28CA2BC2-B5BF-82AC-754C-39E25165DB22}"/>
          </ac:spMkLst>
        </pc:spChg>
        <pc:spChg chg="mod">
          <ac:chgData name="Yudi Zhu" userId="571e1a55-055f-4c28-8b35-fca6dd1c1369" providerId="ADAL" clId="{75A88773-6EE1-484E-AADE-FE631E01463B}" dt="2025-11-21T06:05:01.742" v="88892"/>
          <ac:spMkLst>
            <pc:docMk/>
            <pc:sldMk cId="2899142470" sldId="2147483070"/>
            <ac:spMk id="110" creationId="{6C90454B-E668-FC76-4B98-9A61B6B1659C}"/>
          </ac:spMkLst>
        </pc:spChg>
        <pc:spChg chg="mod">
          <ac:chgData name="Yudi Zhu" userId="571e1a55-055f-4c28-8b35-fca6dd1c1369" providerId="ADAL" clId="{75A88773-6EE1-484E-AADE-FE631E01463B}" dt="2025-11-21T06:05:01.743" v="88893"/>
          <ac:spMkLst>
            <pc:docMk/>
            <pc:sldMk cId="2899142470" sldId="2147483070"/>
            <ac:spMk id="111" creationId="{522D9FBB-BB58-316D-8D19-214726CB035F}"/>
          </ac:spMkLst>
        </pc:spChg>
        <pc:spChg chg="mod ord">
          <ac:chgData name="Yudi Zhu" userId="571e1a55-055f-4c28-8b35-fca6dd1c1369" providerId="ADAL" clId="{75A88773-6EE1-484E-AADE-FE631E01463B}" dt="2025-11-21T06:05:01.740" v="88889"/>
          <ac:spMkLst>
            <pc:docMk/>
            <pc:sldMk cId="2899142470" sldId="2147483070"/>
            <ac:spMk id="112" creationId="{24A1FFE6-8D96-4E15-B7C9-E9A3BFDDDD52}"/>
          </ac:spMkLst>
        </pc:spChg>
        <pc:spChg chg="mod ord">
          <ac:chgData name="Yudi Zhu" userId="571e1a55-055f-4c28-8b35-fca6dd1c1369" providerId="ADAL" clId="{75A88773-6EE1-484E-AADE-FE631E01463B}" dt="2025-11-21T06:05:01.735" v="88882"/>
          <ac:spMkLst>
            <pc:docMk/>
            <pc:sldMk cId="2899142470" sldId="2147483070"/>
            <ac:spMk id="113" creationId="{F4C3979E-DC1D-C357-5278-9D5FF15DF2FF}"/>
          </ac:spMkLst>
        </pc:spChg>
        <pc:spChg chg="mod">
          <ac:chgData name="Yudi Zhu" userId="571e1a55-055f-4c28-8b35-fca6dd1c1369" providerId="ADAL" clId="{75A88773-6EE1-484E-AADE-FE631E01463B}" dt="2025-11-21T06:05:01.762" v="88912"/>
          <ac:spMkLst>
            <pc:docMk/>
            <pc:sldMk cId="2899142470" sldId="2147483070"/>
            <ac:spMk id="114" creationId="{F04DAA5B-105D-2D81-B966-008575863DA2}"/>
          </ac:spMkLst>
        </pc:spChg>
        <pc:spChg chg="mod ord">
          <ac:chgData name="Yudi Zhu" userId="571e1a55-055f-4c28-8b35-fca6dd1c1369" providerId="ADAL" clId="{75A88773-6EE1-484E-AADE-FE631E01463B}" dt="2025-11-21T06:05:01.738" v="88886"/>
          <ac:spMkLst>
            <pc:docMk/>
            <pc:sldMk cId="2899142470" sldId="2147483070"/>
            <ac:spMk id="115" creationId="{A39353FD-130E-4BD2-D00F-C2D920172FCC}"/>
          </ac:spMkLst>
        </pc:spChg>
        <pc:spChg chg="mod">
          <ac:chgData name="Yudi Zhu" userId="571e1a55-055f-4c28-8b35-fca6dd1c1369" providerId="ADAL" clId="{75A88773-6EE1-484E-AADE-FE631E01463B}" dt="2025-11-21T06:05:01.737" v="88884"/>
          <ac:spMkLst>
            <pc:docMk/>
            <pc:sldMk cId="2899142470" sldId="2147483070"/>
            <ac:spMk id="116" creationId="{6829D84E-CDED-641B-CC0E-E66F0E760088}"/>
          </ac:spMkLst>
        </pc:spChg>
        <pc:spChg chg="mod">
          <ac:chgData name="Yudi Zhu" userId="571e1a55-055f-4c28-8b35-fca6dd1c1369" providerId="ADAL" clId="{75A88773-6EE1-484E-AADE-FE631E01463B}" dt="2025-11-21T06:05:01.763" v="88913"/>
          <ac:spMkLst>
            <pc:docMk/>
            <pc:sldMk cId="2899142470" sldId="2147483070"/>
            <ac:spMk id="117" creationId="{6E01674C-187D-802D-33E0-DBA25D3A74B1}"/>
          </ac:spMkLst>
        </pc:spChg>
        <pc:spChg chg="mod ord">
          <ac:chgData name="Yudi Zhu" userId="571e1a55-055f-4c28-8b35-fca6dd1c1369" providerId="ADAL" clId="{75A88773-6EE1-484E-AADE-FE631E01463B}" dt="2025-11-21T06:05:01.741" v="88891"/>
          <ac:spMkLst>
            <pc:docMk/>
            <pc:sldMk cId="2899142470" sldId="2147483070"/>
            <ac:spMk id="118" creationId="{52B366F1-B509-A1EB-B02B-6769F6A27CD4}"/>
          </ac:spMkLst>
        </pc:spChg>
        <pc:spChg chg="mod ord">
          <ac:chgData name="Yudi Zhu" userId="571e1a55-055f-4c28-8b35-fca6dd1c1369" providerId="ADAL" clId="{75A88773-6EE1-484E-AADE-FE631E01463B}" dt="2025-11-21T06:05:01.746" v="88896"/>
          <ac:spMkLst>
            <pc:docMk/>
            <pc:sldMk cId="2899142470" sldId="2147483070"/>
            <ac:spMk id="119" creationId="{039F5F12-257E-7850-16FB-5A2198BFBA0C}"/>
          </ac:spMkLst>
        </pc:spChg>
        <pc:spChg chg="mod">
          <ac:chgData name="Yudi Zhu" userId="571e1a55-055f-4c28-8b35-fca6dd1c1369" providerId="ADAL" clId="{75A88773-6EE1-484E-AADE-FE631E01463B}" dt="2025-11-21T06:05:01.764" v="88914"/>
          <ac:spMkLst>
            <pc:docMk/>
            <pc:sldMk cId="2899142470" sldId="2147483070"/>
            <ac:spMk id="121" creationId="{10493DA9-A7C0-7A79-B80C-06510CD31FBC}"/>
          </ac:spMkLst>
        </pc:spChg>
        <pc:spChg chg="mod ord">
          <ac:chgData name="Yudi Zhu" userId="571e1a55-055f-4c28-8b35-fca6dd1c1369" providerId="ADAL" clId="{75A88773-6EE1-484E-AADE-FE631E01463B}" dt="2025-11-21T06:05:01.722" v="88871"/>
          <ac:spMkLst>
            <pc:docMk/>
            <pc:sldMk cId="2899142470" sldId="2147483070"/>
            <ac:spMk id="122" creationId="{03E99C6E-7AEF-4D74-9DDC-282257EF8E8D}"/>
          </ac:spMkLst>
        </pc:spChg>
        <pc:spChg chg="mod">
          <ac:chgData name="Yudi Zhu" userId="571e1a55-055f-4c28-8b35-fca6dd1c1369" providerId="ADAL" clId="{75A88773-6EE1-484E-AADE-FE631E01463B}" dt="2025-11-21T06:05:01.772" v="88923"/>
          <ac:spMkLst>
            <pc:docMk/>
            <pc:sldMk cId="2899142470" sldId="2147483070"/>
            <ac:spMk id="170" creationId="{BA009F32-E119-5715-5F25-15AC64D221FD}"/>
          </ac:spMkLst>
        </pc:spChg>
        <pc:spChg chg="mod">
          <ac:chgData name="Yudi Zhu" userId="571e1a55-055f-4c28-8b35-fca6dd1c1369" providerId="ADAL" clId="{75A88773-6EE1-484E-AADE-FE631E01463B}" dt="2025-11-21T06:05:01.773" v="88924"/>
          <ac:spMkLst>
            <pc:docMk/>
            <pc:sldMk cId="2899142470" sldId="2147483070"/>
            <ac:spMk id="171" creationId="{94F72F5D-1932-C98A-1615-F0B7F407AAE7}"/>
          </ac:spMkLst>
        </pc:spChg>
        <pc:spChg chg="mod">
          <ac:chgData name="Yudi Zhu" userId="571e1a55-055f-4c28-8b35-fca6dd1c1369" providerId="ADAL" clId="{75A88773-6EE1-484E-AADE-FE631E01463B}" dt="2025-11-21T06:05:01.774" v="88925"/>
          <ac:spMkLst>
            <pc:docMk/>
            <pc:sldMk cId="2899142470" sldId="2147483070"/>
            <ac:spMk id="172" creationId="{B9CBB5DB-A91F-5CCD-6746-3BA52FA70582}"/>
          </ac:spMkLst>
        </pc:spChg>
        <pc:spChg chg="mod">
          <ac:chgData name="Yudi Zhu" userId="571e1a55-055f-4c28-8b35-fca6dd1c1369" providerId="ADAL" clId="{75A88773-6EE1-484E-AADE-FE631E01463B}" dt="2025-11-21T06:05:01.774" v="88926"/>
          <ac:spMkLst>
            <pc:docMk/>
            <pc:sldMk cId="2899142470" sldId="2147483070"/>
            <ac:spMk id="173" creationId="{03CFB7AB-735E-CE8E-8894-842403C37730}"/>
          </ac:spMkLst>
        </pc:spChg>
        <pc:spChg chg="mod ord">
          <ac:chgData name="Yudi Zhu" userId="571e1a55-055f-4c28-8b35-fca6dd1c1369" providerId="ADAL" clId="{75A88773-6EE1-484E-AADE-FE631E01463B}" dt="2025-11-21T06:05:01.767" v="88917"/>
          <ac:spMkLst>
            <pc:docMk/>
            <pc:sldMk cId="2899142470" sldId="2147483070"/>
            <ac:spMk id="176" creationId="{835E8DBD-1374-796E-629B-0D430EEB2AF5}"/>
          </ac:spMkLst>
        </pc:spChg>
        <pc:spChg chg="mod">
          <ac:chgData name="Yudi Zhu" userId="571e1a55-055f-4c28-8b35-fca6dd1c1369" providerId="ADAL" clId="{75A88773-6EE1-484E-AADE-FE631E01463B}" dt="2025-11-21T06:05:01.768" v="88918"/>
          <ac:spMkLst>
            <pc:docMk/>
            <pc:sldMk cId="2899142470" sldId="2147483070"/>
            <ac:spMk id="177" creationId="{D0A01F52-8E9F-23A3-8EE6-64DEF879542C}"/>
          </ac:spMkLst>
        </pc:spChg>
        <pc:spChg chg="mod ord">
          <ac:chgData name="Yudi Zhu" userId="571e1a55-055f-4c28-8b35-fca6dd1c1369" providerId="ADAL" clId="{75A88773-6EE1-484E-AADE-FE631E01463B}" dt="2025-11-21T06:05:01.770" v="88920"/>
          <ac:spMkLst>
            <pc:docMk/>
            <pc:sldMk cId="2899142470" sldId="2147483070"/>
            <ac:spMk id="178" creationId="{C6F98829-DF4B-60A0-A708-F248DBBAEF80}"/>
          </ac:spMkLst>
        </pc:spChg>
        <pc:spChg chg="mod ord">
          <ac:chgData name="Yudi Zhu" userId="571e1a55-055f-4c28-8b35-fca6dd1c1369" providerId="ADAL" clId="{75A88773-6EE1-484E-AADE-FE631E01463B}" dt="2025-11-21T06:05:01.771" v="88922"/>
          <ac:spMkLst>
            <pc:docMk/>
            <pc:sldMk cId="2899142470" sldId="2147483070"/>
            <ac:spMk id="179" creationId="{3D6149BD-E7A4-D497-728B-2EE891EAC5B5}"/>
          </ac:spMkLst>
        </pc:spChg>
        <pc:spChg chg="mod ord">
          <ac:chgData name="Yudi Zhu" userId="571e1a55-055f-4c28-8b35-fca6dd1c1369" providerId="ADAL" clId="{75A88773-6EE1-484E-AADE-FE631E01463B}" dt="2025-11-21T06:05:01.778" v="88930"/>
          <ac:spMkLst>
            <pc:docMk/>
            <pc:sldMk cId="2899142470" sldId="2147483070"/>
            <ac:spMk id="204" creationId="{E5227704-8CEA-435B-BE82-B61FF2B57A38}"/>
          </ac:spMkLst>
        </pc:spChg>
        <pc:spChg chg="mod ord">
          <ac:chgData name="Yudi Zhu" userId="571e1a55-055f-4c28-8b35-fca6dd1c1369" providerId="ADAL" clId="{75A88773-6EE1-484E-AADE-FE631E01463B}" dt="2025-11-21T06:05:01.705" v="88849"/>
          <ac:spMkLst>
            <pc:docMk/>
            <pc:sldMk cId="2899142470" sldId="2147483070"/>
            <ac:spMk id="206" creationId="{965C08AB-35C9-9D09-F887-06754399F298}"/>
          </ac:spMkLst>
        </pc:spChg>
        <pc:spChg chg="mod ord">
          <ac:chgData name="Yudi Zhu" userId="571e1a55-055f-4c28-8b35-fca6dd1c1369" providerId="ADAL" clId="{75A88773-6EE1-484E-AADE-FE631E01463B}" dt="2025-11-21T06:05:01.703" v="88847"/>
          <ac:spMkLst>
            <pc:docMk/>
            <pc:sldMk cId="2899142470" sldId="2147483070"/>
            <ac:spMk id="259" creationId="{0E43A164-0C61-6CC6-7BE5-B2B0652DACA3}"/>
          </ac:spMkLst>
        </pc:spChg>
        <pc:graphicFrameChg chg="mod">
          <ac:chgData name="Yudi Zhu" userId="571e1a55-055f-4c28-8b35-fca6dd1c1369" providerId="ADAL" clId="{75A88773-6EE1-484E-AADE-FE631E01463B}" dt="2025-11-21T06:05:08.544" v="91537"/>
          <ac:graphicFrameMkLst>
            <pc:docMk/>
            <pc:sldMk cId="2899142470" sldId="2147483070"/>
            <ac:graphicFrameMk id="11" creationId="{8E81C663-9DB5-FBD4-6B79-7CD9480F8838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1.660" v="88834"/>
          <ac:graphicFrameMkLst>
            <pc:docMk/>
            <pc:sldMk cId="2899142470" sldId="2147483070"/>
            <ac:graphicFrameMk id="27" creationId="{A52FB03F-B325-60D4-5F4B-6980430BA0F3}"/>
          </ac:graphicFrameMkLst>
        </pc:graphicFrameChg>
        <pc:graphicFrameChg chg="add mod">
          <ac:chgData name="Yudi Zhu" userId="571e1a55-055f-4c28-8b35-fca6dd1c1369" providerId="ADAL" clId="{75A88773-6EE1-484E-AADE-FE631E01463B}" dt="2025-11-21T06:05:01.723" v="88872"/>
          <ac:graphicFrameMkLst>
            <pc:docMk/>
            <pc:sldMk cId="2899142470" sldId="2147483070"/>
            <ac:graphicFrameMk id="29" creationId="{15781758-BC10-CD74-C450-C237D1073456}"/>
          </ac:graphicFrameMkLst>
        </pc:graphicFrameChg>
        <pc:graphicFrameChg chg="del">
          <ac:chgData name="Yudi Zhu" userId="571e1a55-055f-4c28-8b35-fca6dd1c1369" providerId="ADAL" clId="{75A88773-6EE1-484E-AADE-FE631E01463B}" dt="2025-11-21T06:02:20.825" v="67899" actId="478"/>
          <ac:graphicFrameMkLst>
            <pc:docMk/>
            <pc:sldMk cId="2899142470" sldId="2147483070"/>
            <ac:graphicFrameMk id="61" creationId="{11FC952D-283A-7B65-A0A2-E286FD5D6CFF}"/>
          </ac:graphicFrameMkLst>
        </pc:graphicFrameChg>
        <pc:graphicFrameChg chg="mod ord">
          <ac:chgData name="Yudi Zhu" userId="571e1a55-055f-4c28-8b35-fca6dd1c1369" providerId="ADAL" clId="{75A88773-6EE1-484E-AADE-FE631E01463B}" dt="2025-11-21T06:05:01.776" v="88928"/>
          <ac:graphicFrameMkLst>
            <pc:docMk/>
            <pc:sldMk cId="2899142470" sldId="2147483070"/>
            <ac:graphicFrameMk id="198" creationId="{F7A98337-A579-E109-A2D9-D492192C8C30}"/>
          </ac:graphicFrameMkLst>
        </pc:graphicFrameChg>
        <pc:cxnChg chg="mod ord">
          <ac:chgData name="Yudi Zhu" userId="571e1a55-055f-4c28-8b35-fca6dd1c1369" providerId="ADAL" clId="{75A88773-6EE1-484E-AADE-FE631E01463B}" dt="2025-11-21T06:05:01.708" v="88855"/>
          <ac:cxnSpMkLst>
            <pc:docMk/>
            <pc:sldMk cId="2899142470" sldId="2147483070"/>
            <ac:cxnSpMk id="8" creationId="{25EB9732-E67B-C248-6AD8-D00470CCB046}"/>
          </ac:cxnSpMkLst>
        </pc:cxnChg>
        <pc:cxnChg chg="mod ord">
          <ac:chgData name="Yudi Zhu" userId="571e1a55-055f-4c28-8b35-fca6dd1c1369" providerId="ADAL" clId="{75A88773-6EE1-484E-AADE-FE631E01463B}" dt="2025-11-21T06:05:01.707" v="88853"/>
          <ac:cxnSpMkLst>
            <pc:docMk/>
            <pc:sldMk cId="2899142470" sldId="2147483070"/>
            <ac:cxnSpMk id="9" creationId="{4534B96B-2614-E7A9-C620-EF11D883364C}"/>
          </ac:cxnSpMkLst>
        </pc:cxnChg>
        <pc:cxnChg chg="mod ord">
          <ac:chgData name="Yudi Zhu" userId="571e1a55-055f-4c28-8b35-fca6dd1c1369" providerId="ADAL" clId="{75A88773-6EE1-484E-AADE-FE631E01463B}" dt="2025-11-21T06:05:01.710" v="88857"/>
          <ac:cxnSpMkLst>
            <pc:docMk/>
            <pc:sldMk cId="2899142470" sldId="2147483070"/>
            <ac:cxnSpMk id="25" creationId="{F86E53D6-2D3D-0252-C947-8E8E7CC1703D}"/>
          </ac:cxnSpMkLst>
        </pc:cxnChg>
        <pc:cxnChg chg="mod ord">
          <ac:chgData name="Yudi Zhu" userId="571e1a55-055f-4c28-8b35-fca6dd1c1369" providerId="ADAL" clId="{75A88773-6EE1-484E-AADE-FE631E01463B}" dt="2025-11-21T06:05:01.711" v="88859"/>
          <ac:cxnSpMkLst>
            <pc:docMk/>
            <pc:sldMk cId="2899142470" sldId="2147483070"/>
            <ac:cxnSpMk id="26" creationId="{40171344-2F18-5419-BB3E-AFE0C7DE17B1}"/>
          </ac:cxnSpMkLst>
        </pc:cxnChg>
        <pc:cxnChg chg="mod ord">
          <ac:chgData name="Yudi Zhu" userId="571e1a55-055f-4c28-8b35-fca6dd1c1369" providerId="ADAL" clId="{75A88773-6EE1-484E-AADE-FE631E01463B}" dt="2025-11-21T06:05:01.715" v="88863"/>
          <ac:cxnSpMkLst>
            <pc:docMk/>
            <pc:sldMk cId="2899142470" sldId="2147483070"/>
            <ac:cxnSpMk id="48" creationId="{7C84072E-7101-5ADA-AA75-2DCFE4F24ABC}"/>
          </ac:cxnSpMkLst>
        </pc:cxnChg>
        <pc:cxnChg chg="mod ord">
          <ac:chgData name="Yudi Zhu" userId="571e1a55-055f-4c28-8b35-fca6dd1c1369" providerId="ADAL" clId="{75A88773-6EE1-484E-AADE-FE631E01463B}" dt="2025-11-21T06:05:01.712" v="88861"/>
          <ac:cxnSpMkLst>
            <pc:docMk/>
            <pc:sldMk cId="2899142470" sldId="2147483070"/>
            <ac:cxnSpMk id="81" creationId="{E0D3C553-FAAA-0C49-9E66-A8564F1F2714}"/>
          </ac:cxnSpMkLst>
        </pc:cxnChg>
        <pc:cxnChg chg="mod ord">
          <ac:chgData name="Yudi Zhu" userId="571e1a55-055f-4c28-8b35-fca6dd1c1369" providerId="ADAL" clId="{75A88773-6EE1-484E-AADE-FE631E01463B}" dt="2025-11-21T06:05:01.718" v="88865"/>
          <ac:cxnSpMkLst>
            <pc:docMk/>
            <pc:sldMk cId="2899142470" sldId="2147483070"/>
            <ac:cxnSpMk id="123" creationId="{4E84099C-3E02-95BA-27AA-5178282C4813}"/>
          </ac:cxnSpMkLst>
        </pc:cxnChg>
        <pc:cxnChg chg="mod ord">
          <ac:chgData name="Yudi Zhu" userId="571e1a55-055f-4c28-8b35-fca6dd1c1369" providerId="ADAL" clId="{75A88773-6EE1-484E-AADE-FE631E01463B}" dt="2025-11-21T06:05:01.719" v="88867"/>
          <ac:cxnSpMkLst>
            <pc:docMk/>
            <pc:sldMk cId="2899142470" sldId="2147483070"/>
            <ac:cxnSpMk id="124" creationId="{E05252FB-02CB-9693-9BCB-8CBF95CA6E93}"/>
          </ac:cxnSpMkLst>
        </pc:cxnChg>
        <pc:cxnChg chg="mod ord">
          <ac:chgData name="Yudi Zhu" userId="571e1a55-055f-4c28-8b35-fca6dd1c1369" providerId="ADAL" clId="{75A88773-6EE1-484E-AADE-FE631E01463B}" dt="2025-11-21T06:05:01.721" v="88869"/>
          <ac:cxnSpMkLst>
            <pc:docMk/>
            <pc:sldMk cId="2899142470" sldId="2147483070"/>
            <ac:cxnSpMk id="125" creationId="{47CA4F17-2C06-D4E5-8E7A-5108161F01BE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8.619" v="91557"/>
        <pc:sldMkLst>
          <pc:docMk/>
          <pc:sldMk cId="2420030622" sldId="2147483071"/>
        </pc:sldMkLst>
        <pc:spChg chg="mod ord">
          <ac:chgData name="Yudi Zhu" userId="571e1a55-055f-4c28-8b35-fca6dd1c1369" providerId="ADAL" clId="{75A88773-6EE1-484E-AADE-FE631E01463B}" dt="2025-11-21T06:05:06.949" v="90897"/>
          <ac:spMkLst>
            <pc:docMk/>
            <pc:sldMk cId="2420030622" sldId="2147483071"/>
            <ac:spMk id="2" creationId="{FC3A8BB8-3EBD-0585-6768-E5075687A67E}"/>
          </ac:spMkLst>
        </pc:spChg>
        <pc:spChg chg="mod">
          <ac:chgData name="Yudi Zhu" userId="571e1a55-055f-4c28-8b35-fca6dd1c1369" providerId="ADAL" clId="{75A88773-6EE1-484E-AADE-FE631E01463B}" dt="2025-11-21T06:05:06.966" v="90917"/>
          <ac:spMkLst>
            <pc:docMk/>
            <pc:sldMk cId="2420030622" sldId="2147483071"/>
            <ac:spMk id="3" creationId="{5CF0807B-9091-66F8-32F5-065ABC89D514}"/>
          </ac:spMkLst>
        </pc:spChg>
        <pc:spChg chg="mod">
          <ac:chgData name="Yudi Zhu" userId="571e1a55-055f-4c28-8b35-fca6dd1c1369" providerId="ADAL" clId="{75A88773-6EE1-484E-AADE-FE631E01463B}" dt="2025-11-21T06:05:06.988" v="90938"/>
          <ac:spMkLst>
            <pc:docMk/>
            <pc:sldMk cId="2420030622" sldId="2147483071"/>
            <ac:spMk id="4" creationId="{38472373-41AB-ACDD-3005-A4A588501F00}"/>
          </ac:spMkLst>
        </pc:spChg>
        <pc:spChg chg="mod">
          <ac:chgData name="Yudi Zhu" userId="571e1a55-055f-4c28-8b35-fca6dd1c1369" providerId="ADAL" clId="{75A88773-6EE1-484E-AADE-FE631E01463B}" dt="2025-11-21T06:05:06.971" v="90920"/>
          <ac:spMkLst>
            <pc:docMk/>
            <pc:sldMk cId="2420030622" sldId="2147483071"/>
            <ac:spMk id="5" creationId="{D2615113-734F-F8FD-FA80-B4034067B527}"/>
          </ac:spMkLst>
        </pc:spChg>
        <pc:spChg chg="mod">
          <ac:chgData name="Yudi Zhu" userId="571e1a55-055f-4c28-8b35-fca6dd1c1369" providerId="ADAL" clId="{75A88773-6EE1-484E-AADE-FE631E01463B}" dt="2025-11-21T06:05:06.992" v="90943"/>
          <ac:spMkLst>
            <pc:docMk/>
            <pc:sldMk cId="2420030622" sldId="2147483071"/>
            <ac:spMk id="6" creationId="{EAB8D05B-7C71-C1A0-58D6-CBC366CFFE92}"/>
          </ac:spMkLst>
        </pc:spChg>
        <pc:spChg chg="mod">
          <ac:chgData name="Yudi Zhu" userId="571e1a55-055f-4c28-8b35-fca6dd1c1369" providerId="ADAL" clId="{75A88773-6EE1-484E-AADE-FE631E01463B}" dt="2025-11-21T06:05:06.996" v="90946"/>
          <ac:spMkLst>
            <pc:docMk/>
            <pc:sldMk cId="2420030622" sldId="2147483071"/>
            <ac:spMk id="7" creationId="{C6A472B1-8880-B241-1F86-CC6849EA151E}"/>
          </ac:spMkLst>
        </pc:spChg>
        <pc:spChg chg="mod">
          <ac:chgData name="Yudi Zhu" userId="571e1a55-055f-4c28-8b35-fca6dd1c1369" providerId="ADAL" clId="{75A88773-6EE1-484E-AADE-FE631E01463B}" dt="2025-11-21T06:05:07.005" v="90951"/>
          <ac:spMkLst>
            <pc:docMk/>
            <pc:sldMk cId="2420030622" sldId="2147483071"/>
            <ac:spMk id="10" creationId="{81B74854-CBD6-498A-798B-2EA340655780}"/>
          </ac:spMkLst>
        </pc:spChg>
        <pc:spChg chg="mod">
          <ac:chgData name="Yudi Zhu" userId="571e1a55-055f-4c28-8b35-fca6dd1c1369" providerId="ADAL" clId="{75A88773-6EE1-484E-AADE-FE631E01463B}" dt="2025-11-21T06:05:06.975" v="90924"/>
          <ac:spMkLst>
            <pc:docMk/>
            <pc:sldMk cId="2420030622" sldId="2147483071"/>
            <ac:spMk id="12" creationId="{41A28105-11C5-BDCA-DF59-0D1F243A168A}"/>
          </ac:spMkLst>
        </pc:spChg>
        <pc:spChg chg="mod">
          <ac:chgData name="Yudi Zhu" userId="571e1a55-055f-4c28-8b35-fca6dd1c1369" providerId="ADAL" clId="{75A88773-6EE1-484E-AADE-FE631E01463B}" dt="2025-11-21T06:05:06.985" v="90935"/>
          <ac:spMkLst>
            <pc:docMk/>
            <pc:sldMk cId="2420030622" sldId="2147483071"/>
            <ac:spMk id="13" creationId="{1CA4E950-CB0D-66DE-37AD-71A95B14872E}"/>
          </ac:spMkLst>
        </pc:spChg>
        <pc:spChg chg="mod">
          <ac:chgData name="Yudi Zhu" userId="571e1a55-055f-4c28-8b35-fca6dd1c1369" providerId="ADAL" clId="{75A88773-6EE1-484E-AADE-FE631E01463B}" dt="2025-11-21T06:05:07.001" v="90948"/>
          <ac:spMkLst>
            <pc:docMk/>
            <pc:sldMk cId="2420030622" sldId="2147483071"/>
            <ac:spMk id="14" creationId="{312E9F23-3845-BF84-D9D1-5F5B28620283}"/>
          </ac:spMkLst>
        </pc:spChg>
        <pc:spChg chg="mod">
          <ac:chgData name="Yudi Zhu" userId="571e1a55-055f-4c28-8b35-fca6dd1c1369" providerId="ADAL" clId="{75A88773-6EE1-484E-AADE-FE631E01463B}" dt="2025-11-21T06:05:06.999" v="90947"/>
          <ac:spMkLst>
            <pc:docMk/>
            <pc:sldMk cId="2420030622" sldId="2147483071"/>
            <ac:spMk id="15" creationId="{AD9C284B-AE82-C292-6FB1-443A2F6AE516}"/>
          </ac:spMkLst>
        </pc:spChg>
        <pc:spChg chg="mod">
          <ac:chgData name="Yudi Zhu" userId="571e1a55-055f-4c28-8b35-fca6dd1c1369" providerId="ADAL" clId="{75A88773-6EE1-484E-AADE-FE631E01463B}" dt="2025-11-21T06:05:07.006" v="90952"/>
          <ac:spMkLst>
            <pc:docMk/>
            <pc:sldMk cId="2420030622" sldId="2147483071"/>
            <ac:spMk id="16" creationId="{F10352A0-C9D6-903C-D01D-86D55B93CDD9}"/>
          </ac:spMkLst>
        </pc:spChg>
        <pc:spChg chg="mod">
          <ac:chgData name="Yudi Zhu" userId="571e1a55-055f-4c28-8b35-fca6dd1c1369" providerId="ADAL" clId="{75A88773-6EE1-484E-AADE-FE631E01463B}" dt="2025-11-21T06:05:06.970" v="90919"/>
          <ac:spMkLst>
            <pc:docMk/>
            <pc:sldMk cId="2420030622" sldId="2147483071"/>
            <ac:spMk id="17" creationId="{C26E350A-E873-F703-8F30-47270B6D0247}"/>
          </ac:spMkLst>
        </pc:spChg>
        <pc:spChg chg="mod">
          <ac:chgData name="Yudi Zhu" userId="571e1a55-055f-4c28-8b35-fca6dd1c1369" providerId="ADAL" clId="{75A88773-6EE1-484E-AADE-FE631E01463B}" dt="2025-11-21T06:05:06.968" v="90918"/>
          <ac:spMkLst>
            <pc:docMk/>
            <pc:sldMk cId="2420030622" sldId="2147483071"/>
            <ac:spMk id="18" creationId="{66578DE9-6ED3-6F5A-F7BA-717947BED489}"/>
          </ac:spMkLst>
        </pc:spChg>
        <pc:spChg chg="mod">
          <ac:chgData name="Yudi Zhu" userId="571e1a55-055f-4c28-8b35-fca6dd1c1369" providerId="ADAL" clId="{75A88773-6EE1-484E-AADE-FE631E01463B}" dt="2025-11-21T06:05:07.002" v="90949"/>
          <ac:spMkLst>
            <pc:docMk/>
            <pc:sldMk cId="2420030622" sldId="2147483071"/>
            <ac:spMk id="19" creationId="{7BF066A0-86C0-2A15-9352-78D98AE0C67A}"/>
          </ac:spMkLst>
        </pc:spChg>
        <pc:spChg chg="mod">
          <ac:chgData name="Yudi Zhu" userId="571e1a55-055f-4c28-8b35-fca6dd1c1369" providerId="ADAL" clId="{75A88773-6EE1-484E-AADE-FE631E01463B}" dt="2025-11-21T06:05:06.993" v="90944"/>
          <ac:spMkLst>
            <pc:docMk/>
            <pc:sldMk cId="2420030622" sldId="2147483071"/>
            <ac:spMk id="20" creationId="{528C83AC-D46C-8C49-0101-250C654E6412}"/>
          </ac:spMkLst>
        </pc:spChg>
        <pc:spChg chg="mod">
          <ac:chgData name="Yudi Zhu" userId="571e1a55-055f-4c28-8b35-fca6dd1c1369" providerId="ADAL" clId="{75A88773-6EE1-484E-AADE-FE631E01463B}" dt="2025-11-21T06:05:06.994" v="90945"/>
          <ac:spMkLst>
            <pc:docMk/>
            <pc:sldMk cId="2420030622" sldId="2147483071"/>
            <ac:spMk id="21" creationId="{32D6A438-4B51-A653-36CB-D8D43A62C724}"/>
          </ac:spMkLst>
        </pc:spChg>
        <pc:spChg chg="mod">
          <ac:chgData name="Yudi Zhu" userId="571e1a55-055f-4c28-8b35-fca6dd1c1369" providerId="ADAL" clId="{75A88773-6EE1-484E-AADE-FE631E01463B}" dt="2025-11-21T06:05:07.003" v="90950"/>
          <ac:spMkLst>
            <pc:docMk/>
            <pc:sldMk cId="2420030622" sldId="2147483071"/>
            <ac:spMk id="22" creationId="{542045D9-BBA8-17DC-F090-237679670CB0}"/>
          </ac:spMkLst>
        </pc:spChg>
        <pc:spChg chg="add del mod modVis">
          <ac:chgData name="Yudi Zhu" userId="571e1a55-055f-4c28-8b35-fca6dd1c1369" providerId="ADAL" clId="{75A88773-6EE1-484E-AADE-FE631E01463B}" dt="2025-11-21T06:02:24.927" v="70207" actId="478"/>
          <ac:spMkLst>
            <pc:docMk/>
            <pc:sldMk cId="2420030622" sldId="2147483071"/>
            <ac:spMk id="23" creationId="{0FAEE258-CD46-DD8C-F0E6-DB1803F17A44}"/>
          </ac:spMkLst>
        </pc:spChg>
        <pc:spChg chg="mod">
          <ac:chgData name="Yudi Zhu" userId="571e1a55-055f-4c28-8b35-fca6dd1c1369" providerId="ADAL" clId="{75A88773-6EE1-484E-AADE-FE631E01463B}" dt="2025-11-21T06:05:07.011" v="90958"/>
          <ac:spMkLst>
            <pc:docMk/>
            <pc:sldMk cId="2420030622" sldId="2147483071"/>
            <ac:spMk id="24" creationId="{E0E4929B-228D-0A59-668C-DBFE77BB2C9E}"/>
          </ac:spMkLst>
        </pc:spChg>
        <pc:spChg chg="add del mod modVis">
          <ac:chgData name="Yudi Zhu" userId="571e1a55-055f-4c28-8b35-fca6dd1c1369" providerId="ADAL" clId="{75A88773-6EE1-484E-AADE-FE631E01463B}" dt="2025-11-21T06:05:08.616" v="91555"/>
          <ac:spMkLst>
            <pc:docMk/>
            <pc:sldMk cId="2420030622" sldId="2147483071"/>
            <ac:spMk id="28" creationId="{5A95FF50-F9DA-3DA0-5F94-F6C432520A1A}"/>
          </ac:spMkLst>
        </pc:spChg>
        <pc:spChg chg="mod ord">
          <ac:chgData name="Yudi Zhu" userId="571e1a55-055f-4c28-8b35-fca6dd1c1369" providerId="ADAL" clId="{75A88773-6EE1-484E-AADE-FE631E01463B}" dt="2025-11-21T06:05:06.943" v="90891"/>
          <ac:spMkLst>
            <pc:docMk/>
            <pc:sldMk cId="2420030622" sldId="2147483071"/>
            <ac:spMk id="35" creationId="{67C4E31F-8213-C571-D938-6CF5D2BEFC1D}"/>
          </ac:spMkLst>
        </pc:spChg>
        <pc:spChg chg="mod ord">
          <ac:chgData name="Yudi Zhu" userId="571e1a55-055f-4c28-8b35-fca6dd1c1369" providerId="ADAL" clId="{75A88773-6EE1-484E-AADE-FE631E01463B}" dt="2025-11-21T06:05:06.941" v="90889"/>
          <ac:spMkLst>
            <pc:docMk/>
            <pc:sldMk cId="2420030622" sldId="2147483071"/>
            <ac:spMk id="51" creationId="{A440E514-0483-F03A-2E84-1D7800A267B4}"/>
          </ac:spMkLst>
        </pc:spChg>
        <pc:spChg chg="mod ord">
          <ac:chgData name="Yudi Zhu" userId="571e1a55-055f-4c28-8b35-fca6dd1c1369" providerId="ADAL" clId="{75A88773-6EE1-484E-AADE-FE631E01463B}" dt="2025-11-21T06:05:06.938" v="90887"/>
          <ac:spMkLst>
            <pc:docMk/>
            <pc:sldMk cId="2420030622" sldId="2147483071"/>
            <ac:spMk id="52" creationId="{2D0F9848-5EE5-30DE-59EF-8CAF76C4130E}"/>
          </ac:spMkLst>
        </pc:spChg>
        <pc:spChg chg="mod">
          <ac:chgData name="Yudi Zhu" userId="571e1a55-055f-4c28-8b35-fca6dd1c1369" providerId="ADAL" clId="{75A88773-6EE1-484E-AADE-FE631E01463B}" dt="2025-11-21T06:05:06.972" v="90921"/>
          <ac:spMkLst>
            <pc:docMk/>
            <pc:sldMk cId="2420030622" sldId="2147483071"/>
            <ac:spMk id="64" creationId="{9A56840B-FF2C-D3C1-D94B-C409B70F3520}"/>
          </ac:spMkLst>
        </pc:spChg>
        <pc:spChg chg="mod ord">
          <ac:chgData name="Yudi Zhu" userId="571e1a55-055f-4c28-8b35-fca6dd1c1369" providerId="ADAL" clId="{75A88773-6EE1-484E-AADE-FE631E01463B}" dt="2025-11-21T06:05:06.991" v="90942"/>
          <ac:spMkLst>
            <pc:docMk/>
            <pc:sldMk cId="2420030622" sldId="2147483071"/>
            <ac:spMk id="80" creationId="{7DAEE334-AA5F-A413-8038-5AA0B69194ED}"/>
          </ac:spMkLst>
        </pc:spChg>
        <pc:spChg chg="mod">
          <ac:chgData name="Yudi Zhu" userId="571e1a55-055f-4c28-8b35-fca6dd1c1369" providerId="ADAL" clId="{75A88773-6EE1-484E-AADE-FE631E01463B}" dt="2025-11-21T06:05:07.007" v="90953"/>
          <ac:spMkLst>
            <pc:docMk/>
            <pc:sldMk cId="2420030622" sldId="2147483071"/>
            <ac:spMk id="89" creationId="{7044104F-B392-E687-8108-BE12D4B92EB8}"/>
          </ac:spMkLst>
        </pc:spChg>
        <pc:spChg chg="mod">
          <ac:chgData name="Yudi Zhu" userId="571e1a55-055f-4c28-8b35-fca6dd1c1369" providerId="ADAL" clId="{75A88773-6EE1-484E-AADE-FE631E01463B}" dt="2025-11-21T06:05:06.989" v="90939"/>
          <ac:spMkLst>
            <pc:docMk/>
            <pc:sldMk cId="2420030622" sldId="2147483071"/>
            <ac:spMk id="92" creationId="{23085480-8950-8E7F-0DD8-5C5E4CC27DEA}"/>
          </ac:spMkLst>
        </pc:spChg>
        <pc:spChg chg="mod ord">
          <ac:chgData name="Yudi Zhu" userId="571e1a55-055f-4c28-8b35-fca6dd1c1369" providerId="ADAL" clId="{75A88773-6EE1-484E-AADE-FE631E01463B}" dt="2025-11-21T06:05:06.973" v="90923"/>
          <ac:spMkLst>
            <pc:docMk/>
            <pc:sldMk cId="2420030622" sldId="2147483071"/>
            <ac:spMk id="96" creationId="{4FC164C6-58A7-A605-B6F5-F117BFEB7484}"/>
          </ac:spMkLst>
        </pc:spChg>
        <pc:spChg chg="mod">
          <ac:chgData name="Yudi Zhu" userId="571e1a55-055f-4c28-8b35-fca6dd1c1369" providerId="ADAL" clId="{75A88773-6EE1-484E-AADE-FE631E01463B}" dt="2025-11-21T06:05:07.007" v="90954"/>
          <ac:spMkLst>
            <pc:docMk/>
            <pc:sldMk cId="2420030622" sldId="2147483071"/>
            <ac:spMk id="99" creationId="{64E90089-BBCD-6136-D33D-2E079519407F}"/>
          </ac:spMkLst>
        </pc:spChg>
        <pc:spChg chg="mod">
          <ac:chgData name="Yudi Zhu" userId="571e1a55-055f-4c28-8b35-fca6dd1c1369" providerId="ADAL" clId="{75A88773-6EE1-484E-AADE-FE631E01463B}" dt="2025-11-21T06:05:06.983" v="90932"/>
          <ac:spMkLst>
            <pc:docMk/>
            <pc:sldMk cId="2420030622" sldId="2147483071"/>
            <ac:spMk id="109" creationId="{2C93D1CC-9434-2C2D-6CBE-D7CBE74386A8}"/>
          </ac:spMkLst>
        </pc:spChg>
        <pc:spChg chg="mod">
          <ac:chgData name="Yudi Zhu" userId="571e1a55-055f-4c28-8b35-fca6dd1c1369" providerId="ADAL" clId="{75A88773-6EE1-484E-AADE-FE631E01463B}" dt="2025-11-21T06:05:06.986" v="90936"/>
          <ac:spMkLst>
            <pc:docMk/>
            <pc:sldMk cId="2420030622" sldId="2147483071"/>
            <ac:spMk id="110" creationId="{737BAD63-428B-4A2E-2293-D5B7B484B59D}"/>
          </ac:spMkLst>
        </pc:spChg>
        <pc:spChg chg="mod">
          <ac:chgData name="Yudi Zhu" userId="571e1a55-055f-4c28-8b35-fca6dd1c1369" providerId="ADAL" clId="{75A88773-6EE1-484E-AADE-FE631E01463B}" dt="2025-11-21T06:05:06.987" v="90937"/>
          <ac:spMkLst>
            <pc:docMk/>
            <pc:sldMk cId="2420030622" sldId="2147483071"/>
            <ac:spMk id="111" creationId="{ACEF0FE1-72E7-0EB8-6CC8-DC34EC5BA14F}"/>
          </ac:spMkLst>
        </pc:spChg>
        <pc:spChg chg="mod ord">
          <ac:chgData name="Yudi Zhu" userId="571e1a55-055f-4c28-8b35-fca6dd1c1369" providerId="ADAL" clId="{75A88773-6EE1-484E-AADE-FE631E01463B}" dt="2025-11-21T06:05:06.977" v="90928"/>
          <ac:spMkLst>
            <pc:docMk/>
            <pc:sldMk cId="2420030622" sldId="2147483071"/>
            <ac:spMk id="112" creationId="{A593CB6D-8C80-1DEC-0468-620F83D6B71D}"/>
          </ac:spMkLst>
        </pc:spChg>
        <pc:spChg chg="mod ord">
          <ac:chgData name="Yudi Zhu" userId="571e1a55-055f-4c28-8b35-fca6dd1c1369" providerId="ADAL" clId="{75A88773-6EE1-484E-AADE-FE631E01463B}" dt="2025-11-21T06:05:06.976" v="90926"/>
          <ac:spMkLst>
            <pc:docMk/>
            <pc:sldMk cId="2420030622" sldId="2147483071"/>
            <ac:spMk id="113" creationId="{891052DA-A579-6F3F-771A-E41AAD3C8E3E}"/>
          </ac:spMkLst>
        </pc:spChg>
        <pc:spChg chg="mod">
          <ac:chgData name="Yudi Zhu" userId="571e1a55-055f-4c28-8b35-fca6dd1c1369" providerId="ADAL" clId="{75A88773-6EE1-484E-AADE-FE631E01463B}" dt="2025-11-21T06:05:07.008" v="90955"/>
          <ac:spMkLst>
            <pc:docMk/>
            <pc:sldMk cId="2420030622" sldId="2147483071"/>
            <ac:spMk id="114" creationId="{668D491D-FFC2-FC00-F346-FFB28F4EEF89}"/>
          </ac:spMkLst>
        </pc:spChg>
        <pc:spChg chg="mod ord">
          <ac:chgData name="Yudi Zhu" userId="571e1a55-055f-4c28-8b35-fca6dd1c1369" providerId="ADAL" clId="{75A88773-6EE1-484E-AADE-FE631E01463B}" dt="2025-11-21T06:05:06.981" v="90931"/>
          <ac:spMkLst>
            <pc:docMk/>
            <pc:sldMk cId="2420030622" sldId="2147483071"/>
            <ac:spMk id="115" creationId="{FF732CD7-E3E0-3BD5-B802-3B4F1F94B43D}"/>
          </ac:spMkLst>
        </pc:spChg>
        <pc:spChg chg="mod">
          <ac:chgData name="Yudi Zhu" userId="571e1a55-055f-4c28-8b35-fca6dd1c1369" providerId="ADAL" clId="{75A88773-6EE1-484E-AADE-FE631E01463B}" dt="2025-11-21T06:05:06.978" v="90929"/>
          <ac:spMkLst>
            <pc:docMk/>
            <pc:sldMk cId="2420030622" sldId="2147483071"/>
            <ac:spMk id="116" creationId="{71782E58-A952-31E1-8ABD-F62EBA4B6788}"/>
          </ac:spMkLst>
        </pc:spChg>
        <pc:spChg chg="mod">
          <ac:chgData name="Yudi Zhu" userId="571e1a55-055f-4c28-8b35-fca6dd1c1369" providerId="ADAL" clId="{75A88773-6EE1-484E-AADE-FE631E01463B}" dt="2025-11-21T06:05:07.009" v="90956"/>
          <ac:spMkLst>
            <pc:docMk/>
            <pc:sldMk cId="2420030622" sldId="2147483071"/>
            <ac:spMk id="117" creationId="{1C746243-CA99-A1A4-160B-CED1A07C9EE1}"/>
          </ac:spMkLst>
        </pc:spChg>
        <pc:spChg chg="mod">
          <ac:chgData name="Yudi Zhu" userId="571e1a55-055f-4c28-8b35-fca6dd1c1369" providerId="ADAL" clId="{75A88773-6EE1-484E-AADE-FE631E01463B}" dt="2025-11-21T06:05:06.990" v="90940"/>
          <ac:spMkLst>
            <pc:docMk/>
            <pc:sldMk cId="2420030622" sldId="2147483071"/>
            <ac:spMk id="118" creationId="{D1C0FCBF-CB66-8894-D4F7-CBE8F0369312}"/>
          </ac:spMkLst>
        </pc:spChg>
        <pc:spChg chg="mod ord">
          <ac:chgData name="Yudi Zhu" userId="571e1a55-055f-4c28-8b35-fca6dd1c1369" providerId="ADAL" clId="{75A88773-6EE1-484E-AADE-FE631E01463B}" dt="2025-11-21T06:05:06.984" v="90934"/>
          <ac:spMkLst>
            <pc:docMk/>
            <pc:sldMk cId="2420030622" sldId="2147483071"/>
            <ac:spMk id="119" creationId="{F52BDE78-F74B-3D58-9E8B-55712A9F3FDA}"/>
          </ac:spMkLst>
        </pc:spChg>
        <pc:spChg chg="mod">
          <ac:chgData name="Yudi Zhu" userId="571e1a55-055f-4c28-8b35-fca6dd1c1369" providerId="ADAL" clId="{75A88773-6EE1-484E-AADE-FE631E01463B}" dt="2025-11-21T06:05:07.010" v="90957"/>
          <ac:spMkLst>
            <pc:docMk/>
            <pc:sldMk cId="2420030622" sldId="2147483071"/>
            <ac:spMk id="121" creationId="{690DE142-DC0B-EF98-E0C3-C4BB7958926A}"/>
          </ac:spMkLst>
        </pc:spChg>
        <pc:spChg chg="mod">
          <ac:chgData name="Yudi Zhu" userId="571e1a55-055f-4c28-8b35-fca6dd1c1369" providerId="ADAL" clId="{75A88773-6EE1-484E-AADE-FE631E01463B}" dt="2025-11-21T06:05:07.021" v="90966"/>
          <ac:spMkLst>
            <pc:docMk/>
            <pc:sldMk cId="2420030622" sldId="2147483071"/>
            <ac:spMk id="170" creationId="{E358D877-A0FE-2A59-C40A-2E2673D672E0}"/>
          </ac:spMkLst>
        </pc:spChg>
        <pc:spChg chg="mod">
          <ac:chgData name="Yudi Zhu" userId="571e1a55-055f-4c28-8b35-fca6dd1c1369" providerId="ADAL" clId="{75A88773-6EE1-484E-AADE-FE631E01463B}" dt="2025-11-21T06:05:07.022" v="90967"/>
          <ac:spMkLst>
            <pc:docMk/>
            <pc:sldMk cId="2420030622" sldId="2147483071"/>
            <ac:spMk id="171" creationId="{A3B74362-4039-CC36-3A1A-B0E20F20D689}"/>
          </ac:spMkLst>
        </pc:spChg>
        <pc:spChg chg="mod">
          <ac:chgData name="Yudi Zhu" userId="571e1a55-055f-4c28-8b35-fca6dd1c1369" providerId="ADAL" clId="{75A88773-6EE1-484E-AADE-FE631E01463B}" dt="2025-11-21T06:05:07.023" v="90968"/>
          <ac:spMkLst>
            <pc:docMk/>
            <pc:sldMk cId="2420030622" sldId="2147483071"/>
            <ac:spMk id="172" creationId="{84979810-8178-49D5-3FE2-5CC9EC240E4B}"/>
          </ac:spMkLst>
        </pc:spChg>
        <pc:spChg chg="mod">
          <ac:chgData name="Yudi Zhu" userId="571e1a55-055f-4c28-8b35-fca6dd1c1369" providerId="ADAL" clId="{75A88773-6EE1-484E-AADE-FE631E01463B}" dt="2025-11-21T06:05:07.024" v="90969"/>
          <ac:spMkLst>
            <pc:docMk/>
            <pc:sldMk cId="2420030622" sldId="2147483071"/>
            <ac:spMk id="173" creationId="{DA768C52-B91B-3BE4-2BDA-F8F01CBCA69E}"/>
          </ac:spMkLst>
        </pc:spChg>
        <pc:spChg chg="mod ord">
          <ac:chgData name="Yudi Zhu" userId="571e1a55-055f-4c28-8b35-fca6dd1c1369" providerId="ADAL" clId="{75A88773-6EE1-484E-AADE-FE631E01463B}" dt="2025-11-21T06:05:07.014" v="90960"/>
          <ac:spMkLst>
            <pc:docMk/>
            <pc:sldMk cId="2420030622" sldId="2147483071"/>
            <ac:spMk id="176" creationId="{66612E23-F894-2BFB-F8C0-37A24A44C8B6}"/>
          </ac:spMkLst>
        </pc:spChg>
        <pc:spChg chg="mod">
          <ac:chgData name="Yudi Zhu" userId="571e1a55-055f-4c28-8b35-fca6dd1c1369" providerId="ADAL" clId="{75A88773-6EE1-484E-AADE-FE631E01463B}" dt="2025-11-21T06:05:07.016" v="90961"/>
          <ac:spMkLst>
            <pc:docMk/>
            <pc:sldMk cId="2420030622" sldId="2147483071"/>
            <ac:spMk id="177" creationId="{500A05E6-A06A-316D-BE6D-B3BBEE579BC3}"/>
          </ac:spMkLst>
        </pc:spChg>
        <pc:spChg chg="mod ord">
          <ac:chgData name="Yudi Zhu" userId="571e1a55-055f-4c28-8b35-fca6dd1c1369" providerId="ADAL" clId="{75A88773-6EE1-484E-AADE-FE631E01463B}" dt="2025-11-21T06:05:07.018" v="90963"/>
          <ac:spMkLst>
            <pc:docMk/>
            <pc:sldMk cId="2420030622" sldId="2147483071"/>
            <ac:spMk id="178" creationId="{A9F01272-F414-F68C-8159-79E6296E6C54}"/>
          </ac:spMkLst>
        </pc:spChg>
        <pc:spChg chg="mod ord">
          <ac:chgData name="Yudi Zhu" userId="571e1a55-055f-4c28-8b35-fca6dd1c1369" providerId="ADAL" clId="{75A88773-6EE1-484E-AADE-FE631E01463B}" dt="2025-11-21T06:05:07.019" v="90965"/>
          <ac:spMkLst>
            <pc:docMk/>
            <pc:sldMk cId="2420030622" sldId="2147483071"/>
            <ac:spMk id="179" creationId="{A3990936-D508-DC5C-A76E-BABC9AABA379}"/>
          </ac:spMkLst>
        </pc:spChg>
        <pc:spChg chg="mod ord">
          <ac:chgData name="Yudi Zhu" userId="571e1a55-055f-4c28-8b35-fca6dd1c1369" providerId="ADAL" clId="{75A88773-6EE1-484E-AADE-FE631E01463B}" dt="2025-11-21T06:05:07.026" v="90973"/>
          <ac:spMkLst>
            <pc:docMk/>
            <pc:sldMk cId="2420030622" sldId="2147483071"/>
            <ac:spMk id="204" creationId="{758FB9C4-4D4A-32E2-69B2-AE89A47C3804}"/>
          </ac:spMkLst>
        </pc:spChg>
        <pc:spChg chg="mod ord">
          <ac:chgData name="Yudi Zhu" userId="571e1a55-055f-4c28-8b35-fca6dd1c1369" providerId="ADAL" clId="{75A88773-6EE1-484E-AADE-FE631E01463B}" dt="2025-11-21T06:05:06.947" v="90895"/>
          <ac:spMkLst>
            <pc:docMk/>
            <pc:sldMk cId="2420030622" sldId="2147483071"/>
            <ac:spMk id="206" creationId="{F7582637-83EE-1915-8B65-D3AE91E3C964}"/>
          </ac:spMkLst>
        </pc:spChg>
        <pc:spChg chg="mod ord">
          <ac:chgData name="Yudi Zhu" userId="571e1a55-055f-4c28-8b35-fca6dd1c1369" providerId="ADAL" clId="{75A88773-6EE1-484E-AADE-FE631E01463B}" dt="2025-11-21T06:05:06.944" v="90893"/>
          <ac:spMkLst>
            <pc:docMk/>
            <pc:sldMk cId="2420030622" sldId="2147483071"/>
            <ac:spMk id="259" creationId="{FDF958E5-BC6D-723B-4043-148949C15472}"/>
          </ac:spMkLst>
        </pc:spChg>
        <pc:graphicFrameChg chg="mod">
          <ac:chgData name="Yudi Zhu" userId="571e1a55-055f-4c28-8b35-fca6dd1c1369" providerId="ADAL" clId="{75A88773-6EE1-484E-AADE-FE631E01463B}" dt="2025-11-21T06:05:08.619" v="91557"/>
          <ac:graphicFrameMkLst>
            <pc:docMk/>
            <pc:sldMk cId="2420030622" sldId="2147483071"/>
            <ac:graphicFrameMk id="11" creationId="{4281C077-2605-6F00-5029-A3BB5A56EDA9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6.899" v="90880"/>
          <ac:graphicFrameMkLst>
            <pc:docMk/>
            <pc:sldMk cId="2420030622" sldId="2147483071"/>
            <ac:graphicFrameMk id="27" creationId="{8973034B-A9AB-72BD-237A-5D10E011CD3C}"/>
          </ac:graphicFrameMkLst>
        </pc:graphicFrameChg>
        <pc:graphicFrameChg chg="add mod">
          <ac:chgData name="Yudi Zhu" userId="571e1a55-055f-4c28-8b35-fca6dd1c1369" providerId="ADAL" clId="{75A88773-6EE1-484E-AADE-FE631E01463B}" dt="2025-11-21T06:05:06.964" v="90916"/>
          <ac:graphicFrameMkLst>
            <pc:docMk/>
            <pc:sldMk cId="2420030622" sldId="2147483071"/>
            <ac:graphicFrameMk id="29" creationId="{E8D5343B-646D-C4A1-C4B8-2BE8699A86DD}"/>
          </ac:graphicFrameMkLst>
        </pc:graphicFrameChg>
        <pc:graphicFrameChg chg="del">
          <ac:chgData name="Yudi Zhu" userId="571e1a55-055f-4c28-8b35-fca6dd1c1369" providerId="ADAL" clId="{75A88773-6EE1-484E-AADE-FE631E01463B}" dt="2025-11-21T06:02:23.605" v="69702" actId="478"/>
          <ac:graphicFrameMkLst>
            <pc:docMk/>
            <pc:sldMk cId="2420030622" sldId="2147483071"/>
            <ac:graphicFrameMk id="44" creationId="{9060CA51-B709-FB85-569E-BBA274467940}"/>
          </ac:graphicFrameMkLst>
        </pc:graphicFrameChg>
        <pc:graphicFrameChg chg="mod ord">
          <ac:chgData name="Yudi Zhu" userId="571e1a55-055f-4c28-8b35-fca6dd1c1369" providerId="ADAL" clId="{75A88773-6EE1-484E-AADE-FE631E01463B}" dt="2025-11-21T06:05:07.025" v="90971"/>
          <ac:graphicFrameMkLst>
            <pc:docMk/>
            <pc:sldMk cId="2420030622" sldId="2147483071"/>
            <ac:graphicFrameMk id="198" creationId="{8EC02E79-E8B4-5EF5-A8BF-541BB499671C}"/>
          </ac:graphicFrameMkLst>
        </pc:graphicFrameChg>
        <pc:cxnChg chg="mod ord">
          <ac:chgData name="Yudi Zhu" userId="571e1a55-055f-4c28-8b35-fca6dd1c1369" providerId="ADAL" clId="{75A88773-6EE1-484E-AADE-FE631E01463B}" dt="2025-11-21T06:05:06.953" v="90901"/>
          <ac:cxnSpMkLst>
            <pc:docMk/>
            <pc:sldMk cId="2420030622" sldId="2147483071"/>
            <ac:cxnSpMk id="8" creationId="{82E67D93-8A61-7505-00B1-02FD9867D1A7}"/>
          </ac:cxnSpMkLst>
        </pc:cxnChg>
        <pc:cxnChg chg="mod ord">
          <ac:chgData name="Yudi Zhu" userId="571e1a55-055f-4c28-8b35-fca6dd1c1369" providerId="ADAL" clId="{75A88773-6EE1-484E-AADE-FE631E01463B}" dt="2025-11-21T06:05:06.954" v="90903"/>
          <ac:cxnSpMkLst>
            <pc:docMk/>
            <pc:sldMk cId="2420030622" sldId="2147483071"/>
            <ac:cxnSpMk id="9" creationId="{3B26C26E-C669-7BA6-A7B3-BA17D0F0B1A2}"/>
          </ac:cxnSpMkLst>
        </pc:cxnChg>
        <pc:cxnChg chg="mod ord">
          <ac:chgData name="Yudi Zhu" userId="571e1a55-055f-4c28-8b35-fca6dd1c1369" providerId="ADAL" clId="{75A88773-6EE1-484E-AADE-FE631E01463B}" dt="2025-11-21T06:05:06.951" v="90899"/>
          <ac:cxnSpMkLst>
            <pc:docMk/>
            <pc:sldMk cId="2420030622" sldId="2147483071"/>
            <ac:cxnSpMk id="25" creationId="{701AF455-C86B-5B08-18C0-2DEDF7B70A44}"/>
          </ac:cxnSpMkLst>
        </pc:cxnChg>
        <pc:cxnChg chg="mod ord">
          <ac:chgData name="Yudi Zhu" userId="571e1a55-055f-4c28-8b35-fca6dd1c1369" providerId="ADAL" clId="{75A88773-6EE1-484E-AADE-FE631E01463B}" dt="2025-11-21T06:05:06.955" v="90905"/>
          <ac:cxnSpMkLst>
            <pc:docMk/>
            <pc:sldMk cId="2420030622" sldId="2147483071"/>
            <ac:cxnSpMk id="26" creationId="{8F826BF2-6246-D6E2-97E5-8A78812522AF}"/>
          </ac:cxnSpMkLst>
        </pc:cxnChg>
        <pc:cxnChg chg="mod ord">
          <ac:chgData name="Yudi Zhu" userId="571e1a55-055f-4c28-8b35-fca6dd1c1369" providerId="ADAL" clId="{75A88773-6EE1-484E-AADE-FE631E01463B}" dt="2025-11-21T06:05:06.958" v="90909"/>
          <ac:cxnSpMkLst>
            <pc:docMk/>
            <pc:sldMk cId="2420030622" sldId="2147483071"/>
            <ac:cxnSpMk id="48" creationId="{A40519D6-8887-84C1-E230-44192E995027}"/>
          </ac:cxnSpMkLst>
        </pc:cxnChg>
        <pc:cxnChg chg="mod ord">
          <ac:chgData name="Yudi Zhu" userId="571e1a55-055f-4c28-8b35-fca6dd1c1369" providerId="ADAL" clId="{75A88773-6EE1-484E-AADE-FE631E01463B}" dt="2025-11-21T06:05:06.957" v="90907"/>
          <ac:cxnSpMkLst>
            <pc:docMk/>
            <pc:sldMk cId="2420030622" sldId="2147483071"/>
            <ac:cxnSpMk id="81" creationId="{1DFEBAD7-F25E-F3E0-6E05-36BF04AEF434}"/>
          </ac:cxnSpMkLst>
        </pc:cxnChg>
        <pc:cxnChg chg="mod ord">
          <ac:chgData name="Yudi Zhu" userId="571e1a55-055f-4c28-8b35-fca6dd1c1369" providerId="ADAL" clId="{75A88773-6EE1-484E-AADE-FE631E01463B}" dt="2025-11-21T06:05:06.959" v="90911"/>
          <ac:cxnSpMkLst>
            <pc:docMk/>
            <pc:sldMk cId="2420030622" sldId="2147483071"/>
            <ac:cxnSpMk id="123" creationId="{BB97F1CE-7AE5-94C2-C1A6-F843E23B8090}"/>
          </ac:cxnSpMkLst>
        </pc:cxnChg>
        <pc:cxnChg chg="mod ord">
          <ac:chgData name="Yudi Zhu" userId="571e1a55-055f-4c28-8b35-fca6dd1c1369" providerId="ADAL" clId="{75A88773-6EE1-484E-AADE-FE631E01463B}" dt="2025-11-21T06:05:06.960" v="90913"/>
          <ac:cxnSpMkLst>
            <pc:docMk/>
            <pc:sldMk cId="2420030622" sldId="2147483071"/>
            <ac:cxnSpMk id="124" creationId="{F42F1E05-26C0-F794-F664-A75003F73D01}"/>
          </ac:cxnSpMkLst>
        </pc:cxnChg>
        <pc:cxnChg chg="mod ord">
          <ac:chgData name="Yudi Zhu" userId="571e1a55-055f-4c28-8b35-fca6dd1c1369" providerId="ADAL" clId="{75A88773-6EE1-484E-AADE-FE631E01463B}" dt="2025-11-21T06:05:06.961" v="90915"/>
          <ac:cxnSpMkLst>
            <pc:docMk/>
            <pc:sldMk cId="2420030622" sldId="2147483071"/>
            <ac:cxnSpMk id="125" creationId="{0B7C50EC-829E-5264-67A4-3166EA896BC6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8.591" v="91549"/>
        <pc:sldMkLst>
          <pc:docMk/>
          <pc:sldMk cId="2108781205" sldId="2147483072"/>
        </pc:sldMkLst>
        <pc:spChg chg="mod ord">
          <ac:chgData name="Yudi Zhu" userId="571e1a55-055f-4c28-8b35-fca6dd1c1369" providerId="ADAL" clId="{75A88773-6EE1-484E-AADE-FE631E01463B}" dt="2025-11-21T06:05:05.632" v="90345"/>
          <ac:spMkLst>
            <pc:docMk/>
            <pc:sldMk cId="2108781205" sldId="2147483072"/>
            <ac:spMk id="2" creationId="{33CE9184-B331-B398-D4C8-430DF229D85C}"/>
          </ac:spMkLst>
        </pc:spChg>
        <pc:spChg chg="mod">
          <ac:chgData name="Yudi Zhu" userId="571e1a55-055f-4c28-8b35-fca6dd1c1369" providerId="ADAL" clId="{75A88773-6EE1-484E-AADE-FE631E01463B}" dt="2025-11-21T06:05:05.661" v="90369"/>
          <ac:spMkLst>
            <pc:docMk/>
            <pc:sldMk cId="2108781205" sldId="2147483072"/>
            <ac:spMk id="3" creationId="{431EFF4D-E4FB-3EA0-CACC-694D7B8D5002}"/>
          </ac:spMkLst>
        </pc:spChg>
        <pc:spChg chg="mod">
          <ac:chgData name="Yudi Zhu" userId="571e1a55-055f-4c28-8b35-fca6dd1c1369" providerId="ADAL" clId="{75A88773-6EE1-484E-AADE-FE631E01463B}" dt="2025-11-21T06:05:05.682" v="90381"/>
          <ac:spMkLst>
            <pc:docMk/>
            <pc:sldMk cId="2108781205" sldId="2147483072"/>
            <ac:spMk id="4" creationId="{B0F122F9-577E-7600-35D3-531DA79AA0D4}"/>
          </ac:spMkLst>
        </pc:spChg>
        <pc:spChg chg="mod">
          <ac:chgData name="Yudi Zhu" userId="571e1a55-055f-4c28-8b35-fca6dd1c1369" providerId="ADAL" clId="{75A88773-6EE1-484E-AADE-FE631E01463B}" dt="2025-11-21T06:05:05.666" v="90372"/>
          <ac:spMkLst>
            <pc:docMk/>
            <pc:sldMk cId="2108781205" sldId="2147483072"/>
            <ac:spMk id="5" creationId="{28D8D37F-28F1-17A0-9DE9-0455C2F0E7C8}"/>
          </ac:spMkLst>
        </pc:spChg>
        <pc:spChg chg="mod">
          <ac:chgData name="Yudi Zhu" userId="571e1a55-055f-4c28-8b35-fca6dd1c1369" providerId="ADAL" clId="{75A88773-6EE1-484E-AADE-FE631E01463B}" dt="2025-11-21T06:05:05.691" v="90387"/>
          <ac:spMkLst>
            <pc:docMk/>
            <pc:sldMk cId="2108781205" sldId="2147483072"/>
            <ac:spMk id="6" creationId="{29127BFF-7BA5-E633-6F36-24C6FFAFEF06}"/>
          </ac:spMkLst>
        </pc:spChg>
        <pc:spChg chg="mod">
          <ac:chgData name="Yudi Zhu" userId="571e1a55-055f-4c28-8b35-fca6dd1c1369" providerId="ADAL" clId="{75A88773-6EE1-484E-AADE-FE631E01463B}" dt="2025-11-21T06:05:05.694" v="90390"/>
          <ac:spMkLst>
            <pc:docMk/>
            <pc:sldMk cId="2108781205" sldId="2147483072"/>
            <ac:spMk id="7" creationId="{D8F583C5-0538-A749-7E53-0804FB6299D9}"/>
          </ac:spMkLst>
        </pc:spChg>
        <pc:spChg chg="mod">
          <ac:chgData name="Yudi Zhu" userId="571e1a55-055f-4c28-8b35-fca6dd1c1369" providerId="ADAL" clId="{75A88773-6EE1-484E-AADE-FE631E01463B}" dt="2025-11-21T06:05:05.712" v="90401"/>
          <ac:spMkLst>
            <pc:docMk/>
            <pc:sldMk cId="2108781205" sldId="2147483072"/>
            <ac:spMk id="10" creationId="{169854CD-C9E3-3737-DB39-FACFD7F594EF}"/>
          </ac:spMkLst>
        </pc:spChg>
        <pc:spChg chg="mod">
          <ac:chgData name="Yudi Zhu" userId="571e1a55-055f-4c28-8b35-fca6dd1c1369" providerId="ADAL" clId="{75A88773-6EE1-484E-AADE-FE631E01463B}" dt="2025-11-21T06:05:05.668" v="90373"/>
          <ac:spMkLst>
            <pc:docMk/>
            <pc:sldMk cId="2108781205" sldId="2147483072"/>
            <ac:spMk id="12" creationId="{377AC7C1-8644-BD84-49BC-A503C6DADC56}"/>
          </ac:spMkLst>
        </pc:spChg>
        <pc:spChg chg="mod">
          <ac:chgData name="Yudi Zhu" userId="571e1a55-055f-4c28-8b35-fca6dd1c1369" providerId="ADAL" clId="{75A88773-6EE1-484E-AADE-FE631E01463B}" dt="2025-11-21T06:05:05.705" v="90396"/>
          <ac:spMkLst>
            <pc:docMk/>
            <pc:sldMk cId="2108781205" sldId="2147483072"/>
            <ac:spMk id="13" creationId="{78F53048-A43D-F2E4-8A9E-B8D20C3A983D}"/>
          </ac:spMkLst>
        </pc:spChg>
        <pc:spChg chg="mod">
          <ac:chgData name="Yudi Zhu" userId="571e1a55-055f-4c28-8b35-fca6dd1c1369" providerId="ADAL" clId="{75A88773-6EE1-484E-AADE-FE631E01463B}" dt="2025-11-21T06:05:05.698" v="90392"/>
          <ac:spMkLst>
            <pc:docMk/>
            <pc:sldMk cId="2108781205" sldId="2147483072"/>
            <ac:spMk id="14" creationId="{534B98DF-7CDF-2108-5677-81AD9422601C}"/>
          </ac:spMkLst>
        </pc:spChg>
        <pc:spChg chg="mod">
          <ac:chgData name="Yudi Zhu" userId="571e1a55-055f-4c28-8b35-fca6dd1c1369" providerId="ADAL" clId="{75A88773-6EE1-484E-AADE-FE631E01463B}" dt="2025-11-21T06:05:05.696" v="90391"/>
          <ac:spMkLst>
            <pc:docMk/>
            <pc:sldMk cId="2108781205" sldId="2147483072"/>
            <ac:spMk id="15" creationId="{32D4C8A4-1E2E-034C-27EB-F4A556F46FD5}"/>
          </ac:spMkLst>
        </pc:spChg>
        <pc:spChg chg="mod">
          <ac:chgData name="Yudi Zhu" userId="571e1a55-055f-4c28-8b35-fca6dd1c1369" providerId="ADAL" clId="{75A88773-6EE1-484E-AADE-FE631E01463B}" dt="2025-11-21T06:05:05.706" v="90397"/>
          <ac:spMkLst>
            <pc:docMk/>
            <pc:sldMk cId="2108781205" sldId="2147483072"/>
            <ac:spMk id="16" creationId="{8824B208-0BA9-8A76-3BF5-7D5C6A0F9B83}"/>
          </ac:spMkLst>
        </pc:spChg>
        <pc:spChg chg="mod">
          <ac:chgData name="Yudi Zhu" userId="571e1a55-055f-4c28-8b35-fca6dd1c1369" providerId="ADAL" clId="{75A88773-6EE1-484E-AADE-FE631E01463B}" dt="2025-11-21T06:05:05.665" v="90371"/>
          <ac:spMkLst>
            <pc:docMk/>
            <pc:sldMk cId="2108781205" sldId="2147483072"/>
            <ac:spMk id="17" creationId="{AA119605-DA75-6186-F1A0-0923DD1BB010}"/>
          </ac:spMkLst>
        </pc:spChg>
        <pc:spChg chg="mod">
          <ac:chgData name="Yudi Zhu" userId="571e1a55-055f-4c28-8b35-fca6dd1c1369" providerId="ADAL" clId="{75A88773-6EE1-484E-AADE-FE631E01463B}" dt="2025-11-21T06:05:05.663" v="90370"/>
          <ac:spMkLst>
            <pc:docMk/>
            <pc:sldMk cId="2108781205" sldId="2147483072"/>
            <ac:spMk id="18" creationId="{4ECC6761-DF14-E240-7DCB-263BEEB89774}"/>
          </ac:spMkLst>
        </pc:spChg>
        <pc:spChg chg="mod">
          <ac:chgData name="Yudi Zhu" userId="571e1a55-055f-4c28-8b35-fca6dd1c1369" providerId="ADAL" clId="{75A88773-6EE1-484E-AADE-FE631E01463B}" dt="2025-11-21T06:05:05.701" v="90394"/>
          <ac:spMkLst>
            <pc:docMk/>
            <pc:sldMk cId="2108781205" sldId="2147483072"/>
            <ac:spMk id="19" creationId="{72110732-454D-0822-DCAD-677063DE8134}"/>
          </ac:spMkLst>
        </pc:spChg>
        <pc:spChg chg="mod ord">
          <ac:chgData name="Yudi Zhu" userId="571e1a55-055f-4c28-8b35-fca6dd1c1369" providerId="ADAL" clId="{75A88773-6EE1-484E-AADE-FE631E01463B}" dt="2025-11-21T06:05:05.693" v="90389"/>
          <ac:spMkLst>
            <pc:docMk/>
            <pc:sldMk cId="2108781205" sldId="2147483072"/>
            <ac:spMk id="20" creationId="{5E80E321-6868-777D-11B8-1F9CCAF96DCD}"/>
          </ac:spMkLst>
        </pc:spChg>
        <pc:spChg chg="mod">
          <ac:chgData name="Yudi Zhu" userId="571e1a55-055f-4c28-8b35-fca6dd1c1369" providerId="ADAL" clId="{75A88773-6EE1-484E-AADE-FE631E01463B}" dt="2025-11-21T06:05:05.676" v="90378"/>
          <ac:spMkLst>
            <pc:docMk/>
            <pc:sldMk cId="2108781205" sldId="2147483072"/>
            <ac:spMk id="21" creationId="{75D8D60B-12E6-25F1-A3A3-AC7F6E0192D7}"/>
          </ac:spMkLst>
        </pc:spChg>
        <pc:spChg chg="mod">
          <ac:chgData name="Yudi Zhu" userId="571e1a55-055f-4c28-8b35-fca6dd1c1369" providerId="ADAL" clId="{75A88773-6EE1-484E-AADE-FE631E01463B}" dt="2025-11-21T06:05:05.703" v="90395"/>
          <ac:spMkLst>
            <pc:docMk/>
            <pc:sldMk cId="2108781205" sldId="2147483072"/>
            <ac:spMk id="22" creationId="{2AD12FB5-D908-7201-EF44-8737D447FD64}"/>
          </ac:spMkLst>
        </pc:spChg>
        <pc:spChg chg="add del mod modVis">
          <ac:chgData name="Yudi Zhu" userId="571e1a55-055f-4c28-8b35-fca6dd1c1369" providerId="ADAL" clId="{75A88773-6EE1-484E-AADE-FE631E01463B}" dt="2025-11-21T06:02:24.909" v="70203" actId="478"/>
          <ac:spMkLst>
            <pc:docMk/>
            <pc:sldMk cId="2108781205" sldId="2147483072"/>
            <ac:spMk id="23" creationId="{B92219BC-73E1-EF77-425D-A068F8C0877C}"/>
          </ac:spMkLst>
        </pc:spChg>
        <pc:spChg chg="mod ord">
          <ac:chgData name="Yudi Zhu" userId="571e1a55-055f-4c28-8b35-fca6dd1c1369" providerId="ADAL" clId="{75A88773-6EE1-484E-AADE-FE631E01463B}" dt="2025-11-21T06:05:05.658" v="90367"/>
          <ac:spMkLst>
            <pc:docMk/>
            <pc:sldMk cId="2108781205" sldId="2147483072"/>
            <ac:spMk id="27" creationId="{654274F1-363A-B34B-16CF-CF402A355363}"/>
          </ac:spMkLst>
        </pc:spChg>
        <pc:spChg chg="mod ord">
          <ac:chgData name="Yudi Zhu" userId="571e1a55-055f-4c28-8b35-fca6dd1c1369" providerId="ADAL" clId="{75A88773-6EE1-484E-AADE-FE631E01463B}" dt="2025-11-21T06:05:05.656" v="90365"/>
          <ac:spMkLst>
            <pc:docMk/>
            <pc:sldMk cId="2108781205" sldId="2147483072"/>
            <ac:spMk id="28" creationId="{B57E643F-C831-6588-2502-5AB7B5BBFA8D}"/>
          </ac:spMkLst>
        </pc:spChg>
        <pc:spChg chg="add del mod modVis">
          <ac:chgData name="Yudi Zhu" userId="571e1a55-055f-4c28-8b35-fca6dd1c1369" providerId="ADAL" clId="{75A88773-6EE1-484E-AADE-FE631E01463B}" dt="2025-11-21T06:05:08.588" v="91547"/>
          <ac:spMkLst>
            <pc:docMk/>
            <pc:sldMk cId="2108781205" sldId="2147483072"/>
            <ac:spMk id="29" creationId="{341AAED7-6AE4-31E1-C444-D89C8B53DFC6}"/>
          </ac:spMkLst>
        </pc:spChg>
        <pc:spChg chg="mod ord">
          <ac:chgData name="Yudi Zhu" userId="571e1a55-055f-4c28-8b35-fca6dd1c1369" providerId="ADAL" clId="{75A88773-6EE1-484E-AADE-FE631E01463B}" dt="2025-11-21T06:05:05.624" v="90339"/>
          <ac:spMkLst>
            <pc:docMk/>
            <pc:sldMk cId="2108781205" sldId="2147483072"/>
            <ac:spMk id="35" creationId="{61F5AAAD-B6CB-5159-B12C-65D153E525FA}"/>
          </ac:spMkLst>
        </pc:spChg>
        <pc:spChg chg="mod ord">
          <ac:chgData name="Yudi Zhu" userId="571e1a55-055f-4c28-8b35-fca6dd1c1369" providerId="ADAL" clId="{75A88773-6EE1-484E-AADE-FE631E01463B}" dt="2025-11-21T06:05:05.621" v="90337"/>
          <ac:spMkLst>
            <pc:docMk/>
            <pc:sldMk cId="2108781205" sldId="2147483072"/>
            <ac:spMk id="51" creationId="{FC733DFE-234C-CA7B-A4CE-1862DDB5CCCC}"/>
          </ac:spMkLst>
        </pc:spChg>
        <pc:spChg chg="mod ord">
          <ac:chgData name="Yudi Zhu" userId="571e1a55-055f-4c28-8b35-fca6dd1c1369" providerId="ADAL" clId="{75A88773-6EE1-484E-AADE-FE631E01463B}" dt="2025-11-21T06:05:05.618" v="90335"/>
          <ac:spMkLst>
            <pc:docMk/>
            <pc:sldMk cId="2108781205" sldId="2147483072"/>
            <ac:spMk id="52" creationId="{938AA5CF-95F7-6B8F-101E-5CA12FADF113}"/>
          </ac:spMkLst>
        </pc:spChg>
        <pc:spChg chg="mod ord">
          <ac:chgData name="Yudi Zhu" userId="571e1a55-055f-4c28-8b35-fca6dd1c1369" providerId="ADAL" clId="{75A88773-6EE1-484E-AADE-FE631E01463B}" dt="2025-11-21T06:05:05.734" v="90418"/>
          <ac:spMkLst>
            <pc:docMk/>
            <pc:sldMk cId="2108781205" sldId="2147483072"/>
            <ac:spMk id="59" creationId="{2B3A04AE-D13A-C0F1-B49C-83AFDFFDAA12}"/>
          </ac:spMkLst>
        </pc:spChg>
        <pc:spChg chg="mod ord">
          <ac:chgData name="Yudi Zhu" userId="571e1a55-055f-4c28-8b35-fca6dd1c1369" providerId="ADAL" clId="{75A88773-6EE1-484E-AADE-FE631E01463B}" dt="2025-11-21T06:05:05.689" v="90386"/>
          <ac:spMkLst>
            <pc:docMk/>
            <pc:sldMk cId="2108781205" sldId="2147483072"/>
            <ac:spMk id="80" creationId="{6BED68E5-5B03-FCCE-9F31-77BDF9BC98B5}"/>
          </ac:spMkLst>
        </pc:spChg>
        <pc:spChg chg="mod">
          <ac:chgData name="Yudi Zhu" userId="571e1a55-055f-4c28-8b35-fca6dd1c1369" providerId="ADAL" clId="{75A88773-6EE1-484E-AADE-FE631E01463B}" dt="2025-11-21T06:05:05.700" v="90393"/>
          <ac:spMkLst>
            <pc:docMk/>
            <pc:sldMk cId="2108781205" sldId="2147483072"/>
            <ac:spMk id="89" creationId="{DD24389D-BA52-5C26-6918-CF618CFB35F2}"/>
          </ac:spMkLst>
        </pc:spChg>
        <pc:spChg chg="mod">
          <ac:chgData name="Yudi Zhu" userId="571e1a55-055f-4c28-8b35-fca6dd1c1369" providerId="ADAL" clId="{75A88773-6EE1-484E-AADE-FE631E01463B}" dt="2025-11-21T06:05:05.684" v="90382"/>
          <ac:spMkLst>
            <pc:docMk/>
            <pc:sldMk cId="2108781205" sldId="2147483072"/>
            <ac:spMk id="92" creationId="{45A27584-DCF1-1367-BEA1-1D63D51AECDA}"/>
          </ac:spMkLst>
        </pc:spChg>
        <pc:spChg chg="mod">
          <ac:chgData name="Yudi Zhu" userId="571e1a55-055f-4c28-8b35-fca6dd1c1369" providerId="ADAL" clId="{75A88773-6EE1-484E-AADE-FE631E01463B}" dt="2025-11-21T06:05:05.673" v="90376"/>
          <ac:spMkLst>
            <pc:docMk/>
            <pc:sldMk cId="2108781205" sldId="2147483072"/>
            <ac:spMk id="109" creationId="{4B0A003D-AB0D-915F-973D-24176FB5FABE}"/>
          </ac:spMkLst>
        </pc:spChg>
        <pc:spChg chg="mod">
          <ac:chgData name="Yudi Zhu" userId="571e1a55-055f-4c28-8b35-fca6dd1c1369" providerId="ADAL" clId="{75A88773-6EE1-484E-AADE-FE631E01463B}" dt="2025-11-21T06:05:05.677" v="90379"/>
          <ac:spMkLst>
            <pc:docMk/>
            <pc:sldMk cId="2108781205" sldId="2147483072"/>
            <ac:spMk id="110" creationId="{5C06DF48-0BD9-4676-4A3B-367DAE55CDFD}"/>
          </ac:spMkLst>
        </pc:spChg>
        <pc:spChg chg="mod">
          <ac:chgData name="Yudi Zhu" userId="571e1a55-055f-4c28-8b35-fca6dd1c1369" providerId="ADAL" clId="{75A88773-6EE1-484E-AADE-FE631E01463B}" dt="2025-11-21T06:05:05.678" v="90380"/>
          <ac:spMkLst>
            <pc:docMk/>
            <pc:sldMk cId="2108781205" sldId="2147483072"/>
            <ac:spMk id="111" creationId="{57908DEC-86D6-D4B5-9F66-E715DC003301}"/>
          </ac:spMkLst>
        </pc:spChg>
        <pc:spChg chg="mod">
          <ac:chgData name="Yudi Zhu" userId="571e1a55-055f-4c28-8b35-fca6dd1c1369" providerId="ADAL" clId="{75A88773-6EE1-484E-AADE-FE631E01463B}" dt="2025-11-21T06:05:05.707" v="90398"/>
          <ac:spMkLst>
            <pc:docMk/>
            <pc:sldMk cId="2108781205" sldId="2147483072"/>
            <ac:spMk id="114" creationId="{71E85D15-BADC-C53D-67EF-3F5F9F4B4134}"/>
          </ac:spMkLst>
        </pc:spChg>
        <pc:spChg chg="mod">
          <ac:chgData name="Yudi Zhu" userId="571e1a55-055f-4c28-8b35-fca6dd1c1369" providerId="ADAL" clId="{75A88773-6EE1-484E-AADE-FE631E01463B}" dt="2025-11-21T06:05:05.671" v="90375"/>
          <ac:spMkLst>
            <pc:docMk/>
            <pc:sldMk cId="2108781205" sldId="2147483072"/>
            <ac:spMk id="115" creationId="{95862B7B-BE92-A965-7914-D438BA31725D}"/>
          </ac:spMkLst>
        </pc:spChg>
        <pc:spChg chg="mod">
          <ac:chgData name="Yudi Zhu" userId="571e1a55-055f-4c28-8b35-fca6dd1c1369" providerId="ADAL" clId="{75A88773-6EE1-484E-AADE-FE631E01463B}" dt="2025-11-21T06:05:05.670" v="90374"/>
          <ac:spMkLst>
            <pc:docMk/>
            <pc:sldMk cId="2108781205" sldId="2147483072"/>
            <ac:spMk id="116" creationId="{B82CC920-EFF6-F673-1BCB-675EF39A0AAB}"/>
          </ac:spMkLst>
        </pc:spChg>
        <pc:spChg chg="mod">
          <ac:chgData name="Yudi Zhu" userId="571e1a55-055f-4c28-8b35-fca6dd1c1369" providerId="ADAL" clId="{75A88773-6EE1-484E-AADE-FE631E01463B}" dt="2025-11-21T06:05:05.709" v="90399"/>
          <ac:spMkLst>
            <pc:docMk/>
            <pc:sldMk cId="2108781205" sldId="2147483072"/>
            <ac:spMk id="117" creationId="{7F9D3CD0-CC8B-EC29-B223-8E93D1211705}"/>
          </ac:spMkLst>
        </pc:spChg>
        <pc:spChg chg="mod ord">
          <ac:chgData name="Yudi Zhu" userId="571e1a55-055f-4c28-8b35-fca6dd1c1369" providerId="ADAL" clId="{75A88773-6EE1-484E-AADE-FE631E01463B}" dt="2025-11-21T06:05:05.687" v="90384"/>
          <ac:spMkLst>
            <pc:docMk/>
            <pc:sldMk cId="2108781205" sldId="2147483072"/>
            <ac:spMk id="118" creationId="{8CA7AC32-802A-3A93-E541-1A755093241C}"/>
          </ac:spMkLst>
        </pc:spChg>
        <pc:spChg chg="mod">
          <ac:chgData name="Yudi Zhu" userId="571e1a55-055f-4c28-8b35-fca6dd1c1369" providerId="ADAL" clId="{75A88773-6EE1-484E-AADE-FE631E01463B}" dt="2025-11-21T06:05:05.674" v="90377"/>
          <ac:spMkLst>
            <pc:docMk/>
            <pc:sldMk cId="2108781205" sldId="2147483072"/>
            <ac:spMk id="119" creationId="{7DA89F1C-2C5C-397F-F967-E093DC55EEBE}"/>
          </ac:spMkLst>
        </pc:spChg>
        <pc:spChg chg="mod">
          <ac:chgData name="Yudi Zhu" userId="571e1a55-055f-4c28-8b35-fca6dd1c1369" providerId="ADAL" clId="{75A88773-6EE1-484E-AADE-FE631E01463B}" dt="2025-11-21T06:05:05.710" v="90400"/>
          <ac:spMkLst>
            <pc:docMk/>
            <pc:sldMk cId="2108781205" sldId="2147483072"/>
            <ac:spMk id="121" creationId="{797FD544-E05D-76C0-0BF4-1D53662FB63B}"/>
          </ac:spMkLst>
        </pc:spChg>
        <pc:spChg chg="mod">
          <ac:chgData name="Yudi Zhu" userId="571e1a55-055f-4c28-8b35-fca6dd1c1369" providerId="ADAL" clId="{75A88773-6EE1-484E-AADE-FE631E01463B}" dt="2025-11-21T06:05:05.723" v="90409"/>
          <ac:spMkLst>
            <pc:docMk/>
            <pc:sldMk cId="2108781205" sldId="2147483072"/>
            <ac:spMk id="170" creationId="{2FCD4468-349B-C4E5-7314-4EB6283C3FF3}"/>
          </ac:spMkLst>
        </pc:spChg>
        <pc:spChg chg="mod">
          <ac:chgData name="Yudi Zhu" userId="571e1a55-055f-4c28-8b35-fca6dd1c1369" providerId="ADAL" clId="{75A88773-6EE1-484E-AADE-FE631E01463B}" dt="2025-11-21T06:05:05.724" v="90410"/>
          <ac:spMkLst>
            <pc:docMk/>
            <pc:sldMk cId="2108781205" sldId="2147483072"/>
            <ac:spMk id="171" creationId="{3DFEE2B9-221A-7D18-1AB5-80017B2D2539}"/>
          </ac:spMkLst>
        </pc:spChg>
        <pc:spChg chg="mod">
          <ac:chgData name="Yudi Zhu" userId="571e1a55-055f-4c28-8b35-fca6dd1c1369" providerId="ADAL" clId="{75A88773-6EE1-484E-AADE-FE631E01463B}" dt="2025-11-21T06:05:05.726" v="90411"/>
          <ac:spMkLst>
            <pc:docMk/>
            <pc:sldMk cId="2108781205" sldId="2147483072"/>
            <ac:spMk id="172" creationId="{9479CB2E-C2CB-3C15-98BD-48CF33A2B759}"/>
          </ac:spMkLst>
        </pc:spChg>
        <pc:spChg chg="mod">
          <ac:chgData name="Yudi Zhu" userId="571e1a55-055f-4c28-8b35-fca6dd1c1369" providerId="ADAL" clId="{75A88773-6EE1-484E-AADE-FE631E01463B}" dt="2025-11-21T06:05:05.727" v="90412"/>
          <ac:spMkLst>
            <pc:docMk/>
            <pc:sldMk cId="2108781205" sldId="2147483072"/>
            <ac:spMk id="173" creationId="{1767DD01-0D76-C444-3C05-0E855092C956}"/>
          </ac:spMkLst>
        </pc:spChg>
        <pc:spChg chg="mod ord">
          <ac:chgData name="Yudi Zhu" userId="571e1a55-055f-4c28-8b35-fca6dd1c1369" providerId="ADAL" clId="{75A88773-6EE1-484E-AADE-FE631E01463B}" dt="2025-11-21T06:05:05.715" v="90403"/>
          <ac:spMkLst>
            <pc:docMk/>
            <pc:sldMk cId="2108781205" sldId="2147483072"/>
            <ac:spMk id="176" creationId="{E70DA91E-6674-6D50-5996-0A162787F6BC}"/>
          </ac:spMkLst>
        </pc:spChg>
        <pc:spChg chg="mod">
          <ac:chgData name="Yudi Zhu" userId="571e1a55-055f-4c28-8b35-fca6dd1c1369" providerId="ADAL" clId="{75A88773-6EE1-484E-AADE-FE631E01463B}" dt="2025-11-21T06:05:05.717" v="90404"/>
          <ac:spMkLst>
            <pc:docMk/>
            <pc:sldMk cId="2108781205" sldId="2147483072"/>
            <ac:spMk id="177" creationId="{AB14B7C2-D2EA-6A11-6BCB-F95BBE84AE20}"/>
          </ac:spMkLst>
        </pc:spChg>
        <pc:spChg chg="mod ord">
          <ac:chgData name="Yudi Zhu" userId="571e1a55-055f-4c28-8b35-fca6dd1c1369" providerId="ADAL" clId="{75A88773-6EE1-484E-AADE-FE631E01463B}" dt="2025-11-21T06:05:05.719" v="90406"/>
          <ac:spMkLst>
            <pc:docMk/>
            <pc:sldMk cId="2108781205" sldId="2147483072"/>
            <ac:spMk id="178" creationId="{1BE4C0FD-BC6E-3F8F-6199-D4F9C76E635D}"/>
          </ac:spMkLst>
        </pc:spChg>
        <pc:spChg chg="mod ord">
          <ac:chgData name="Yudi Zhu" userId="571e1a55-055f-4c28-8b35-fca6dd1c1369" providerId="ADAL" clId="{75A88773-6EE1-484E-AADE-FE631E01463B}" dt="2025-11-21T06:05:05.721" v="90408"/>
          <ac:spMkLst>
            <pc:docMk/>
            <pc:sldMk cId="2108781205" sldId="2147483072"/>
            <ac:spMk id="179" creationId="{244A2C2A-9EB8-3FA2-B8E0-9F100307B16C}"/>
          </ac:spMkLst>
        </pc:spChg>
        <pc:spChg chg="mod ord">
          <ac:chgData name="Yudi Zhu" userId="571e1a55-055f-4c28-8b35-fca6dd1c1369" providerId="ADAL" clId="{75A88773-6EE1-484E-AADE-FE631E01463B}" dt="2025-11-21T06:05:05.731" v="90416"/>
          <ac:spMkLst>
            <pc:docMk/>
            <pc:sldMk cId="2108781205" sldId="2147483072"/>
            <ac:spMk id="204" creationId="{EEBA4A0D-45F7-2D8B-6C5A-9803EDA44622}"/>
          </ac:spMkLst>
        </pc:spChg>
        <pc:spChg chg="mod ord">
          <ac:chgData name="Yudi Zhu" userId="571e1a55-055f-4c28-8b35-fca6dd1c1369" providerId="ADAL" clId="{75A88773-6EE1-484E-AADE-FE631E01463B}" dt="2025-11-21T06:05:05.629" v="90343"/>
          <ac:spMkLst>
            <pc:docMk/>
            <pc:sldMk cId="2108781205" sldId="2147483072"/>
            <ac:spMk id="206" creationId="{30611B49-8564-6CD7-E7E5-C99BACBE6AE1}"/>
          </ac:spMkLst>
        </pc:spChg>
        <pc:spChg chg="mod ord">
          <ac:chgData name="Yudi Zhu" userId="571e1a55-055f-4c28-8b35-fca6dd1c1369" providerId="ADAL" clId="{75A88773-6EE1-484E-AADE-FE631E01463B}" dt="2025-11-21T06:05:05.627" v="90341"/>
          <ac:spMkLst>
            <pc:docMk/>
            <pc:sldMk cId="2108781205" sldId="2147483072"/>
            <ac:spMk id="259" creationId="{39438B1C-512A-0E77-247D-6BBF007C06BD}"/>
          </ac:spMkLst>
        </pc:spChg>
        <pc:graphicFrameChg chg="mod">
          <ac:chgData name="Yudi Zhu" userId="571e1a55-055f-4c28-8b35-fca6dd1c1369" providerId="ADAL" clId="{75A88773-6EE1-484E-AADE-FE631E01463B}" dt="2025-11-21T06:05:08.591" v="91549"/>
          <ac:graphicFrameMkLst>
            <pc:docMk/>
            <pc:sldMk cId="2108781205" sldId="2147483072"/>
            <ac:graphicFrameMk id="11" creationId="{F870C35C-9049-4C26-7BD0-AD2B7E571105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5.576" v="90328"/>
          <ac:graphicFrameMkLst>
            <pc:docMk/>
            <pc:sldMk cId="2108781205" sldId="2147483072"/>
            <ac:graphicFrameMk id="24" creationId="{14E3CE7D-0DFC-DCE9-5794-0C04A42C3470}"/>
          </ac:graphicFrameMkLst>
        </pc:graphicFrameChg>
        <pc:graphicFrameChg chg="add mod">
          <ac:chgData name="Yudi Zhu" userId="571e1a55-055f-4c28-8b35-fca6dd1c1369" providerId="ADAL" clId="{75A88773-6EE1-484E-AADE-FE631E01463B}" dt="2025-11-21T06:05:05.659" v="90368"/>
          <ac:graphicFrameMkLst>
            <pc:docMk/>
            <pc:sldMk cId="2108781205" sldId="2147483072"/>
            <ac:graphicFrameMk id="30" creationId="{0A6F5110-8EAC-9E7C-E7CB-ED70F611EA83}"/>
          </ac:graphicFrameMkLst>
        </pc:graphicFrameChg>
        <pc:graphicFrameChg chg="del">
          <ac:chgData name="Yudi Zhu" userId="571e1a55-055f-4c28-8b35-fca6dd1c1369" providerId="ADAL" clId="{75A88773-6EE1-484E-AADE-FE631E01463B}" dt="2025-11-21T06:02:22.924" v="69331" actId="478"/>
          <ac:graphicFrameMkLst>
            <pc:docMk/>
            <pc:sldMk cId="2108781205" sldId="2147483072"/>
            <ac:graphicFrameMk id="54" creationId="{B93B8199-E7CE-84E1-8307-292BC4C941CB}"/>
          </ac:graphicFrameMkLst>
        </pc:graphicFrameChg>
        <pc:graphicFrameChg chg="mod ord">
          <ac:chgData name="Yudi Zhu" userId="571e1a55-055f-4c28-8b35-fca6dd1c1369" providerId="ADAL" clId="{75A88773-6EE1-484E-AADE-FE631E01463B}" dt="2025-11-21T06:05:05.729" v="90414"/>
          <ac:graphicFrameMkLst>
            <pc:docMk/>
            <pc:sldMk cId="2108781205" sldId="2147483072"/>
            <ac:graphicFrameMk id="198" creationId="{FFDF8EFF-EC19-A7BE-1409-3EBBD3BAC060}"/>
          </ac:graphicFrameMkLst>
        </pc:graphicFrameChg>
        <pc:cxnChg chg="mod ord">
          <ac:chgData name="Yudi Zhu" userId="571e1a55-055f-4c28-8b35-fca6dd1c1369" providerId="ADAL" clId="{75A88773-6EE1-484E-AADE-FE631E01463B}" dt="2025-11-21T06:05:05.637" v="90349"/>
          <ac:cxnSpMkLst>
            <pc:docMk/>
            <pc:sldMk cId="2108781205" sldId="2147483072"/>
            <ac:cxnSpMk id="8" creationId="{7BB59D6A-39C7-DEA6-2DD3-E644C4CA8FE3}"/>
          </ac:cxnSpMkLst>
        </pc:cxnChg>
        <pc:cxnChg chg="mod ord">
          <ac:chgData name="Yudi Zhu" userId="571e1a55-055f-4c28-8b35-fca6dd1c1369" providerId="ADAL" clId="{75A88773-6EE1-484E-AADE-FE631E01463B}" dt="2025-11-21T06:05:05.639" v="90351"/>
          <ac:cxnSpMkLst>
            <pc:docMk/>
            <pc:sldMk cId="2108781205" sldId="2147483072"/>
            <ac:cxnSpMk id="9" creationId="{0B405998-B1CC-15E4-9A00-46C66669A02C}"/>
          </ac:cxnSpMkLst>
        </pc:cxnChg>
        <pc:cxnChg chg="mod ord">
          <ac:chgData name="Yudi Zhu" userId="571e1a55-055f-4c28-8b35-fca6dd1c1369" providerId="ADAL" clId="{75A88773-6EE1-484E-AADE-FE631E01463B}" dt="2025-11-21T06:05:05.634" v="90347"/>
          <ac:cxnSpMkLst>
            <pc:docMk/>
            <pc:sldMk cId="2108781205" sldId="2147483072"/>
            <ac:cxnSpMk id="25" creationId="{9AB33597-44A0-19FA-FC25-DA358AD4E9E3}"/>
          </ac:cxnSpMkLst>
        </pc:cxnChg>
        <pc:cxnChg chg="mod ord">
          <ac:chgData name="Yudi Zhu" userId="571e1a55-055f-4c28-8b35-fca6dd1c1369" providerId="ADAL" clId="{75A88773-6EE1-484E-AADE-FE631E01463B}" dt="2025-11-21T06:05:05.642" v="90353"/>
          <ac:cxnSpMkLst>
            <pc:docMk/>
            <pc:sldMk cId="2108781205" sldId="2147483072"/>
            <ac:cxnSpMk id="26" creationId="{74DAF96B-67CD-F6B4-ACB0-6F47949DA811}"/>
          </ac:cxnSpMkLst>
        </pc:cxnChg>
        <pc:cxnChg chg="mod ord">
          <ac:chgData name="Yudi Zhu" userId="571e1a55-055f-4c28-8b35-fca6dd1c1369" providerId="ADAL" clId="{75A88773-6EE1-484E-AADE-FE631E01463B}" dt="2025-11-21T06:05:05.646" v="90357"/>
          <ac:cxnSpMkLst>
            <pc:docMk/>
            <pc:sldMk cId="2108781205" sldId="2147483072"/>
            <ac:cxnSpMk id="48" creationId="{9B4CA144-CCD9-0732-5B14-395DAAA67C17}"/>
          </ac:cxnSpMkLst>
        </pc:cxnChg>
        <pc:cxnChg chg="mod ord">
          <ac:chgData name="Yudi Zhu" userId="571e1a55-055f-4c28-8b35-fca6dd1c1369" providerId="ADAL" clId="{75A88773-6EE1-484E-AADE-FE631E01463B}" dt="2025-11-21T06:05:05.644" v="90355"/>
          <ac:cxnSpMkLst>
            <pc:docMk/>
            <pc:sldMk cId="2108781205" sldId="2147483072"/>
            <ac:cxnSpMk id="81" creationId="{38D15DFA-24BA-36C0-D6F8-4E4A9EB131E5}"/>
          </ac:cxnSpMkLst>
        </pc:cxnChg>
        <pc:cxnChg chg="mod ord">
          <ac:chgData name="Yudi Zhu" userId="571e1a55-055f-4c28-8b35-fca6dd1c1369" providerId="ADAL" clId="{75A88773-6EE1-484E-AADE-FE631E01463B}" dt="2025-11-21T06:05:05.649" v="90359"/>
          <ac:cxnSpMkLst>
            <pc:docMk/>
            <pc:sldMk cId="2108781205" sldId="2147483072"/>
            <ac:cxnSpMk id="123" creationId="{B9BC6987-32DD-953B-9602-D1C8A2F7C57A}"/>
          </ac:cxnSpMkLst>
        </pc:cxnChg>
        <pc:cxnChg chg="mod ord">
          <ac:chgData name="Yudi Zhu" userId="571e1a55-055f-4c28-8b35-fca6dd1c1369" providerId="ADAL" clId="{75A88773-6EE1-484E-AADE-FE631E01463B}" dt="2025-11-21T06:05:05.651" v="90361"/>
          <ac:cxnSpMkLst>
            <pc:docMk/>
            <pc:sldMk cId="2108781205" sldId="2147483072"/>
            <ac:cxnSpMk id="124" creationId="{B4BB84AD-6106-A3E9-4622-14316E79D32E}"/>
          </ac:cxnSpMkLst>
        </pc:cxnChg>
        <pc:cxnChg chg="mod ord">
          <ac:chgData name="Yudi Zhu" userId="571e1a55-055f-4c28-8b35-fca6dd1c1369" providerId="ADAL" clId="{75A88773-6EE1-484E-AADE-FE631E01463B}" dt="2025-11-21T06:05:05.653" v="90363"/>
          <ac:cxnSpMkLst>
            <pc:docMk/>
            <pc:sldMk cId="2108781205" sldId="2147483072"/>
            <ac:cxnSpMk id="125" creationId="{41B979AA-AC67-1DE0-5970-FFD1D394336C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8.605" v="91553"/>
        <pc:sldMkLst>
          <pc:docMk/>
          <pc:sldMk cId="3413339761" sldId="2147483073"/>
        </pc:sldMkLst>
        <pc:spChg chg="mod ord">
          <ac:chgData name="Yudi Zhu" userId="571e1a55-055f-4c28-8b35-fca6dd1c1369" providerId="ADAL" clId="{75A88773-6EE1-484E-AADE-FE631E01463B}" dt="2025-11-21T06:05:06.278" v="90599"/>
          <ac:spMkLst>
            <pc:docMk/>
            <pc:sldMk cId="3413339761" sldId="2147483073"/>
            <ac:spMk id="2" creationId="{8974724C-00D1-3F33-01C5-8D1814A617C0}"/>
          </ac:spMkLst>
        </pc:spChg>
        <pc:spChg chg="mod">
          <ac:chgData name="Yudi Zhu" userId="571e1a55-055f-4c28-8b35-fca6dd1c1369" providerId="ADAL" clId="{75A88773-6EE1-484E-AADE-FE631E01463B}" dt="2025-11-21T06:05:06.331" v="90643"/>
          <ac:spMkLst>
            <pc:docMk/>
            <pc:sldMk cId="3413339761" sldId="2147483073"/>
            <ac:spMk id="3" creationId="{7BD716FD-56C0-4DA1-1772-5D2BD90A9D92}"/>
          </ac:spMkLst>
        </pc:spChg>
        <pc:spChg chg="mod">
          <ac:chgData name="Yudi Zhu" userId="571e1a55-055f-4c28-8b35-fca6dd1c1369" providerId="ADAL" clId="{75A88773-6EE1-484E-AADE-FE631E01463B}" dt="2025-11-21T06:05:06.325" v="90637"/>
          <ac:spMkLst>
            <pc:docMk/>
            <pc:sldMk cId="3413339761" sldId="2147483073"/>
            <ac:spMk id="4" creationId="{4680589A-177C-580B-2F2E-B78C8E0A9B04}"/>
          </ac:spMkLst>
        </pc:spChg>
        <pc:spChg chg="mod">
          <ac:chgData name="Yudi Zhu" userId="571e1a55-055f-4c28-8b35-fca6dd1c1369" providerId="ADAL" clId="{75A88773-6EE1-484E-AADE-FE631E01463B}" dt="2025-11-21T06:05:06.334" v="90646"/>
          <ac:spMkLst>
            <pc:docMk/>
            <pc:sldMk cId="3413339761" sldId="2147483073"/>
            <ac:spMk id="5" creationId="{5C7BA8F6-7CB7-03BC-1055-6A6F304838A9}"/>
          </ac:spMkLst>
        </pc:spChg>
        <pc:spChg chg="mod">
          <ac:chgData name="Yudi Zhu" userId="571e1a55-055f-4c28-8b35-fca6dd1c1369" providerId="ADAL" clId="{75A88773-6EE1-484E-AADE-FE631E01463B}" dt="2025-11-21T06:05:06.326" v="90638"/>
          <ac:spMkLst>
            <pc:docMk/>
            <pc:sldMk cId="3413339761" sldId="2147483073"/>
            <ac:spMk id="6" creationId="{B6157302-4BD4-18D2-9E8B-D91EF5CC15E1}"/>
          </ac:spMkLst>
        </pc:spChg>
        <pc:spChg chg="mod">
          <ac:chgData name="Yudi Zhu" userId="571e1a55-055f-4c28-8b35-fca6dd1c1369" providerId="ADAL" clId="{75A88773-6EE1-484E-AADE-FE631E01463B}" dt="2025-11-21T06:05:06.329" v="90641"/>
          <ac:spMkLst>
            <pc:docMk/>
            <pc:sldMk cId="3413339761" sldId="2147483073"/>
            <ac:spMk id="7" creationId="{F7AAADF1-9839-C7E7-E6FC-E3D3C87CC286}"/>
          </ac:spMkLst>
        </pc:spChg>
        <pc:spChg chg="add del mod modVis">
          <ac:chgData name="Yudi Zhu" userId="571e1a55-055f-4c28-8b35-fca6dd1c1369" providerId="ADAL" clId="{75A88773-6EE1-484E-AADE-FE631E01463B}" dt="2025-11-21T06:02:24.918" v="70205" actId="478"/>
          <ac:spMkLst>
            <pc:docMk/>
            <pc:sldMk cId="3413339761" sldId="2147483073"/>
            <ac:spMk id="8" creationId="{5BEC976B-C1D7-5829-493A-DF04FF9B0A1F}"/>
          </ac:spMkLst>
        </pc:spChg>
        <pc:spChg chg="mod">
          <ac:chgData name="Yudi Zhu" userId="571e1a55-055f-4c28-8b35-fca6dd1c1369" providerId="ADAL" clId="{75A88773-6EE1-484E-AADE-FE631E01463B}" dt="2025-11-21T06:05:06.336" v="90648"/>
          <ac:spMkLst>
            <pc:docMk/>
            <pc:sldMk cId="3413339761" sldId="2147483073"/>
            <ac:spMk id="10" creationId="{D3CE0FB9-62D5-F69C-A45A-B0C44C07E6E6}"/>
          </ac:spMkLst>
        </pc:spChg>
        <pc:spChg chg="mod">
          <ac:chgData name="Yudi Zhu" userId="571e1a55-055f-4c28-8b35-fca6dd1c1369" providerId="ADAL" clId="{75A88773-6EE1-484E-AADE-FE631E01463B}" dt="2025-11-21T06:05:06.311" v="90626"/>
          <ac:spMkLst>
            <pc:docMk/>
            <pc:sldMk cId="3413339761" sldId="2147483073"/>
            <ac:spMk id="12" creationId="{7B48CF4E-763E-6DA4-BD0C-F18A5FD6AFD4}"/>
          </ac:spMkLst>
        </pc:spChg>
        <pc:spChg chg="mod">
          <ac:chgData name="Yudi Zhu" userId="571e1a55-055f-4c28-8b35-fca6dd1c1369" providerId="ADAL" clId="{75A88773-6EE1-484E-AADE-FE631E01463B}" dt="2025-11-21T06:05:06.338" v="90650"/>
          <ac:spMkLst>
            <pc:docMk/>
            <pc:sldMk cId="3413339761" sldId="2147483073"/>
            <ac:spMk id="13" creationId="{1E77E3DA-A967-AEDC-11CB-1EAA7E909CCA}"/>
          </ac:spMkLst>
        </pc:spChg>
        <pc:spChg chg="mod">
          <ac:chgData name="Yudi Zhu" userId="571e1a55-055f-4c28-8b35-fca6dd1c1369" providerId="ADAL" clId="{75A88773-6EE1-484E-AADE-FE631E01463B}" dt="2025-11-21T06:05:06.330" v="90642"/>
          <ac:spMkLst>
            <pc:docMk/>
            <pc:sldMk cId="3413339761" sldId="2147483073"/>
            <ac:spMk id="14" creationId="{DC6B00BA-3BA2-1B8F-505E-DAE7B39C05B9}"/>
          </ac:spMkLst>
        </pc:spChg>
        <pc:spChg chg="mod">
          <ac:chgData name="Yudi Zhu" userId="571e1a55-055f-4c28-8b35-fca6dd1c1369" providerId="ADAL" clId="{75A88773-6EE1-484E-AADE-FE631E01463B}" dt="2025-11-21T06:05:06.322" v="90634"/>
          <ac:spMkLst>
            <pc:docMk/>
            <pc:sldMk cId="3413339761" sldId="2147483073"/>
            <ac:spMk id="15" creationId="{4A447017-3ED5-C846-A63E-BE54079D887C}"/>
          </ac:spMkLst>
        </pc:spChg>
        <pc:spChg chg="mod">
          <ac:chgData name="Yudi Zhu" userId="571e1a55-055f-4c28-8b35-fca6dd1c1369" providerId="ADAL" clId="{75A88773-6EE1-484E-AADE-FE631E01463B}" dt="2025-11-21T06:05:06.337" v="90649"/>
          <ac:spMkLst>
            <pc:docMk/>
            <pc:sldMk cId="3413339761" sldId="2147483073"/>
            <ac:spMk id="16" creationId="{8F445A0B-9DAD-7B07-ECEE-53F22DDC72EC}"/>
          </ac:spMkLst>
        </pc:spChg>
        <pc:spChg chg="mod">
          <ac:chgData name="Yudi Zhu" userId="571e1a55-055f-4c28-8b35-fca6dd1c1369" providerId="ADAL" clId="{75A88773-6EE1-484E-AADE-FE631E01463B}" dt="2025-11-21T06:05:06.333" v="90645"/>
          <ac:spMkLst>
            <pc:docMk/>
            <pc:sldMk cId="3413339761" sldId="2147483073"/>
            <ac:spMk id="17" creationId="{55FF86AF-3C2A-47C6-7BCA-9D16CF4AA936}"/>
          </ac:spMkLst>
        </pc:spChg>
        <pc:spChg chg="mod">
          <ac:chgData name="Yudi Zhu" userId="571e1a55-055f-4c28-8b35-fca6dd1c1369" providerId="ADAL" clId="{75A88773-6EE1-484E-AADE-FE631E01463B}" dt="2025-11-21T06:05:06.332" v="90644"/>
          <ac:spMkLst>
            <pc:docMk/>
            <pc:sldMk cId="3413339761" sldId="2147483073"/>
            <ac:spMk id="18" creationId="{73A2FFA5-D833-E416-A858-4777730F277F}"/>
          </ac:spMkLst>
        </pc:spChg>
        <pc:spChg chg="add del mod modVis">
          <ac:chgData name="Yudi Zhu" userId="571e1a55-055f-4c28-8b35-fca6dd1c1369" providerId="ADAL" clId="{75A88773-6EE1-484E-AADE-FE631E01463B}" dt="2025-11-21T06:05:08.602" v="91551"/>
          <ac:spMkLst>
            <pc:docMk/>
            <pc:sldMk cId="3413339761" sldId="2147483073"/>
            <ac:spMk id="20" creationId="{EF20FBA4-4210-78C6-B92A-1BD849A9EC96}"/>
          </ac:spMkLst>
        </pc:spChg>
        <pc:spChg chg="mod ord">
          <ac:chgData name="Yudi Zhu" userId="571e1a55-055f-4c28-8b35-fca6dd1c1369" providerId="ADAL" clId="{75A88773-6EE1-484E-AADE-FE631E01463B}" dt="2025-11-21T06:05:06.275" v="90593"/>
          <ac:spMkLst>
            <pc:docMk/>
            <pc:sldMk cId="3413339761" sldId="2147483073"/>
            <ac:spMk id="35" creationId="{255E84E4-837E-9640-9DF0-BDB4AA529036}"/>
          </ac:spMkLst>
        </pc:spChg>
        <pc:spChg chg="mod">
          <ac:chgData name="Yudi Zhu" userId="571e1a55-055f-4c28-8b35-fca6dd1c1369" providerId="ADAL" clId="{75A88773-6EE1-484E-AADE-FE631E01463B}" dt="2025-11-21T06:05:06.343" v="90655"/>
          <ac:spMkLst>
            <pc:docMk/>
            <pc:sldMk cId="3413339761" sldId="2147483073"/>
            <ac:spMk id="46" creationId="{E6319B3A-76F8-91EF-EFEB-3CDB1512D859}"/>
          </ac:spMkLst>
        </pc:spChg>
        <pc:spChg chg="mod ord">
          <ac:chgData name="Yudi Zhu" userId="571e1a55-055f-4c28-8b35-fca6dd1c1369" providerId="ADAL" clId="{75A88773-6EE1-484E-AADE-FE631E01463B}" dt="2025-11-21T06:05:06.310" v="90625"/>
          <ac:spMkLst>
            <pc:docMk/>
            <pc:sldMk cId="3413339761" sldId="2147483073"/>
            <ac:spMk id="47" creationId="{33C6EA5B-93C6-F7B6-C884-27C3C6FAF429}"/>
          </ac:spMkLst>
        </pc:spChg>
        <pc:spChg chg="mod">
          <ac:chgData name="Yudi Zhu" userId="571e1a55-055f-4c28-8b35-fca6dd1c1369" providerId="ADAL" clId="{75A88773-6EE1-484E-AADE-FE631E01463B}" dt="2025-11-21T06:05:06.309" v="90623"/>
          <ac:spMkLst>
            <pc:docMk/>
            <pc:sldMk cId="3413339761" sldId="2147483073"/>
            <ac:spMk id="49" creationId="{E8DFE116-AA5B-50D5-14E1-66B5CF8B92D7}"/>
          </ac:spMkLst>
        </pc:spChg>
        <pc:spChg chg="mod">
          <ac:chgData name="Yudi Zhu" userId="571e1a55-055f-4c28-8b35-fca6dd1c1369" providerId="ADAL" clId="{75A88773-6EE1-484E-AADE-FE631E01463B}" dt="2025-11-21T06:05:06.339" v="90651"/>
          <ac:spMkLst>
            <pc:docMk/>
            <pc:sldMk cId="3413339761" sldId="2147483073"/>
            <ac:spMk id="50" creationId="{3E8588B4-A17F-3B4F-6716-35772A8E6E83}"/>
          </ac:spMkLst>
        </pc:spChg>
        <pc:spChg chg="mod ord">
          <ac:chgData name="Yudi Zhu" userId="571e1a55-055f-4c28-8b35-fca6dd1c1369" providerId="ADAL" clId="{75A88773-6EE1-484E-AADE-FE631E01463B}" dt="2025-11-21T06:05:06.273" v="90591"/>
          <ac:spMkLst>
            <pc:docMk/>
            <pc:sldMk cId="3413339761" sldId="2147483073"/>
            <ac:spMk id="51" creationId="{EEA5D0DB-CA2C-3FCA-E56B-73312A1DED61}"/>
          </ac:spMkLst>
        </pc:spChg>
        <pc:spChg chg="mod ord">
          <ac:chgData name="Yudi Zhu" userId="571e1a55-055f-4c28-8b35-fca6dd1c1369" providerId="ADAL" clId="{75A88773-6EE1-484E-AADE-FE631E01463B}" dt="2025-11-21T06:05:06.272" v="90589"/>
          <ac:spMkLst>
            <pc:docMk/>
            <pc:sldMk cId="3413339761" sldId="2147483073"/>
            <ac:spMk id="52" creationId="{75D5B4AD-2174-399E-44B9-38E24A3D1993}"/>
          </ac:spMkLst>
        </pc:spChg>
        <pc:spChg chg="mod">
          <ac:chgData name="Yudi Zhu" userId="571e1a55-055f-4c28-8b35-fca6dd1c1369" providerId="ADAL" clId="{75A88773-6EE1-484E-AADE-FE631E01463B}" dt="2025-11-21T06:05:06.315" v="90628"/>
          <ac:spMkLst>
            <pc:docMk/>
            <pc:sldMk cId="3413339761" sldId="2147483073"/>
            <ac:spMk id="53" creationId="{43182916-3F09-DE02-8391-4892B73F139B}"/>
          </ac:spMkLst>
        </pc:spChg>
        <pc:spChg chg="mod">
          <ac:chgData name="Yudi Zhu" userId="571e1a55-055f-4c28-8b35-fca6dd1c1369" providerId="ADAL" clId="{75A88773-6EE1-484E-AADE-FE631E01463B}" dt="2025-11-21T06:05:06.312" v="90627"/>
          <ac:spMkLst>
            <pc:docMk/>
            <pc:sldMk cId="3413339761" sldId="2147483073"/>
            <ac:spMk id="55" creationId="{F6E84183-B3F0-8230-EE39-F16C04F3A5BE}"/>
          </ac:spMkLst>
        </pc:spChg>
        <pc:spChg chg="mod ord">
          <ac:chgData name="Yudi Zhu" userId="571e1a55-055f-4c28-8b35-fca6dd1c1369" providerId="ADAL" clId="{75A88773-6EE1-484E-AADE-FE631E01463B}" dt="2025-11-21T06:05:06.304" v="90619"/>
          <ac:spMkLst>
            <pc:docMk/>
            <pc:sldMk cId="3413339761" sldId="2147483073"/>
            <ac:spMk id="57" creationId="{318CFCE6-962F-2E17-297A-0CFDF6232318}"/>
          </ac:spMkLst>
        </pc:spChg>
        <pc:spChg chg="mod ord">
          <ac:chgData name="Yudi Zhu" userId="571e1a55-055f-4c28-8b35-fca6dd1c1369" providerId="ADAL" clId="{75A88773-6EE1-484E-AADE-FE631E01463B}" dt="2025-11-21T06:05:06.306" v="90621"/>
          <ac:spMkLst>
            <pc:docMk/>
            <pc:sldMk cId="3413339761" sldId="2147483073"/>
            <ac:spMk id="58" creationId="{DEDB1868-CA67-5439-3975-574265681B77}"/>
          </ac:spMkLst>
        </pc:spChg>
        <pc:spChg chg="mod">
          <ac:chgData name="Yudi Zhu" userId="571e1a55-055f-4c28-8b35-fca6dd1c1369" providerId="ADAL" clId="{75A88773-6EE1-484E-AADE-FE631E01463B}" dt="2025-11-21T06:05:06.335" v="90647"/>
          <ac:spMkLst>
            <pc:docMk/>
            <pc:sldMk cId="3413339761" sldId="2147483073"/>
            <ac:spMk id="89" creationId="{D31C1B46-6AE9-6FF3-2DE2-D42572274034}"/>
          </ac:spMkLst>
        </pc:spChg>
        <pc:spChg chg="mod">
          <ac:chgData name="Yudi Zhu" userId="571e1a55-055f-4c28-8b35-fca6dd1c1369" providerId="ADAL" clId="{75A88773-6EE1-484E-AADE-FE631E01463B}" dt="2025-11-21T06:05:06.319" v="90631"/>
          <ac:spMkLst>
            <pc:docMk/>
            <pc:sldMk cId="3413339761" sldId="2147483073"/>
            <ac:spMk id="109" creationId="{0E0D9FF2-1DCD-3E3C-7174-3FB7038B0F9A}"/>
          </ac:spMkLst>
        </pc:spChg>
        <pc:spChg chg="mod">
          <ac:chgData name="Yudi Zhu" userId="571e1a55-055f-4c28-8b35-fca6dd1c1369" providerId="ADAL" clId="{75A88773-6EE1-484E-AADE-FE631E01463B}" dt="2025-11-21T06:05:06.323" v="90635"/>
          <ac:spMkLst>
            <pc:docMk/>
            <pc:sldMk cId="3413339761" sldId="2147483073"/>
            <ac:spMk id="110" creationId="{9727EFA2-8BF9-1B05-B3A4-ABFF9BDBA2CC}"/>
          </ac:spMkLst>
        </pc:spChg>
        <pc:spChg chg="mod">
          <ac:chgData name="Yudi Zhu" userId="571e1a55-055f-4c28-8b35-fca6dd1c1369" providerId="ADAL" clId="{75A88773-6EE1-484E-AADE-FE631E01463B}" dt="2025-11-21T06:05:06.324" v="90636"/>
          <ac:spMkLst>
            <pc:docMk/>
            <pc:sldMk cId="3413339761" sldId="2147483073"/>
            <ac:spMk id="111" creationId="{7CD06F8B-66C7-C011-A348-B7CC405AE8D6}"/>
          </ac:spMkLst>
        </pc:spChg>
        <pc:spChg chg="mod">
          <ac:chgData name="Yudi Zhu" userId="571e1a55-055f-4c28-8b35-fca6dd1c1369" providerId="ADAL" clId="{75A88773-6EE1-484E-AADE-FE631E01463B}" dt="2025-11-21T06:05:06.340" v="90652"/>
          <ac:spMkLst>
            <pc:docMk/>
            <pc:sldMk cId="3413339761" sldId="2147483073"/>
            <ac:spMk id="114" creationId="{437E3542-770A-5A78-F929-D60000CF4D4E}"/>
          </ac:spMkLst>
        </pc:spChg>
        <pc:spChg chg="mod">
          <ac:chgData name="Yudi Zhu" userId="571e1a55-055f-4c28-8b35-fca6dd1c1369" providerId="ADAL" clId="{75A88773-6EE1-484E-AADE-FE631E01463B}" dt="2025-11-21T06:05:06.318" v="90630"/>
          <ac:spMkLst>
            <pc:docMk/>
            <pc:sldMk cId="3413339761" sldId="2147483073"/>
            <ac:spMk id="115" creationId="{C93260AF-04E3-FCE7-E416-D913951540A0}"/>
          </ac:spMkLst>
        </pc:spChg>
        <pc:spChg chg="mod">
          <ac:chgData name="Yudi Zhu" userId="571e1a55-055f-4c28-8b35-fca6dd1c1369" providerId="ADAL" clId="{75A88773-6EE1-484E-AADE-FE631E01463B}" dt="2025-11-21T06:05:06.317" v="90629"/>
          <ac:spMkLst>
            <pc:docMk/>
            <pc:sldMk cId="3413339761" sldId="2147483073"/>
            <ac:spMk id="116" creationId="{D1C0EBE9-3FD3-8655-7236-FD36AD36C68A}"/>
          </ac:spMkLst>
        </pc:spChg>
        <pc:spChg chg="mod">
          <ac:chgData name="Yudi Zhu" userId="571e1a55-055f-4c28-8b35-fca6dd1c1369" providerId="ADAL" clId="{75A88773-6EE1-484E-AADE-FE631E01463B}" dt="2025-11-21T06:05:06.341" v="90653"/>
          <ac:spMkLst>
            <pc:docMk/>
            <pc:sldMk cId="3413339761" sldId="2147483073"/>
            <ac:spMk id="117" creationId="{481C25F6-DBCC-9D4F-B1B0-04343D99D10F}"/>
          </ac:spMkLst>
        </pc:spChg>
        <pc:spChg chg="mod ord">
          <ac:chgData name="Yudi Zhu" userId="571e1a55-055f-4c28-8b35-fca6dd1c1369" providerId="ADAL" clId="{75A88773-6EE1-484E-AADE-FE631E01463B}" dt="2025-11-21T06:05:06.328" v="90640"/>
          <ac:spMkLst>
            <pc:docMk/>
            <pc:sldMk cId="3413339761" sldId="2147483073"/>
            <ac:spMk id="118" creationId="{8E7920FB-7EF7-6D75-782C-B35F47D7CCBE}"/>
          </ac:spMkLst>
        </pc:spChg>
        <pc:spChg chg="mod ord">
          <ac:chgData name="Yudi Zhu" userId="571e1a55-055f-4c28-8b35-fca6dd1c1369" providerId="ADAL" clId="{75A88773-6EE1-484E-AADE-FE631E01463B}" dt="2025-11-21T06:05:06.321" v="90633"/>
          <ac:spMkLst>
            <pc:docMk/>
            <pc:sldMk cId="3413339761" sldId="2147483073"/>
            <ac:spMk id="119" creationId="{733CE515-F843-B39F-2306-BF067C2C1529}"/>
          </ac:spMkLst>
        </pc:spChg>
        <pc:spChg chg="mod">
          <ac:chgData name="Yudi Zhu" userId="571e1a55-055f-4c28-8b35-fca6dd1c1369" providerId="ADAL" clId="{75A88773-6EE1-484E-AADE-FE631E01463B}" dt="2025-11-21T06:05:06.342" v="90654"/>
          <ac:spMkLst>
            <pc:docMk/>
            <pc:sldMk cId="3413339761" sldId="2147483073"/>
            <ac:spMk id="121" creationId="{53EF45FE-42B1-DC7D-A875-232F5F23A770}"/>
          </ac:spMkLst>
        </pc:spChg>
        <pc:spChg chg="mod ord">
          <ac:chgData name="Yudi Zhu" userId="571e1a55-055f-4c28-8b35-fca6dd1c1369" providerId="ADAL" clId="{75A88773-6EE1-484E-AADE-FE631E01463B}" dt="2025-11-21T06:05:06.360" v="90672"/>
          <ac:spMkLst>
            <pc:docMk/>
            <pc:sldMk cId="3413339761" sldId="2147483073"/>
            <ac:spMk id="122" creationId="{7FFF5C18-FAD5-98B4-8033-B85B1FC36050}"/>
          </ac:spMkLst>
        </pc:spChg>
        <pc:spChg chg="mod">
          <ac:chgData name="Yudi Zhu" userId="571e1a55-055f-4c28-8b35-fca6dd1c1369" providerId="ADAL" clId="{75A88773-6EE1-484E-AADE-FE631E01463B}" dt="2025-11-21T06:05:06.353" v="90663"/>
          <ac:spMkLst>
            <pc:docMk/>
            <pc:sldMk cId="3413339761" sldId="2147483073"/>
            <ac:spMk id="170" creationId="{34D85DB6-C6F3-8F23-0FB1-EE9C474393B4}"/>
          </ac:spMkLst>
        </pc:spChg>
        <pc:spChg chg="mod">
          <ac:chgData name="Yudi Zhu" userId="571e1a55-055f-4c28-8b35-fca6dd1c1369" providerId="ADAL" clId="{75A88773-6EE1-484E-AADE-FE631E01463B}" dt="2025-11-21T06:05:06.354" v="90664"/>
          <ac:spMkLst>
            <pc:docMk/>
            <pc:sldMk cId="3413339761" sldId="2147483073"/>
            <ac:spMk id="171" creationId="{64305884-2A46-DD1E-CF9D-64CA4F5076D2}"/>
          </ac:spMkLst>
        </pc:spChg>
        <pc:spChg chg="mod">
          <ac:chgData name="Yudi Zhu" userId="571e1a55-055f-4c28-8b35-fca6dd1c1369" providerId="ADAL" clId="{75A88773-6EE1-484E-AADE-FE631E01463B}" dt="2025-11-21T06:05:06.355" v="90665"/>
          <ac:spMkLst>
            <pc:docMk/>
            <pc:sldMk cId="3413339761" sldId="2147483073"/>
            <ac:spMk id="172" creationId="{0B3F9256-484E-B44F-894B-F7A026459BDE}"/>
          </ac:spMkLst>
        </pc:spChg>
        <pc:spChg chg="mod">
          <ac:chgData name="Yudi Zhu" userId="571e1a55-055f-4c28-8b35-fca6dd1c1369" providerId="ADAL" clId="{75A88773-6EE1-484E-AADE-FE631E01463B}" dt="2025-11-21T06:05:06.356" v="90666"/>
          <ac:spMkLst>
            <pc:docMk/>
            <pc:sldMk cId="3413339761" sldId="2147483073"/>
            <ac:spMk id="173" creationId="{103C1631-3488-67C0-55F6-34676A8AC457}"/>
          </ac:spMkLst>
        </pc:spChg>
        <pc:spChg chg="mod ord">
          <ac:chgData name="Yudi Zhu" userId="571e1a55-055f-4c28-8b35-fca6dd1c1369" providerId="ADAL" clId="{75A88773-6EE1-484E-AADE-FE631E01463B}" dt="2025-11-21T06:05:06.344" v="90657"/>
          <ac:spMkLst>
            <pc:docMk/>
            <pc:sldMk cId="3413339761" sldId="2147483073"/>
            <ac:spMk id="176" creationId="{A190CD30-2FF5-460F-4A50-91C3DBB75628}"/>
          </ac:spMkLst>
        </pc:spChg>
        <pc:spChg chg="mod">
          <ac:chgData name="Yudi Zhu" userId="571e1a55-055f-4c28-8b35-fca6dd1c1369" providerId="ADAL" clId="{75A88773-6EE1-484E-AADE-FE631E01463B}" dt="2025-11-21T06:05:06.347" v="90658"/>
          <ac:spMkLst>
            <pc:docMk/>
            <pc:sldMk cId="3413339761" sldId="2147483073"/>
            <ac:spMk id="177" creationId="{B4D8E606-6737-6F3D-2F8C-D8DBBCEBC0DC}"/>
          </ac:spMkLst>
        </pc:spChg>
        <pc:spChg chg="mod ord">
          <ac:chgData name="Yudi Zhu" userId="571e1a55-055f-4c28-8b35-fca6dd1c1369" providerId="ADAL" clId="{75A88773-6EE1-484E-AADE-FE631E01463B}" dt="2025-11-21T06:05:06.349" v="90660"/>
          <ac:spMkLst>
            <pc:docMk/>
            <pc:sldMk cId="3413339761" sldId="2147483073"/>
            <ac:spMk id="178" creationId="{4AB893D8-A47C-3FFA-399C-3B064ABB22B9}"/>
          </ac:spMkLst>
        </pc:spChg>
        <pc:spChg chg="mod ord">
          <ac:chgData name="Yudi Zhu" userId="571e1a55-055f-4c28-8b35-fca6dd1c1369" providerId="ADAL" clId="{75A88773-6EE1-484E-AADE-FE631E01463B}" dt="2025-11-21T06:05:06.351" v="90662"/>
          <ac:spMkLst>
            <pc:docMk/>
            <pc:sldMk cId="3413339761" sldId="2147483073"/>
            <ac:spMk id="179" creationId="{265B2FEF-2E36-EACF-6B26-38D100EDABCD}"/>
          </ac:spMkLst>
        </pc:spChg>
        <pc:spChg chg="mod ord">
          <ac:chgData name="Yudi Zhu" userId="571e1a55-055f-4c28-8b35-fca6dd1c1369" providerId="ADAL" clId="{75A88773-6EE1-484E-AADE-FE631E01463B}" dt="2025-11-21T06:05:06.359" v="90670"/>
          <ac:spMkLst>
            <pc:docMk/>
            <pc:sldMk cId="3413339761" sldId="2147483073"/>
            <ac:spMk id="204" creationId="{D18C2478-1769-2FB5-6C1B-5A688F351D68}"/>
          </ac:spMkLst>
        </pc:spChg>
        <pc:spChg chg="mod ord">
          <ac:chgData name="Yudi Zhu" userId="571e1a55-055f-4c28-8b35-fca6dd1c1369" providerId="ADAL" clId="{75A88773-6EE1-484E-AADE-FE631E01463B}" dt="2025-11-21T06:05:06.277" v="90597"/>
          <ac:spMkLst>
            <pc:docMk/>
            <pc:sldMk cId="3413339761" sldId="2147483073"/>
            <ac:spMk id="206" creationId="{EBDD1E46-CFF6-EC56-2911-3E99E92744F5}"/>
          </ac:spMkLst>
        </pc:spChg>
        <pc:spChg chg="mod ord">
          <ac:chgData name="Yudi Zhu" userId="571e1a55-055f-4c28-8b35-fca6dd1c1369" providerId="ADAL" clId="{75A88773-6EE1-484E-AADE-FE631E01463B}" dt="2025-11-21T06:05:06.276" v="90595"/>
          <ac:spMkLst>
            <pc:docMk/>
            <pc:sldMk cId="3413339761" sldId="2147483073"/>
            <ac:spMk id="259" creationId="{539357EF-50EB-AE54-295E-F3693E70F335}"/>
          </ac:spMkLst>
        </pc:spChg>
        <pc:graphicFrameChg chg="mod">
          <ac:chgData name="Yudi Zhu" userId="571e1a55-055f-4c28-8b35-fca6dd1c1369" providerId="ADAL" clId="{75A88773-6EE1-484E-AADE-FE631E01463B}" dt="2025-11-21T06:05:08.605" v="91553"/>
          <ac:graphicFrameMkLst>
            <pc:docMk/>
            <pc:sldMk cId="3413339761" sldId="2147483073"/>
            <ac:graphicFrameMk id="11" creationId="{D5B2AD06-3C63-52DA-607F-DE2E05FE3590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6.236" v="90582"/>
          <ac:graphicFrameMkLst>
            <pc:docMk/>
            <pc:sldMk cId="3413339761" sldId="2147483073"/>
            <ac:graphicFrameMk id="19" creationId="{FEBAF54B-FD66-4A0C-02EC-EB3A4BB16025}"/>
          </ac:graphicFrameMkLst>
        </pc:graphicFrameChg>
        <pc:graphicFrameChg chg="add mod">
          <ac:chgData name="Yudi Zhu" userId="571e1a55-055f-4c28-8b35-fca6dd1c1369" providerId="ADAL" clId="{75A88773-6EE1-484E-AADE-FE631E01463B}" dt="2025-11-21T06:05:06.307" v="90622"/>
          <ac:graphicFrameMkLst>
            <pc:docMk/>
            <pc:sldMk cId="3413339761" sldId="2147483073"/>
            <ac:graphicFrameMk id="21" creationId="{C9A8852B-E49E-77A4-98AC-EA61BAE03D2B}"/>
          </ac:graphicFrameMkLst>
        </pc:graphicFrameChg>
        <pc:graphicFrameChg chg="del">
          <ac:chgData name="Yudi Zhu" userId="571e1a55-055f-4c28-8b35-fca6dd1c1369" providerId="ADAL" clId="{75A88773-6EE1-484E-AADE-FE631E01463B}" dt="2025-11-21T06:02:23.245" v="69495" actId="478"/>
          <ac:graphicFrameMkLst>
            <pc:docMk/>
            <pc:sldMk cId="3413339761" sldId="2147483073"/>
            <ac:graphicFrameMk id="120" creationId="{255B8697-F512-513C-3322-9C863A2CA40D}"/>
          </ac:graphicFrameMkLst>
        </pc:graphicFrameChg>
        <pc:graphicFrameChg chg="mod ord">
          <ac:chgData name="Yudi Zhu" userId="571e1a55-055f-4c28-8b35-fca6dd1c1369" providerId="ADAL" clId="{75A88773-6EE1-484E-AADE-FE631E01463B}" dt="2025-11-21T06:05:06.358" v="90668"/>
          <ac:graphicFrameMkLst>
            <pc:docMk/>
            <pc:sldMk cId="3413339761" sldId="2147483073"/>
            <ac:graphicFrameMk id="198" creationId="{4B969EF1-17FA-6C38-5435-9E02ABEA89F9}"/>
          </ac:graphicFrameMkLst>
        </pc:graphicFrameChg>
        <pc:cxnChg chg="mod ord">
          <ac:chgData name="Yudi Zhu" userId="571e1a55-055f-4c28-8b35-fca6dd1c1369" providerId="ADAL" clId="{75A88773-6EE1-484E-AADE-FE631E01463B}" dt="2025-11-21T06:05:06.287" v="90605"/>
          <ac:cxnSpMkLst>
            <pc:docMk/>
            <pc:sldMk cId="3413339761" sldId="2147483073"/>
            <ac:cxnSpMk id="9" creationId="{3D935503-FF16-B275-E872-1EF5231FB80D}"/>
          </ac:cxnSpMkLst>
        </pc:cxnChg>
        <pc:cxnChg chg="mod ord">
          <ac:chgData name="Yudi Zhu" userId="571e1a55-055f-4c28-8b35-fca6dd1c1369" providerId="ADAL" clId="{75A88773-6EE1-484E-AADE-FE631E01463B}" dt="2025-11-21T06:05:06.282" v="90601"/>
          <ac:cxnSpMkLst>
            <pc:docMk/>
            <pc:sldMk cId="3413339761" sldId="2147483073"/>
            <ac:cxnSpMk id="25" creationId="{AB6957C8-7617-3D58-2BED-CC56A584F93A}"/>
          </ac:cxnSpMkLst>
        </pc:cxnChg>
        <pc:cxnChg chg="mod ord">
          <ac:chgData name="Yudi Zhu" userId="571e1a55-055f-4c28-8b35-fca6dd1c1369" providerId="ADAL" clId="{75A88773-6EE1-484E-AADE-FE631E01463B}" dt="2025-11-21T06:05:06.290" v="90607"/>
          <ac:cxnSpMkLst>
            <pc:docMk/>
            <pc:sldMk cId="3413339761" sldId="2147483073"/>
            <ac:cxnSpMk id="26" creationId="{F4EEDD22-1155-5C64-3019-185083033A7E}"/>
          </ac:cxnSpMkLst>
        </pc:cxnChg>
        <pc:cxnChg chg="mod ord">
          <ac:chgData name="Yudi Zhu" userId="571e1a55-055f-4c28-8b35-fca6dd1c1369" providerId="ADAL" clId="{75A88773-6EE1-484E-AADE-FE631E01463B}" dt="2025-11-21T06:05:06.284" v="90603"/>
          <ac:cxnSpMkLst>
            <pc:docMk/>
            <pc:sldMk cId="3413339761" sldId="2147483073"/>
            <ac:cxnSpMk id="40" creationId="{C8D8368D-467D-C6BA-A444-BBC91CB2CC67}"/>
          </ac:cxnSpMkLst>
        </pc:cxnChg>
        <pc:cxnChg chg="mod ord">
          <ac:chgData name="Yudi Zhu" userId="571e1a55-055f-4c28-8b35-fca6dd1c1369" providerId="ADAL" clId="{75A88773-6EE1-484E-AADE-FE631E01463B}" dt="2025-11-21T06:05:06.294" v="90611"/>
          <ac:cxnSpMkLst>
            <pc:docMk/>
            <pc:sldMk cId="3413339761" sldId="2147483073"/>
            <ac:cxnSpMk id="48" creationId="{0F22AC41-7D56-A134-3842-12738EB42854}"/>
          </ac:cxnSpMkLst>
        </pc:cxnChg>
        <pc:cxnChg chg="mod ord">
          <ac:chgData name="Yudi Zhu" userId="571e1a55-055f-4c28-8b35-fca6dd1c1369" providerId="ADAL" clId="{75A88773-6EE1-484E-AADE-FE631E01463B}" dt="2025-11-21T06:05:06.292" v="90609"/>
          <ac:cxnSpMkLst>
            <pc:docMk/>
            <pc:sldMk cId="3413339761" sldId="2147483073"/>
            <ac:cxnSpMk id="81" creationId="{CCD24C00-ABF8-6D03-A3E0-4923F3D39164}"/>
          </ac:cxnSpMkLst>
        </pc:cxnChg>
        <pc:cxnChg chg="mod ord">
          <ac:chgData name="Yudi Zhu" userId="571e1a55-055f-4c28-8b35-fca6dd1c1369" providerId="ADAL" clId="{75A88773-6EE1-484E-AADE-FE631E01463B}" dt="2025-11-21T06:05:06.297" v="90613"/>
          <ac:cxnSpMkLst>
            <pc:docMk/>
            <pc:sldMk cId="3413339761" sldId="2147483073"/>
            <ac:cxnSpMk id="123" creationId="{D458536C-D91E-32EA-DA27-5D4F91A7370F}"/>
          </ac:cxnSpMkLst>
        </pc:cxnChg>
        <pc:cxnChg chg="mod ord">
          <ac:chgData name="Yudi Zhu" userId="571e1a55-055f-4c28-8b35-fca6dd1c1369" providerId="ADAL" clId="{75A88773-6EE1-484E-AADE-FE631E01463B}" dt="2025-11-21T06:05:06.300" v="90615"/>
          <ac:cxnSpMkLst>
            <pc:docMk/>
            <pc:sldMk cId="3413339761" sldId="2147483073"/>
            <ac:cxnSpMk id="124" creationId="{01F46A4E-6AA8-B0DD-A02E-82E8954A5BE2}"/>
          </ac:cxnSpMkLst>
        </pc:cxnChg>
        <pc:cxnChg chg="mod ord">
          <ac:chgData name="Yudi Zhu" userId="571e1a55-055f-4c28-8b35-fca6dd1c1369" providerId="ADAL" clId="{75A88773-6EE1-484E-AADE-FE631E01463B}" dt="2025-11-21T06:05:06.303" v="90617"/>
          <ac:cxnSpMkLst>
            <pc:docMk/>
            <pc:sldMk cId="3413339761" sldId="2147483073"/>
            <ac:cxnSpMk id="125" creationId="{22DF29A9-8B17-5518-25C7-0F37A0B6DFEA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12.172" v="92293" actId="1076"/>
        <pc:sldMkLst>
          <pc:docMk/>
          <pc:sldMk cId="3782203074" sldId="2147483078"/>
        </pc:sldMkLst>
        <pc:spChg chg="mod ord">
          <ac:chgData name="Yudi Zhu" userId="571e1a55-055f-4c28-8b35-fca6dd1c1369" providerId="ADAL" clId="{75A88773-6EE1-484E-AADE-FE631E01463B}" dt="2025-11-21T06:05:12.110" v="92275"/>
          <ac:spMkLst>
            <pc:docMk/>
            <pc:sldMk cId="3782203074" sldId="2147483078"/>
            <ac:spMk id="2" creationId="{55FB879D-49C4-3AD6-1024-6EF4C4A1F55B}"/>
          </ac:spMkLst>
        </pc:spChg>
        <pc:spChg chg="add del mod modVis">
          <ac:chgData name="Yudi Zhu" userId="571e1a55-055f-4c28-8b35-fca6dd1c1369" providerId="ADAL" clId="{75A88773-6EE1-484E-AADE-FE631E01463B}" dt="2025-11-21T06:02:24.863" v="70195" actId="478"/>
          <ac:spMkLst>
            <pc:docMk/>
            <pc:sldMk cId="3782203074" sldId="2147483078"/>
            <ac:spMk id="3" creationId="{68F8B82C-9DEB-4A03-7E1A-07E6480BFA91}"/>
          </ac:spMkLst>
        </pc:spChg>
        <pc:spChg chg="add del mod">
          <ac:chgData name="Yudi Zhu" userId="571e1a55-055f-4c28-8b35-fca6dd1c1369" providerId="ADAL" clId="{75A88773-6EE1-484E-AADE-FE631E01463B}" dt="2025-11-21T06:05:00.929" v="88515"/>
          <ac:spMkLst>
            <pc:docMk/>
            <pc:sldMk cId="3782203074" sldId="2147483078"/>
            <ac:spMk id="4" creationId="{DA9630B7-6E8F-E01F-E7A2-E66A0B24A6B0}"/>
          </ac:spMkLst>
        </pc:spChg>
        <pc:spChg chg="mod">
          <ac:chgData name="Yudi Zhu" userId="571e1a55-055f-4c28-8b35-fca6dd1c1369" providerId="ADAL" clId="{75A88773-6EE1-484E-AADE-FE631E01463B}" dt="2025-11-21T06:05:01.086" v="88587"/>
          <ac:spMkLst>
            <pc:docMk/>
            <pc:sldMk cId="3782203074" sldId="2147483078"/>
            <ac:spMk id="5" creationId="{AA3ABC07-BAC6-D2CF-C122-D311E39F42E1}"/>
          </ac:spMkLst>
        </pc:spChg>
        <pc:spChg chg="mod">
          <ac:chgData name="Yudi Zhu" userId="571e1a55-055f-4c28-8b35-fca6dd1c1369" providerId="ADAL" clId="{75A88773-6EE1-484E-AADE-FE631E01463B}" dt="2025-11-21T06:05:01.088" v="88588"/>
          <ac:spMkLst>
            <pc:docMk/>
            <pc:sldMk cId="3782203074" sldId="2147483078"/>
            <ac:spMk id="6" creationId="{8CF938BD-1A32-283E-FFB3-7F782FE332A2}"/>
          </ac:spMkLst>
        </pc:spChg>
        <pc:spChg chg="add del mod">
          <ac:chgData name="Yudi Zhu" userId="571e1a55-055f-4c28-8b35-fca6dd1c1369" providerId="ADAL" clId="{75A88773-6EE1-484E-AADE-FE631E01463B}" dt="2025-11-21T06:05:00.932" v="88516"/>
          <ac:spMkLst>
            <pc:docMk/>
            <pc:sldMk cId="3782203074" sldId="2147483078"/>
            <ac:spMk id="7" creationId="{981E084C-320B-3187-1AD3-5972CB51D6E5}"/>
          </ac:spMkLst>
        </pc:spChg>
        <pc:spChg chg="add del mod">
          <ac:chgData name="Yudi Zhu" userId="571e1a55-055f-4c28-8b35-fca6dd1c1369" providerId="ADAL" clId="{75A88773-6EE1-484E-AADE-FE631E01463B}" dt="2025-11-21T06:05:00.933" v="88517"/>
          <ac:spMkLst>
            <pc:docMk/>
            <pc:sldMk cId="3782203074" sldId="2147483078"/>
            <ac:spMk id="8" creationId="{C1D5732A-7B2C-0068-29A2-75FAA805A83F}"/>
          </ac:spMkLst>
        </pc:spChg>
        <pc:spChg chg="add del mod">
          <ac:chgData name="Yudi Zhu" userId="571e1a55-055f-4c28-8b35-fca6dd1c1369" providerId="ADAL" clId="{75A88773-6EE1-484E-AADE-FE631E01463B}" dt="2025-11-21T06:05:00.935" v="88518"/>
          <ac:spMkLst>
            <pc:docMk/>
            <pc:sldMk cId="3782203074" sldId="2147483078"/>
            <ac:spMk id="9" creationId="{AB35175F-4D75-B326-CCB0-4F5B3213E2FC}"/>
          </ac:spMkLst>
        </pc:spChg>
        <pc:spChg chg="add del mod">
          <ac:chgData name="Yudi Zhu" userId="571e1a55-055f-4c28-8b35-fca6dd1c1369" providerId="ADAL" clId="{75A88773-6EE1-484E-AADE-FE631E01463B}" dt="2025-11-21T06:05:00.936" v="88519"/>
          <ac:spMkLst>
            <pc:docMk/>
            <pc:sldMk cId="3782203074" sldId="2147483078"/>
            <ac:spMk id="10" creationId="{92BE1366-D5BB-50D7-25A6-14E068298A68}"/>
          </ac:spMkLst>
        </pc:spChg>
        <pc:spChg chg="add del mod">
          <ac:chgData name="Yudi Zhu" userId="571e1a55-055f-4c28-8b35-fca6dd1c1369" providerId="ADAL" clId="{75A88773-6EE1-484E-AADE-FE631E01463B}" dt="2025-11-21T06:05:00.937" v="88520"/>
          <ac:spMkLst>
            <pc:docMk/>
            <pc:sldMk cId="3782203074" sldId="2147483078"/>
            <ac:spMk id="12" creationId="{5E2A24A7-2248-E7CF-B204-CCBB8E05F08D}"/>
          </ac:spMkLst>
        </pc:spChg>
        <pc:spChg chg="del mod modVis">
          <ac:chgData name="Yudi Zhu" userId="571e1a55-055f-4c28-8b35-fca6dd1c1369" providerId="ADAL" clId="{75A88773-6EE1-484E-AADE-FE631E01463B}" dt="2025-11-21T06:02:27.939" v="71078" actId="478"/>
          <ac:spMkLst>
            <pc:docMk/>
            <pc:sldMk cId="3782203074" sldId="2147483078"/>
            <ac:spMk id="14" creationId="{97E22E08-2D83-FE5D-000A-E4FA70CC1B21}"/>
          </ac:spMkLst>
        </pc:spChg>
        <pc:spChg chg="add del mod modVis">
          <ac:chgData name="Yudi Zhu" userId="571e1a55-055f-4c28-8b35-fca6dd1c1369" providerId="ADAL" clId="{75A88773-6EE1-484E-AADE-FE631E01463B}" dt="2025-11-21T06:05:08.530" v="91531"/>
          <ac:spMkLst>
            <pc:docMk/>
            <pc:sldMk cId="3782203074" sldId="2147483078"/>
            <ac:spMk id="21" creationId="{FF29A4B2-DE2C-42C4-2196-9BF194EDEC29}"/>
          </ac:spMkLst>
        </pc:spChg>
        <pc:spChg chg="del mod modVis">
          <ac:chgData name="Yudi Zhu" userId="571e1a55-055f-4c28-8b35-fca6dd1c1369" providerId="ADAL" clId="{75A88773-6EE1-484E-AADE-FE631E01463B}" dt="2025-11-21T06:05:12.170" v="92292" actId="478"/>
          <ac:spMkLst>
            <pc:docMk/>
            <pc:sldMk cId="3782203074" sldId="2147483078"/>
            <ac:spMk id="23" creationId="{30F404A3-07A8-1B37-3C94-017339F43EDC}"/>
          </ac:spMkLst>
        </pc:spChg>
        <pc:spChg chg="mod">
          <ac:chgData name="Yudi Zhu" userId="571e1a55-055f-4c28-8b35-fca6dd1c1369" providerId="ADAL" clId="{75A88773-6EE1-484E-AADE-FE631E01463B}" dt="2025-11-21T06:05:01.124" v="88620"/>
          <ac:spMkLst>
            <pc:docMk/>
            <pc:sldMk cId="3782203074" sldId="2147483078"/>
            <ac:spMk id="120" creationId="{69FF4D9B-F53F-ACB4-166C-D14DB4F0F507}"/>
          </ac:spMkLst>
        </pc:spChg>
        <pc:spChg chg="mod">
          <ac:chgData name="Yudi Zhu" userId="571e1a55-055f-4c28-8b35-fca6dd1c1369" providerId="ADAL" clId="{75A88773-6EE1-484E-AADE-FE631E01463B}" dt="2025-11-21T06:05:01.125" v="88621"/>
          <ac:spMkLst>
            <pc:docMk/>
            <pc:sldMk cId="3782203074" sldId="2147483078"/>
            <ac:spMk id="122" creationId="{BBA79E20-9229-BDDD-5D71-AC278B3550B3}"/>
          </ac:spMkLst>
        </pc:spChg>
        <pc:spChg chg="mod">
          <ac:chgData name="Yudi Zhu" userId="571e1a55-055f-4c28-8b35-fca6dd1c1369" providerId="ADAL" clId="{75A88773-6EE1-484E-AADE-FE631E01463B}" dt="2025-11-21T06:05:01.127" v="88622"/>
          <ac:spMkLst>
            <pc:docMk/>
            <pc:sldMk cId="3782203074" sldId="2147483078"/>
            <ac:spMk id="123" creationId="{0845FA76-57BF-1C64-D308-80DEBA64A5D4}"/>
          </ac:spMkLst>
        </pc:spChg>
        <pc:spChg chg="mod ord">
          <ac:chgData name="Yudi Zhu" userId="571e1a55-055f-4c28-8b35-fca6dd1c1369" providerId="ADAL" clId="{75A88773-6EE1-484E-AADE-FE631E01463B}" dt="2025-11-21T06:05:12.157" v="92288"/>
          <ac:spMkLst>
            <pc:docMk/>
            <pc:sldMk cId="3782203074" sldId="2147483078"/>
            <ac:spMk id="124" creationId="{73F51571-3D31-BB8F-096E-3CC0B86B3E53}"/>
          </ac:spMkLst>
        </pc:spChg>
        <pc:spChg chg="mod ord">
          <ac:chgData name="Yudi Zhu" userId="571e1a55-055f-4c28-8b35-fca6dd1c1369" providerId="ADAL" clId="{75A88773-6EE1-484E-AADE-FE631E01463B}" dt="2025-11-21T06:05:12.159" v="92289"/>
          <ac:spMkLst>
            <pc:docMk/>
            <pc:sldMk cId="3782203074" sldId="2147483078"/>
            <ac:spMk id="125" creationId="{0343D8F9-65A3-A260-B28A-B492B2202015}"/>
          </ac:spMkLst>
        </pc:spChg>
        <pc:spChg chg="mod ord">
          <ac:chgData name="Yudi Zhu" userId="571e1a55-055f-4c28-8b35-fca6dd1c1369" providerId="ADAL" clId="{75A88773-6EE1-484E-AADE-FE631E01463B}" dt="2025-11-21T06:05:12.160" v="92290"/>
          <ac:spMkLst>
            <pc:docMk/>
            <pc:sldMk cId="3782203074" sldId="2147483078"/>
            <ac:spMk id="126" creationId="{BA8B0477-AD56-8E70-0395-1ADF15E447F4}"/>
          </ac:spMkLst>
        </pc:spChg>
        <pc:spChg chg="mod">
          <ac:chgData name="Yudi Zhu" userId="571e1a55-055f-4c28-8b35-fca6dd1c1369" providerId="ADAL" clId="{75A88773-6EE1-484E-AADE-FE631E01463B}" dt="2025-11-21T06:05:01.089" v="88589"/>
          <ac:spMkLst>
            <pc:docMk/>
            <pc:sldMk cId="3782203074" sldId="2147483078"/>
            <ac:spMk id="264" creationId="{42D37D27-F5B5-79CC-237C-0FE97EE50339}"/>
          </ac:spMkLst>
        </pc:spChg>
        <pc:spChg chg="mod">
          <ac:chgData name="Yudi Zhu" userId="571e1a55-055f-4c28-8b35-fca6dd1c1369" providerId="ADAL" clId="{75A88773-6EE1-484E-AADE-FE631E01463B}" dt="2025-11-21T06:05:01.091" v="88591"/>
          <ac:spMkLst>
            <pc:docMk/>
            <pc:sldMk cId="3782203074" sldId="2147483078"/>
            <ac:spMk id="265" creationId="{5FB799B1-0A35-BC5A-A1E2-F73DABAC4F82}"/>
          </ac:spMkLst>
        </pc:spChg>
        <pc:spChg chg="mod">
          <ac:chgData name="Yudi Zhu" userId="571e1a55-055f-4c28-8b35-fca6dd1c1369" providerId="ADAL" clId="{75A88773-6EE1-484E-AADE-FE631E01463B}" dt="2025-11-21T06:05:01.093" v="88593"/>
          <ac:spMkLst>
            <pc:docMk/>
            <pc:sldMk cId="3782203074" sldId="2147483078"/>
            <ac:spMk id="266" creationId="{E3DAA97C-387C-68CA-023E-5F36FDA219E7}"/>
          </ac:spMkLst>
        </pc:spChg>
        <pc:spChg chg="mod">
          <ac:chgData name="Yudi Zhu" userId="571e1a55-055f-4c28-8b35-fca6dd1c1369" providerId="ADAL" clId="{75A88773-6EE1-484E-AADE-FE631E01463B}" dt="2025-11-21T06:05:01.095" v="88596"/>
          <ac:spMkLst>
            <pc:docMk/>
            <pc:sldMk cId="3782203074" sldId="2147483078"/>
            <ac:spMk id="267" creationId="{00CCF0FF-677C-9338-B2D6-90E0C0B9787B}"/>
          </ac:spMkLst>
        </pc:spChg>
        <pc:spChg chg="mod ord">
          <ac:chgData name="Yudi Zhu" userId="571e1a55-055f-4c28-8b35-fca6dd1c1369" providerId="ADAL" clId="{75A88773-6EE1-484E-AADE-FE631E01463B}" dt="2025-11-21T06:05:12.140" v="92286"/>
          <ac:spMkLst>
            <pc:docMk/>
            <pc:sldMk cId="3782203074" sldId="2147483078"/>
            <ac:spMk id="268" creationId="{B1F67D94-A55F-6E87-F56B-AA047B69AA3B}"/>
          </ac:spMkLst>
        </pc:spChg>
        <pc:spChg chg="mod">
          <ac:chgData name="Yudi Zhu" userId="571e1a55-055f-4c28-8b35-fca6dd1c1369" providerId="ADAL" clId="{75A88773-6EE1-484E-AADE-FE631E01463B}" dt="2025-11-21T06:05:01.103" v="88602"/>
          <ac:spMkLst>
            <pc:docMk/>
            <pc:sldMk cId="3782203074" sldId="2147483078"/>
            <ac:spMk id="269" creationId="{CCD82100-CFBF-6D5A-1C7B-EB538DAF629C}"/>
          </ac:spMkLst>
        </pc:spChg>
        <pc:spChg chg="mod">
          <ac:chgData name="Yudi Zhu" userId="571e1a55-055f-4c28-8b35-fca6dd1c1369" providerId="ADAL" clId="{75A88773-6EE1-484E-AADE-FE631E01463B}" dt="2025-11-21T06:05:01.105" v="88604"/>
          <ac:spMkLst>
            <pc:docMk/>
            <pc:sldMk cId="3782203074" sldId="2147483078"/>
            <ac:spMk id="270" creationId="{F212CDA8-C9F1-586D-4BF6-0BAAE3E9060E}"/>
          </ac:spMkLst>
        </pc:spChg>
        <pc:spChg chg="mod">
          <ac:chgData name="Yudi Zhu" userId="571e1a55-055f-4c28-8b35-fca6dd1c1369" providerId="ADAL" clId="{75A88773-6EE1-484E-AADE-FE631E01463B}" dt="2025-11-21T06:05:01.107" v="88606"/>
          <ac:spMkLst>
            <pc:docMk/>
            <pc:sldMk cId="3782203074" sldId="2147483078"/>
            <ac:spMk id="271" creationId="{781F84A9-0E53-0126-5FAF-B7CFE5A6728F}"/>
          </ac:spMkLst>
        </pc:spChg>
        <pc:spChg chg="mod">
          <ac:chgData name="Yudi Zhu" userId="571e1a55-055f-4c28-8b35-fca6dd1c1369" providerId="ADAL" clId="{75A88773-6EE1-484E-AADE-FE631E01463B}" dt="2025-11-21T06:05:01.109" v="88608"/>
          <ac:spMkLst>
            <pc:docMk/>
            <pc:sldMk cId="3782203074" sldId="2147483078"/>
            <ac:spMk id="272" creationId="{4BCC02E0-7A1B-A9E8-B374-610A79F00D10}"/>
          </ac:spMkLst>
        </pc:spChg>
        <pc:spChg chg="mod">
          <ac:chgData name="Yudi Zhu" userId="571e1a55-055f-4c28-8b35-fca6dd1c1369" providerId="ADAL" clId="{75A88773-6EE1-484E-AADE-FE631E01463B}" dt="2025-11-21T06:05:01.112" v="88610"/>
          <ac:spMkLst>
            <pc:docMk/>
            <pc:sldMk cId="3782203074" sldId="2147483078"/>
            <ac:spMk id="273" creationId="{E4AB7981-F4E2-70D2-6383-5142E58AF47C}"/>
          </ac:spMkLst>
        </pc:spChg>
        <pc:spChg chg="mod">
          <ac:chgData name="Yudi Zhu" userId="571e1a55-055f-4c28-8b35-fca6dd1c1369" providerId="ADAL" clId="{75A88773-6EE1-484E-AADE-FE631E01463B}" dt="2025-11-21T06:05:01.115" v="88612"/>
          <ac:spMkLst>
            <pc:docMk/>
            <pc:sldMk cId="3782203074" sldId="2147483078"/>
            <ac:spMk id="274" creationId="{CFB7C5EB-6C59-BF57-D4E2-2885D5174A89}"/>
          </ac:spMkLst>
        </pc:spChg>
        <pc:spChg chg="mod">
          <ac:chgData name="Yudi Zhu" userId="571e1a55-055f-4c28-8b35-fca6dd1c1369" providerId="ADAL" clId="{75A88773-6EE1-484E-AADE-FE631E01463B}" dt="2025-11-21T06:05:01.090" v="88590"/>
          <ac:spMkLst>
            <pc:docMk/>
            <pc:sldMk cId="3782203074" sldId="2147483078"/>
            <ac:spMk id="413" creationId="{17F3B7F0-5584-8227-872C-6509F8A69F5D}"/>
          </ac:spMkLst>
        </pc:spChg>
        <pc:spChg chg="mod">
          <ac:chgData name="Yudi Zhu" userId="571e1a55-055f-4c28-8b35-fca6dd1c1369" providerId="ADAL" clId="{75A88773-6EE1-484E-AADE-FE631E01463B}" dt="2025-11-21T06:05:01.092" v="88592"/>
          <ac:spMkLst>
            <pc:docMk/>
            <pc:sldMk cId="3782203074" sldId="2147483078"/>
            <ac:spMk id="417" creationId="{CF5E2072-AED3-420D-DCA4-97F70D26F374}"/>
          </ac:spMkLst>
        </pc:spChg>
        <pc:spChg chg="mod ord">
          <ac:chgData name="Yudi Zhu" userId="571e1a55-055f-4c28-8b35-fca6dd1c1369" providerId="ADAL" clId="{75A88773-6EE1-484E-AADE-FE631E01463B}" dt="2025-11-21T06:05:12.137" v="92285"/>
          <ac:spMkLst>
            <pc:docMk/>
            <pc:sldMk cId="3782203074" sldId="2147483078"/>
            <ac:spMk id="418" creationId="{6490860E-ADED-5197-D44B-4EDC913D0765}"/>
          </ac:spMkLst>
        </pc:spChg>
        <pc:spChg chg="mod">
          <ac:chgData name="Yudi Zhu" userId="571e1a55-055f-4c28-8b35-fca6dd1c1369" providerId="ADAL" clId="{75A88773-6EE1-484E-AADE-FE631E01463B}" dt="2025-11-21T06:05:01.097" v="88597"/>
          <ac:spMkLst>
            <pc:docMk/>
            <pc:sldMk cId="3782203074" sldId="2147483078"/>
            <ac:spMk id="419" creationId="{79CF372C-5DD3-74C1-81D8-E66DACA9B57C}"/>
          </ac:spMkLst>
        </pc:spChg>
        <pc:spChg chg="mod ord">
          <ac:chgData name="Yudi Zhu" userId="571e1a55-055f-4c28-8b35-fca6dd1c1369" providerId="ADAL" clId="{75A88773-6EE1-484E-AADE-FE631E01463B}" dt="2025-11-21T06:05:12.141" v="92287"/>
          <ac:spMkLst>
            <pc:docMk/>
            <pc:sldMk cId="3782203074" sldId="2147483078"/>
            <ac:spMk id="420" creationId="{FF50771F-D43A-AB6A-733E-9A2A14FF01AF}"/>
          </ac:spMkLst>
        </pc:spChg>
        <pc:spChg chg="mod">
          <ac:chgData name="Yudi Zhu" userId="571e1a55-055f-4c28-8b35-fca6dd1c1369" providerId="ADAL" clId="{75A88773-6EE1-484E-AADE-FE631E01463B}" dt="2025-11-21T06:05:01.104" v="88603"/>
          <ac:spMkLst>
            <pc:docMk/>
            <pc:sldMk cId="3782203074" sldId="2147483078"/>
            <ac:spMk id="421" creationId="{C1AA4B55-1758-5947-0740-4D60275A18EB}"/>
          </ac:spMkLst>
        </pc:spChg>
        <pc:spChg chg="mod">
          <ac:chgData name="Yudi Zhu" userId="571e1a55-055f-4c28-8b35-fca6dd1c1369" providerId="ADAL" clId="{75A88773-6EE1-484E-AADE-FE631E01463B}" dt="2025-11-21T06:05:01.106" v="88605"/>
          <ac:spMkLst>
            <pc:docMk/>
            <pc:sldMk cId="3782203074" sldId="2147483078"/>
            <ac:spMk id="422" creationId="{222F8A2A-0A36-A85E-9EFA-93443FE189E6}"/>
          </ac:spMkLst>
        </pc:spChg>
        <pc:spChg chg="mod">
          <ac:chgData name="Yudi Zhu" userId="571e1a55-055f-4c28-8b35-fca6dd1c1369" providerId="ADAL" clId="{75A88773-6EE1-484E-AADE-FE631E01463B}" dt="2025-11-21T06:05:01.108" v="88607"/>
          <ac:spMkLst>
            <pc:docMk/>
            <pc:sldMk cId="3782203074" sldId="2147483078"/>
            <ac:spMk id="423" creationId="{2B883216-9479-468A-72D0-F2F15B88F25E}"/>
          </ac:spMkLst>
        </pc:spChg>
        <pc:spChg chg="mod">
          <ac:chgData name="Yudi Zhu" userId="571e1a55-055f-4c28-8b35-fca6dd1c1369" providerId="ADAL" clId="{75A88773-6EE1-484E-AADE-FE631E01463B}" dt="2025-11-21T06:05:01.110" v="88609"/>
          <ac:spMkLst>
            <pc:docMk/>
            <pc:sldMk cId="3782203074" sldId="2147483078"/>
            <ac:spMk id="424" creationId="{AC38DB3E-0982-3AF6-4ACF-3772ADA5FE14}"/>
          </ac:spMkLst>
        </pc:spChg>
        <pc:spChg chg="mod">
          <ac:chgData name="Yudi Zhu" userId="571e1a55-055f-4c28-8b35-fca6dd1c1369" providerId="ADAL" clId="{75A88773-6EE1-484E-AADE-FE631E01463B}" dt="2025-11-21T06:05:01.113" v="88611"/>
          <ac:spMkLst>
            <pc:docMk/>
            <pc:sldMk cId="3782203074" sldId="2147483078"/>
            <ac:spMk id="425" creationId="{213CB26B-BD65-6613-AFAD-5C24261206F3}"/>
          </ac:spMkLst>
        </pc:spChg>
        <pc:spChg chg="mod">
          <ac:chgData name="Yudi Zhu" userId="571e1a55-055f-4c28-8b35-fca6dd1c1369" providerId="ADAL" clId="{75A88773-6EE1-484E-AADE-FE631E01463B}" dt="2025-11-21T06:05:01.118" v="88613"/>
          <ac:spMkLst>
            <pc:docMk/>
            <pc:sldMk cId="3782203074" sldId="2147483078"/>
            <ac:spMk id="426" creationId="{1AE7992E-D6A9-0457-1738-E4059D76E0BA}"/>
          </ac:spMkLst>
        </pc:spChg>
        <pc:spChg chg="mod">
          <ac:chgData name="Yudi Zhu" userId="571e1a55-055f-4c28-8b35-fca6dd1c1369" providerId="ADAL" clId="{75A88773-6EE1-484E-AADE-FE631E01463B}" dt="2025-11-21T06:05:01.131" v="88624"/>
          <ac:spMkLst>
            <pc:docMk/>
            <pc:sldMk cId="3782203074" sldId="2147483078"/>
            <ac:spMk id="555" creationId="{6F0A8082-0442-A78D-992A-1F2952291069}"/>
          </ac:spMkLst>
        </pc:spChg>
        <pc:spChg chg="mod">
          <ac:chgData name="Yudi Zhu" userId="571e1a55-055f-4c28-8b35-fca6dd1c1369" providerId="ADAL" clId="{75A88773-6EE1-484E-AADE-FE631E01463B}" dt="2025-11-21T06:05:01.129" v="88623"/>
          <ac:spMkLst>
            <pc:docMk/>
            <pc:sldMk cId="3782203074" sldId="2147483078"/>
            <ac:spMk id="557" creationId="{F9A5B3FB-2117-EDB9-3358-ABAA8B800EF7}"/>
          </ac:spMkLst>
        </pc:spChg>
        <pc:spChg chg="mod ord">
          <ac:chgData name="Yudi Zhu" userId="571e1a55-055f-4c28-8b35-fca6dd1c1369" providerId="ADAL" clId="{75A88773-6EE1-484E-AADE-FE631E01463B}" dt="2025-11-21T06:05:12.168" v="92291"/>
          <ac:spMkLst>
            <pc:docMk/>
            <pc:sldMk cId="3782203074" sldId="2147483078"/>
            <ac:spMk id="576" creationId="{31A080CC-9697-5E52-78B5-505FD44A5672}"/>
          </ac:spMkLst>
        </pc:spChg>
        <pc:graphicFrameChg chg="mod">
          <ac:chgData name="Yudi Zhu" userId="571e1a55-055f-4c28-8b35-fca6dd1c1369" providerId="ADAL" clId="{75A88773-6EE1-484E-AADE-FE631E01463B}" dt="2025-11-21T06:05:12.172" v="92293" actId="1076"/>
          <ac:graphicFrameMkLst>
            <pc:docMk/>
            <pc:sldMk cId="3782203074" sldId="2147483078"/>
            <ac:graphicFrameMk id="11" creationId="{C305DA93-495D-3429-0D23-05A991A8D5A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27.896" v="71058" actId="478"/>
          <ac:graphicFrameMkLst>
            <pc:docMk/>
            <pc:sldMk cId="3782203074" sldId="2147483078"/>
            <ac:graphicFrameMk id="13" creationId="{0AFFE11E-7528-4A03-433D-0E17D948ED44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0.951" v="88532"/>
          <ac:graphicFrameMkLst>
            <pc:docMk/>
            <pc:sldMk cId="3782203074" sldId="2147483078"/>
            <ac:graphicFrameMk id="20" creationId="{DC6ADF4B-FDEB-ACB4-E7E3-D930672202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2.086" v="92272" actId="478"/>
          <ac:graphicFrameMkLst>
            <pc:docMk/>
            <pc:sldMk cId="3782203074" sldId="2147483078"/>
            <ac:graphicFrameMk id="22" creationId="{08F9A4C5-C6A4-343D-7F83-A861CE3D6ED9}"/>
          </ac:graphicFrameMkLst>
        </pc:graphicFrameChg>
        <pc:graphicFrameChg chg="mod">
          <ac:chgData name="Yudi Zhu" userId="571e1a55-055f-4c28-8b35-fca6dd1c1369" providerId="ADAL" clId="{75A88773-6EE1-484E-AADE-FE631E01463B}" dt="2025-11-21T06:05:12.107" v="92274" actId="1076"/>
          <ac:graphicFrameMkLst>
            <pc:docMk/>
            <pc:sldMk cId="3782203074" sldId="2147483078"/>
            <ac:graphicFrameMk id="29" creationId="{3B0927C8-10EE-0FE9-B833-967FC9C5CEE8}"/>
          </ac:graphicFrameMkLst>
        </pc:graphicFrameChg>
        <pc:graphicFrameChg chg="del">
          <ac:chgData name="Yudi Zhu" userId="571e1a55-055f-4c28-8b35-fca6dd1c1369" providerId="ADAL" clId="{75A88773-6EE1-484E-AADE-FE631E01463B}" dt="2025-11-21T06:02:20.386" v="67625"/>
          <ac:graphicFrameMkLst>
            <pc:docMk/>
            <pc:sldMk cId="3782203074" sldId="2147483078"/>
            <ac:graphicFrameMk id="610" creationId="{981F4461-F41E-3025-2835-FB147EC0FC3C}"/>
          </ac:graphicFrameMkLst>
        </pc:graphicFrameChg>
        <pc:cxnChg chg="del mod ord">
          <ac:chgData name="Yudi Zhu" userId="571e1a55-055f-4c28-8b35-fca6dd1c1369" providerId="ADAL" clId="{75A88773-6EE1-484E-AADE-FE631E01463B}" dt="2025-11-21T06:05:00.940" v="88522"/>
          <ac:cxnSpMkLst>
            <pc:docMk/>
            <pc:sldMk cId="3782203074" sldId="2147483078"/>
            <ac:cxnSpMk id="15" creationId="{2E2D6DCE-6C9D-7441-2908-A1516A7DD85D}"/>
          </ac:cxnSpMkLst>
        </pc:cxnChg>
        <pc:cxnChg chg="del mod ord">
          <ac:chgData name="Yudi Zhu" userId="571e1a55-055f-4c28-8b35-fca6dd1c1369" providerId="ADAL" clId="{75A88773-6EE1-484E-AADE-FE631E01463B}" dt="2025-11-21T06:05:00.941" v="88524"/>
          <ac:cxnSpMkLst>
            <pc:docMk/>
            <pc:sldMk cId="3782203074" sldId="2147483078"/>
            <ac:cxnSpMk id="16" creationId="{EF2C29F1-47D8-294A-AE4F-7AF5031AB73B}"/>
          </ac:cxnSpMkLst>
        </pc:cxnChg>
        <pc:cxnChg chg="del mod ord">
          <ac:chgData name="Yudi Zhu" userId="571e1a55-055f-4c28-8b35-fca6dd1c1369" providerId="ADAL" clId="{75A88773-6EE1-484E-AADE-FE631E01463B}" dt="2025-11-21T06:05:00.943" v="88526"/>
          <ac:cxnSpMkLst>
            <pc:docMk/>
            <pc:sldMk cId="3782203074" sldId="2147483078"/>
            <ac:cxnSpMk id="17" creationId="{4288B5C9-23B4-ECB0-28D8-131258B3C505}"/>
          </ac:cxnSpMkLst>
        </pc:cxnChg>
        <pc:cxnChg chg="del mod ord">
          <ac:chgData name="Yudi Zhu" userId="571e1a55-055f-4c28-8b35-fca6dd1c1369" providerId="ADAL" clId="{75A88773-6EE1-484E-AADE-FE631E01463B}" dt="2025-11-21T06:05:00.945" v="88528"/>
          <ac:cxnSpMkLst>
            <pc:docMk/>
            <pc:sldMk cId="3782203074" sldId="2147483078"/>
            <ac:cxnSpMk id="18" creationId="{1C4B64FA-9FD6-30B7-F69B-57F8778068D7}"/>
          </ac:cxnSpMkLst>
        </pc:cxnChg>
        <pc:cxnChg chg="del mod ord">
          <ac:chgData name="Yudi Zhu" userId="571e1a55-055f-4c28-8b35-fca6dd1c1369" providerId="ADAL" clId="{75A88773-6EE1-484E-AADE-FE631E01463B}" dt="2025-11-21T06:05:00.948" v="88530"/>
          <ac:cxnSpMkLst>
            <pc:docMk/>
            <pc:sldMk cId="3782203074" sldId="2147483078"/>
            <ac:cxnSpMk id="19" creationId="{30365DDE-A698-FFB8-DAA5-633EAAEF60A9}"/>
          </ac:cxnSpMkLst>
        </pc:cxnChg>
        <pc:cxnChg chg="mod ord">
          <ac:chgData name="Yudi Zhu" userId="571e1a55-055f-4c28-8b35-fca6dd1c1369" providerId="ADAL" clId="{75A88773-6EE1-484E-AADE-FE631E01463B}" dt="2025-11-21T06:05:12.119" v="92280"/>
          <ac:cxnSpMkLst>
            <pc:docMk/>
            <pc:sldMk cId="3782203074" sldId="2147483078"/>
            <ac:cxnSpMk id="24" creationId="{AB2A5072-E632-FCC3-F826-8D05FBF057E9}"/>
          </ac:cxnSpMkLst>
        </pc:cxnChg>
        <pc:cxnChg chg="mod ord">
          <ac:chgData name="Yudi Zhu" userId="571e1a55-055f-4c28-8b35-fca6dd1c1369" providerId="ADAL" clId="{75A88773-6EE1-484E-AADE-FE631E01463B}" dt="2025-11-21T06:05:12.121" v="92281"/>
          <ac:cxnSpMkLst>
            <pc:docMk/>
            <pc:sldMk cId="3782203074" sldId="2147483078"/>
            <ac:cxnSpMk id="25" creationId="{2CFC315E-47AA-6D52-E4C3-399501398817}"/>
          </ac:cxnSpMkLst>
        </pc:cxnChg>
        <pc:cxnChg chg="mod ord">
          <ac:chgData name="Yudi Zhu" userId="571e1a55-055f-4c28-8b35-fca6dd1c1369" providerId="ADAL" clId="{75A88773-6EE1-484E-AADE-FE631E01463B}" dt="2025-11-21T06:05:12.122" v="92282"/>
          <ac:cxnSpMkLst>
            <pc:docMk/>
            <pc:sldMk cId="3782203074" sldId="2147483078"/>
            <ac:cxnSpMk id="26" creationId="{578AB30D-B6D8-0C42-7925-70EF2EFA45F4}"/>
          </ac:cxnSpMkLst>
        </pc:cxnChg>
        <pc:cxnChg chg="mod ord">
          <ac:chgData name="Yudi Zhu" userId="571e1a55-055f-4c28-8b35-fca6dd1c1369" providerId="ADAL" clId="{75A88773-6EE1-484E-AADE-FE631E01463B}" dt="2025-11-21T06:05:12.123" v="92283"/>
          <ac:cxnSpMkLst>
            <pc:docMk/>
            <pc:sldMk cId="3782203074" sldId="2147483078"/>
            <ac:cxnSpMk id="27" creationId="{DFA6C1C3-A3FE-C172-B390-D9D771E3D6A0}"/>
          </ac:cxnSpMkLst>
        </pc:cxnChg>
        <pc:cxnChg chg="mod ord">
          <ac:chgData name="Yudi Zhu" userId="571e1a55-055f-4c28-8b35-fca6dd1c1369" providerId="ADAL" clId="{75A88773-6EE1-484E-AADE-FE631E01463B}" dt="2025-11-21T06:05:12.124" v="92284"/>
          <ac:cxnSpMkLst>
            <pc:docMk/>
            <pc:sldMk cId="3782203074" sldId="2147483078"/>
            <ac:cxnSpMk id="28" creationId="{F46581F4-0480-37A7-F254-684219AFF676}"/>
          </ac:cxnSpMkLst>
        </pc:cxnChg>
        <pc:cxnChg chg="mod ord">
          <ac:chgData name="Yudi Zhu" userId="571e1a55-055f-4c28-8b35-fca6dd1c1369" providerId="ADAL" clId="{75A88773-6EE1-484E-AADE-FE631E01463B}" dt="2025-11-21T06:05:12.111" v="92276"/>
          <ac:cxnSpMkLst>
            <pc:docMk/>
            <pc:sldMk cId="3782203074" sldId="2147483078"/>
            <ac:cxnSpMk id="465" creationId="{7EF523CD-E21C-FAAD-5B43-E08707863EA9}"/>
          </ac:cxnSpMkLst>
        </pc:cxnChg>
        <pc:cxnChg chg="mod ord">
          <ac:chgData name="Yudi Zhu" userId="571e1a55-055f-4c28-8b35-fca6dd1c1369" providerId="ADAL" clId="{75A88773-6EE1-484E-AADE-FE631E01463B}" dt="2025-11-21T06:05:12.113" v="92277"/>
          <ac:cxnSpMkLst>
            <pc:docMk/>
            <pc:sldMk cId="3782203074" sldId="2147483078"/>
            <ac:cxnSpMk id="471" creationId="{1C276F67-F41B-7B92-73E6-D386EA641EC7}"/>
          </ac:cxnSpMkLst>
        </pc:cxnChg>
        <pc:cxnChg chg="mod ord">
          <ac:chgData name="Yudi Zhu" userId="571e1a55-055f-4c28-8b35-fca6dd1c1369" providerId="ADAL" clId="{75A88773-6EE1-484E-AADE-FE631E01463B}" dt="2025-11-21T06:05:12.117" v="92279"/>
          <ac:cxnSpMkLst>
            <pc:docMk/>
            <pc:sldMk cId="3782203074" sldId="2147483078"/>
            <ac:cxnSpMk id="530" creationId="{C29C918B-6808-5F67-A303-F181759D99B1}"/>
          </ac:cxnSpMkLst>
        </pc:cxnChg>
        <pc:cxnChg chg="mod ord">
          <ac:chgData name="Yudi Zhu" userId="571e1a55-055f-4c28-8b35-fca6dd1c1369" providerId="ADAL" clId="{75A88773-6EE1-484E-AADE-FE631E01463B}" dt="2025-11-21T06:05:12.115" v="92278"/>
          <ac:cxnSpMkLst>
            <pc:docMk/>
            <pc:sldMk cId="3782203074" sldId="2147483078"/>
            <ac:cxnSpMk id="531" creationId="{17AFF1CF-EAF7-C1F8-E9A5-F96D165B9F23}"/>
          </ac:cxnSpMkLst>
        </pc:cxnChg>
        <pc:cxnChg chg="del">
          <ac:chgData name="Yudi Zhu" userId="571e1a55-055f-4c28-8b35-fca6dd1c1369" providerId="ADAL" clId="{75A88773-6EE1-484E-AADE-FE631E01463B}" dt="2025-11-21T06:02:20.375" v="67615"/>
          <ac:cxnSpMkLst>
            <pc:docMk/>
            <pc:sldMk cId="3782203074" sldId="2147483078"/>
            <ac:cxnSpMk id="605" creationId="{4963DAD4-8E28-64DD-4AAD-14E4EA1C018C}"/>
          </ac:cxnSpMkLst>
        </pc:cxnChg>
        <pc:cxnChg chg="del">
          <ac:chgData name="Yudi Zhu" userId="571e1a55-055f-4c28-8b35-fca6dd1c1369" providerId="ADAL" clId="{75A88773-6EE1-484E-AADE-FE631E01463B}" dt="2025-11-21T06:02:20.377" v="67617"/>
          <ac:cxnSpMkLst>
            <pc:docMk/>
            <pc:sldMk cId="3782203074" sldId="2147483078"/>
            <ac:cxnSpMk id="606" creationId="{DFFD9DB4-EB8E-669B-070F-C439A7F13BD0}"/>
          </ac:cxnSpMkLst>
        </pc:cxnChg>
        <pc:cxnChg chg="del">
          <ac:chgData name="Yudi Zhu" userId="571e1a55-055f-4c28-8b35-fca6dd1c1369" providerId="ADAL" clId="{75A88773-6EE1-484E-AADE-FE631E01463B}" dt="2025-11-21T06:02:20.379" v="67619"/>
          <ac:cxnSpMkLst>
            <pc:docMk/>
            <pc:sldMk cId="3782203074" sldId="2147483078"/>
            <ac:cxnSpMk id="607" creationId="{AF5CF4D7-6E1A-8663-8B2A-815F7A357785}"/>
          </ac:cxnSpMkLst>
        </pc:cxnChg>
        <pc:cxnChg chg="del">
          <ac:chgData name="Yudi Zhu" userId="571e1a55-055f-4c28-8b35-fca6dd1c1369" providerId="ADAL" clId="{75A88773-6EE1-484E-AADE-FE631E01463B}" dt="2025-11-21T06:02:20.381" v="67621"/>
          <ac:cxnSpMkLst>
            <pc:docMk/>
            <pc:sldMk cId="3782203074" sldId="2147483078"/>
            <ac:cxnSpMk id="608" creationId="{EBFC9F46-268E-2972-4244-0E957E722E67}"/>
          </ac:cxnSpMkLst>
        </pc:cxnChg>
        <pc:cxnChg chg="del">
          <ac:chgData name="Yudi Zhu" userId="571e1a55-055f-4c28-8b35-fca6dd1c1369" providerId="ADAL" clId="{75A88773-6EE1-484E-AADE-FE631E01463B}" dt="2025-11-21T06:02:20.383" v="67623"/>
          <ac:cxnSpMkLst>
            <pc:docMk/>
            <pc:sldMk cId="3782203074" sldId="2147483078"/>
            <ac:cxnSpMk id="609" creationId="{2069D993-7E35-29AF-54DF-CEAD38CC318F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07.684" v="91227"/>
        <pc:sldMkLst>
          <pc:docMk/>
          <pc:sldMk cId="3643436976" sldId="2147483079"/>
        </pc:sldMkLst>
        <pc:spChg chg="mod ord">
          <ac:chgData name="Yudi Zhu" userId="571e1a55-055f-4c28-8b35-fca6dd1c1369" providerId="ADAL" clId="{75A88773-6EE1-484E-AADE-FE631E01463B}" dt="2025-11-21T06:04:50.641" v="84548"/>
          <ac:spMkLst>
            <pc:docMk/>
            <pc:sldMk cId="3643436976" sldId="2147483079"/>
            <ac:spMk id="2" creationId="{EF827EB1-8B3E-15EC-6D27-7199C273ABA1}"/>
          </ac:spMkLst>
        </pc:spChg>
        <pc:spChg chg="mod ord">
          <ac:chgData name="Yudi Zhu" userId="571e1a55-055f-4c28-8b35-fca6dd1c1369" providerId="ADAL" clId="{75A88773-6EE1-484E-AADE-FE631E01463B}" dt="2025-11-21T06:04:50.726" v="84658"/>
          <ac:spMkLst>
            <pc:docMk/>
            <pc:sldMk cId="3643436976" sldId="2147483079"/>
            <ac:spMk id="3" creationId="{AA380B36-B163-1730-F306-E37B050DCBB3}"/>
          </ac:spMkLst>
        </pc:spChg>
        <pc:spChg chg="add del mod modVis">
          <ac:chgData name="Yudi Zhu" userId="571e1a55-055f-4c28-8b35-fca6dd1c1369" providerId="ADAL" clId="{75A88773-6EE1-484E-AADE-FE631E01463B}" dt="2025-11-21T06:02:24.268" v="69945" actId="478"/>
          <ac:spMkLst>
            <pc:docMk/>
            <pc:sldMk cId="3643436976" sldId="2147483079"/>
            <ac:spMk id="4" creationId="{D56164CB-6976-5FCA-80ED-6E7E89E7B0DF}"/>
          </ac:spMkLst>
        </pc:spChg>
        <pc:spChg chg="mod">
          <ac:chgData name="Yudi Zhu" userId="571e1a55-055f-4c28-8b35-fca6dd1c1369" providerId="ADAL" clId="{75A88773-6EE1-484E-AADE-FE631E01463B}" dt="2025-11-21T06:04:50.722" v="84651"/>
          <ac:spMkLst>
            <pc:docMk/>
            <pc:sldMk cId="3643436976" sldId="2147483079"/>
            <ac:spMk id="6" creationId="{E1168A9D-D8E5-6780-B420-5ADC9BC269E4}"/>
          </ac:spMkLst>
        </pc:spChg>
        <pc:spChg chg="mod">
          <ac:chgData name="Yudi Zhu" userId="571e1a55-055f-4c28-8b35-fca6dd1c1369" providerId="ADAL" clId="{75A88773-6EE1-484E-AADE-FE631E01463B}" dt="2025-11-21T06:04:50.722" v="84652"/>
          <ac:spMkLst>
            <pc:docMk/>
            <pc:sldMk cId="3643436976" sldId="2147483079"/>
            <ac:spMk id="7" creationId="{EF55E82B-D7B5-1B1A-F01C-40BF6D72BC46}"/>
          </ac:spMkLst>
        </pc:spChg>
        <pc:spChg chg="mod">
          <ac:chgData name="Yudi Zhu" userId="571e1a55-055f-4c28-8b35-fca6dd1c1369" providerId="ADAL" clId="{75A88773-6EE1-484E-AADE-FE631E01463B}" dt="2025-11-21T06:04:50.723" v="84653"/>
          <ac:spMkLst>
            <pc:docMk/>
            <pc:sldMk cId="3643436976" sldId="2147483079"/>
            <ac:spMk id="8" creationId="{E27CAE76-D2DA-D7F0-DBF1-ED96C62A6343}"/>
          </ac:spMkLst>
        </pc:spChg>
        <pc:spChg chg="mod">
          <ac:chgData name="Yudi Zhu" userId="571e1a55-055f-4c28-8b35-fca6dd1c1369" providerId="ADAL" clId="{75A88773-6EE1-484E-AADE-FE631E01463B}" dt="2025-11-21T06:04:50.724" v="84654"/>
          <ac:spMkLst>
            <pc:docMk/>
            <pc:sldMk cId="3643436976" sldId="2147483079"/>
            <ac:spMk id="9" creationId="{F1419304-BF4C-2D37-987D-A5627D776682}"/>
          </ac:spMkLst>
        </pc:spChg>
        <pc:spChg chg="mod">
          <ac:chgData name="Yudi Zhu" userId="571e1a55-055f-4c28-8b35-fca6dd1c1369" providerId="ADAL" clId="{75A88773-6EE1-484E-AADE-FE631E01463B}" dt="2025-11-21T06:04:50.725" v="84655"/>
          <ac:spMkLst>
            <pc:docMk/>
            <pc:sldMk cId="3643436976" sldId="2147483079"/>
            <ac:spMk id="10" creationId="{9A6112D8-BC20-6BF8-05DB-D0684F4664EE}"/>
          </ac:spMkLst>
        </pc:spChg>
        <pc:spChg chg="mod">
          <ac:chgData name="Yudi Zhu" userId="571e1a55-055f-4c28-8b35-fca6dd1c1369" providerId="ADAL" clId="{75A88773-6EE1-484E-AADE-FE631E01463B}" dt="2025-11-21T06:04:50.725" v="84656"/>
          <ac:spMkLst>
            <pc:docMk/>
            <pc:sldMk cId="3643436976" sldId="2147483079"/>
            <ac:spMk id="11" creationId="{2253F0E0-EF86-D294-15EF-A6A0151708C9}"/>
          </ac:spMkLst>
        </pc:spChg>
        <pc:spChg chg="add del mod modVis">
          <ac:chgData name="Yudi Zhu" userId="571e1a55-055f-4c28-8b35-fca6dd1c1369" providerId="ADAL" clId="{75A88773-6EE1-484E-AADE-FE631E01463B}" dt="2025-11-21T06:05:07.682" v="91225"/>
          <ac:spMkLst>
            <pc:docMk/>
            <pc:sldMk cId="3643436976" sldId="2147483079"/>
            <ac:spMk id="13" creationId="{74E426B5-5962-2468-5EF0-D5D2103E7375}"/>
          </ac:spMkLst>
        </pc:spChg>
        <pc:spChg chg="mod">
          <ac:chgData name="Yudi Zhu" userId="571e1a55-055f-4c28-8b35-fca6dd1c1369" providerId="ADAL" clId="{75A88773-6EE1-484E-AADE-FE631E01463B}" dt="2025-11-21T06:04:50.649" v="84560"/>
          <ac:spMkLst>
            <pc:docMk/>
            <pc:sldMk cId="3643436976" sldId="2147483079"/>
            <ac:spMk id="14" creationId="{D3EE5BB7-3102-5868-653B-8D0223F492D3}"/>
          </ac:spMkLst>
        </pc:spChg>
        <pc:spChg chg="mod ord">
          <ac:chgData name="Yudi Zhu" userId="571e1a55-055f-4c28-8b35-fca6dd1c1369" providerId="ADAL" clId="{75A88773-6EE1-484E-AADE-FE631E01463B}" dt="2025-11-21T06:04:50.650" v="84562"/>
          <ac:spMkLst>
            <pc:docMk/>
            <pc:sldMk cId="3643436976" sldId="2147483079"/>
            <ac:spMk id="15" creationId="{388ABE05-A9E5-8CF6-DA4E-7802B287E58B}"/>
          </ac:spMkLst>
        </pc:spChg>
        <pc:spChg chg="mod ord">
          <ac:chgData name="Yudi Zhu" userId="571e1a55-055f-4c28-8b35-fca6dd1c1369" providerId="ADAL" clId="{75A88773-6EE1-484E-AADE-FE631E01463B}" dt="2025-11-21T06:04:50.652" v="84564"/>
          <ac:spMkLst>
            <pc:docMk/>
            <pc:sldMk cId="3643436976" sldId="2147483079"/>
            <ac:spMk id="17" creationId="{664BC61D-FB73-E3DC-8BBE-4681D77FA21C}"/>
          </ac:spMkLst>
        </pc:spChg>
        <pc:spChg chg="mod">
          <ac:chgData name="Yudi Zhu" userId="571e1a55-055f-4c28-8b35-fca6dd1c1369" providerId="ADAL" clId="{75A88773-6EE1-484E-AADE-FE631E01463B}" dt="2025-11-21T06:04:50.655" v="84568"/>
          <ac:spMkLst>
            <pc:docMk/>
            <pc:sldMk cId="3643436976" sldId="2147483079"/>
            <ac:spMk id="18" creationId="{969D9F1E-8FC8-E71B-72D0-1AF1290A2AAA}"/>
          </ac:spMkLst>
        </pc:spChg>
        <pc:spChg chg="mod">
          <ac:chgData name="Yudi Zhu" userId="571e1a55-055f-4c28-8b35-fca6dd1c1369" providerId="ADAL" clId="{75A88773-6EE1-484E-AADE-FE631E01463B}" dt="2025-11-21T06:04:50.652" v="84565"/>
          <ac:spMkLst>
            <pc:docMk/>
            <pc:sldMk cId="3643436976" sldId="2147483079"/>
            <ac:spMk id="19" creationId="{45D0FAEE-58AD-C5AC-6CF7-63FFEAA3609F}"/>
          </ac:spMkLst>
        </pc:spChg>
        <pc:spChg chg="mod">
          <ac:chgData name="Yudi Zhu" userId="571e1a55-055f-4c28-8b35-fca6dd1c1369" providerId="ADAL" clId="{75A88773-6EE1-484E-AADE-FE631E01463B}" dt="2025-11-21T06:04:50.660" v="84576"/>
          <ac:spMkLst>
            <pc:docMk/>
            <pc:sldMk cId="3643436976" sldId="2147483079"/>
            <ac:spMk id="20" creationId="{A5F41E36-2010-F6EC-8376-5C5B59FAEFD8}"/>
          </ac:spMkLst>
        </pc:spChg>
        <pc:spChg chg="mod">
          <ac:chgData name="Yudi Zhu" userId="571e1a55-055f-4c28-8b35-fca6dd1c1369" providerId="ADAL" clId="{75A88773-6EE1-484E-AADE-FE631E01463B}" dt="2025-11-21T06:04:50.653" v="84566"/>
          <ac:spMkLst>
            <pc:docMk/>
            <pc:sldMk cId="3643436976" sldId="2147483079"/>
            <ac:spMk id="21" creationId="{74FCAF79-A649-6495-DA66-E931BE1C762C}"/>
          </ac:spMkLst>
        </pc:spChg>
        <pc:spChg chg="mod">
          <ac:chgData name="Yudi Zhu" userId="571e1a55-055f-4c28-8b35-fca6dd1c1369" providerId="ADAL" clId="{75A88773-6EE1-484E-AADE-FE631E01463B}" dt="2025-11-21T06:04:50.654" v="84567"/>
          <ac:spMkLst>
            <pc:docMk/>
            <pc:sldMk cId="3643436976" sldId="2147483079"/>
            <ac:spMk id="22" creationId="{7BC465C6-F86D-C40A-F7B6-82CD00B5AACA}"/>
          </ac:spMkLst>
        </pc:spChg>
        <pc:spChg chg="mod">
          <ac:chgData name="Yudi Zhu" userId="571e1a55-055f-4c28-8b35-fca6dd1c1369" providerId="ADAL" clId="{75A88773-6EE1-484E-AADE-FE631E01463B}" dt="2025-11-21T06:04:50.661" v="84577"/>
          <ac:spMkLst>
            <pc:docMk/>
            <pc:sldMk cId="3643436976" sldId="2147483079"/>
            <ac:spMk id="25" creationId="{73E83A37-2AAA-8D28-40B3-DB98F3EF701B}"/>
          </ac:spMkLst>
        </pc:spChg>
        <pc:spChg chg="mod">
          <ac:chgData name="Yudi Zhu" userId="571e1a55-055f-4c28-8b35-fca6dd1c1369" providerId="ADAL" clId="{75A88773-6EE1-484E-AADE-FE631E01463B}" dt="2025-11-21T06:04:50.656" v="84569"/>
          <ac:spMkLst>
            <pc:docMk/>
            <pc:sldMk cId="3643436976" sldId="2147483079"/>
            <ac:spMk id="26" creationId="{A8C6B2AD-9A15-5247-9D21-D73EDEDFCFD3}"/>
          </ac:spMkLst>
        </pc:spChg>
        <pc:spChg chg="mod ord">
          <ac:chgData name="Yudi Zhu" userId="571e1a55-055f-4c28-8b35-fca6dd1c1369" providerId="ADAL" clId="{75A88773-6EE1-484E-AADE-FE631E01463B}" dt="2025-11-21T06:04:50.657" v="84571"/>
          <ac:spMkLst>
            <pc:docMk/>
            <pc:sldMk cId="3643436976" sldId="2147483079"/>
            <ac:spMk id="27" creationId="{6465CC20-AB97-7597-F850-34FA5C4FA6E0}"/>
          </ac:spMkLst>
        </pc:spChg>
        <pc:spChg chg="mod">
          <ac:chgData name="Yudi Zhu" userId="571e1a55-055f-4c28-8b35-fca6dd1c1369" providerId="ADAL" clId="{75A88773-6EE1-484E-AADE-FE631E01463B}" dt="2025-11-21T06:04:50.657" v="84572"/>
          <ac:spMkLst>
            <pc:docMk/>
            <pc:sldMk cId="3643436976" sldId="2147483079"/>
            <ac:spMk id="28" creationId="{258F9345-DE60-DCB2-33F9-FD5956AD8F0A}"/>
          </ac:spMkLst>
        </pc:spChg>
        <pc:spChg chg="mod">
          <ac:chgData name="Yudi Zhu" userId="571e1a55-055f-4c28-8b35-fca6dd1c1369" providerId="ADAL" clId="{75A88773-6EE1-484E-AADE-FE631E01463B}" dt="2025-11-21T06:04:50.658" v="84573"/>
          <ac:spMkLst>
            <pc:docMk/>
            <pc:sldMk cId="3643436976" sldId="2147483079"/>
            <ac:spMk id="29" creationId="{7D87C531-FBB9-3BEC-2DBB-34D8B8C593D1}"/>
          </ac:spMkLst>
        </pc:spChg>
        <pc:spChg chg="mod">
          <ac:chgData name="Yudi Zhu" userId="571e1a55-055f-4c28-8b35-fca6dd1c1369" providerId="ADAL" clId="{75A88773-6EE1-484E-AADE-FE631E01463B}" dt="2025-11-21T06:04:50.659" v="84574"/>
          <ac:spMkLst>
            <pc:docMk/>
            <pc:sldMk cId="3643436976" sldId="2147483079"/>
            <ac:spMk id="30" creationId="{40149F21-47A0-3A2B-0381-301B245955FD}"/>
          </ac:spMkLst>
        </pc:spChg>
        <pc:spChg chg="mod">
          <ac:chgData name="Yudi Zhu" userId="571e1a55-055f-4c28-8b35-fca6dd1c1369" providerId="ADAL" clId="{75A88773-6EE1-484E-AADE-FE631E01463B}" dt="2025-11-21T06:04:50.659" v="84575"/>
          <ac:spMkLst>
            <pc:docMk/>
            <pc:sldMk cId="3643436976" sldId="2147483079"/>
            <ac:spMk id="31" creationId="{2DEFB97E-AE34-FCC9-D92D-75D4B188EB9F}"/>
          </ac:spMkLst>
        </pc:spChg>
        <pc:spChg chg="mod">
          <ac:chgData name="Yudi Zhu" userId="571e1a55-055f-4c28-8b35-fca6dd1c1369" providerId="ADAL" clId="{75A88773-6EE1-484E-AADE-FE631E01463B}" dt="2025-11-21T06:04:50.663" v="84578"/>
          <ac:spMkLst>
            <pc:docMk/>
            <pc:sldMk cId="3643436976" sldId="2147483079"/>
            <ac:spMk id="34" creationId="{BD3CB925-0765-BC32-9FC8-324956E52D47}"/>
          </ac:spMkLst>
        </pc:spChg>
        <pc:spChg chg="mod ord">
          <ac:chgData name="Yudi Zhu" userId="571e1a55-055f-4c28-8b35-fca6dd1c1369" providerId="ADAL" clId="{75A88773-6EE1-484E-AADE-FE631E01463B}" dt="2025-11-21T06:04:50.713" v="84640"/>
          <ac:spMkLst>
            <pc:docMk/>
            <pc:sldMk cId="3643436976" sldId="2147483079"/>
            <ac:spMk id="54" creationId="{C75AB386-E421-ADC1-639D-C3396010E0E2}"/>
          </ac:spMkLst>
        </pc:spChg>
        <pc:spChg chg="mod ord">
          <ac:chgData name="Yudi Zhu" userId="571e1a55-055f-4c28-8b35-fca6dd1c1369" providerId="ADAL" clId="{75A88773-6EE1-484E-AADE-FE631E01463B}" dt="2025-11-21T06:04:50.715" v="84642"/>
          <ac:spMkLst>
            <pc:docMk/>
            <pc:sldMk cId="3643436976" sldId="2147483079"/>
            <ac:spMk id="55" creationId="{6FDC2A2F-A9B2-DD3D-F833-58C71A3A5E8B}"/>
          </ac:spMkLst>
        </pc:spChg>
        <pc:spChg chg="mod ord">
          <ac:chgData name="Yudi Zhu" userId="571e1a55-055f-4c28-8b35-fca6dd1c1369" providerId="ADAL" clId="{75A88773-6EE1-484E-AADE-FE631E01463B}" dt="2025-11-21T06:04:50.717" v="84644"/>
          <ac:spMkLst>
            <pc:docMk/>
            <pc:sldMk cId="3643436976" sldId="2147483079"/>
            <ac:spMk id="56" creationId="{546A5674-3916-B0E8-D452-E5B9AB9F078E}"/>
          </ac:spMkLst>
        </pc:spChg>
        <pc:spChg chg="mod ord">
          <ac:chgData name="Yudi Zhu" userId="571e1a55-055f-4c28-8b35-fca6dd1c1369" providerId="ADAL" clId="{75A88773-6EE1-484E-AADE-FE631E01463B}" dt="2025-11-21T06:04:50.719" v="84646"/>
          <ac:spMkLst>
            <pc:docMk/>
            <pc:sldMk cId="3643436976" sldId="2147483079"/>
            <ac:spMk id="57" creationId="{9C30E9B6-62E4-5E4E-FAFB-43B3988D8EAF}"/>
          </ac:spMkLst>
        </pc:spChg>
        <pc:spChg chg="mod ord">
          <ac:chgData name="Yudi Zhu" userId="571e1a55-055f-4c28-8b35-fca6dd1c1369" providerId="ADAL" clId="{75A88773-6EE1-484E-AADE-FE631E01463B}" dt="2025-11-21T06:04:50.720" v="84648"/>
          <ac:spMkLst>
            <pc:docMk/>
            <pc:sldMk cId="3643436976" sldId="2147483079"/>
            <ac:spMk id="58" creationId="{3884CECB-5CCD-924D-3413-E06E3E128A64}"/>
          </ac:spMkLst>
        </pc:spChg>
        <pc:spChg chg="mod ord">
          <ac:chgData name="Yudi Zhu" userId="571e1a55-055f-4c28-8b35-fca6dd1c1369" providerId="ADAL" clId="{75A88773-6EE1-484E-AADE-FE631E01463B}" dt="2025-11-21T06:04:50.721" v="84650"/>
          <ac:spMkLst>
            <pc:docMk/>
            <pc:sldMk cId="3643436976" sldId="2147483079"/>
            <ac:spMk id="59" creationId="{2971643F-F89A-CF6D-A2B2-A972464B5D02}"/>
          </ac:spMkLst>
        </pc:spChg>
        <pc:spChg chg="mod ord">
          <ac:chgData name="Yudi Zhu" userId="571e1a55-055f-4c28-8b35-fca6dd1c1369" providerId="ADAL" clId="{75A88773-6EE1-484E-AADE-FE631E01463B}" dt="2025-11-21T06:04:50.665" v="84580"/>
          <ac:spMkLst>
            <pc:docMk/>
            <pc:sldMk cId="3643436976" sldId="2147483079"/>
            <ac:spMk id="62" creationId="{47814182-7D76-64A4-933E-BEE92D5A3C20}"/>
          </ac:spMkLst>
        </pc:spChg>
        <pc:spChg chg="mod">
          <ac:chgData name="Yudi Zhu" userId="571e1a55-055f-4c28-8b35-fca6dd1c1369" providerId="ADAL" clId="{75A88773-6EE1-484E-AADE-FE631E01463B}" dt="2025-11-21T06:04:50.705" v="84624"/>
          <ac:spMkLst>
            <pc:docMk/>
            <pc:sldMk cId="3643436976" sldId="2147483079"/>
            <ac:spMk id="63" creationId="{AC9425F2-4488-B5F5-0B82-E6957EA31CE0}"/>
          </ac:spMkLst>
        </pc:spChg>
        <pc:spChg chg="mod">
          <ac:chgData name="Yudi Zhu" userId="571e1a55-055f-4c28-8b35-fca6dd1c1369" providerId="ADAL" clId="{75A88773-6EE1-484E-AADE-FE631E01463B}" dt="2025-11-21T06:04:50.674" v="84588"/>
          <ac:spMkLst>
            <pc:docMk/>
            <pc:sldMk cId="3643436976" sldId="2147483079"/>
            <ac:spMk id="133" creationId="{0288F4D8-8ACE-4D7F-AB02-9C95C6F921B2}"/>
          </ac:spMkLst>
        </pc:spChg>
        <pc:spChg chg="mod">
          <ac:chgData name="Yudi Zhu" userId="571e1a55-055f-4c28-8b35-fca6dd1c1369" providerId="ADAL" clId="{75A88773-6EE1-484E-AADE-FE631E01463B}" dt="2025-11-21T06:04:50.675" v="84589"/>
          <ac:spMkLst>
            <pc:docMk/>
            <pc:sldMk cId="3643436976" sldId="2147483079"/>
            <ac:spMk id="134" creationId="{8A685CE3-3AA8-512C-ADCE-D7DC792AC56C}"/>
          </ac:spMkLst>
        </pc:spChg>
        <pc:spChg chg="mod">
          <ac:chgData name="Yudi Zhu" userId="571e1a55-055f-4c28-8b35-fca6dd1c1369" providerId="ADAL" clId="{75A88773-6EE1-484E-AADE-FE631E01463B}" dt="2025-11-21T06:04:50.676" v="84590"/>
          <ac:spMkLst>
            <pc:docMk/>
            <pc:sldMk cId="3643436976" sldId="2147483079"/>
            <ac:spMk id="135" creationId="{9CDA0D0B-7D86-7D59-DF73-3EA4C48C79EC}"/>
          </ac:spMkLst>
        </pc:spChg>
        <pc:spChg chg="mod">
          <ac:chgData name="Yudi Zhu" userId="571e1a55-055f-4c28-8b35-fca6dd1c1369" providerId="ADAL" clId="{75A88773-6EE1-484E-AADE-FE631E01463B}" dt="2025-11-21T06:04:50.677" v="84591"/>
          <ac:spMkLst>
            <pc:docMk/>
            <pc:sldMk cId="3643436976" sldId="2147483079"/>
            <ac:spMk id="136" creationId="{55B81F4D-93E1-8D70-4335-D8C708933BF5}"/>
          </ac:spMkLst>
        </pc:spChg>
        <pc:spChg chg="mod">
          <ac:chgData name="Yudi Zhu" userId="571e1a55-055f-4c28-8b35-fca6dd1c1369" providerId="ADAL" clId="{75A88773-6EE1-484E-AADE-FE631E01463B}" dt="2025-11-21T06:04:50.678" v="84592"/>
          <ac:spMkLst>
            <pc:docMk/>
            <pc:sldMk cId="3643436976" sldId="2147483079"/>
            <ac:spMk id="137" creationId="{8E873A77-360B-E7EB-5A16-8B21DDA8407A}"/>
          </ac:spMkLst>
        </pc:spChg>
        <pc:spChg chg="mod">
          <ac:chgData name="Yudi Zhu" userId="571e1a55-055f-4c28-8b35-fca6dd1c1369" providerId="ADAL" clId="{75A88773-6EE1-484E-AADE-FE631E01463B}" dt="2025-11-21T06:04:50.681" v="84595"/>
          <ac:spMkLst>
            <pc:docMk/>
            <pc:sldMk cId="3643436976" sldId="2147483079"/>
            <ac:spMk id="138" creationId="{A65B85F6-0D9A-C6B8-91DC-9FB296D252BB}"/>
          </ac:spMkLst>
        </pc:spChg>
        <pc:spChg chg="mod">
          <ac:chgData name="Yudi Zhu" userId="571e1a55-055f-4c28-8b35-fca6dd1c1369" providerId="ADAL" clId="{75A88773-6EE1-484E-AADE-FE631E01463B}" dt="2025-11-21T06:04:50.684" v="84596"/>
          <ac:spMkLst>
            <pc:docMk/>
            <pc:sldMk cId="3643436976" sldId="2147483079"/>
            <ac:spMk id="139" creationId="{92D71912-E81E-AC68-F12D-4242D3434426}"/>
          </ac:spMkLst>
        </pc:spChg>
        <pc:spChg chg="mod">
          <ac:chgData name="Yudi Zhu" userId="571e1a55-055f-4c28-8b35-fca6dd1c1369" providerId="ADAL" clId="{75A88773-6EE1-484E-AADE-FE631E01463B}" dt="2025-11-21T06:04:50.686" v="84597"/>
          <ac:spMkLst>
            <pc:docMk/>
            <pc:sldMk cId="3643436976" sldId="2147483079"/>
            <ac:spMk id="140" creationId="{BB48C049-F87D-2570-628B-4EDDAC57BDA3}"/>
          </ac:spMkLst>
        </pc:spChg>
        <pc:spChg chg="mod">
          <ac:chgData name="Yudi Zhu" userId="571e1a55-055f-4c28-8b35-fca6dd1c1369" providerId="ADAL" clId="{75A88773-6EE1-484E-AADE-FE631E01463B}" dt="2025-11-21T06:04:50.687" v="84598"/>
          <ac:spMkLst>
            <pc:docMk/>
            <pc:sldMk cId="3643436976" sldId="2147483079"/>
            <ac:spMk id="141" creationId="{C17E1A7B-130E-8A38-E554-BC2862E364E9}"/>
          </ac:spMkLst>
        </pc:spChg>
        <pc:spChg chg="mod">
          <ac:chgData name="Yudi Zhu" userId="571e1a55-055f-4c28-8b35-fca6dd1c1369" providerId="ADAL" clId="{75A88773-6EE1-484E-AADE-FE631E01463B}" dt="2025-11-21T06:04:50.687" v="84599"/>
          <ac:spMkLst>
            <pc:docMk/>
            <pc:sldMk cId="3643436976" sldId="2147483079"/>
            <ac:spMk id="142" creationId="{AF995D7A-89B5-3E52-624D-90709DC2F234}"/>
          </ac:spMkLst>
        </pc:spChg>
        <pc:spChg chg="mod">
          <ac:chgData name="Yudi Zhu" userId="571e1a55-055f-4c28-8b35-fca6dd1c1369" providerId="ADAL" clId="{75A88773-6EE1-484E-AADE-FE631E01463B}" dt="2025-11-21T06:04:50.688" v="84600"/>
          <ac:spMkLst>
            <pc:docMk/>
            <pc:sldMk cId="3643436976" sldId="2147483079"/>
            <ac:spMk id="143" creationId="{28C17417-D901-B5AE-6A27-140B1E371ACB}"/>
          </ac:spMkLst>
        </pc:spChg>
        <pc:spChg chg="mod">
          <ac:chgData name="Yudi Zhu" userId="571e1a55-055f-4c28-8b35-fca6dd1c1369" providerId="ADAL" clId="{75A88773-6EE1-484E-AADE-FE631E01463B}" dt="2025-11-21T06:04:50.690" v="84603"/>
          <ac:spMkLst>
            <pc:docMk/>
            <pc:sldMk cId="3643436976" sldId="2147483079"/>
            <ac:spMk id="144" creationId="{2DC73AD9-0CB3-CF37-7894-4AB1C59A912D}"/>
          </ac:spMkLst>
        </pc:spChg>
        <pc:spChg chg="mod">
          <ac:chgData name="Yudi Zhu" userId="571e1a55-055f-4c28-8b35-fca6dd1c1369" providerId="ADAL" clId="{75A88773-6EE1-484E-AADE-FE631E01463B}" dt="2025-11-21T06:04:50.691" v="84604"/>
          <ac:spMkLst>
            <pc:docMk/>
            <pc:sldMk cId="3643436976" sldId="2147483079"/>
            <ac:spMk id="145" creationId="{B12833B9-C2C7-47D4-C144-08A9CAC87D44}"/>
          </ac:spMkLst>
        </pc:spChg>
        <pc:spChg chg="mod">
          <ac:chgData name="Yudi Zhu" userId="571e1a55-055f-4c28-8b35-fca6dd1c1369" providerId="ADAL" clId="{75A88773-6EE1-484E-AADE-FE631E01463B}" dt="2025-11-21T06:04:50.692" v="84605"/>
          <ac:spMkLst>
            <pc:docMk/>
            <pc:sldMk cId="3643436976" sldId="2147483079"/>
            <ac:spMk id="146" creationId="{E8976CB7-CFD3-27C8-602C-07FE685DE6BD}"/>
          </ac:spMkLst>
        </pc:spChg>
        <pc:spChg chg="mod ord">
          <ac:chgData name="Yudi Zhu" userId="571e1a55-055f-4c28-8b35-fca6dd1c1369" providerId="ADAL" clId="{75A88773-6EE1-484E-AADE-FE631E01463B}" dt="2025-11-21T06:04:50.693" v="84607"/>
          <ac:spMkLst>
            <pc:docMk/>
            <pc:sldMk cId="3643436976" sldId="2147483079"/>
            <ac:spMk id="147" creationId="{362C2E1D-F123-1560-C87B-3E5FB176F6C7}"/>
          </ac:spMkLst>
        </pc:spChg>
        <pc:spChg chg="mod ord">
          <ac:chgData name="Yudi Zhu" userId="571e1a55-055f-4c28-8b35-fca6dd1c1369" providerId="ADAL" clId="{75A88773-6EE1-484E-AADE-FE631E01463B}" dt="2025-11-21T06:04:50.694" v="84609"/>
          <ac:spMkLst>
            <pc:docMk/>
            <pc:sldMk cId="3643436976" sldId="2147483079"/>
            <ac:spMk id="148" creationId="{B9F90135-EE27-C14C-47EE-90C914E3701F}"/>
          </ac:spMkLst>
        </pc:spChg>
        <pc:spChg chg="mod ord">
          <ac:chgData name="Yudi Zhu" userId="571e1a55-055f-4c28-8b35-fca6dd1c1369" providerId="ADAL" clId="{75A88773-6EE1-484E-AADE-FE631E01463B}" dt="2025-11-21T06:04:50.695" v="84611"/>
          <ac:spMkLst>
            <pc:docMk/>
            <pc:sldMk cId="3643436976" sldId="2147483079"/>
            <ac:spMk id="149" creationId="{1A9F7D60-12C1-5401-2842-63F704324016}"/>
          </ac:spMkLst>
        </pc:spChg>
        <pc:spChg chg="mod ord">
          <ac:chgData name="Yudi Zhu" userId="571e1a55-055f-4c28-8b35-fca6dd1c1369" providerId="ADAL" clId="{75A88773-6EE1-484E-AADE-FE631E01463B}" dt="2025-11-21T06:04:50.696" v="84613"/>
          <ac:spMkLst>
            <pc:docMk/>
            <pc:sldMk cId="3643436976" sldId="2147483079"/>
            <ac:spMk id="150" creationId="{8C8487C6-E4C3-9100-F8C4-9C8BC5FFE7D8}"/>
          </ac:spMkLst>
        </pc:spChg>
        <pc:spChg chg="mod ord">
          <ac:chgData name="Yudi Zhu" userId="571e1a55-055f-4c28-8b35-fca6dd1c1369" providerId="ADAL" clId="{75A88773-6EE1-484E-AADE-FE631E01463B}" dt="2025-11-21T06:04:50.697" v="84615"/>
          <ac:spMkLst>
            <pc:docMk/>
            <pc:sldMk cId="3643436976" sldId="2147483079"/>
            <ac:spMk id="151" creationId="{054119D2-B65C-6D85-4EDF-5669B67546F3}"/>
          </ac:spMkLst>
        </pc:spChg>
        <pc:spChg chg="mod ord">
          <ac:chgData name="Yudi Zhu" userId="571e1a55-055f-4c28-8b35-fca6dd1c1369" providerId="ADAL" clId="{75A88773-6EE1-484E-AADE-FE631E01463B}" dt="2025-11-21T06:04:50.699" v="84617"/>
          <ac:spMkLst>
            <pc:docMk/>
            <pc:sldMk cId="3643436976" sldId="2147483079"/>
            <ac:spMk id="152" creationId="{B0767968-8A44-A1E1-70A8-605492EE2456}"/>
          </ac:spMkLst>
        </pc:spChg>
        <pc:spChg chg="mod">
          <ac:chgData name="Yudi Zhu" userId="571e1a55-055f-4c28-8b35-fca6dd1c1369" providerId="ADAL" clId="{75A88773-6EE1-484E-AADE-FE631E01463B}" dt="2025-11-21T06:04:50.701" v="84619"/>
          <ac:spMkLst>
            <pc:docMk/>
            <pc:sldMk cId="3643436976" sldId="2147483079"/>
            <ac:spMk id="153" creationId="{41B51256-9EB6-A09A-ADDC-FD4B3D65E741}"/>
          </ac:spMkLst>
        </pc:spChg>
        <pc:spChg chg="mod">
          <ac:chgData name="Yudi Zhu" userId="571e1a55-055f-4c28-8b35-fca6dd1c1369" providerId="ADAL" clId="{75A88773-6EE1-484E-AADE-FE631E01463B}" dt="2025-11-21T06:04:50.702" v="84620"/>
          <ac:spMkLst>
            <pc:docMk/>
            <pc:sldMk cId="3643436976" sldId="2147483079"/>
            <ac:spMk id="154" creationId="{886257FF-2484-EE84-E99C-9E9B3314B324}"/>
          </ac:spMkLst>
        </pc:spChg>
        <pc:spChg chg="mod">
          <ac:chgData name="Yudi Zhu" userId="571e1a55-055f-4c28-8b35-fca6dd1c1369" providerId="ADAL" clId="{75A88773-6EE1-484E-AADE-FE631E01463B}" dt="2025-11-21T06:04:50.703" v="84621"/>
          <ac:spMkLst>
            <pc:docMk/>
            <pc:sldMk cId="3643436976" sldId="2147483079"/>
            <ac:spMk id="155" creationId="{59D8A832-0883-5ED2-0859-0AFDF1A9827B}"/>
          </ac:spMkLst>
        </pc:spChg>
        <pc:spChg chg="mod">
          <ac:chgData name="Yudi Zhu" userId="571e1a55-055f-4c28-8b35-fca6dd1c1369" providerId="ADAL" clId="{75A88773-6EE1-484E-AADE-FE631E01463B}" dt="2025-11-21T06:04:50.704" v="84622"/>
          <ac:spMkLst>
            <pc:docMk/>
            <pc:sldMk cId="3643436976" sldId="2147483079"/>
            <ac:spMk id="156" creationId="{9FE30C96-9FD8-03B0-6680-8C5C81588C06}"/>
          </ac:spMkLst>
        </pc:spChg>
        <pc:spChg chg="mod">
          <ac:chgData name="Yudi Zhu" userId="571e1a55-055f-4c28-8b35-fca6dd1c1369" providerId="ADAL" clId="{75A88773-6EE1-484E-AADE-FE631E01463B}" dt="2025-11-21T06:04:50.704" v="84623"/>
          <ac:spMkLst>
            <pc:docMk/>
            <pc:sldMk cId="3643436976" sldId="2147483079"/>
            <ac:spMk id="157" creationId="{676220BC-41A2-97C6-CE7C-96C25CC186AC}"/>
          </ac:spMkLst>
        </pc:spChg>
        <pc:spChg chg="mod ord">
          <ac:chgData name="Yudi Zhu" userId="571e1a55-055f-4c28-8b35-fca6dd1c1369" providerId="ADAL" clId="{75A88773-6EE1-484E-AADE-FE631E01463B}" dt="2025-11-21T06:04:50.680" v="84594"/>
          <ac:spMkLst>
            <pc:docMk/>
            <pc:sldMk cId="3643436976" sldId="2147483079"/>
            <ac:spMk id="159" creationId="{885A18A9-7940-F158-31E1-2F68AD70E9F4}"/>
          </ac:spMkLst>
        </pc:spChg>
        <pc:spChg chg="mod ord">
          <ac:chgData name="Yudi Zhu" userId="571e1a55-055f-4c28-8b35-fca6dd1c1369" providerId="ADAL" clId="{75A88773-6EE1-484E-AADE-FE631E01463B}" dt="2025-11-21T06:04:50.689" v="84602"/>
          <ac:spMkLst>
            <pc:docMk/>
            <pc:sldMk cId="3643436976" sldId="2147483079"/>
            <ac:spMk id="160" creationId="{8DB74715-D2FA-B9F1-B3C2-B73C78248751}"/>
          </ac:spMkLst>
        </pc:spChg>
        <pc:spChg chg="mod">
          <ac:chgData name="Yudi Zhu" userId="571e1a55-055f-4c28-8b35-fca6dd1c1369" providerId="ADAL" clId="{75A88773-6EE1-484E-AADE-FE631E01463B}" dt="2025-11-21T06:04:50.700" v="84618"/>
          <ac:spMkLst>
            <pc:docMk/>
            <pc:sldMk cId="3643436976" sldId="2147483079"/>
            <ac:spMk id="164" creationId="{A45DEC8D-506C-D780-D568-43A23B1D1D0F}"/>
          </ac:spMkLst>
        </pc:spChg>
        <pc:spChg chg="mod ord">
          <ac:chgData name="Yudi Zhu" userId="571e1a55-055f-4c28-8b35-fca6dd1c1369" providerId="ADAL" clId="{75A88773-6EE1-484E-AADE-FE631E01463B}" dt="2025-11-21T06:04:50.708" v="84630"/>
          <ac:spMkLst>
            <pc:docMk/>
            <pc:sldMk cId="3643436976" sldId="2147483079"/>
            <ac:spMk id="171" creationId="{293E5EAB-9897-53B8-CA79-F72C2974461D}"/>
          </ac:spMkLst>
        </pc:spChg>
        <pc:spChg chg="mod ord">
          <ac:chgData name="Yudi Zhu" userId="571e1a55-055f-4c28-8b35-fca6dd1c1369" providerId="ADAL" clId="{75A88773-6EE1-484E-AADE-FE631E01463B}" dt="2025-11-21T06:04:50.709" v="84632"/>
          <ac:spMkLst>
            <pc:docMk/>
            <pc:sldMk cId="3643436976" sldId="2147483079"/>
            <ac:spMk id="172" creationId="{ADD7E32B-9B7B-83D7-95EF-2A06B8DAAE95}"/>
          </ac:spMkLst>
        </pc:spChg>
        <pc:spChg chg="mod ord">
          <ac:chgData name="Yudi Zhu" userId="571e1a55-055f-4c28-8b35-fca6dd1c1369" providerId="ADAL" clId="{75A88773-6EE1-484E-AADE-FE631E01463B}" dt="2025-11-21T06:04:50.711" v="84638"/>
          <ac:spMkLst>
            <pc:docMk/>
            <pc:sldMk cId="3643436976" sldId="2147483079"/>
            <ac:spMk id="238" creationId="{7BDF4C2D-F3BF-9D11-A519-5543E8E4F8A0}"/>
          </ac:spMkLst>
        </pc:spChg>
        <pc:graphicFrameChg chg="add del mod">
          <ac:chgData name="Yudi Zhu" userId="571e1a55-055f-4c28-8b35-fca6dd1c1369" providerId="ADAL" clId="{75A88773-6EE1-484E-AADE-FE631E01463B}" dt="2025-11-21T06:04:50.444" v="84473"/>
          <ac:graphicFrameMkLst>
            <pc:docMk/>
            <pc:sldMk cId="3643436976" sldId="2147483079"/>
            <ac:graphicFrameMk id="5" creationId="{FBDC505A-922E-4A97-DE3A-C67A3C00C6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0.612" v="84541"/>
          <ac:graphicFrameMkLst>
            <pc:docMk/>
            <pc:sldMk cId="3643436976" sldId="2147483079"/>
            <ac:graphicFrameMk id="12" creationId="{61FA0F5C-4907-907B-86D0-0307B6A204E1}"/>
          </ac:graphicFrameMkLst>
        </pc:graphicFrameChg>
        <pc:graphicFrameChg chg="mod">
          <ac:chgData name="Yudi Zhu" userId="571e1a55-055f-4c28-8b35-fca6dd1c1369" providerId="ADAL" clId="{75A88773-6EE1-484E-AADE-FE631E01463B}" dt="2025-11-21T06:05:07.684" v="91227"/>
          <ac:graphicFrameMkLst>
            <pc:docMk/>
            <pc:sldMk cId="3643436976" sldId="2147483079"/>
            <ac:graphicFrameMk id="16" creationId="{8942CFD7-34E4-FCB6-B23A-45126ABAC89E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0.642" v="84549"/>
          <ac:graphicFrameMkLst>
            <pc:docMk/>
            <pc:sldMk cId="3643436976" sldId="2147483079"/>
            <ac:graphicFrameMk id="23" creationId="{94D643E3-AD8D-3558-EC83-43E123925BDF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0.667" v="84581"/>
          <ac:graphicFrameMkLst>
            <pc:docMk/>
            <pc:sldMk cId="3643436976" sldId="2147483079"/>
            <ac:graphicFrameMk id="24" creationId="{ABB7FBE1-E6E2-3477-3F8F-2B0D8AE41219}"/>
          </ac:graphicFrameMkLst>
        </pc:graphicFrameChg>
        <pc:graphicFrameChg chg="del">
          <ac:chgData name="Yudi Zhu" userId="571e1a55-055f-4c28-8b35-fca6dd1c1369" providerId="ADAL" clId="{75A88773-6EE1-484E-AADE-FE631E01463B}" dt="2025-11-21T06:01:58.777" v="58969"/>
          <ac:graphicFrameMkLst>
            <pc:docMk/>
            <pc:sldMk cId="3643436976" sldId="2147483079"/>
            <ac:graphicFrameMk id="53" creationId="{4D8DB602-469E-8E4B-2BA7-41B8A3430A31}"/>
          </ac:graphicFrameMkLst>
        </pc:graphicFrameChg>
        <pc:graphicFrameChg chg="del">
          <ac:chgData name="Yudi Zhu" userId="571e1a55-055f-4c28-8b35-fca6dd1c1369" providerId="ADAL" clId="{75A88773-6EE1-484E-AADE-FE631E01463B}" dt="2025-11-21T06:01:58.983" v="59057"/>
          <ac:graphicFrameMkLst>
            <pc:docMk/>
            <pc:sldMk cId="3643436976" sldId="2147483079"/>
            <ac:graphicFrameMk id="163" creationId="{D247357F-2681-EF8A-C4CF-D16FE4EA5EFC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0.706" v="84626"/>
          <ac:graphicFrameMkLst>
            <pc:docMk/>
            <pc:sldMk cId="3643436976" sldId="2147483079"/>
            <ac:graphicFrameMk id="168" creationId="{D2ED8A93-A64F-842C-9362-B936615B9546}"/>
          </ac:graphicFrameMkLst>
        </pc:graphicFrameChg>
        <pc:graphicFrameChg chg="mod ord">
          <ac:chgData name="Yudi Zhu" userId="571e1a55-055f-4c28-8b35-fca6dd1c1369" providerId="ADAL" clId="{75A88773-6EE1-484E-AADE-FE631E01463B}" dt="2025-11-21T06:04:50.707" v="84628"/>
          <ac:graphicFrameMkLst>
            <pc:docMk/>
            <pc:sldMk cId="3643436976" sldId="2147483079"/>
            <ac:graphicFrameMk id="170" creationId="{D9801C33-6079-305D-D6C9-6FA181383F4A}"/>
          </ac:graphicFrameMkLst>
        </pc:graphicFrameChg>
        <pc:cxnChg chg="mod ord">
          <ac:chgData name="Yudi Zhu" userId="571e1a55-055f-4c28-8b35-fca6dd1c1369" providerId="ADAL" clId="{75A88773-6EE1-484E-AADE-FE631E01463B}" dt="2025-11-21T06:04:50.646" v="84557"/>
          <ac:cxnSpMkLst>
            <pc:docMk/>
            <pc:sldMk cId="3643436976" sldId="2147483079"/>
            <ac:cxnSpMk id="37" creationId="{C297F3C5-D9A0-5DCA-2872-D91A3FEFC79A}"/>
          </ac:cxnSpMkLst>
        </pc:cxnChg>
        <pc:cxnChg chg="mod ord">
          <ac:chgData name="Yudi Zhu" userId="571e1a55-055f-4c28-8b35-fca6dd1c1369" providerId="ADAL" clId="{75A88773-6EE1-484E-AADE-FE631E01463B}" dt="2025-11-21T06:04:50.648" v="84559"/>
          <ac:cxnSpMkLst>
            <pc:docMk/>
            <pc:sldMk cId="3643436976" sldId="2147483079"/>
            <ac:cxnSpMk id="39" creationId="{8BA22BF7-1526-7870-2CD2-FA63B3D2563A}"/>
          </ac:cxnSpMkLst>
        </pc:cxnChg>
        <pc:cxnChg chg="mod ord">
          <ac:chgData name="Yudi Zhu" userId="571e1a55-055f-4c28-8b35-fca6dd1c1369" providerId="ADAL" clId="{75A88773-6EE1-484E-AADE-FE631E01463B}" dt="2025-11-21T06:04:50.643" v="84551"/>
          <ac:cxnSpMkLst>
            <pc:docMk/>
            <pc:sldMk cId="3643436976" sldId="2147483079"/>
            <ac:cxnSpMk id="128" creationId="{DDA9C43F-300F-C244-B518-B9572F3123C6}"/>
          </ac:cxnSpMkLst>
        </pc:cxnChg>
        <pc:cxnChg chg="mod ord">
          <ac:chgData name="Yudi Zhu" userId="571e1a55-055f-4c28-8b35-fca6dd1c1369" providerId="ADAL" clId="{75A88773-6EE1-484E-AADE-FE631E01463B}" dt="2025-11-21T06:04:50.644" v="84553"/>
          <ac:cxnSpMkLst>
            <pc:docMk/>
            <pc:sldMk cId="3643436976" sldId="2147483079"/>
            <ac:cxnSpMk id="129" creationId="{F1392CDD-C776-74B7-E3E7-CF51E02E6730}"/>
          </ac:cxnSpMkLst>
        </pc:cxnChg>
        <pc:cxnChg chg="mod ord">
          <ac:chgData name="Yudi Zhu" userId="571e1a55-055f-4c28-8b35-fca6dd1c1369" providerId="ADAL" clId="{75A88773-6EE1-484E-AADE-FE631E01463B}" dt="2025-11-21T06:04:50.669" v="84583"/>
          <ac:cxnSpMkLst>
            <pc:docMk/>
            <pc:sldMk cId="3643436976" sldId="2147483079"/>
            <ac:cxnSpMk id="130" creationId="{1561A093-01E9-B26D-B5F6-5B8D9ACC39CE}"/>
          </ac:cxnSpMkLst>
        </pc:cxnChg>
        <pc:cxnChg chg="mod ord">
          <ac:chgData name="Yudi Zhu" userId="571e1a55-055f-4c28-8b35-fca6dd1c1369" providerId="ADAL" clId="{75A88773-6EE1-484E-AADE-FE631E01463B}" dt="2025-11-21T06:04:50.671" v="84585"/>
          <ac:cxnSpMkLst>
            <pc:docMk/>
            <pc:sldMk cId="3643436976" sldId="2147483079"/>
            <ac:cxnSpMk id="131" creationId="{32D54986-8E29-793D-4A16-0D566F266C8D}"/>
          </ac:cxnSpMkLst>
        </pc:cxnChg>
        <pc:cxnChg chg="mod ord">
          <ac:chgData name="Yudi Zhu" userId="571e1a55-055f-4c28-8b35-fca6dd1c1369" providerId="ADAL" clId="{75A88773-6EE1-484E-AADE-FE631E01463B}" dt="2025-11-21T06:04:50.673" v="84587"/>
          <ac:cxnSpMkLst>
            <pc:docMk/>
            <pc:sldMk cId="3643436976" sldId="2147483079"/>
            <ac:cxnSpMk id="132" creationId="{9D17D95F-9273-45DB-6D14-7CDFBCFB0CAC}"/>
          </ac:cxnSpMkLst>
        </pc:cxnChg>
        <pc:cxnChg chg="mod ord">
          <ac:chgData name="Yudi Zhu" userId="571e1a55-055f-4c28-8b35-fca6dd1c1369" providerId="ADAL" clId="{75A88773-6EE1-484E-AADE-FE631E01463B}" dt="2025-11-21T06:04:50.645" v="84555"/>
          <ac:cxnSpMkLst>
            <pc:docMk/>
            <pc:sldMk cId="3643436976" sldId="2147483079"/>
            <ac:cxnSpMk id="158" creationId="{65E51F99-40E3-36BA-6DE9-88252C28E8BA}"/>
          </ac:cxnSpMkLst>
        </pc:cxnChg>
        <pc:cxnChg chg="mod ord">
          <ac:chgData name="Yudi Zhu" userId="571e1a55-055f-4c28-8b35-fca6dd1c1369" providerId="ADAL" clId="{75A88773-6EE1-484E-AADE-FE631E01463B}" dt="2025-11-21T06:04:50.709" v="84634"/>
          <ac:cxnSpMkLst>
            <pc:docMk/>
            <pc:sldMk cId="3643436976" sldId="2147483079"/>
            <ac:cxnSpMk id="176" creationId="{DA362408-D075-4A20-6545-487AB4E7D63A}"/>
          </ac:cxnSpMkLst>
        </pc:cxnChg>
        <pc:cxnChg chg="mod ord">
          <ac:chgData name="Yudi Zhu" userId="571e1a55-055f-4c28-8b35-fca6dd1c1369" providerId="ADAL" clId="{75A88773-6EE1-484E-AADE-FE631E01463B}" dt="2025-11-21T06:04:50.710" v="84636"/>
          <ac:cxnSpMkLst>
            <pc:docMk/>
            <pc:sldMk cId="3643436976" sldId="2147483079"/>
            <ac:cxnSpMk id="178" creationId="{F53C3740-50A0-C913-EB10-F57942B9DD43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14.575" v="92964" actId="1076"/>
        <pc:sldMkLst>
          <pc:docMk/>
          <pc:sldMk cId="786263190" sldId="2147483081"/>
        </pc:sldMkLst>
        <pc:spChg chg="mod ord">
          <ac:chgData name="Yudi Zhu" userId="571e1a55-055f-4c28-8b35-fca6dd1c1369" providerId="ADAL" clId="{75A88773-6EE1-484E-AADE-FE631E01463B}" dt="2025-11-21T06:05:14.335" v="92901"/>
          <ac:spMkLst>
            <pc:docMk/>
            <pc:sldMk cId="786263190" sldId="2147483081"/>
            <ac:spMk id="2" creationId="{8E52A761-8683-2BFB-D010-1A1A16C9FCC6}"/>
          </ac:spMkLst>
        </pc:spChg>
        <pc:spChg chg="add del mod modVis">
          <ac:chgData name="Yudi Zhu" userId="571e1a55-055f-4c28-8b35-fca6dd1c1369" providerId="ADAL" clId="{75A88773-6EE1-484E-AADE-FE631E01463B}" dt="2025-11-21T06:02:24.892" v="70201" actId="478"/>
          <ac:spMkLst>
            <pc:docMk/>
            <pc:sldMk cId="786263190" sldId="2147483081"/>
            <ac:spMk id="3" creationId="{A73B0B36-3D2F-7CC7-3E84-C0A423A58092}"/>
          </ac:spMkLst>
        </pc:spChg>
        <pc:spChg chg="del mod modVis">
          <ac:chgData name="Yudi Zhu" userId="571e1a55-055f-4c28-8b35-fca6dd1c1369" providerId="ADAL" clId="{75A88773-6EE1-484E-AADE-FE631E01463B}" dt="2025-11-21T06:02:28.433" v="71401" actId="478"/>
          <ac:spMkLst>
            <pc:docMk/>
            <pc:sldMk cId="786263190" sldId="2147483081"/>
            <ac:spMk id="7" creationId="{A689CB7A-98D8-C8C3-B0E7-7F3F32D4FD49}"/>
          </ac:spMkLst>
        </pc:spChg>
        <pc:spChg chg="del mod modVis">
          <ac:chgData name="Yudi Zhu" userId="571e1a55-055f-4c28-8b35-fca6dd1c1369" providerId="ADAL" clId="{75A88773-6EE1-484E-AADE-FE631E01463B}" dt="2025-11-21T06:02:28.610" v="71505" actId="478"/>
          <ac:spMkLst>
            <pc:docMk/>
            <pc:sldMk cId="786263190" sldId="2147483081"/>
            <ac:spMk id="9" creationId="{75D23396-512B-659A-36EA-A32B44DA291B}"/>
          </ac:spMkLst>
        </pc:spChg>
        <pc:spChg chg="del mod modVis">
          <ac:chgData name="Yudi Zhu" userId="571e1a55-055f-4c28-8b35-fca6dd1c1369" providerId="ADAL" clId="{75A88773-6EE1-484E-AADE-FE631E01463B}" dt="2025-11-21T06:02:28.820" v="71615" actId="478"/>
          <ac:spMkLst>
            <pc:docMk/>
            <pc:sldMk cId="786263190" sldId="2147483081"/>
            <ac:spMk id="11" creationId="{75949219-3C41-89E3-013C-B951325689D0}"/>
          </ac:spMkLst>
        </pc:spChg>
        <pc:spChg chg="add del mod modVis">
          <ac:chgData name="Yudi Zhu" userId="571e1a55-055f-4c28-8b35-fca6dd1c1369" providerId="ADAL" clId="{75A88773-6EE1-484E-AADE-FE631E01463B}" dt="2025-11-21T06:05:08.568" v="91543"/>
          <ac:spMkLst>
            <pc:docMk/>
            <pc:sldMk cId="786263190" sldId="2147483081"/>
            <ac:spMk id="13" creationId="{C7E0DD3C-B764-16B1-B598-3F98ABA3E910}"/>
          </ac:spMkLst>
        </pc:spChg>
        <pc:spChg chg="del mod modVis">
          <ac:chgData name="Yudi Zhu" userId="571e1a55-055f-4c28-8b35-fca6dd1c1369" providerId="ADAL" clId="{75A88773-6EE1-484E-AADE-FE631E01463B}" dt="2025-11-21T06:05:13.678" v="92751" actId="478"/>
          <ac:spMkLst>
            <pc:docMk/>
            <pc:sldMk cId="786263190" sldId="2147483081"/>
            <ac:spMk id="17" creationId="{A5473C72-96D4-900F-3989-CB87D0FBE78A}"/>
          </ac:spMkLst>
        </pc:spChg>
        <pc:spChg chg="del mod modVis">
          <ac:chgData name="Yudi Zhu" userId="571e1a55-055f-4c28-8b35-fca6dd1c1369" providerId="ADAL" clId="{75A88773-6EE1-484E-AADE-FE631E01463B}" dt="2025-11-21T06:05:14.056" v="92853" actId="478"/>
          <ac:spMkLst>
            <pc:docMk/>
            <pc:sldMk cId="786263190" sldId="2147483081"/>
            <ac:spMk id="19" creationId="{F0E9374E-8AFA-B654-DC9E-352DF4251C72}"/>
          </ac:spMkLst>
        </pc:spChg>
        <pc:spChg chg="del mod modVis">
          <ac:chgData name="Yudi Zhu" userId="571e1a55-055f-4c28-8b35-fca6dd1c1369" providerId="ADAL" clId="{75A88773-6EE1-484E-AADE-FE631E01463B}" dt="2025-11-21T06:05:14.573" v="92963" actId="478"/>
          <ac:spMkLst>
            <pc:docMk/>
            <pc:sldMk cId="786263190" sldId="2147483081"/>
            <ac:spMk id="21" creationId="{2FCCD1B5-ADC6-8B12-7BD0-324998401C93}"/>
          </ac:spMkLst>
        </pc:spChg>
        <pc:spChg chg="mod">
          <ac:chgData name="Yudi Zhu" userId="571e1a55-055f-4c28-8b35-fca6dd1c1369" providerId="ADAL" clId="{75A88773-6EE1-484E-AADE-FE631E01463B}" dt="2025-11-21T06:05:04.781" v="89996"/>
          <ac:spMkLst>
            <pc:docMk/>
            <pc:sldMk cId="786263190" sldId="2147483081"/>
            <ac:spMk id="185" creationId="{7B392ED1-DF91-9C24-966B-BD658BC39453}"/>
          </ac:spMkLst>
        </pc:spChg>
        <pc:spChg chg="mod">
          <ac:chgData name="Yudi Zhu" userId="571e1a55-055f-4c28-8b35-fca6dd1c1369" providerId="ADAL" clId="{75A88773-6EE1-484E-AADE-FE631E01463B}" dt="2025-11-21T06:05:04.791" v="90003"/>
          <ac:spMkLst>
            <pc:docMk/>
            <pc:sldMk cId="786263190" sldId="2147483081"/>
            <ac:spMk id="186" creationId="{B7003476-9DF3-03C1-5FC4-BA7753FAA30D}"/>
          </ac:spMkLst>
        </pc:spChg>
        <pc:spChg chg="mod">
          <ac:chgData name="Yudi Zhu" userId="571e1a55-055f-4c28-8b35-fca6dd1c1369" providerId="ADAL" clId="{75A88773-6EE1-484E-AADE-FE631E01463B}" dt="2025-11-21T06:05:04.797" v="90007"/>
          <ac:spMkLst>
            <pc:docMk/>
            <pc:sldMk cId="786263190" sldId="2147483081"/>
            <ac:spMk id="317" creationId="{9842E34A-9407-3B6C-AFE2-BEC3C6F73054}"/>
          </ac:spMkLst>
        </pc:spChg>
        <pc:spChg chg="mod">
          <ac:chgData name="Yudi Zhu" userId="571e1a55-055f-4c28-8b35-fca6dd1c1369" providerId="ADAL" clId="{75A88773-6EE1-484E-AADE-FE631E01463B}" dt="2025-11-21T06:05:04.799" v="90008"/>
          <ac:spMkLst>
            <pc:docMk/>
            <pc:sldMk cId="786263190" sldId="2147483081"/>
            <ac:spMk id="318" creationId="{2FF371D5-3778-8EAF-BD33-2D6E54E2CFA4}"/>
          </ac:spMkLst>
        </pc:spChg>
        <pc:spChg chg="mod">
          <ac:chgData name="Yudi Zhu" userId="571e1a55-055f-4c28-8b35-fca6dd1c1369" providerId="ADAL" clId="{75A88773-6EE1-484E-AADE-FE631E01463B}" dt="2025-11-21T06:05:04.801" v="90009"/>
          <ac:spMkLst>
            <pc:docMk/>
            <pc:sldMk cId="786263190" sldId="2147483081"/>
            <ac:spMk id="319" creationId="{4491AE7E-B66D-702F-06E7-5206EFFABD58}"/>
          </ac:spMkLst>
        </pc:spChg>
        <pc:spChg chg="mod">
          <ac:chgData name="Yudi Zhu" userId="571e1a55-055f-4c28-8b35-fca6dd1c1369" providerId="ADAL" clId="{75A88773-6EE1-484E-AADE-FE631E01463B}" dt="2025-11-21T06:05:04.808" v="90014"/>
          <ac:spMkLst>
            <pc:docMk/>
            <pc:sldMk cId="786263190" sldId="2147483081"/>
            <ac:spMk id="320" creationId="{A743D566-A3A4-495B-1CFB-1FF62907C248}"/>
          </ac:spMkLst>
        </pc:spChg>
        <pc:spChg chg="mod ord">
          <ac:chgData name="Yudi Zhu" userId="571e1a55-055f-4c28-8b35-fca6dd1c1369" providerId="ADAL" clId="{75A88773-6EE1-484E-AADE-FE631E01463B}" dt="2025-11-21T06:05:14.377" v="92916"/>
          <ac:spMkLst>
            <pc:docMk/>
            <pc:sldMk cId="786263190" sldId="2147483081"/>
            <ac:spMk id="321" creationId="{BE4F9D77-B24D-381D-16F9-028B31A7BECF}"/>
          </ac:spMkLst>
        </pc:spChg>
        <pc:spChg chg="mod">
          <ac:chgData name="Yudi Zhu" userId="571e1a55-055f-4c28-8b35-fca6dd1c1369" providerId="ADAL" clId="{75A88773-6EE1-484E-AADE-FE631E01463B}" dt="2025-11-21T06:05:04.760" v="89986"/>
          <ac:spMkLst>
            <pc:docMk/>
            <pc:sldMk cId="786263190" sldId="2147483081"/>
            <ac:spMk id="322" creationId="{B35925B5-C656-5C1D-E9C2-B0F7BF52E9CD}"/>
          </ac:spMkLst>
        </pc:spChg>
        <pc:spChg chg="mod">
          <ac:chgData name="Yudi Zhu" userId="571e1a55-055f-4c28-8b35-fca6dd1c1369" providerId="ADAL" clId="{75A88773-6EE1-484E-AADE-FE631E01463B}" dt="2025-11-21T06:05:04.762" v="89987"/>
          <ac:spMkLst>
            <pc:docMk/>
            <pc:sldMk cId="786263190" sldId="2147483081"/>
            <ac:spMk id="323" creationId="{2601CC85-0CF4-D370-8A07-11013B3BC8C6}"/>
          </ac:spMkLst>
        </pc:spChg>
        <pc:spChg chg="mod">
          <ac:chgData name="Yudi Zhu" userId="571e1a55-055f-4c28-8b35-fca6dd1c1369" providerId="ADAL" clId="{75A88773-6EE1-484E-AADE-FE631E01463B}" dt="2025-11-21T06:05:04.766" v="89988"/>
          <ac:spMkLst>
            <pc:docMk/>
            <pc:sldMk cId="786263190" sldId="2147483081"/>
            <ac:spMk id="324" creationId="{DCF6DA0A-4952-C5F5-0DB9-E35AFC3E5C3C}"/>
          </ac:spMkLst>
        </pc:spChg>
        <pc:spChg chg="mod">
          <ac:chgData name="Yudi Zhu" userId="571e1a55-055f-4c28-8b35-fca6dd1c1369" providerId="ADAL" clId="{75A88773-6EE1-484E-AADE-FE631E01463B}" dt="2025-11-21T06:05:04.768" v="89989"/>
          <ac:spMkLst>
            <pc:docMk/>
            <pc:sldMk cId="786263190" sldId="2147483081"/>
            <ac:spMk id="325" creationId="{1C158A22-D501-8833-0347-44A89FBF1FE7}"/>
          </ac:spMkLst>
        </pc:spChg>
        <pc:spChg chg="mod">
          <ac:chgData name="Yudi Zhu" userId="571e1a55-055f-4c28-8b35-fca6dd1c1369" providerId="ADAL" clId="{75A88773-6EE1-484E-AADE-FE631E01463B}" dt="2025-11-21T06:05:04.770" v="89990"/>
          <ac:spMkLst>
            <pc:docMk/>
            <pc:sldMk cId="786263190" sldId="2147483081"/>
            <ac:spMk id="326" creationId="{F4538D24-56B6-63D4-5524-11F89B53EB5C}"/>
          </ac:spMkLst>
        </pc:spChg>
        <pc:spChg chg="mod">
          <ac:chgData name="Yudi Zhu" userId="571e1a55-055f-4c28-8b35-fca6dd1c1369" providerId="ADAL" clId="{75A88773-6EE1-484E-AADE-FE631E01463B}" dt="2025-11-21T06:05:04.772" v="89991"/>
          <ac:spMkLst>
            <pc:docMk/>
            <pc:sldMk cId="786263190" sldId="2147483081"/>
            <ac:spMk id="327" creationId="{69CCA63A-6387-4520-897C-AF345575CD27}"/>
          </ac:spMkLst>
        </pc:spChg>
        <pc:spChg chg="mod">
          <ac:chgData name="Yudi Zhu" userId="571e1a55-055f-4c28-8b35-fca6dd1c1369" providerId="ADAL" clId="{75A88773-6EE1-484E-AADE-FE631E01463B}" dt="2025-11-21T06:05:04.773" v="89992"/>
          <ac:spMkLst>
            <pc:docMk/>
            <pc:sldMk cId="786263190" sldId="2147483081"/>
            <ac:spMk id="328" creationId="{2E4D9609-9BDB-5A78-A2D2-941268390851}"/>
          </ac:spMkLst>
        </pc:spChg>
        <pc:spChg chg="mod">
          <ac:chgData name="Yudi Zhu" userId="571e1a55-055f-4c28-8b35-fca6dd1c1369" providerId="ADAL" clId="{75A88773-6EE1-484E-AADE-FE631E01463B}" dt="2025-11-21T06:05:04.775" v="89993"/>
          <ac:spMkLst>
            <pc:docMk/>
            <pc:sldMk cId="786263190" sldId="2147483081"/>
            <ac:spMk id="329" creationId="{7362575B-2B2B-C5A0-F83E-52D1F4BA3BFC}"/>
          </ac:spMkLst>
        </pc:spChg>
        <pc:spChg chg="mod ord">
          <ac:chgData name="Yudi Zhu" userId="571e1a55-055f-4c28-8b35-fca6dd1c1369" providerId="ADAL" clId="{75A88773-6EE1-484E-AADE-FE631E01463B}" dt="2025-11-21T06:05:14.393" v="92917"/>
          <ac:spMkLst>
            <pc:docMk/>
            <pc:sldMk cId="786263190" sldId="2147483081"/>
            <ac:spMk id="330" creationId="{30707AD6-1793-A34F-63BD-8D4F28BBAA12}"/>
          </ac:spMkLst>
        </pc:spChg>
        <pc:spChg chg="mod">
          <ac:chgData name="Yudi Zhu" userId="571e1a55-055f-4c28-8b35-fca6dd1c1369" providerId="ADAL" clId="{75A88773-6EE1-484E-AADE-FE631E01463B}" dt="2025-11-21T06:05:04.783" v="89997"/>
          <ac:spMkLst>
            <pc:docMk/>
            <pc:sldMk cId="786263190" sldId="2147483081"/>
            <ac:spMk id="331" creationId="{615BBF85-A88D-2292-2559-E9C608A47FD5}"/>
          </ac:spMkLst>
        </pc:spChg>
        <pc:spChg chg="mod">
          <ac:chgData name="Yudi Zhu" userId="571e1a55-055f-4c28-8b35-fca6dd1c1369" providerId="ADAL" clId="{75A88773-6EE1-484E-AADE-FE631E01463B}" dt="2025-11-21T06:05:04.785" v="89998"/>
          <ac:spMkLst>
            <pc:docMk/>
            <pc:sldMk cId="786263190" sldId="2147483081"/>
            <ac:spMk id="332" creationId="{A98EA30E-A521-5CE2-E3EB-99D715128DB3}"/>
          </ac:spMkLst>
        </pc:spChg>
        <pc:spChg chg="mod">
          <ac:chgData name="Yudi Zhu" userId="571e1a55-055f-4c28-8b35-fca6dd1c1369" providerId="ADAL" clId="{75A88773-6EE1-484E-AADE-FE631E01463B}" dt="2025-11-21T06:05:04.786" v="89999"/>
          <ac:spMkLst>
            <pc:docMk/>
            <pc:sldMk cId="786263190" sldId="2147483081"/>
            <ac:spMk id="333" creationId="{54CF79EE-034D-7259-5197-3093871C9BDF}"/>
          </ac:spMkLst>
        </pc:spChg>
        <pc:spChg chg="mod">
          <ac:chgData name="Yudi Zhu" userId="571e1a55-055f-4c28-8b35-fca6dd1c1369" providerId="ADAL" clId="{75A88773-6EE1-484E-AADE-FE631E01463B}" dt="2025-11-21T06:05:04.788" v="90000"/>
          <ac:spMkLst>
            <pc:docMk/>
            <pc:sldMk cId="786263190" sldId="2147483081"/>
            <ac:spMk id="334" creationId="{E0CBA69B-20D3-0256-AAE4-2144B659679F}"/>
          </ac:spMkLst>
        </pc:spChg>
        <pc:spChg chg="mod ord">
          <ac:chgData name="Yudi Zhu" userId="571e1a55-055f-4c28-8b35-fca6dd1c1369" providerId="ADAL" clId="{75A88773-6EE1-484E-AADE-FE631E01463B}" dt="2025-11-21T06:05:14.402" v="92918"/>
          <ac:spMkLst>
            <pc:docMk/>
            <pc:sldMk cId="786263190" sldId="2147483081"/>
            <ac:spMk id="335" creationId="{902F4ECD-9214-191D-6027-035B1E1FCE7A}"/>
          </ac:spMkLst>
        </pc:spChg>
        <pc:spChg chg="mod ord">
          <ac:chgData name="Yudi Zhu" userId="571e1a55-055f-4c28-8b35-fca6dd1c1369" providerId="ADAL" clId="{75A88773-6EE1-484E-AADE-FE631E01463B}" dt="2025-11-21T06:05:14.405" v="92919"/>
          <ac:spMkLst>
            <pc:docMk/>
            <pc:sldMk cId="786263190" sldId="2147483081"/>
            <ac:spMk id="336" creationId="{1DCBCCC5-9338-0E52-87C2-06F9AF24FA88}"/>
          </ac:spMkLst>
        </pc:spChg>
        <pc:spChg chg="mod">
          <ac:chgData name="Yudi Zhu" userId="571e1a55-055f-4c28-8b35-fca6dd1c1369" providerId="ADAL" clId="{75A88773-6EE1-484E-AADE-FE631E01463B}" dt="2025-11-21T06:05:04.795" v="90006"/>
          <ac:spMkLst>
            <pc:docMk/>
            <pc:sldMk cId="786263190" sldId="2147483081"/>
            <ac:spMk id="337" creationId="{B8EC7D37-BF43-731A-186C-43040B70B246}"/>
          </ac:spMkLst>
        </pc:spChg>
        <pc:spChg chg="mod">
          <ac:chgData name="Yudi Zhu" userId="571e1a55-055f-4c28-8b35-fca6dd1c1369" providerId="ADAL" clId="{75A88773-6EE1-484E-AADE-FE631E01463B}" dt="2025-11-21T06:05:04.807" v="90013"/>
          <ac:spMkLst>
            <pc:docMk/>
            <pc:sldMk cId="786263190" sldId="2147483081"/>
            <ac:spMk id="338" creationId="{8A4A7482-9ADA-B10F-CE98-7A47B3453722}"/>
          </ac:spMkLst>
        </pc:spChg>
        <pc:spChg chg="mod">
          <ac:chgData name="Yudi Zhu" userId="571e1a55-055f-4c28-8b35-fca6dd1c1369" providerId="ADAL" clId="{75A88773-6EE1-484E-AADE-FE631E01463B}" dt="2025-11-21T06:05:04.803" v="90010"/>
          <ac:spMkLst>
            <pc:docMk/>
            <pc:sldMk cId="786263190" sldId="2147483081"/>
            <ac:spMk id="339" creationId="{59A9233E-8898-FEE1-33B8-C5DD98D75210}"/>
          </ac:spMkLst>
        </pc:spChg>
        <pc:spChg chg="mod">
          <ac:chgData name="Yudi Zhu" userId="571e1a55-055f-4c28-8b35-fca6dd1c1369" providerId="ADAL" clId="{75A88773-6EE1-484E-AADE-FE631E01463B}" dt="2025-11-21T06:05:04.804" v="90011"/>
          <ac:spMkLst>
            <pc:docMk/>
            <pc:sldMk cId="786263190" sldId="2147483081"/>
            <ac:spMk id="340" creationId="{072160FC-F141-9B51-16AD-29022143DEB3}"/>
          </ac:spMkLst>
        </pc:spChg>
        <pc:spChg chg="mod">
          <ac:chgData name="Yudi Zhu" userId="571e1a55-055f-4c28-8b35-fca6dd1c1369" providerId="ADAL" clId="{75A88773-6EE1-484E-AADE-FE631E01463B}" dt="2025-11-21T06:05:04.806" v="90012"/>
          <ac:spMkLst>
            <pc:docMk/>
            <pc:sldMk cId="786263190" sldId="2147483081"/>
            <ac:spMk id="341" creationId="{DAC8F95B-C021-E965-A443-DE310F54A28F}"/>
          </ac:spMkLst>
        </pc:spChg>
        <pc:spChg chg="mod">
          <ac:chgData name="Yudi Zhu" userId="571e1a55-055f-4c28-8b35-fca6dd1c1369" providerId="ADAL" clId="{75A88773-6EE1-484E-AADE-FE631E01463B}" dt="2025-11-21T06:05:04.814" v="90018"/>
          <ac:spMkLst>
            <pc:docMk/>
            <pc:sldMk cId="786263190" sldId="2147483081"/>
            <ac:spMk id="342" creationId="{1C037676-7B13-E784-0E09-2D4888844B5B}"/>
          </ac:spMkLst>
        </pc:spChg>
        <pc:spChg chg="mod">
          <ac:chgData name="Yudi Zhu" userId="571e1a55-055f-4c28-8b35-fca6dd1c1369" providerId="ADAL" clId="{75A88773-6EE1-484E-AADE-FE631E01463B}" dt="2025-11-21T06:05:04.809" v="90015"/>
          <ac:spMkLst>
            <pc:docMk/>
            <pc:sldMk cId="786263190" sldId="2147483081"/>
            <ac:spMk id="343" creationId="{25B1A29C-A96D-293A-6322-011E7796D7CF}"/>
          </ac:spMkLst>
        </pc:spChg>
        <pc:spChg chg="mod">
          <ac:chgData name="Yudi Zhu" userId="571e1a55-055f-4c28-8b35-fca6dd1c1369" providerId="ADAL" clId="{75A88773-6EE1-484E-AADE-FE631E01463B}" dt="2025-11-21T06:05:04.810" v="90016"/>
          <ac:spMkLst>
            <pc:docMk/>
            <pc:sldMk cId="786263190" sldId="2147483081"/>
            <ac:spMk id="344" creationId="{9BD8098A-30EE-9DF6-6005-E5EBE48FE62A}"/>
          </ac:spMkLst>
        </pc:spChg>
        <pc:spChg chg="mod">
          <ac:chgData name="Yudi Zhu" userId="571e1a55-055f-4c28-8b35-fca6dd1c1369" providerId="ADAL" clId="{75A88773-6EE1-484E-AADE-FE631E01463B}" dt="2025-11-21T06:05:04.812" v="90017"/>
          <ac:spMkLst>
            <pc:docMk/>
            <pc:sldMk cId="786263190" sldId="2147483081"/>
            <ac:spMk id="345" creationId="{4B11A754-14C1-2687-F1AA-DACDDE23CD24}"/>
          </ac:spMkLst>
        </pc:spChg>
        <pc:spChg chg="mod">
          <ac:chgData name="Yudi Zhu" userId="571e1a55-055f-4c28-8b35-fca6dd1c1369" providerId="ADAL" clId="{75A88773-6EE1-484E-AADE-FE631E01463B}" dt="2025-11-21T06:05:04.857" v="90053"/>
          <ac:spMkLst>
            <pc:docMk/>
            <pc:sldMk cId="786263190" sldId="2147483081"/>
            <ac:spMk id="713" creationId="{1D239880-A986-6CB3-E7DD-5A0734D08613}"/>
          </ac:spMkLst>
        </pc:spChg>
        <pc:spChg chg="mod">
          <ac:chgData name="Yudi Zhu" userId="571e1a55-055f-4c28-8b35-fca6dd1c1369" providerId="ADAL" clId="{75A88773-6EE1-484E-AADE-FE631E01463B}" dt="2025-11-21T06:05:04.858" v="90054"/>
          <ac:spMkLst>
            <pc:docMk/>
            <pc:sldMk cId="786263190" sldId="2147483081"/>
            <ac:spMk id="714" creationId="{22F20BE0-436E-25E9-7738-4D838C706863}"/>
          </ac:spMkLst>
        </pc:spChg>
        <pc:spChg chg="mod">
          <ac:chgData name="Yudi Zhu" userId="571e1a55-055f-4c28-8b35-fca6dd1c1369" providerId="ADAL" clId="{75A88773-6EE1-484E-AADE-FE631E01463B}" dt="2025-11-21T06:05:04.859" v="90055"/>
          <ac:spMkLst>
            <pc:docMk/>
            <pc:sldMk cId="786263190" sldId="2147483081"/>
            <ac:spMk id="715" creationId="{92048F63-7955-8CB3-8A53-2E0E3B31F9A4}"/>
          </ac:spMkLst>
        </pc:spChg>
        <pc:spChg chg="mod">
          <ac:chgData name="Yudi Zhu" userId="571e1a55-055f-4c28-8b35-fca6dd1c1369" providerId="ADAL" clId="{75A88773-6EE1-484E-AADE-FE631E01463B}" dt="2025-11-21T06:05:04.860" v="90056"/>
          <ac:spMkLst>
            <pc:docMk/>
            <pc:sldMk cId="786263190" sldId="2147483081"/>
            <ac:spMk id="716" creationId="{8C227E20-0EC5-C3D9-E332-00BF421EBCEA}"/>
          </ac:spMkLst>
        </pc:spChg>
        <pc:spChg chg="mod">
          <ac:chgData name="Yudi Zhu" userId="571e1a55-055f-4c28-8b35-fca6dd1c1369" providerId="ADAL" clId="{75A88773-6EE1-484E-AADE-FE631E01463B}" dt="2025-11-21T06:05:04.862" v="90057"/>
          <ac:spMkLst>
            <pc:docMk/>
            <pc:sldMk cId="786263190" sldId="2147483081"/>
            <ac:spMk id="717" creationId="{8142AF65-3D12-419E-780B-D2D910657901}"/>
          </ac:spMkLst>
        </pc:spChg>
        <pc:spChg chg="mod">
          <ac:chgData name="Yudi Zhu" userId="571e1a55-055f-4c28-8b35-fca6dd1c1369" providerId="ADAL" clId="{75A88773-6EE1-484E-AADE-FE631E01463B}" dt="2025-11-21T06:05:04.836" v="90038"/>
          <ac:spMkLst>
            <pc:docMk/>
            <pc:sldMk cId="786263190" sldId="2147483081"/>
            <ac:spMk id="718" creationId="{1ABCCF8D-69A0-4D6F-1F8B-E731E3AB6D62}"/>
          </ac:spMkLst>
        </pc:spChg>
        <pc:spChg chg="mod ord">
          <ac:chgData name="Yudi Zhu" userId="571e1a55-055f-4c28-8b35-fca6dd1c1369" providerId="ADAL" clId="{75A88773-6EE1-484E-AADE-FE631E01463B}" dt="2025-11-21T06:05:14.467" v="92929"/>
          <ac:spMkLst>
            <pc:docMk/>
            <pc:sldMk cId="786263190" sldId="2147483081"/>
            <ac:spMk id="719" creationId="{7B41B6B8-E55A-DFA2-E294-AC2A39B1CEE3}"/>
          </ac:spMkLst>
        </pc:spChg>
        <pc:spChg chg="mod">
          <ac:chgData name="Yudi Zhu" userId="571e1a55-055f-4c28-8b35-fca6dd1c1369" providerId="ADAL" clId="{75A88773-6EE1-484E-AADE-FE631E01463B}" dt="2025-11-21T06:05:04.867" v="90061"/>
          <ac:spMkLst>
            <pc:docMk/>
            <pc:sldMk cId="786263190" sldId="2147483081"/>
            <ac:spMk id="720" creationId="{86176549-0566-33EA-6056-E88330A59EFC}"/>
          </ac:spMkLst>
        </pc:spChg>
        <pc:spChg chg="mod">
          <ac:chgData name="Yudi Zhu" userId="571e1a55-055f-4c28-8b35-fca6dd1c1369" providerId="ADAL" clId="{75A88773-6EE1-484E-AADE-FE631E01463B}" dt="2025-11-21T06:05:04.869" v="90062"/>
          <ac:spMkLst>
            <pc:docMk/>
            <pc:sldMk cId="786263190" sldId="2147483081"/>
            <ac:spMk id="721" creationId="{56D8AEDB-41C0-D8EF-675C-EA1AFF833BE9}"/>
          </ac:spMkLst>
        </pc:spChg>
        <pc:spChg chg="mod ord">
          <ac:chgData name="Yudi Zhu" userId="571e1a55-055f-4c28-8b35-fca6dd1c1369" providerId="ADAL" clId="{75A88773-6EE1-484E-AADE-FE631E01463B}" dt="2025-11-21T06:05:14.471" v="92930"/>
          <ac:spMkLst>
            <pc:docMk/>
            <pc:sldMk cId="786263190" sldId="2147483081"/>
            <ac:spMk id="722" creationId="{5E97BC9E-3B3C-1651-0CC8-BAD6FB859EBF}"/>
          </ac:spMkLst>
        </pc:spChg>
        <pc:spChg chg="mod">
          <ac:chgData name="Yudi Zhu" userId="571e1a55-055f-4c28-8b35-fca6dd1c1369" providerId="ADAL" clId="{75A88773-6EE1-484E-AADE-FE631E01463B}" dt="2025-11-21T06:05:04.873" v="90065"/>
          <ac:spMkLst>
            <pc:docMk/>
            <pc:sldMk cId="786263190" sldId="2147483081"/>
            <ac:spMk id="723" creationId="{02AB522D-A02C-85E1-AD87-9FB910BFBF6C}"/>
          </ac:spMkLst>
        </pc:spChg>
        <pc:spChg chg="mod">
          <ac:chgData name="Yudi Zhu" userId="571e1a55-055f-4c28-8b35-fca6dd1c1369" providerId="ADAL" clId="{75A88773-6EE1-484E-AADE-FE631E01463B}" dt="2025-11-21T06:05:04.877" v="90066"/>
          <ac:spMkLst>
            <pc:docMk/>
            <pc:sldMk cId="786263190" sldId="2147483081"/>
            <ac:spMk id="724" creationId="{F1FE524A-1A1C-7B21-2923-4891AF5DFBBB}"/>
          </ac:spMkLst>
        </pc:spChg>
        <pc:spChg chg="mod ord">
          <ac:chgData name="Yudi Zhu" userId="571e1a55-055f-4c28-8b35-fca6dd1c1369" providerId="ADAL" clId="{75A88773-6EE1-484E-AADE-FE631E01463B}" dt="2025-11-21T06:05:14.474" v="92931"/>
          <ac:spMkLst>
            <pc:docMk/>
            <pc:sldMk cId="786263190" sldId="2147483081"/>
            <ac:spMk id="725" creationId="{61F00C7E-C822-446A-0CE2-99776C75518B}"/>
          </ac:spMkLst>
        </pc:spChg>
        <pc:spChg chg="mod ord">
          <ac:chgData name="Yudi Zhu" userId="571e1a55-055f-4c28-8b35-fca6dd1c1369" providerId="ADAL" clId="{75A88773-6EE1-484E-AADE-FE631E01463B}" dt="2025-11-21T06:05:14.475" v="92932"/>
          <ac:spMkLst>
            <pc:docMk/>
            <pc:sldMk cId="786263190" sldId="2147483081"/>
            <ac:spMk id="726" creationId="{CE07FBCE-F6FD-0B79-5A25-BE4DA5A1FCF2}"/>
          </ac:spMkLst>
        </pc:spChg>
        <pc:spChg chg="mod">
          <ac:chgData name="Yudi Zhu" userId="571e1a55-055f-4c28-8b35-fca6dd1c1369" providerId="ADAL" clId="{75A88773-6EE1-484E-AADE-FE631E01463B}" dt="2025-11-21T06:05:04.832" v="90036"/>
          <ac:spMkLst>
            <pc:docMk/>
            <pc:sldMk cId="786263190" sldId="2147483081"/>
            <ac:spMk id="727" creationId="{3069FCC7-2411-DCC5-002F-3084A8461476}"/>
          </ac:spMkLst>
        </pc:spChg>
        <pc:spChg chg="mod">
          <ac:chgData name="Yudi Zhu" userId="571e1a55-055f-4c28-8b35-fca6dd1c1369" providerId="ADAL" clId="{75A88773-6EE1-484E-AADE-FE631E01463B}" dt="2025-11-21T06:05:04.835" v="90037"/>
          <ac:spMkLst>
            <pc:docMk/>
            <pc:sldMk cId="786263190" sldId="2147483081"/>
            <ac:spMk id="728" creationId="{F9AA9CF3-5221-B778-1BE0-EBEE8BF16267}"/>
          </ac:spMkLst>
        </pc:spChg>
        <pc:spChg chg="mod">
          <ac:chgData name="Yudi Zhu" userId="571e1a55-055f-4c28-8b35-fca6dd1c1369" providerId="ADAL" clId="{75A88773-6EE1-484E-AADE-FE631E01463B}" dt="2025-11-21T06:05:04.838" v="90039"/>
          <ac:spMkLst>
            <pc:docMk/>
            <pc:sldMk cId="786263190" sldId="2147483081"/>
            <ac:spMk id="729" creationId="{2B95ED45-F93A-5011-582D-79A26A6260EF}"/>
          </ac:spMkLst>
        </pc:spChg>
        <pc:spChg chg="mod">
          <ac:chgData name="Yudi Zhu" userId="571e1a55-055f-4c28-8b35-fca6dd1c1369" providerId="ADAL" clId="{75A88773-6EE1-484E-AADE-FE631E01463B}" dt="2025-11-21T06:05:04.839" v="90040"/>
          <ac:spMkLst>
            <pc:docMk/>
            <pc:sldMk cId="786263190" sldId="2147483081"/>
            <ac:spMk id="730" creationId="{4F818353-5A7F-014B-4C0A-C7A55E68CABD}"/>
          </ac:spMkLst>
        </pc:spChg>
        <pc:spChg chg="mod">
          <ac:chgData name="Yudi Zhu" userId="571e1a55-055f-4c28-8b35-fca6dd1c1369" providerId="ADAL" clId="{75A88773-6EE1-484E-AADE-FE631E01463B}" dt="2025-11-21T06:05:04.840" v="90041"/>
          <ac:spMkLst>
            <pc:docMk/>
            <pc:sldMk cId="786263190" sldId="2147483081"/>
            <ac:spMk id="731" creationId="{17F1F383-8B90-EAA2-31BB-B5805CCFDF1D}"/>
          </ac:spMkLst>
        </pc:spChg>
        <pc:spChg chg="mod">
          <ac:chgData name="Yudi Zhu" userId="571e1a55-055f-4c28-8b35-fca6dd1c1369" providerId="ADAL" clId="{75A88773-6EE1-484E-AADE-FE631E01463B}" dt="2025-11-21T06:05:04.842" v="90042"/>
          <ac:spMkLst>
            <pc:docMk/>
            <pc:sldMk cId="786263190" sldId="2147483081"/>
            <ac:spMk id="732" creationId="{E81EAD49-30FE-9C0C-A72B-B74BC7935447}"/>
          </ac:spMkLst>
        </pc:spChg>
        <pc:spChg chg="mod">
          <ac:chgData name="Yudi Zhu" userId="571e1a55-055f-4c28-8b35-fca6dd1c1369" providerId="ADAL" clId="{75A88773-6EE1-484E-AADE-FE631E01463B}" dt="2025-11-21T06:05:04.844" v="90043"/>
          <ac:spMkLst>
            <pc:docMk/>
            <pc:sldMk cId="786263190" sldId="2147483081"/>
            <ac:spMk id="733" creationId="{56192282-31AE-EA8E-B45C-F8C382B2E35B}"/>
          </ac:spMkLst>
        </pc:spChg>
        <pc:spChg chg="mod">
          <ac:chgData name="Yudi Zhu" userId="571e1a55-055f-4c28-8b35-fca6dd1c1369" providerId="ADAL" clId="{75A88773-6EE1-484E-AADE-FE631E01463B}" dt="2025-11-21T06:05:04.845" v="90044"/>
          <ac:spMkLst>
            <pc:docMk/>
            <pc:sldMk cId="786263190" sldId="2147483081"/>
            <ac:spMk id="734" creationId="{CEE58164-9812-E38D-532A-8E72C5435E05}"/>
          </ac:spMkLst>
        </pc:spChg>
        <pc:spChg chg="mod">
          <ac:chgData name="Yudi Zhu" userId="571e1a55-055f-4c28-8b35-fca6dd1c1369" providerId="ADAL" clId="{75A88773-6EE1-484E-AADE-FE631E01463B}" dt="2025-11-21T06:05:04.847" v="90045"/>
          <ac:spMkLst>
            <pc:docMk/>
            <pc:sldMk cId="786263190" sldId="2147483081"/>
            <ac:spMk id="735" creationId="{BCAAB8B1-27BF-C151-D8CF-2A930ABDC74E}"/>
          </ac:spMkLst>
        </pc:spChg>
        <pc:spChg chg="mod">
          <ac:chgData name="Yudi Zhu" userId="571e1a55-055f-4c28-8b35-fca6dd1c1369" providerId="ADAL" clId="{75A88773-6EE1-484E-AADE-FE631E01463B}" dt="2025-11-21T06:05:04.849" v="90046"/>
          <ac:spMkLst>
            <pc:docMk/>
            <pc:sldMk cId="786263190" sldId="2147483081"/>
            <ac:spMk id="736" creationId="{4840FB03-4620-A721-F981-E1EF739A6EDF}"/>
          </ac:spMkLst>
        </pc:spChg>
        <pc:spChg chg="mod">
          <ac:chgData name="Yudi Zhu" userId="571e1a55-055f-4c28-8b35-fca6dd1c1369" providerId="ADAL" clId="{75A88773-6EE1-484E-AADE-FE631E01463B}" dt="2025-11-21T06:05:04.864" v="90058"/>
          <ac:spMkLst>
            <pc:docMk/>
            <pc:sldMk cId="786263190" sldId="2147483081"/>
            <ac:spMk id="737" creationId="{B1272A7D-A517-8E2D-7101-1DA7F5B1120D}"/>
          </ac:spMkLst>
        </pc:spChg>
        <pc:spChg chg="mod">
          <ac:chgData name="Yudi Zhu" userId="571e1a55-055f-4c28-8b35-fca6dd1c1369" providerId="ADAL" clId="{75A88773-6EE1-484E-AADE-FE631E01463B}" dt="2025-11-21T06:05:04.850" v="90047"/>
          <ac:spMkLst>
            <pc:docMk/>
            <pc:sldMk cId="786263190" sldId="2147483081"/>
            <ac:spMk id="738" creationId="{7804832B-23D0-8CD7-13EB-EC5DFE6655FD}"/>
          </ac:spMkLst>
        </pc:spChg>
        <pc:spChg chg="mod ord">
          <ac:chgData name="Yudi Zhu" userId="571e1a55-055f-4c28-8b35-fca6dd1c1369" providerId="ADAL" clId="{75A88773-6EE1-484E-AADE-FE631E01463B}" dt="2025-11-21T06:05:14.476" v="92933"/>
          <ac:spMkLst>
            <pc:docMk/>
            <pc:sldMk cId="786263190" sldId="2147483081"/>
            <ac:spMk id="739" creationId="{D74EB83D-C54A-84E6-3D5A-B65B8B898863}"/>
          </ac:spMkLst>
        </pc:spChg>
        <pc:spChg chg="mod ord">
          <ac:chgData name="Yudi Zhu" userId="571e1a55-055f-4c28-8b35-fca6dd1c1369" providerId="ADAL" clId="{75A88773-6EE1-484E-AADE-FE631E01463B}" dt="2025-11-21T06:05:14.454" v="92928"/>
          <ac:spMkLst>
            <pc:docMk/>
            <pc:sldMk cId="786263190" sldId="2147483081"/>
            <ac:spMk id="740" creationId="{0948DCA7-C504-B71E-DD52-5678689D1ED2}"/>
          </ac:spMkLst>
        </pc:spChg>
        <pc:spChg chg="mod">
          <ac:chgData name="Yudi Zhu" userId="571e1a55-055f-4c28-8b35-fca6dd1c1369" providerId="ADAL" clId="{75A88773-6EE1-484E-AADE-FE631E01463B}" dt="2025-11-21T06:05:04.853" v="90050"/>
          <ac:spMkLst>
            <pc:docMk/>
            <pc:sldMk cId="786263190" sldId="2147483081"/>
            <ac:spMk id="741" creationId="{87B02D5F-A9C7-CF40-280C-0705FD5A3756}"/>
          </ac:spMkLst>
        </pc:spChg>
        <pc:spChg chg="mod">
          <ac:chgData name="Yudi Zhu" userId="571e1a55-055f-4c28-8b35-fca6dd1c1369" providerId="ADAL" clId="{75A88773-6EE1-484E-AADE-FE631E01463B}" dt="2025-11-21T06:05:04.855" v="90051"/>
          <ac:spMkLst>
            <pc:docMk/>
            <pc:sldMk cId="786263190" sldId="2147483081"/>
            <ac:spMk id="742" creationId="{44EF7F64-C92E-2A50-F30D-AC6752F20C7F}"/>
          </ac:spMkLst>
        </pc:spChg>
        <pc:spChg chg="mod">
          <ac:chgData name="Yudi Zhu" userId="571e1a55-055f-4c28-8b35-fca6dd1c1369" providerId="ADAL" clId="{75A88773-6EE1-484E-AADE-FE631E01463B}" dt="2025-11-21T06:05:04.856" v="90052"/>
          <ac:spMkLst>
            <pc:docMk/>
            <pc:sldMk cId="786263190" sldId="2147483081"/>
            <ac:spMk id="743" creationId="{CF323E17-19D2-0C91-4661-D93089AE6594}"/>
          </ac:spMkLst>
        </pc:spChg>
        <pc:spChg chg="mod">
          <ac:chgData name="Yudi Zhu" userId="571e1a55-055f-4c28-8b35-fca6dd1c1369" providerId="ADAL" clId="{75A88773-6EE1-484E-AADE-FE631E01463B}" dt="2025-11-21T06:05:04.939" v="90116"/>
          <ac:spMkLst>
            <pc:docMk/>
            <pc:sldMk cId="786263190" sldId="2147483081"/>
            <ac:spMk id="769" creationId="{14AEDA33-C544-E6F2-E7B3-7E0C661C9123}"/>
          </ac:spMkLst>
        </pc:spChg>
        <pc:spChg chg="mod">
          <ac:chgData name="Yudi Zhu" userId="571e1a55-055f-4c28-8b35-fca6dd1c1369" providerId="ADAL" clId="{75A88773-6EE1-484E-AADE-FE631E01463B}" dt="2025-11-21T06:05:04.941" v="90117"/>
          <ac:spMkLst>
            <pc:docMk/>
            <pc:sldMk cId="786263190" sldId="2147483081"/>
            <ac:spMk id="770" creationId="{40BE8E48-0B08-59F7-CAE5-A39E2B4D37CC}"/>
          </ac:spMkLst>
        </pc:spChg>
        <pc:spChg chg="mod">
          <ac:chgData name="Yudi Zhu" userId="571e1a55-055f-4c28-8b35-fca6dd1c1369" providerId="ADAL" clId="{75A88773-6EE1-484E-AADE-FE631E01463B}" dt="2025-11-21T06:05:04.942" v="90118"/>
          <ac:spMkLst>
            <pc:docMk/>
            <pc:sldMk cId="786263190" sldId="2147483081"/>
            <ac:spMk id="771" creationId="{74537682-1FA1-B504-DD33-2F9299360284}"/>
          </ac:spMkLst>
        </pc:spChg>
        <pc:spChg chg="mod">
          <ac:chgData name="Yudi Zhu" userId="571e1a55-055f-4c28-8b35-fca6dd1c1369" providerId="ADAL" clId="{75A88773-6EE1-484E-AADE-FE631E01463B}" dt="2025-11-21T06:05:04.944" v="90119"/>
          <ac:spMkLst>
            <pc:docMk/>
            <pc:sldMk cId="786263190" sldId="2147483081"/>
            <ac:spMk id="772" creationId="{CF815AAC-5553-9661-BF63-A07EBA887459}"/>
          </ac:spMkLst>
        </pc:spChg>
        <pc:spChg chg="mod ord">
          <ac:chgData name="Yudi Zhu" userId="571e1a55-055f-4c28-8b35-fca6dd1c1369" providerId="ADAL" clId="{75A88773-6EE1-484E-AADE-FE631E01463B}" dt="2025-11-21T06:05:14.523" v="92949"/>
          <ac:spMkLst>
            <pc:docMk/>
            <pc:sldMk cId="786263190" sldId="2147483081"/>
            <ac:spMk id="773" creationId="{F2A7DF55-3711-A261-C55E-E79DBC0F562B}"/>
          </ac:spMkLst>
        </pc:spChg>
        <pc:spChg chg="mod">
          <ac:chgData name="Yudi Zhu" userId="571e1a55-055f-4c28-8b35-fca6dd1c1369" providerId="ADAL" clId="{75A88773-6EE1-484E-AADE-FE631E01463B}" dt="2025-11-21T06:05:04.915" v="90103"/>
          <ac:spMkLst>
            <pc:docMk/>
            <pc:sldMk cId="786263190" sldId="2147483081"/>
            <ac:spMk id="774" creationId="{04F7F132-CC7B-24E5-9D03-8A010636A5DB}"/>
          </ac:spMkLst>
        </pc:spChg>
        <pc:spChg chg="mod">
          <ac:chgData name="Yudi Zhu" userId="571e1a55-055f-4c28-8b35-fca6dd1c1369" providerId="ADAL" clId="{75A88773-6EE1-484E-AADE-FE631E01463B}" dt="2025-11-21T06:05:04.953" v="90126"/>
          <ac:spMkLst>
            <pc:docMk/>
            <pc:sldMk cId="786263190" sldId="2147483081"/>
            <ac:spMk id="775" creationId="{5FA50E59-1ED7-587D-6525-3816DFACA82A}"/>
          </ac:spMkLst>
        </pc:spChg>
        <pc:spChg chg="mod">
          <ac:chgData name="Yudi Zhu" userId="571e1a55-055f-4c28-8b35-fca6dd1c1369" providerId="ADAL" clId="{75A88773-6EE1-484E-AADE-FE631E01463B}" dt="2025-11-21T06:05:04.954" v="90127"/>
          <ac:spMkLst>
            <pc:docMk/>
            <pc:sldMk cId="786263190" sldId="2147483081"/>
            <ac:spMk id="776" creationId="{92F41448-4C13-479D-8C02-26976FA157B7}"/>
          </ac:spMkLst>
        </pc:spChg>
        <pc:spChg chg="mod">
          <ac:chgData name="Yudi Zhu" userId="571e1a55-055f-4c28-8b35-fca6dd1c1369" providerId="ADAL" clId="{75A88773-6EE1-484E-AADE-FE631E01463B}" dt="2025-11-21T06:05:04.955" v="90128"/>
          <ac:spMkLst>
            <pc:docMk/>
            <pc:sldMk cId="786263190" sldId="2147483081"/>
            <ac:spMk id="777" creationId="{8B062FB7-CDC2-48C6-7853-8CBB7D20041A}"/>
          </ac:spMkLst>
        </pc:spChg>
        <pc:spChg chg="mod ord">
          <ac:chgData name="Yudi Zhu" userId="571e1a55-055f-4c28-8b35-fca6dd1c1369" providerId="ADAL" clId="{75A88773-6EE1-484E-AADE-FE631E01463B}" dt="2025-11-21T06:05:14.536" v="92951"/>
          <ac:spMkLst>
            <pc:docMk/>
            <pc:sldMk cId="786263190" sldId="2147483081"/>
            <ac:spMk id="778" creationId="{67483B42-A7F4-F3D5-4B4D-D0194B6B59F1}"/>
          </ac:spMkLst>
        </pc:spChg>
        <pc:spChg chg="mod">
          <ac:chgData name="Yudi Zhu" userId="571e1a55-055f-4c28-8b35-fca6dd1c1369" providerId="ADAL" clId="{75A88773-6EE1-484E-AADE-FE631E01463B}" dt="2025-11-21T06:05:04.965" v="90136"/>
          <ac:spMkLst>
            <pc:docMk/>
            <pc:sldMk cId="786263190" sldId="2147483081"/>
            <ac:spMk id="779" creationId="{BC8C681D-5AF6-D979-E52B-5182F2DF1D5C}"/>
          </ac:spMkLst>
        </pc:spChg>
        <pc:spChg chg="mod">
          <ac:chgData name="Yudi Zhu" userId="571e1a55-055f-4c28-8b35-fca6dd1c1369" providerId="ADAL" clId="{75A88773-6EE1-484E-AADE-FE631E01463B}" dt="2025-11-21T06:05:04.961" v="90133"/>
          <ac:spMkLst>
            <pc:docMk/>
            <pc:sldMk cId="786263190" sldId="2147483081"/>
            <ac:spMk id="780" creationId="{C42A9833-D4C7-4792-9C77-346FAAA8A4F1}"/>
          </ac:spMkLst>
        </pc:spChg>
        <pc:spChg chg="mod">
          <ac:chgData name="Yudi Zhu" userId="571e1a55-055f-4c28-8b35-fca6dd1c1369" providerId="ADAL" clId="{75A88773-6EE1-484E-AADE-FE631E01463B}" dt="2025-11-21T06:05:04.962" v="90134"/>
          <ac:spMkLst>
            <pc:docMk/>
            <pc:sldMk cId="786263190" sldId="2147483081"/>
            <ac:spMk id="781" creationId="{584BE9EA-BD67-CA44-C137-2377382F7C3C}"/>
          </ac:spMkLst>
        </pc:spChg>
        <pc:spChg chg="mod">
          <ac:chgData name="Yudi Zhu" userId="571e1a55-055f-4c28-8b35-fca6dd1c1369" providerId="ADAL" clId="{75A88773-6EE1-484E-AADE-FE631E01463B}" dt="2025-11-21T06:05:04.964" v="90135"/>
          <ac:spMkLst>
            <pc:docMk/>
            <pc:sldMk cId="786263190" sldId="2147483081"/>
            <ac:spMk id="782" creationId="{9B38A324-2A23-79A5-31B4-01A55EC2712D}"/>
          </ac:spMkLst>
        </pc:spChg>
        <pc:spChg chg="mod">
          <ac:chgData name="Yudi Zhu" userId="571e1a55-055f-4c28-8b35-fca6dd1c1369" providerId="ADAL" clId="{75A88773-6EE1-484E-AADE-FE631E01463B}" dt="2025-11-21T06:05:04.913" v="90102"/>
          <ac:spMkLst>
            <pc:docMk/>
            <pc:sldMk cId="786263190" sldId="2147483081"/>
            <ac:spMk id="783" creationId="{B52D3F94-54E2-7195-2657-6672D64A5C49}"/>
          </ac:spMkLst>
        </pc:spChg>
        <pc:spChg chg="mod">
          <ac:chgData name="Yudi Zhu" userId="571e1a55-055f-4c28-8b35-fca6dd1c1369" providerId="ADAL" clId="{75A88773-6EE1-484E-AADE-FE631E01463B}" dt="2025-11-21T06:05:04.921" v="90107"/>
          <ac:spMkLst>
            <pc:docMk/>
            <pc:sldMk cId="786263190" sldId="2147483081"/>
            <ac:spMk id="784" creationId="{17C41692-DFEA-909F-4F1A-8BD3E1DDA073}"/>
          </ac:spMkLst>
        </pc:spChg>
        <pc:spChg chg="mod ord">
          <ac:chgData name="Yudi Zhu" userId="571e1a55-055f-4c28-8b35-fca6dd1c1369" providerId="ADAL" clId="{75A88773-6EE1-484E-AADE-FE631E01463B}" dt="2025-11-21T06:05:14.505" v="92948"/>
          <ac:spMkLst>
            <pc:docMk/>
            <pc:sldMk cId="786263190" sldId="2147483081"/>
            <ac:spMk id="785" creationId="{EE200ED8-4990-6ACA-C22E-1A2514BA3DCD}"/>
          </ac:spMkLst>
        </pc:spChg>
        <pc:spChg chg="mod">
          <ac:chgData name="Yudi Zhu" userId="571e1a55-055f-4c28-8b35-fca6dd1c1369" providerId="ADAL" clId="{75A88773-6EE1-484E-AADE-FE631E01463B}" dt="2025-11-21T06:05:04.919" v="90106"/>
          <ac:spMkLst>
            <pc:docMk/>
            <pc:sldMk cId="786263190" sldId="2147483081"/>
            <ac:spMk id="786" creationId="{FDE17A77-320A-94D9-953F-83F4BBAB6DF1}"/>
          </ac:spMkLst>
        </pc:spChg>
        <pc:spChg chg="mod">
          <ac:chgData name="Yudi Zhu" userId="571e1a55-055f-4c28-8b35-fca6dd1c1369" providerId="ADAL" clId="{75A88773-6EE1-484E-AADE-FE631E01463B}" dt="2025-11-21T06:05:04.922" v="90108"/>
          <ac:spMkLst>
            <pc:docMk/>
            <pc:sldMk cId="786263190" sldId="2147483081"/>
            <ac:spMk id="787" creationId="{18F20C57-DA7B-B97F-0E5E-4C4CAECE709E}"/>
          </ac:spMkLst>
        </pc:spChg>
        <pc:spChg chg="mod">
          <ac:chgData name="Yudi Zhu" userId="571e1a55-055f-4c28-8b35-fca6dd1c1369" providerId="ADAL" clId="{75A88773-6EE1-484E-AADE-FE631E01463B}" dt="2025-11-21T06:05:04.923" v="90109"/>
          <ac:spMkLst>
            <pc:docMk/>
            <pc:sldMk cId="786263190" sldId="2147483081"/>
            <ac:spMk id="788" creationId="{84C1443F-6F85-9ED1-A0CE-7D941004CE00}"/>
          </ac:spMkLst>
        </pc:spChg>
        <pc:spChg chg="mod">
          <ac:chgData name="Yudi Zhu" userId="571e1a55-055f-4c28-8b35-fca6dd1c1369" providerId="ADAL" clId="{75A88773-6EE1-484E-AADE-FE631E01463B}" dt="2025-11-21T06:05:04.925" v="90110"/>
          <ac:spMkLst>
            <pc:docMk/>
            <pc:sldMk cId="786263190" sldId="2147483081"/>
            <ac:spMk id="789" creationId="{D1820747-EC8A-37C1-E471-6A0FCE4F99A1}"/>
          </ac:spMkLst>
        </pc:spChg>
        <pc:spChg chg="mod">
          <ac:chgData name="Yudi Zhu" userId="571e1a55-055f-4c28-8b35-fca6dd1c1369" providerId="ADAL" clId="{75A88773-6EE1-484E-AADE-FE631E01463B}" dt="2025-11-21T06:05:04.926" v="90111"/>
          <ac:spMkLst>
            <pc:docMk/>
            <pc:sldMk cId="786263190" sldId="2147483081"/>
            <ac:spMk id="790" creationId="{E8005835-6D1E-AD24-44AB-8EDB9D843C46}"/>
          </ac:spMkLst>
        </pc:spChg>
        <pc:spChg chg="mod">
          <ac:chgData name="Yudi Zhu" userId="571e1a55-055f-4c28-8b35-fca6dd1c1369" providerId="ADAL" clId="{75A88773-6EE1-484E-AADE-FE631E01463B}" dt="2025-11-21T06:05:04.927" v="90112"/>
          <ac:spMkLst>
            <pc:docMk/>
            <pc:sldMk cId="786263190" sldId="2147483081"/>
            <ac:spMk id="791" creationId="{80B25D19-2A48-4E45-EA63-63E8B120571E}"/>
          </ac:spMkLst>
        </pc:spChg>
        <pc:spChg chg="mod">
          <ac:chgData name="Yudi Zhu" userId="571e1a55-055f-4c28-8b35-fca6dd1c1369" providerId="ADAL" clId="{75A88773-6EE1-484E-AADE-FE631E01463B}" dt="2025-11-21T06:05:04.929" v="90113"/>
          <ac:spMkLst>
            <pc:docMk/>
            <pc:sldMk cId="786263190" sldId="2147483081"/>
            <ac:spMk id="792" creationId="{C52CCA79-D37C-EB54-FA48-178C8C63CD34}"/>
          </ac:spMkLst>
        </pc:spChg>
        <pc:spChg chg="mod ord">
          <ac:chgData name="Yudi Zhu" userId="571e1a55-055f-4c28-8b35-fca6dd1c1369" providerId="ADAL" clId="{75A88773-6EE1-484E-AADE-FE631E01463B}" dt="2025-11-21T06:05:14.525" v="92950"/>
          <ac:spMkLst>
            <pc:docMk/>
            <pc:sldMk cId="786263190" sldId="2147483081"/>
            <ac:spMk id="793" creationId="{33A66618-BFC3-E473-FB55-2678B3043B55}"/>
          </ac:spMkLst>
        </pc:spChg>
        <pc:spChg chg="mod">
          <ac:chgData name="Yudi Zhu" userId="571e1a55-055f-4c28-8b35-fca6dd1c1369" providerId="ADAL" clId="{75A88773-6EE1-484E-AADE-FE631E01463B}" dt="2025-11-21T06:05:04.932" v="90114"/>
          <ac:spMkLst>
            <pc:docMk/>
            <pc:sldMk cId="786263190" sldId="2147483081"/>
            <ac:spMk id="794" creationId="{C030198B-D505-CA50-566A-3D0124D21CD8}"/>
          </ac:spMkLst>
        </pc:spChg>
        <pc:spChg chg="mod">
          <ac:chgData name="Yudi Zhu" userId="571e1a55-055f-4c28-8b35-fca6dd1c1369" providerId="ADAL" clId="{75A88773-6EE1-484E-AADE-FE631E01463B}" dt="2025-11-21T06:05:04.935" v="90115"/>
          <ac:spMkLst>
            <pc:docMk/>
            <pc:sldMk cId="786263190" sldId="2147483081"/>
            <ac:spMk id="795" creationId="{08948B60-9133-E5AB-4136-A675ACA9362C}"/>
          </ac:spMkLst>
        </pc:spChg>
        <pc:spChg chg="mod">
          <ac:chgData name="Yudi Zhu" userId="571e1a55-055f-4c28-8b35-fca6dd1c1369" providerId="ADAL" clId="{75A88773-6EE1-484E-AADE-FE631E01463B}" dt="2025-11-21T06:05:04.951" v="90125"/>
          <ac:spMkLst>
            <pc:docMk/>
            <pc:sldMk cId="786263190" sldId="2147483081"/>
            <ac:spMk id="796" creationId="{53ABBF72-9E96-68F7-8EAC-EA4B95733FB5}"/>
          </ac:spMkLst>
        </pc:spChg>
        <pc:spChg chg="mod">
          <ac:chgData name="Yudi Zhu" userId="571e1a55-055f-4c28-8b35-fca6dd1c1369" providerId="ADAL" clId="{75A88773-6EE1-484E-AADE-FE631E01463B}" dt="2025-11-21T06:05:04.958" v="90131"/>
          <ac:spMkLst>
            <pc:docMk/>
            <pc:sldMk cId="786263190" sldId="2147483081"/>
            <ac:spMk id="797" creationId="{3AEF0010-BA0E-F44B-80D8-C956F1B39EEE}"/>
          </ac:spMkLst>
        </pc:spChg>
        <pc:spChg chg="mod">
          <ac:chgData name="Yudi Zhu" userId="571e1a55-055f-4c28-8b35-fca6dd1c1369" providerId="ADAL" clId="{75A88773-6EE1-484E-AADE-FE631E01463B}" dt="2025-11-21T06:05:04.947" v="90122"/>
          <ac:spMkLst>
            <pc:docMk/>
            <pc:sldMk cId="786263190" sldId="2147483081"/>
            <ac:spMk id="798" creationId="{0144055F-7214-3FF1-6A98-135F4FB5C8E6}"/>
          </ac:spMkLst>
        </pc:spChg>
        <pc:spChg chg="mod">
          <ac:chgData name="Yudi Zhu" userId="571e1a55-055f-4c28-8b35-fca6dd1c1369" providerId="ADAL" clId="{75A88773-6EE1-484E-AADE-FE631E01463B}" dt="2025-11-21T06:05:04.960" v="90132"/>
          <ac:spMkLst>
            <pc:docMk/>
            <pc:sldMk cId="786263190" sldId="2147483081"/>
            <ac:spMk id="799" creationId="{3FA2EDA6-982B-16C6-3EB4-BE6B9D1F8A6D}"/>
          </ac:spMkLst>
        </pc:spChg>
        <pc:spChg chg="mod ord">
          <ac:chgData name="Yudi Zhu" userId="571e1a55-055f-4c28-8b35-fca6dd1c1369" providerId="ADAL" clId="{75A88773-6EE1-484E-AADE-FE631E01463B}" dt="2025-11-21T06:05:14.545" v="92952"/>
          <ac:spMkLst>
            <pc:docMk/>
            <pc:sldMk cId="786263190" sldId="2147483081"/>
            <ac:spMk id="869" creationId="{0B0546A7-C3C3-10E8-FE11-561AC542590F}"/>
          </ac:spMkLst>
        </pc:spChg>
        <pc:spChg chg="mod ord">
          <ac:chgData name="Yudi Zhu" userId="571e1a55-055f-4c28-8b35-fca6dd1c1369" providerId="ADAL" clId="{75A88773-6EE1-484E-AADE-FE631E01463B}" dt="2025-11-21T06:05:14.547" v="92953"/>
          <ac:spMkLst>
            <pc:docMk/>
            <pc:sldMk cId="786263190" sldId="2147483081"/>
            <ac:spMk id="870" creationId="{2E5EB3C9-5DAB-0668-128C-D54AD70CBCAF}"/>
          </ac:spMkLst>
        </pc:spChg>
        <pc:spChg chg="mod ord">
          <ac:chgData name="Yudi Zhu" userId="571e1a55-055f-4c28-8b35-fca6dd1c1369" providerId="ADAL" clId="{75A88773-6EE1-484E-AADE-FE631E01463B}" dt="2025-11-21T06:05:14.551" v="92955"/>
          <ac:spMkLst>
            <pc:docMk/>
            <pc:sldMk cId="786263190" sldId="2147483081"/>
            <ac:spMk id="907" creationId="{AC704396-E815-DDD6-55DC-711DCDCE8B54}"/>
          </ac:spMkLst>
        </pc:spChg>
        <pc:spChg chg="mod ord">
          <ac:chgData name="Yudi Zhu" userId="571e1a55-055f-4c28-8b35-fca6dd1c1369" providerId="ADAL" clId="{75A88773-6EE1-484E-AADE-FE631E01463B}" dt="2025-11-21T06:05:14.554" v="92957"/>
          <ac:spMkLst>
            <pc:docMk/>
            <pc:sldMk cId="786263190" sldId="2147483081"/>
            <ac:spMk id="909" creationId="{B60A2D6D-9CFF-3CD3-0099-45CC8870879E}"/>
          </ac:spMkLst>
        </pc:spChg>
        <pc:spChg chg="mod ord">
          <ac:chgData name="Yudi Zhu" userId="571e1a55-055f-4c28-8b35-fca6dd1c1369" providerId="ADAL" clId="{75A88773-6EE1-484E-AADE-FE631E01463B}" dt="2025-11-21T06:05:14.333" v="92900"/>
          <ac:spMkLst>
            <pc:docMk/>
            <pc:sldMk cId="786263190" sldId="2147483081"/>
            <ac:spMk id="911" creationId="{9CD2C2D8-5F1E-04B2-0D73-7E5D28027AF8}"/>
          </ac:spMkLst>
        </pc:spChg>
        <pc:spChg chg="mod ord">
          <ac:chgData name="Yudi Zhu" userId="571e1a55-055f-4c28-8b35-fca6dd1c1369" providerId="ADAL" clId="{75A88773-6EE1-484E-AADE-FE631E01463B}" dt="2025-11-21T06:05:14.327" v="92898"/>
          <ac:spMkLst>
            <pc:docMk/>
            <pc:sldMk cId="786263190" sldId="2147483081"/>
            <ac:spMk id="912" creationId="{8DE8DDD8-719D-6304-F5B0-CFF4EA403D4C}"/>
          </ac:spMkLst>
        </pc:spChg>
        <pc:spChg chg="mod ord">
          <ac:chgData name="Yudi Zhu" userId="571e1a55-055f-4c28-8b35-fca6dd1c1369" providerId="ADAL" clId="{75A88773-6EE1-484E-AADE-FE631E01463B}" dt="2025-11-21T06:05:14.330" v="92899"/>
          <ac:spMkLst>
            <pc:docMk/>
            <pc:sldMk cId="786263190" sldId="2147483081"/>
            <ac:spMk id="913" creationId="{EEBB7017-0062-810B-2CD9-9C7EE45CBFAA}"/>
          </ac:spMkLst>
        </pc:spChg>
        <pc:spChg chg="mod">
          <ac:chgData name="Yudi Zhu" userId="571e1a55-055f-4c28-8b35-fca6dd1c1369" providerId="ADAL" clId="{75A88773-6EE1-484E-AADE-FE631E01463B}" dt="2025-11-21T06:05:04.988" v="90159"/>
          <ac:spMkLst>
            <pc:docMk/>
            <pc:sldMk cId="786263190" sldId="2147483081"/>
            <ac:spMk id="914" creationId="{FA0A96ED-03F8-1105-06A6-1EDA369A2298}"/>
          </ac:spMkLst>
        </pc:spChg>
        <pc:spChg chg="mod">
          <ac:chgData name="Yudi Zhu" userId="571e1a55-055f-4c28-8b35-fca6dd1c1369" providerId="ADAL" clId="{75A88773-6EE1-484E-AADE-FE631E01463B}" dt="2025-11-21T06:05:04.990" v="90160"/>
          <ac:spMkLst>
            <pc:docMk/>
            <pc:sldMk cId="786263190" sldId="2147483081"/>
            <ac:spMk id="916" creationId="{A2CB9A7C-B796-8687-5013-D15FC36BEBD3}"/>
          </ac:spMkLst>
        </pc:spChg>
        <pc:spChg chg="mod">
          <ac:chgData name="Yudi Zhu" userId="571e1a55-055f-4c28-8b35-fca6dd1c1369" providerId="ADAL" clId="{75A88773-6EE1-484E-AADE-FE631E01463B}" dt="2025-11-21T06:05:04.991" v="90161"/>
          <ac:spMkLst>
            <pc:docMk/>
            <pc:sldMk cId="786263190" sldId="2147483081"/>
            <ac:spMk id="917" creationId="{D3F90DF9-91D5-9662-871B-660EE7063C5A}"/>
          </ac:spMkLst>
        </pc:spChg>
        <pc:spChg chg="mod">
          <ac:chgData name="Yudi Zhu" userId="571e1a55-055f-4c28-8b35-fca6dd1c1369" providerId="ADAL" clId="{75A88773-6EE1-484E-AADE-FE631E01463B}" dt="2025-11-21T06:05:04.993" v="90162"/>
          <ac:spMkLst>
            <pc:docMk/>
            <pc:sldMk cId="786263190" sldId="2147483081"/>
            <ac:spMk id="918" creationId="{DFC8DFFB-091C-2F17-0174-53A86B1372A6}"/>
          </ac:spMkLst>
        </pc:spChg>
        <pc:spChg chg="mod ord">
          <ac:chgData name="Yudi Zhu" userId="571e1a55-055f-4c28-8b35-fca6dd1c1369" providerId="ADAL" clId="{75A88773-6EE1-484E-AADE-FE631E01463B}" dt="2025-11-21T06:05:14.557" v="92959"/>
          <ac:spMkLst>
            <pc:docMk/>
            <pc:sldMk cId="786263190" sldId="2147483081"/>
            <ac:spMk id="919" creationId="{E3BC5448-8FD4-039A-21C3-8FF325639FBC}"/>
          </ac:spMkLst>
        </pc:spChg>
        <pc:spChg chg="mod ord">
          <ac:chgData name="Yudi Zhu" userId="571e1a55-055f-4c28-8b35-fca6dd1c1369" providerId="ADAL" clId="{75A88773-6EE1-484E-AADE-FE631E01463B}" dt="2025-11-21T06:05:14.558" v="92960"/>
          <ac:spMkLst>
            <pc:docMk/>
            <pc:sldMk cId="786263190" sldId="2147483081"/>
            <ac:spMk id="920" creationId="{2E3762C4-6F9F-E31E-D877-8A4F3CD776A4}"/>
          </ac:spMkLst>
        </pc:spChg>
        <pc:spChg chg="mod ord">
          <ac:chgData name="Yudi Zhu" userId="571e1a55-055f-4c28-8b35-fca6dd1c1369" providerId="ADAL" clId="{75A88773-6EE1-484E-AADE-FE631E01463B}" dt="2025-11-21T06:05:14.559" v="92961"/>
          <ac:spMkLst>
            <pc:docMk/>
            <pc:sldMk cId="786263190" sldId="2147483081"/>
            <ac:spMk id="921" creationId="{CE61A70D-58DF-D8A4-DAEF-707953F09724}"/>
          </ac:spMkLst>
        </pc:spChg>
        <pc:spChg chg="mod ord">
          <ac:chgData name="Yudi Zhu" userId="571e1a55-055f-4c28-8b35-fca6dd1c1369" providerId="ADAL" clId="{75A88773-6EE1-484E-AADE-FE631E01463B}" dt="2025-11-21T06:05:14.561" v="92962"/>
          <ac:spMkLst>
            <pc:docMk/>
            <pc:sldMk cId="786263190" sldId="2147483081"/>
            <ac:spMk id="922" creationId="{B0FADF50-9423-4625-E871-0D8CCB105A84}"/>
          </ac:spMkLst>
        </pc:spChg>
        <pc:graphicFrameChg chg="del mod">
          <ac:chgData name="Yudi Zhu" userId="571e1a55-055f-4c28-8b35-fca6dd1c1369" providerId="ADAL" clId="{75A88773-6EE1-484E-AADE-FE631E01463B}" dt="2025-11-21T06:02:28.506" v="71437" actId="478"/>
          <ac:graphicFrameMkLst>
            <pc:docMk/>
            <pc:sldMk cId="786263190" sldId="2147483081"/>
            <ac:graphicFrameMk id="4" creationId="{E274A9C3-C748-E946-28C2-49D27D1FF12B}"/>
          </ac:graphicFrameMkLst>
        </pc:graphicFrameChg>
        <pc:graphicFrameChg chg="del mod">
          <ac:chgData name="Yudi Zhu" userId="571e1a55-055f-4c28-8b35-fca6dd1c1369" providerId="ADAL" clId="{75A88773-6EE1-484E-AADE-FE631E01463B}" dt="2025-11-21T06:02:28.322" v="71333" actId="478"/>
          <ac:graphicFrameMkLst>
            <pc:docMk/>
            <pc:sldMk cId="786263190" sldId="2147483081"/>
            <ac:graphicFrameMk id="5" creationId="{18BBF6BD-A714-FF56-F826-BAB51231C9C6}"/>
          </ac:graphicFrameMkLst>
        </pc:graphicFrameChg>
        <pc:graphicFrameChg chg="del mod">
          <ac:chgData name="Yudi Zhu" userId="571e1a55-055f-4c28-8b35-fca6dd1c1369" providerId="ADAL" clId="{75A88773-6EE1-484E-AADE-FE631E01463B}" dt="2025-11-21T06:02:28.714" v="71547" actId="478"/>
          <ac:graphicFrameMkLst>
            <pc:docMk/>
            <pc:sldMk cId="786263190" sldId="2147483081"/>
            <ac:graphicFrameMk id="6" creationId="{59443154-BDA7-6514-1162-CB9C1F741E5A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4.019" v="89791"/>
          <ac:graphicFrameMkLst>
            <pc:docMk/>
            <pc:sldMk cId="786263190" sldId="2147483081"/>
            <ac:graphicFrameMk id="8" creationId="{FA957B9A-0BE6-9DC2-662F-3B0FBE7AB281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3.519" v="89667"/>
          <ac:graphicFrameMkLst>
            <pc:docMk/>
            <pc:sldMk cId="786263190" sldId="2147483081"/>
            <ac:graphicFrameMk id="10" creationId="{DFE71F24-6BE5-C321-CCCA-4008AFBE71D7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4.604" v="89923"/>
          <ac:graphicFrameMkLst>
            <pc:docMk/>
            <pc:sldMk cId="786263190" sldId="2147483081"/>
            <ac:graphicFrameMk id="12" creationId="{9AE852C4-EA1A-7FCE-5F3B-AE2654AC36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3.425" v="92683" actId="478"/>
          <ac:graphicFrameMkLst>
            <pc:docMk/>
            <pc:sldMk cId="786263190" sldId="2147483081"/>
            <ac:graphicFrameMk id="14" creationId="{0AA32902-FF5B-41C1-62B9-57AFC9DE44B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3.795" v="92785" actId="478"/>
          <ac:graphicFrameMkLst>
            <pc:docMk/>
            <pc:sldMk cId="786263190" sldId="2147483081"/>
            <ac:graphicFrameMk id="15" creationId="{8217275C-23E7-2F9B-82D4-EDCC5E34281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4.285" v="92895" actId="478"/>
          <ac:graphicFrameMkLst>
            <pc:docMk/>
            <pc:sldMk cId="786263190" sldId="2147483081"/>
            <ac:graphicFrameMk id="16" creationId="{6B520885-DCA1-BEAA-F37C-65D048C5C18B}"/>
          </ac:graphicFrameMkLst>
        </pc:graphicFrameChg>
        <pc:graphicFrameChg chg="mod">
          <ac:chgData name="Yudi Zhu" userId="571e1a55-055f-4c28-8b35-fca6dd1c1369" providerId="ADAL" clId="{75A88773-6EE1-484E-AADE-FE631E01463B}" dt="2025-11-21T06:05:13.458" v="92685" actId="1076"/>
          <ac:graphicFrameMkLst>
            <pc:docMk/>
            <pc:sldMk cId="786263190" sldId="2147483081"/>
            <ac:graphicFrameMk id="18" creationId="{BFA401E3-5907-CFA1-8181-DFCFF343D592}"/>
          </ac:graphicFrameMkLst>
        </pc:graphicFrameChg>
        <pc:graphicFrameChg chg="mod">
          <ac:chgData name="Yudi Zhu" userId="571e1a55-055f-4c28-8b35-fca6dd1c1369" providerId="ADAL" clId="{75A88773-6EE1-484E-AADE-FE631E01463B}" dt="2025-11-21T06:05:13.831" v="92787" actId="1076"/>
          <ac:graphicFrameMkLst>
            <pc:docMk/>
            <pc:sldMk cId="786263190" sldId="2147483081"/>
            <ac:graphicFrameMk id="20" creationId="{B8B73EE4-8F1F-EC8A-C39E-319C8FED3A2F}"/>
          </ac:graphicFrameMkLst>
        </pc:graphicFrameChg>
        <pc:graphicFrameChg chg="mod">
          <ac:chgData name="Yudi Zhu" userId="571e1a55-055f-4c28-8b35-fca6dd1c1369" providerId="ADAL" clId="{75A88773-6EE1-484E-AADE-FE631E01463B}" dt="2025-11-21T06:05:14.322" v="92897" actId="1076"/>
          <ac:graphicFrameMkLst>
            <pc:docMk/>
            <pc:sldMk cId="786263190" sldId="2147483081"/>
            <ac:graphicFrameMk id="22" creationId="{CAED1EB9-F2BE-8746-6922-5B4A05CD6F7F}"/>
          </ac:graphicFrameMkLst>
        </pc:graphicFrameChg>
        <pc:graphicFrameChg chg="mod">
          <ac:chgData name="Yudi Zhu" userId="571e1a55-055f-4c28-8b35-fca6dd1c1369" providerId="ADAL" clId="{75A88773-6EE1-484E-AADE-FE631E01463B}" dt="2025-11-21T06:05:14.575" v="92964" actId="1076"/>
          <ac:graphicFrameMkLst>
            <pc:docMk/>
            <pc:sldMk cId="786263190" sldId="2147483081"/>
            <ac:graphicFrameMk id="48" creationId="{8D051EF3-80E6-4405-B158-4AEE3A44A352}"/>
          </ac:graphicFrameMkLst>
        </pc:graphicFrameChg>
        <pc:graphicFrameChg chg="del">
          <ac:chgData name="Yudi Zhu" userId="571e1a55-055f-4c28-8b35-fca6dd1c1369" providerId="ADAL" clId="{75A88773-6EE1-484E-AADE-FE631E01463B}" dt="2025-11-21T06:02:22.128" v="68953" actId="478"/>
          <ac:graphicFrameMkLst>
            <pc:docMk/>
            <pc:sldMk cId="786263190" sldId="2147483081"/>
            <ac:graphicFrameMk id="934" creationId="{C7B9AB63-68D6-D700-5D02-3BA40860A711}"/>
          </ac:graphicFrameMkLst>
        </pc:graphicFrameChg>
        <pc:graphicFrameChg chg="del">
          <ac:chgData name="Yudi Zhu" userId="571e1a55-055f-4c28-8b35-fca6dd1c1369" providerId="ADAL" clId="{75A88773-6EE1-484E-AADE-FE631E01463B}" dt="2025-11-21T06:02:22.469" v="69108" actId="478"/>
          <ac:graphicFrameMkLst>
            <pc:docMk/>
            <pc:sldMk cId="786263190" sldId="2147483081"/>
            <ac:graphicFrameMk id="985" creationId="{1C76078F-F47B-8B28-AF32-C9FDD0E7EC14}"/>
          </ac:graphicFrameMkLst>
        </pc:graphicFrameChg>
        <pc:graphicFrameChg chg="del">
          <ac:chgData name="Yudi Zhu" userId="571e1a55-055f-4c28-8b35-fca6dd1c1369" providerId="ADAL" clId="{75A88773-6EE1-484E-AADE-FE631E01463B}" dt="2025-11-21T06:02:21.864" v="68808" actId="478"/>
          <ac:graphicFrameMkLst>
            <pc:docMk/>
            <pc:sldMk cId="786263190" sldId="2147483081"/>
            <ac:graphicFrameMk id="993" creationId="{F31F9DC6-A248-8FBF-B4EF-BE219D445C1E}"/>
          </ac:graphicFrameMkLst>
        </pc:graphicFrameChg>
        <pc:cxnChg chg="mod ord">
          <ac:chgData name="Yudi Zhu" userId="571e1a55-055f-4c28-8b35-fca6dd1c1369" providerId="ADAL" clId="{75A88773-6EE1-484E-AADE-FE631E01463B}" dt="2025-11-21T06:05:14.343" v="92904"/>
          <ac:cxnSpMkLst>
            <pc:docMk/>
            <pc:sldMk cId="786263190" sldId="2147483081"/>
            <ac:cxnSpMk id="294" creationId="{626390E3-7192-89E1-9E6A-A4A460A0CC72}"/>
          </ac:cxnSpMkLst>
        </pc:cxnChg>
        <pc:cxnChg chg="mod ord">
          <ac:chgData name="Yudi Zhu" userId="571e1a55-055f-4c28-8b35-fca6dd1c1369" providerId="ADAL" clId="{75A88773-6EE1-484E-AADE-FE631E01463B}" dt="2025-11-21T06:05:14.345" v="92905"/>
          <ac:cxnSpMkLst>
            <pc:docMk/>
            <pc:sldMk cId="786263190" sldId="2147483081"/>
            <ac:cxnSpMk id="295" creationId="{C7966303-D714-9BFA-A953-709245611F09}"/>
          </ac:cxnSpMkLst>
        </pc:cxnChg>
        <pc:cxnChg chg="mod ord">
          <ac:chgData name="Yudi Zhu" userId="571e1a55-055f-4c28-8b35-fca6dd1c1369" providerId="ADAL" clId="{75A88773-6EE1-484E-AADE-FE631E01463B}" dt="2025-11-21T06:05:14.338" v="92902"/>
          <ac:cxnSpMkLst>
            <pc:docMk/>
            <pc:sldMk cId="786263190" sldId="2147483081"/>
            <ac:cxnSpMk id="305" creationId="{A485C707-4BE0-340A-A52A-9F6ABD615FFB}"/>
          </ac:cxnSpMkLst>
        </pc:cxnChg>
        <pc:cxnChg chg="mod ord">
          <ac:chgData name="Yudi Zhu" userId="571e1a55-055f-4c28-8b35-fca6dd1c1369" providerId="ADAL" clId="{75A88773-6EE1-484E-AADE-FE631E01463B}" dt="2025-11-21T06:05:14.341" v="92903"/>
          <ac:cxnSpMkLst>
            <pc:docMk/>
            <pc:sldMk cId="786263190" sldId="2147483081"/>
            <ac:cxnSpMk id="308" creationId="{5B8F6CF6-0480-2335-687B-8595346C5044}"/>
          </ac:cxnSpMkLst>
        </pc:cxnChg>
        <pc:cxnChg chg="mod ord">
          <ac:chgData name="Yudi Zhu" userId="571e1a55-055f-4c28-8b35-fca6dd1c1369" providerId="ADAL" clId="{75A88773-6EE1-484E-AADE-FE631E01463B}" dt="2025-11-21T06:05:14.358" v="92909"/>
          <ac:cxnSpMkLst>
            <pc:docMk/>
            <pc:sldMk cId="786263190" sldId="2147483081"/>
            <ac:cxnSpMk id="348" creationId="{52489DAA-2A86-C7EB-5FCF-B79648BCE518}"/>
          </ac:cxnSpMkLst>
        </pc:cxnChg>
        <pc:cxnChg chg="mod ord">
          <ac:chgData name="Yudi Zhu" userId="571e1a55-055f-4c28-8b35-fca6dd1c1369" providerId="ADAL" clId="{75A88773-6EE1-484E-AADE-FE631E01463B}" dt="2025-11-21T06:05:14.349" v="92906"/>
          <ac:cxnSpMkLst>
            <pc:docMk/>
            <pc:sldMk cId="786263190" sldId="2147483081"/>
            <ac:cxnSpMk id="356" creationId="{81B6A11C-7F11-D71E-D7F7-4B8C6CB75A6F}"/>
          </ac:cxnSpMkLst>
        </pc:cxnChg>
        <pc:cxnChg chg="mod ord">
          <ac:chgData name="Yudi Zhu" userId="571e1a55-055f-4c28-8b35-fca6dd1c1369" providerId="ADAL" clId="{75A88773-6EE1-484E-AADE-FE631E01463B}" dt="2025-11-21T06:05:14.363" v="92911"/>
          <ac:cxnSpMkLst>
            <pc:docMk/>
            <pc:sldMk cId="786263190" sldId="2147483081"/>
            <ac:cxnSpMk id="357" creationId="{3C0FD275-D2F9-B5FA-546B-99F9FAC8CA7C}"/>
          </ac:cxnSpMkLst>
        </pc:cxnChg>
        <pc:cxnChg chg="mod ord">
          <ac:chgData name="Yudi Zhu" userId="571e1a55-055f-4c28-8b35-fca6dd1c1369" providerId="ADAL" clId="{75A88773-6EE1-484E-AADE-FE631E01463B}" dt="2025-11-21T06:05:14.369" v="92913"/>
          <ac:cxnSpMkLst>
            <pc:docMk/>
            <pc:sldMk cId="786263190" sldId="2147483081"/>
            <ac:cxnSpMk id="359" creationId="{DBBB1C50-C81E-C86D-4388-3FD9BB166A15}"/>
          </ac:cxnSpMkLst>
        </pc:cxnChg>
        <pc:cxnChg chg="mod ord">
          <ac:chgData name="Yudi Zhu" userId="571e1a55-055f-4c28-8b35-fca6dd1c1369" providerId="ADAL" clId="{75A88773-6EE1-484E-AADE-FE631E01463B}" dt="2025-11-21T06:05:14.366" v="92912"/>
          <ac:cxnSpMkLst>
            <pc:docMk/>
            <pc:sldMk cId="786263190" sldId="2147483081"/>
            <ac:cxnSpMk id="372" creationId="{D5B6A0CC-F63D-C1F4-5A8C-0A0D18769F5B}"/>
          </ac:cxnSpMkLst>
        </pc:cxnChg>
        <pc:cxnChg chg="mod ord">
          <ac:chgData name="Yudi Zhu" userId="571e1a55-055f-4c28-8b35-fca6dd1c1369" providerId="ADAL" clId="{75A88773-6EE1-484E-AADE-FE631E01463B}" dt="2025-11-21T06:05:14.360" v="92910"/>
          <ac:cxnSpMkLst>
            <pc:docMk/>
            <pc:sldMk cId="786263190" sldId="2147483081"/>
            <ac:cxnSpMk id="498" creationId="{3E4B2BAE-3287-849C-E84D-241E48F9FA5D}"/>
          </ac:cxnSpMkLst>
        </pc:cxnChg>
        <pc:cxnChg chg="mod ord">
          <ac:chgData name="Yudi Zhu" userId="571e1a55-055f-4c28-8b35-fca6dd1c1369" providerId="ADAL" clId="{75A88773-6EE1-484E-AADE-FE631E01463B}" dt="2025-11-21T06:05:14.372" v="92914"/>
          <ac:cxnSpMkLst>
            <pc:docMk/>
            <pc:sldMk cId="786263190" sldId="2147483081"/>
            <ac:cxnSpMk id="501" creationId="{87E58E4F-C9A2-DCE7-0106-1911C6991FB5}"/>
          </ac:cxnSpMkLst>
        </pc:cxnChg>
        <pc:cxnChg chg="mod ord">
          <ac:chgData name="Yudi Zhu" userId="571e1a55-055f-4c28-8b35-fca6dd1c1369" providerId="ADAL" clId="{75A88773-6EE1-484E-AADE-FE631E01463B}" dt="2025-11-21T06:05:14.355" v="92908"/>
          <ac:cxnSpMkLst>
            <pc:docMk/>
            <pc:sldMk cId="786263190" sldId="2147483081"/>
            <ac:cxnSpMk id="508" creationId="{93C14BC9-E6AF-B1E3-2FDF-B83804F18584}"/>
          </ac:cxnSpMkLst>
        </pc:cxnChg>
        <pc:cxnChg chg="mod ord">
          <ac:chgData name="Yudi Zhu" userId="571e1a55-055f-4c28-8b35-fca6dd1c1369" providerId="ADAL" clId="{75A88773-6EE1-484E-AADE-FE631E01463B}" dt="2025-11-21T06:05:14.352" v="92907"/>
          <ac:cxnSpMkLst>
            <pc:docMk/>
            <pc:sldMk cId="786263190" sldId="2147483081"/>
            <ac:cxnSpMk id="573" creationId="{632BB24D-C393-D2E7-63A0-5A8892DB44D4}"/>
          </ac:cxnSpMkLst>
        </pc:cxnChg>
        <pc:cxnChg chg="mod ord">
          <ac:chgData name="Yudi Zhu" userId="571e1a55-055f-4c28-8b35-fca6dd1c1369" providerId="ADAL" clId="{75A88773-6EE1-484E-AADE-FE631E01463B}" dt="2025-11-21T06:05:14.375" v="92915"/>
          <ac:cxnSpMkLst>
            <pc:docMk/>
            <pc:sldMk cId="786263190" sldId="2147483081"/>
            <ac:cxnSpMk id="575" creationId="{103945CB-0349-C4D0-C1AD-7286A18E9490}"/>
          </ac:cxnSpMkLst>
        </pc:cxnChg>
        <pc:cxnChg chg="mod ord">
          <ac:chgData name="Yudi Zhu" userId="571e1a55-055f-4c28-8b35-fca6dd1c1369" providerId="ADAL" clId="{75A88773-6EE1-484E-AADE-FE631E01463B}" dt="2025-11-21T06:05:14.423" v="92920"/>
          <ac:cxnSpMkLst>
            <pc:docMk/>
            <pc:sldMk cId="786263190" sldId="2147483081"/>
            <ac:cxnSpMk id="693" creationId="{E9A98F0E-2A73-7EBD-6E48-E6666834B50F}"/>
          </ac:cxnSpMkLst>
        </pc:cxnChg>
        <pc:cxnChg chg="mod ord">
          <ac:chgData name="Yudi Zhu" userId="571e1a55-055f-4c28-8b35-fca6dd1c1369" providerId="ADAL" clId="{75A88773-6EE1-484E-AADE-FE631E01463B}" dt="2025-11-21T06:05:14.427" v="92923"/>
          <ac:cxnSpMkLst>
            <pc:docMk/>
            <pc:sldMk cId="786263190" sldId="2147483081"/>
            <ac:cxnSpMk id="694" creationId="{F4875230-3F8B-0B63-AF8A-568FF56225A2}"/>
          </ac:cxnSpMkLst>
        </pc:cxnChg>
        <pc:cxnChg chg="mod ord">
          <ac:chgData name="Yudi Zhu" userId="571e1a55-055f-4c28-8b35-fca6dd1c1369" providerId="ADAL" clId="{75A88773-6EE1-484E-AADE-FE631E01463B}" dt="2025-11-21T06:05:14.425" v="92922"/>
          <ac:cxnSpMkLst>
            <pc:docMk/>
            <pc:sldMk cId="786263190" sldId="2147483081"/>
            <ac:cxnSpMk id="695" creationId="{C5971D71-A03F-F092-5CE1-DED38EDE3E8F}"/>
          </ac:cxnSpMkLst>
        </pc:cxnChg>
        <pc:cxnChg chg="mod ord">
          <ac:chgData name="Yudi Zhu" userId="571e1a55-055f-4c28-8b35-fca6dd1c1369" providerId="ADAL" clId="{75A88773-6EE1-484E-AADE-FE631E01463B}" dt="2025-11-21T06:05:14.436" v="92927"/>
          <ac:cxnSpMkLst>
            <pc:docMk/>
            <pc:sldMk cId="786263190" sldId="2147483081"/>
            <ac:cxnSpMk id="701" creationId="{F90A7621-3D8B-89FD-BC04-7870B1FB60DB}"/>
          </ac:cxnSpMkLst>
        </pc:cxnChg>
        <pc:cxnChg chg="mod ord">
          <ac:chgData name="Yudi Zhu" userId="571e1a55-055f-4c28-8b35-fca6dd1c1369" providerId="ADAL" clId="{75A88773-6EE1-484E-AADE-FE631E01463B}" dt="2025-11-21T06:05:14.478" v="92934"/>
          <ac:cxnSpMkLst>
            <pc:docMk/>
            <pc:sldMk cId="786263190" sldId="2147483081"/>
            <ac:cxnSpMk id="749" creationId="{069B8E94-AF77-AA0F-0EE6-D2ACA8128148}"/>
          </ac:cxnSpMkLst>
        </pc:cxnChg>
        <pc:cxnChg chg="mod ord">
          <ac:chgData name="Yudi Zhu" userId="571e1a55-055f-4c28-8b35-fca6dd1c1369" providerId="ADAL" clId="{75A88773-6EE1-484E-AADE-FE631E01463B}" dt="2025-11-21T06:05:14.482" v="92936"/>
          <ac:cxnSpMkLst>
            <pc:docMk/>
            <pc:sldMk cId="786263190" sldId="2147483081"/>
            <ac:cxnSpMk id="750" creationId="{CD0D9484-976D-8B1F-1E50-453FC654FC38}"/>
          </ac:cxnSpMkLst>
        </pc:cxnChg>
        <pc:cxnChg chg="mod ord">
          <ac:chgData name="Yudi Zhu" userId="571e1a55-055f-4c28-8b35-fca6dd1c1369" providerId="ADAL" clId="{75A88773-6EE1-484E-AADE-FE631E01463B}" dt="2025-11-21T06:05:14.491" v="92941"/>
          <ac:cxnSpMkLst>
            <pc:docMk/>
            <pc:sldMk cId="786263190" sldId="2147483081"/>
            <ac:cxnSpMk id="759" creationId="{03576A18-58F3-ADDD-2141-42712DEF0BB6}"/>
          </ac:cxnSpMkLst>
        </pc:cxnChg>
        <pc:cxnChg chg="mod ord">
          <ac:chgData name="Yudi Zhu" userId="571e1a55-055f-4c28-8b35-fca6dd1c1369" providerId="ADAL" clId="{75A88773-6EE1-484E-AADE-FE631E01463B}" dt="2025-11-21T06:05:14.498" v="92945"/>
          <ac:cxnSpMkLst>
            <pc:docMk/>
            <pc:sldMk cId="786263190" sldId="2147483081"/>
            <ac:cxnSpMk id="760" creationId="{B782DAB6-B8B9-34B4-A088-A0AFD48BFDE7}"/>
          </ac:cxnSpMkLst>
        </pc:cxnChg>
        <pc:cxnChg chg="mod ord">
          <ac:chgData name="Yudi Zhu" userId="571e1a55-055f-4c28-8b35-fca6dd1c1369" providerId="ADAL" clId="{75A88773-6EE1-484E-AADE-FE631E01463B}" dt="2025-11-21T06:05:14.495" v="92943"/>
          <ac:cxnSpMkLst>
            <pc:docMk/>
            <pc:sldMk cId="786263190" sldId="2147483081"/>
            <ac:cxnSpMk id="766" creationId="{54C74FCC-A619-9F5F-F659-33822C5297D5}"/>
          </ac:cxnSpMkLst>
        </pc:cxnChg>
        <pc:cxnChg chg="mod ord">
          <ac:chgData name="Yudi Zhu" userId="571e1a55-055f-4c28-8b35-fca6dd1c1369" providerId="ADAL" clId="{75A88773-6EE1-484E-AADE-FE631E01463B}" dt="2025-11-21T06:05:14.424" v="92921"/>
          <ac:cxnSpMkLst>
            <pc:docMk/>
            <pc:sldMk cId="786263190" sldId="2147483081"/>
            <ac:cxnSpMk id="819" creationId="{7FE2DDE5-D180-7B3B-526A-232BDA160EE5}"/>
          </ac:cxnSpMkLst>
        </pc:cxnChg>
        <pc:cxnChg chg="mod ord">
          <ac:chgData name="Yudi Zhu" userId="571e1a55-055f-4c28-8b35-fca6dd1c1369" providerId="ADAL" clId="{75A88773-6EE1-484E-AADE-FE631E01463B}" dt="2025-11-21T06:05:14.435" v="92926"/>
          <ac:cxnSpMkLst>
            <pc:docMk/>
            <pc:sldMk cId="786263190" sldId="2147483081"/>
            <ac:cxnSpMk id="822" creationId="{B67E3F3D-11EC-C4D1-2572-3BFDC0C00528}"/>
          </ac:cxnSpMkLst>
        </pc:cxnChg>
        <pc:cxnChg chg="mod ord">
          <ac:chgData name="Yudi Zhu" userId="571e1a55-055f-4c28-8b35-fca6dd1c1369" providerId="ADAL" clId="{75A88773-6EE1-484E-AADE-FE631E01463B}" dt="2025-11-21T06:05:14.433" v="92925"/>
          <ac:cxnSpMkLst>
            <pc:docMk/>
            <pc:sldMk cId="786263190" sldId="2147483081"/>
            <ac:cxnSpMk id="823" creationId="{FA49DE08-E55E-52B2-A422-B1920C3D33A0}"/>
          </ac:cxnSpMkLst>
        </pc:cxnChg>
        <pc:cxnChg chg="mod ord">
          <ac:chgData name="Yudi Zhu" userId="571e1a55-055f-4c28-8b35-fca6dd1c1369" providerId="ADAL" clId="{75A88773-6EE1-484E-AADE-FE631E01463B}" dt="2025-11-21T06:05:14.431" v="92924"/>
          <ac:cxnSpMkLst>
            <pc:docMk/>
            <pc:sldMk cId="786263190" sldId="2147483081"/>
            <ac:cxnSpMk id="824" creationId="{C0790316-95E5-D5C0-8904-61F737943F9B}"/>
          </ac:cxnSpMkLst>
        </pc:cxnChg>
        <pc:cxnChg chg="mod ord">
          <ac:chgData name="Yudi Zhu" userId="571e1a55-055f-4c28-8b35-fca6dd1c1369" providerId="ADAL" clId="{75A88773-6EE1-484E-AADE-FE631E01463B}" dt="2025-11-21T06:05:14.480" v="92935"/>
          <ac:cxnSpMkLst>
            <pc:docMk/>
            <pc:sldMk cId="786263190" sldId="2147483081"/>
            <ac:cxnSpMk id="830" creationId="{00DBE03C-F8C2-84D6-DB7D-58E63493318D}"/>
          </ac:cxnSpMkLst>
        </pc:cxnChg>
        <pc:cxnChg chg="mod ord">
          <ac:chgData name="Yudi Zhu" userId="571e1a55-055f-4c28-8b35-fca6dd1c1369" providerId="ADAL" clId="{75A88773-6EE1-484E-AADE-FE631E01463B}" dt="2025-11-21T06:05:14.484" v="92937"/>
          <ac:cxnSpMkLst>
            <pc:docMk/>
            <pc:sldMk cId="786263190" sldId="2147483081"/>
            <ac:cxnSpMk id="834" creationId="{32454C57-019A-8056-4EA5-12836B2A85A3}"/>
          </ac:cxnSpMkLst>
        </pc:cxnChg>
        <pc:cxnChg chg="mod ord">
          <ac:chgData name="Yudi Zhu" userId="571e1a55-055f-4c28-8b35-fca6dd1c1369" providerId="ADAL" clId="{75A88773-6EE1-484E-AADE-FE631E01463B}" dt="2025-11-21T06:05:14.492" v="92942"/>
          <ac:cxnSpMkLst>
            <pc:docMk/>
            <pc:sldMk cId="786263190" sldId="2147483081"/>
            <ac:cxnSpMk id="837" creationId="{35B7AE0E-87E2-17BC-5670-DBCCB2869D2E}"/>
          </ac:cxnSpMkLst>
        </pc:cxnChg>
        <pc:cxnChg chg="mod ord">
          <ac:chgData name="Yudi Zhu" userId="571e1a55-055f-4c28-8b35-fca6dd1c1369" providerId="ADAL" clId="{75A88773-6EE1-484E-AADE-FE631E01463B}" dt="2025-11-21T06:05:14.489" v="92939"/>
          <ac:cxnSpMkLst>
            <pc:docMk/>
            <pc:sldMk cId="786263190" sldId="2147483081"/>
            <ac:cxnSpMk id="838" creationId="{35ED821C-ACD1-744D-717E-B99802AC661E}"/>
          </ac:cxnSpMkLst>
        </pc:cxnChg>
        <pc:cxnChg chg="mod ord">
          <ac:chgData name="Yudi Zhu" userId="571e1a55-055f-4c28-8b35-fca6dd1c1369" providerId="ADAL" clId="{75A88773-6EE1-484E-AADE-FE631E01463B}" dt="2025-11-21T06:05:14.501" v="92947"/>
          <ac:cxnSpMkLst>
            <pc:docMk/>
            <pc:sldMk cId="786263190" sldId="2147483081"/>
            <ac:cxnSpMk id="839" creationId="{8160B9DA-FA9D-8BAC-EE89-DCD064F3180B}"/>
          </ac:cxnSpMkLst>
        </pc:cxnChg>
        <pc:cxnChg chg="mod ord">
          <ac:chgData name="Yudi Zhu" userId="571e1a55-055f-4c28-8b35-fca6dd1c1369" providerId="ADAL" clId="{75A88773-6EE1-484E-AADE-FE631E01463B}" dt="2025-11-21T06:05:14.496" v="92944"/>
          <ac:cxnSpMkLst>
            <pc:docMk/>
            <pc:sldMk cId="786263190" sldId="2147483081"/>
            <ac:cxnSpMk id="840" creationId="{6DFBF9BA-FF62-27E6-F7E5-31B977B3EE95}"/>
          </ac:cxnSpMkLst>
        </pc:cxnChg>
        <pc:cxnChg chg="mod ord">
          <ac:chgData name="Yudi Zhu" userId="571e1a55-055f-4c28-8b35-fca6dd1c1369" providerId="ADAL" clId="{75A88773-6EE1-484E-AADE-FE631E01463B}" dt="2025-11-21T06:05:14.500" v="92946"/>
          <ac:cxnSpMkLst>
            <pc:docMk/>
            <pc:sldMk cId="786263190" sldId="2147483081"/>
            <ac:cxnSpMk id="841" creationId="{1926F2A7-83E5-B04A-4A62-060A9307711C}"/>
          </ac:cxnSpMkLst>
        </pc:cxnChg>
        <pc:cxnChg chg="mod ord">
          <ac:chgData name="Yudi Zhu" userId="571e1a55-055f-4c28-8b35-fca6dd1c1369" providerId="ADAL" clId="{75A88773-6EE1-484E-AADE-FE631E01463B}" dt="2025-11-21T06:05:14.490" v="92940"/>
          <ac:cxnSpMkLst>
            <pc:docMk/>
            <pc:sldMk cId="786263190" sldId="2147483081"/>
            <ac:cxnSpMk id="842" creationId="{AEB7C93C-8111-4B24-0987-14539EC4945A}"/>
          </ac:cxnSpMkLst>
        </pc:cxnChg>
        <pc:cxnChg chg="mod ord">
          <ac:chgData name="Yudi Zhu" userId="571e1a55-055f-4c28-8b35-fca6dd1c1369" providerId="ADAL" clId="{75A88773-6EE1-484E-AADE-FE631E01463B}" dt="2025-11-21T06:05:14.487" v="92938"/>
          <ac:cxnSpMkLst>
            <pc:docMk/>
            <pc:sldMk cId="786263190" sldId="2147483081"/>
            <ac:cxnSpMk id="843" creationId="{BD5DB7BF-02B1-225D-8754-7F727993DDAD}"/>
          </ac:cxnSpMkLst>
        </pc:cxnChg>
        <pc:cxnChg chg="mod ord">
          <ac:chgData name="Yudi Zhu" userId="571e1a55-055f-4c28-8b35-fca6dd1c1369" providerId="ADAL" clId="{75A88773-6EE1-484E-AADE-FE631E01463B}" dt="2025-11-21T06:05:14.549" v="92954"/>
          <ac:cxnSpMkLst>
            <pc:docMk/>
            <pc:sldMk cId="786263190" sldId="2147483081"/>
            <ac:cxnSpMk id="871" creationId="{C72F0EA6-DA77-E64E-F22E-005D05858C7E}"/>
          </ac:cxnSpMkLst>
        </pc:cxnChg>
        <pc:cxnChg chg="mod ord">
          <ac:chgData name="Yudi Zhu" userId="571e1a55-055f-4c28-8b35-fca6dd1c1369" providerId="ADAL" clId="{75A88773-6EE1-484E-AADE-FE631E01463B}" dt="2025-11-21T06:05:14.553" v="92956"/>
          <ac:cxnSpMkLst>
            <pc:docMk/>
            <pc:sldMk cId="786263190" sldId="2147483081"/>
            <ac:cxnSpMk id="908" creationId="{2B8ECB60-CDA4-5E5D-EE61-8CBB973402A8}"/>
          </ac:cxnSpMkLst>
        </pc:cxnChg>
        <pc:cxnChg chg="mod ord">
          <ac:chgData name="Yudi Zhu" userId="571e1a55-055f-4c28-8b35-fca6dd1c1369" providerId="ADAL" clId="{75A88773-6EE1-484E-AADE-FE631E01463B}" dt="2025-11-21T06:05:14.555" v="92958"/>
          <ac:cxnSpMkLst>
            <pc:docMk/>
            <pc:sldMk cId="786263190" sldId="2147483081"/>
            <ac:cxnSpMk id="910" creationId="{7D02A684-A642-218E-B27E-C5B30F451829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12.588" v="92427" actId="1076"/>
        <pc:sldMkLst>
          <pc:docMk/>
          <pc:sldMk cId="3367204664" sldId="2147483083"/>
        </pc:sldMkLst>
        <pc:spChg chg="mod ord">
          <ac:chgData name="Yudi Zhu" userId="571e1a55-055f-4c28-8b35-fca6dd1c1369" providerId="ADAL" clId="{75A88773-6EE1-484E-AADE-FE631E01463B}" dt="2025-11-21T06:05:12.356" v="92346"/>
          <ac:spMkLst>
            <pc:docMk/>
            <pc:sldMk cId="3367204664" sldId="2147483083"/>
            <ac:spMk id="2" creationId="{1580BF06-6E86-6DE1-FF86-CD5217331F02}"/>
          </ac:spMkLst>
        </pc:spChg>
        <pc:spChg chg="add del mod modVis">
          <ac:chgData name="Yudi Zhu" userId="571e1a55-055f-4c28-8b35-fca6dd1c1369" providerId="ADAL" clId="{75A88773-6EE1-484E-AADE-FE631E01463B}" dt="2025-11-21T06:02:24.846" v="70193" actId="478"/>
          <ac:spMkLst>
            <pc:docMk/>
            <pc:sldMk cId="3367204664" sldId="2147483083"/>
            <ac:spMk id="3" creationId="{A472FCE2-9AB0-A04D-D849-D78536771765}"/>
          </ac:spMkLst>
        </pc:spChg>
        <pc:spChg chg="add del mod">
          <ac:chgData name="Yudi Zhu" userId="571e1a55-055f-4c28-8b35-fca6dd1c1369" providerId="ADAL" clId="{75A88773-6EE1-484E-AADE-FE631E01463B}" dt="2025-11-21T06:04:57.626" v="87382"/>
          <ac:spMkLst>
            <pc:docMk/>
            <pc:sldMk cId="3367204664" sldId="2147483083"/>
            <ac:spMk id="4" creationId="{CD373B9F-B551-B977-4F9E-F5383083FA99}"/>
          </ac:spMkLst>
        </pc:spChg>
        <pc:spChg chg="add del mod">
          <ac:chgData name="Yudi Zhu" userId="571e1a55-055f-4c28-8b35-fca6dd1c1369" providerId="ADAL" clId="{75A88773-6EE1-484E-AADE-FE631E01463B}" dt="2025-11-21T06:04:57.628" v="87383"/>
          <ac:spMkLst>
            <pc:docMk/>
            <pc:sldMk cId="3367204664" sldId="2147483083"/>
            <ac:spMk id="5" creationId="{A71C703A-3D38-3B22-A842-632D4208C6A5}"/>
          </ac:spMkLst>
        </pc:spChg>
        <pc:spChg chg="add del mod">
          <ac:chgData name="Yudi Zhu" userId="571e1a55-055f-4c28-8b35-fca6dd1c1369" providerId="ADAL" clId="{75A88773-6EE1-484E-AADE-FE631E01463B}" dt="2025-11-21T06:04:57.630" v="87384"/>
          <ac:spMkLst>
            <pc:docMk/>
            <pc:sldMk cId="3367204664" sldId="2147483083"/>
            <ac:spMk id="6" creationId="{F119F2AD-EF60-BC57-E4E0-388125F84619}"/>
          </ac:spMkLst>
        </pc:spChg>
        <pc:spChg chg="add del mod">
          <ac:chgData name="Yudi Zhu" userId="571e1a55-055f-4c28-8b35-fca6dd1c1369" providerId="ADAL" clId="{75A88773-6EE1-484E-AADE-FE631E01463B}" dt="2025-11-21T06:04:57.632" v="87385"/>
          <ac:spMkLst>
            <pc:docMk/>
            <pc:sldMk cId="3367204664" sldId="2147483083"/>
            <ac:spMk id="7" creationId="{FC9C6497-6217-3D60-67A2-F2C1326FAE80}"/>
          </ac:spMkLst>
        </pc:spChg>
        <pc:spChg chg="add del mod">
          <ac:chgData name="Yudi Zhu" userId="571e1a55-055f-4c28-8b35-fca6dd1c1369" providerId="ADAL" clId="{75A88773-6EE1-484E-AADE-FE631E01463B}" dt="2025-11-21T06:04:57.634" v="87386"/>
          <ac:spMkLst>
            <pc:docMk/>
            <pc:sldMk cId="3367204664" sldId="2147483083"/>
            <ac:spMk id="9" creationId="{B88457C0-A05B-B646-4D70-D19C1A526F11}"/>
          </ac:spMkLst>
        </pc:spChg>
        <pc:spChg chg="add del mod">
          <ac:chgData name="Yudi Zhu" userId="571e1a55-055f-4c28-8b35-fca6dd1c1369" providerId="ADAL" clId="{75A88773-6EE1-484E-AADE-FE631E01463B}" dt="2025-11-21T06:04:57.635" v="87387"/>
          <ac:spMkLst>
            <pc:docMk/>
            <pc:sldMk cId="3367204664" sldId="2147483083"/>
            <ac:spMk id="10" creationId="{C5271076-3917-CD32-C7FB-887F986A77F9}"/>
          </ac:spMkLst>
        </pc:spChg>
        <pc:spChg chg="add del mod">
          <ac:chgData name="Yudi Zhu" userId="571e1a55-055f-4c28-8b35-fca6dd1c1369" providerId="ADAL" clId="{75A88773-6EE1-484E-AADE-FE631E01463B}" dt="2025-11-21T06:04:57.636" v="87388"/>
          <ac:spMkLst>
            <pc:docMk/>
            <pc:sldMk cId="3367204664" sldId="2147483083"/>
            <ac:spMk id="11" creationId="{D754342F-C463-85BB-D5BA-4E4F32B062FC}"/>
          </ac:spMkLst>
        </pc:spChg>
        <pc:spChg chg="add del mod">
          <ac:chgData name="Yudi Zhu" userId="571e1a55-055f-4c28-8b35-fca6dd1c1369" providerId="ADAL" clId="{75A88773-6EE1-484E-AADE-FE631E01463B}" dt="2025-11-21T06:04:57.637" v="87389"/>
          <ac:spMkLst>
            <pc:docMk/>
            <pc:sldMk cId="3367204664" sldId="2147483083"/>
            <ac:spMk id="12" creationId="{6532FFE2-A788-E153-B5BB-31E104D3FA0B}"/>
          </ac:spMkLst>
        </pc:spChg>
        <pc:spChg chg="add del mod">
          <ac:chgData name="Yudi Zhu" userId="571e1a55-055f-4c28-8b35-fca6dd1c1369" providerId="ADAL" clId="{75A88773-6EE1-484E-AADE-FE631E01463B}" dt="2025-11-21T06:04:58.420" v="87631"/>
          <ac:spMkLst>
            <pc:docMk/>
            <pc:sldMk cId="3367204664" sldId="2147483083"/>
            <ac:spMk id="14" creationId="{65DFEC96-9E6B-93E5-484E-1B78064657AE}"/>
          </ac:spMkLst>
        </pc:spChg>
        <pc:spChg chg="add del mod">
          <ac:chgData name="Yudi Zhu" userId="571e1a55-055f-4c28-8b35-fca6dd1c1369" providerId="ADAL" clId="{75A88773-6EE1-484E-AADE-FE631E01463B}" dt="2025-11-21T06:04:58.422" v="87632"/>
          <ac:spMkLst>
            <pc:docMk/>
            <pc:sldMk cId="3367204664" sldId="2147483083"/>
            <ac:spMk id="15" creationId="{A82CF7D5-84C4-C908-A574-0ED0D3415DF3}"/>
          </ac:spMkLst>
        </pc:spChg>
        <pc:spChg chg="add del mod">
          <ac:chgData name="Yudi Zhu" userId="571e1a55-055f-4c28-8b35-fca6dd1c1369" providerId="ADAL" clId="{75A88773-6EE1-484E-AADE-FE631E01463B}" dt="2025-11-21T06:04:58.424" v="87633"/>
          <ac:spMkLst>
            <pc:docMk/>
            <pc:sldMk cId="3367204664" sldId="2147483083"/>
            <ac:spMk id="16" creationId="{AA2E8F40-534E-E261-C5F6-BF4B37DB4B7A}"/>
          </ac:spMkLst>
        </pc:spChg>
        <pc:spChg chg="add del mod">
          <ac:chgData name="Yudi Zhu" userId="571e1a55-055f-4c28-8b35-fca6dd1c1369" providerId="ADAL" clId="{75A88773-6EE1-484E-AADE-FE631E01463B}" dt="2025-11-21T06:04:58.425" v="87634"/>
          <ac:spMkLst>
            <pc:docMk/>
            <pc:sldMk cId="3367204664" sldId="2147483083"/>
            <ac:spMk id="17" creationId="{AFC8627D-A5B4-2FDD-71DC-2D22A97781F6}"/>
          </ac:spMkLst>
        </pc:spChg>
        <pc:spChg chg="add del mod">
          <ac:chgData name="Yudi Zhu" userId="571e1a55-055f-4c28-8b35-fca6dd1c1369" providerId="ADAL" clId="{75A88773-6EE1-484E-AADE-FE631E01463B}" dt="2025-11-21T06:04:58.427" v="87635"/>
          <ac:spMkLst>
            <pc:docMk/>
            <pc:sldMk cId="3367204664" sldId="2147483083"/>
            <ac:spMk id="18" creationId="{F460FAE4-6DB2-4DCB-A2BE-4F86F2CCC6E9}"/>
          </ac:spMkLst>
        </pc:spChg>
        <pc:spChg chg="add del mod">
          <ac:chgData name="Yudi Zhu" userId="571e1a55-055f-4c28-8b35-fca6dd1c1369" providerId="ADAL" clId="{75A88773-6EE1-484E-AADE-FE631E01463B}" dt="2025-11-21T06:04:59.419" v="87900"/>
          <ac:spMkLst>
            <pc:docMk/>
            <pc:sldMk cId="3367204664" sldId="2147483083"/>
            <ac:spMk id="21" creationId="{F47D588C-2C46-4128-7476-880140F16864}"/>
          </ac:spMkLst>
        </pc:spChg>
        <pc:spChg chg="add del mod">
          <ac:chgData name="Yudi Zhu" userId="571e1a55-055f-4c28-8b35-fca6dd1c1369" providerId="ADAL" clId="{75A88773-6EE1-484E-AADE-FE631E01463B}" dt="2025-11-21T06:04:59.421" v="87901"/>
          <ac:spMkLst>
            <pc:docMk/>
            <pc:sldMk cId="3367204664" sldId="2147483083"/>
            <ac:spMk id="22" creationId="{417F5BC8-B3C4-1701-FB4A-A2B4CF10C728}"/>
          </ac:spMkLst>
        </pc:spChg>
        <pc:spChg chg="add del mod">
          <ac:chgData name="Yudi Zhu" userId="571e1a55-055f-4c28-8b35-fca6dd1c1369" providerId="ADAL" clId="{75A88773-6EE1-484E-AADE-FE631E01463B}" dt="2025-11-21T06:04:59.423" v="87902"/>
          <ac:spMkLst>
            <pc:docMk/>
            <pc:sldMk cId="3367204664" sldId="2147483083"/>
            <ac:spMk id="23" creationId="{66878E7E-66C7-89B7-6CD4-9C7028111020}"/>
          </ac:spMkLst>
        </pc:spChg>
        <pc:spChg chg="add del mod">
          <ac:chgData name="Yudi Zhu" userId="571e1a55-055f-4c28-8b35-fca6dd1c1369" providerId="ADAL" clId="{75A88773-6EE1-484E-AADE-FE631E01463B}" dt="2025-11-21T06:04:59.424" v="87903"/>
          <ac:spMkLst>
            <pc:docMk/>
            <pc:sldMk cId="3367204664" sldId="2147483083"/>
            <ac:spMk id="24" creationId="{774DCE5B-EB60-FA2D-DC7B-56D16EC0ACBC}"/>
          </ac:spMkLst>
        </pc:spChg>
        <pc:spChg chg="add del mod">
          <ac:chgData name="Yudi Zhu" userId="571e1a55-055f-4c28-8b35-fca6dd1c1369" providerId="ADAL" clId="{75A88773-6EE1-484E-AADE-FE631E01463B}" dt="2025-11-21T06:04:59.426" v="87904"/>
          <ac:spMkLst>
            <pc:docMk/>
            <pc:sldMk cId="3367204664" sldId="2147483083"/>
            <ac:spMk id="25" creationId="{4E806A6C-39F8-2481-F995-B250EAE77172}"/>
          </ac:spMkLst>
        </pc:spChg>
        <pc:spChg chg="add del mod">
          <ac:chgData name="Yudi Zhu" userId="571e1a55-055f-4c28-8b35-fca6dd1c1369" providerId="ADAL" clId="{75A88773-6EE1-484E-AADE-FE631E01463B}" dt="2025-11-21T06:04:59.427" v="87905"/>
          <ac:spMkLst>
            <pc:docMk/>
            <pc:sldMk cId="3367204664" sldId="2147483083"/>
            <ac:spMk id="26" creationId="{C6031EA5-667C-8AF5-A328-52F9BCD295A6}"/>
          </ac:spMkLst>
        </pc:spChg>
        <pc:spChg chg="add del mod">
          <ac:chgData name="Yudi Zhu" userId="571e1a55-055f-4c28-8b35-fca6dd1c1369" providerId="ADAL" clId="{75A88773-6EE1-484E-AADE-FE631E01463B}" dt="2025-11-21T06:04:59.428" v="87906"/>
          <ac:spMkLst>
            <pc:docMk/>
            <pc:sldMk cId="3367204664" sldId="2147483083"/>
            <ac:spMk id="28" creationId="{FFEB3A44-FE64-F0B9-4F9A-05876DE951FF}"/>
          </ac:spMkLst>
        </pc:spChg>
        <pc:spChg chg="add del mod">
          <ac:chgData name="Yudi Zhu" userId="571e1a55-055f-4c28-8b35-fca6dd1c1369" providerId="ADAL" clId="{75A88773-6EE1-484E-AADE-FE631E01463B}" dt="2025-11-21T06:04:59.429" v="87907"/>
          <ac:spMkLst>
            <pc:docMk/>
            <pc:sldMk cId="3367204664" sldId="2147483083"/>
            <ac:spMk id="29" creationId="{CD9D8B9F-6D66-27BB-B616-E65A7356830B}"/>
          </ac:spMkLst>
        </pc:spChg>
        <pc:spChg chg="del mod modVis">
          <ac:chgData name="Yudi Zhu" userId="571e1a55-055f-4c28-8b35-fca6dd1c1369" providerId="ADAL" clId="{75A88773-6EE1-484E-AADE-FE631E01463B}" dt="2025-11-21T06:02:27.347" v="70716" actId="478"/>
          <ac:spMkLst>
            <pc:docMk/>
            <pc:sldMk cId="3367204664" sldId="2147483083"/>
            <ac:spMk id="32" creationId="{8ED18CC8-F5C9-2484-C548-5A2EACEFEF59}"/>
          </ac:spMkLst>
        </pc:spChg>
        <pc:spChg chg="del mod modVis">
          <ac:chgData name="Yudi Zhu" userId="571e1a55-055f-4c28-8b35-fca6dd1c1369" providerId="ADAL" clId="{75A88773-6EE1-484E-AADE-FE631E01463B}" dt="2025-11-21T06:02:27.557" v="70839" actId="478"/>
          <ac:spMkLst>
            <pc:docMk/>
            <pc:sldMk cId="3367204664" sldId="2147483083"/>
            <ac:spMk id="35" creationId="{5010BA5E-528D-5CF6-B1AD-5A9041CE2107}"/>
          </ac:spMkLst>
        </pc:spChg>
        <pc:spChg chg="del mod modVis">
          <ac:chgData name="Yudi Zhu" userId="571e1a55-055f-4c28-8b35-fca6dd1c1369" providerId="ADAL" clId="{75A88773-6EE1-484E-AADE-FE631E01463B}" dt="2025-11-21T06:02:27.779" v="70973" actId="478"/>
          <ac:spMkLst>
            <pc:docMk/>
            <pc:sldMk cId="3367204664" sldId="2147483083"/>
            <ac:spMk id="37" creationId="{15F99C1A-4B96-5B6F-BCE1-B76BAE2B062D}"/>
          </ac:spMkLst>
        </pc:spChg>
        <pc:spChg chg="add del mod modVis">
          <ac:chgData name="Yudi Zhu" userId="571e1a55-055f-4c28-8b35-fca6dd1c1369" providerId="ADAL" clId="{75A88773-6EE1-484E-AADE-FE631E01463B}" dt="2025-11-21T06:05:08.509" v="91527"/>
          <ac:spMkLst>
            <pc:docMk/>
            <pc:sldMk cId="3367204664" sldId="2147483083"/>
            <ac:spMk id="45" creationId="{C7267992-DDA4-262C-E5D2-B05CC6AE2816}"/>
          </ac:spMkLst>
        </pc:spChg>
        <pc:spChg chg="del mod modVis">
          <ac:chgData name="Yudi Zhu" userId="571e1a55-055f-4c28-8b35-fca6dd1c1369" providerId="ADAL" clId="{75A88773-6EE1-484E-AADE-FE631E01463B}" dt="2025-11-21T06:05:11.423" v="92047" actId="478"/>
          <ac:spMkLst>
            <pc:docMk/>
            <pc:sldMk cId="3367204664" sldId="2147483083"/>
            <ac:spMk id="51" creationId="{48F96296-B133-FEFA-E1EC-197291F9DB15}"/>
          </ac:spMkLst>
        </pc:spChg>
        <pc:spChg chg="del mod modVis">
          <ac:chgData name="Yudi Zhu" userId="571e1a55-055f-4c28-8b35-fca6dd1c1369" providerId="ADAL" clId="{75A88773-6EE1-484E-AADE-FE631E01463B}" dt="2025-11-21T06:05:11.847" v="92187" actId="478"/>
          <ac:spMkLst>
            <pc:docMk/>
            <pc:sldMk cId="3367204664" sldId="2147483083"/>
            <ac:spMk id="53" creationId="{685D5188-3D99-B366-94D0-4144F4908C41}"/>
          </ac:spMkLst>
        </pc:spChg>
        <pc:spChg chg="del mod modVis">
          <ac:chgData name="Yudi Zhu" userId="571e1a55-055f-4c28-8b35-fca6dd1c1369" providerId="ADAL" clId="{75A88773-6EE1-484E-AADE-FE631E01463B}" dt="2025-11-21T06:05:12.586" v="92426" actId="478"/>
          <ac:spMkLst>
            <pc:docMk/>
            <pc:sldMk cId="3367204664" sldId="2147483083"/>
            <ac:spMk id="55" creationId="{8455E934-0349-E696-52A8-CC9BBEDA05AB}"/>
          </ac:spMkLst>
        </pc:spChg>
        <pc:spChg chg="mod">
          <ac:chgData name="Yudi Zhu" userId="571e1a55-055f-4c28-8b35-fca6dd1c1369" providerId="ADAL" clId="{75A88773-6EE1-484E-AADE-FE631E01463B}" dt="2025-11-21T06:04:59.682" v="88010"/>
          <ac:spMkLst>
            <pc:docMk/>
            <pc:sldMk cId="3367204664" sldId="2147483083"/>
            <ac:spMk id="185" creationId="{29AA321F-CD13-316C-2E20-89BEC4CF4310}"/>
          </ac:spMkLst>
        </pc:spChg>
        <pc:spChg chg="mod">
          <ac:chgData name="Yudi Zhu" userId="571e1a55-055f-4c28-8b35-fca6dd1c1369" providerId="ADAL" clId="{75A88773-6EE1-484E-AADE-FE631E01463B}" dt="2025-11-21T06:04:59.684" v="88011"/>
          <ac:spMkLst>
            <pc:docMk/>
            <pc:sldMk cId="3367204664" sldId="2147483083"/>
            <ac:spMk id="186" creationId="{820C0B50-2AF1-FE5D-29EE-EDFA4150AAB9}"/>
          </ac:spMkLst>
        </pc:spChg>
        <pc:spChg chg="mod">
          <ac:chgData name="Yudi Zhu" userId="571e1a55-055f-4c28-8b35-fca6dd1c1369" providerId="ADAL" clId="{75A88773-6EE1-484E-AADE-FE631E01463B}" dt="2025-11-21T06:04:59.687" v="88012"/>
          <ac:spMkLst>
            <pc:docMk/>
            <pc:sldMk cId="3367204664" sldId="2147483083"/>
            <ac:spMk id="317" creationId="{600FC47B-227C-0C50-12E1-93BEEE73CDAA}"/>
          </ac:spMkLst>
        </pc:spChg>
        <pc:spChg chg="mod ord">
          <ac:chgData name="Yudi Zhu" userId="571e1a55-055f-4c28-8b35-fca6dd1c1369" providerId="ADAL" clId="{75A88773-6EE1-484E-AADE-FE631E01463B}" dt="2025-11-21T06:05:12.407" v="92372"/>
          <ac:spMkLst>
            <pc:docMk/>
            <pc:sldMk cId="3367204664" sldId="2147483083"/>
            <ac:spMk id="318" creationId="{56CFD53E-CCBB-8B69-84EC-8116202608C1}"/>
          </ac:spMkLst>
        </pc:spChg>
        <pc:spChg chg="mod">
          <ac:chgData name="Yudi Zhu" userId="571e1a55-055f-4c28-8b35-fca6dd1c1369" providerId="ADAL" clId="{75A88773-6EE1-484E-AADE-FE631E01463B}" dt="2025-11-21T06:04:59.692" v="88015"/>
          <ac:spMkLst>
            <pc:docMk/>
            <pc:sldMk cId="3367204664" sldId="2147483083"/>
            <ac:spMk id="319" creationId="{3BF05AD7-6B67-1120-A4B7-55F2129EC39D}"/>
          </ac:spMkLst>
        </pc:spChg>
        <pc:spChg chg="mod">
          <ac:chgData name="Yudi Zhu" userId="571e1a55-055f-4c28-8b35-fca6dd1c1369" providerId="ADAL" clId="{75A88773-6EE1-484E-AADE-FE631E01463B}" dt="2025-11-21T06:04:59.694" v="88016"/>
          <ac:spMkLst>
            <pc:docMk/>
            <pc:sldMk cId="3367204664" sldId="2147483083"/>
            <ac:spMk id="320" creationId="{E2AFE803-7C52-329C-7406-8C0EEEDA8406}"/>
          </ac:spMkLst>
        </pc:spChg>
        <pc:spChg chg="mod">
          <ac:chgData name="Yudi Zhu" userId="571e1a55-055f-4c28-8b35-fca6dd1c1369" providerId="ADAL" clId="{75A88773-6EE1-484E-AADE-FE631E01463B}" dt="2025-11-21T06:04:59.697" v="88017"/>
          <ac:spMkLst>
            <pc:docMk/>
            <pc:sldMk cId="3367204664" sldId="2147483083"/>
            <ac:spMk id="321" creationId="{81190318-998F-9723-2B90-70E6A5A91CAA}"/>
          </ac:spMkLst>
        </pc:spChg>
        <pc:spChg chg="mod">
          <ac:chgData name="Yudi Zhu" userId="571e1a55-055f-4c28-8b35-fca6dd1c1369" providerId="ADAL" clId="{75A88773-6EE1-484E-AADE-FE631E01463B}" dt="2025-11-21T06:04:59.700" v="88018"/>
          <ac:spMkLst>
            <pc:docMk/>
            <pc:sldMk cId="3367204664" sldId="2147483083"/>
            <ac:spMk id="322" creationId="{B3535FB5-510F-0B50-EADA-702579DA142F}"/>
          </ac:spMkLst>
        </pc:spChg>
        <pc:spChg chg="mod">
          <ac:chgData name="Yudi Zhu" userId="571e1a55-055f-4c28-8b35-fca6dd1c1369" providerId="ADAL" clId="{75A88773-6EE1-484E-AADE-FE631E01463B}" dt="2025-11-21T06:04:59.703" v="88019"/>
          <ac:spMkLst>
            <pc:docMk/>
            <pc:sldMk cId="3367204664" sldId="2147483083"/>
            <ac:spMk id="323" creationId="{2E586D2E-9600-BCD2-CB4C-186B4FFAC17C}"/>
          </ac:spMkLst>
        </pc:spChg>
        <pc:spChg chg="mod">
          <ac:chgData name="Yudi Zhu" userId="571e1a55-055f-4c28-8b35-fca6dd1c1369" providerId="ADAL" clId="{75A88773-6EE1-484E-AADE-FE631E01463B}" dt="2025-11-21T06:04:59.741" v="88037"/>
          <ac:spMkLst>
            <pc:docMk/>
            <pc:sldMk cId="3367204664" sldId="2147483083"/>
            <ac:spMk id="324" creationId="{B5B4A66D-E4EA-5B6B-E578-AD9833DB102B}"/>
          </ac:spMkLst>
        </pc:spChg>
        <pc:spChg chg="mod">
          <ac:chgData name="Yudi Zhu" userId="571e1a55-055f-4c28-8b35-fca6dd1c1369" providerId="ADAL" clId="{75A88773-6EE1-484E-AADE-FE631E01463B}" dt="2025-11-21T06:04:59.705" v="88020"/>
          <ac:spMkLst>
            <pc:docMk/>
            <pc:sldMk cId="3367204664" sldId="2147483083"/>
            <ac:spMk id="325" creationId="{0D0868CB-1951-F76C-3493-6E9BCBD66348}"/>
          </ac:spMkLst>
        </pc:spChg>
        <pc:spChg chg="mod">
          <ac:chgData name="Yudi Zhu" userId="571e1a55-055f-4c28-8b35-fca6dd1c1369" providerId="ADAL" clId="{75A88773-6EE1-484E-AADE-FE631E01463B}" dt="2025-11-21T06:04:59.708" v="88021"/>
          <ac:spMkLst>
            <pc:docMk/>
            <pc:sldMk cId="3367204664" sldId="2147483083"/>
            <ac:spMk id="326" creationId="{2D8EFE54-2750-C12F-2BC8-52DBE81F313F}"/>
          </ac:spMkLst>
        </pc:spChg>
        <pc:spChg chg="mod">
          <ac:chgData name="Yudi Zhu" userId="571e1a55-055f-4c28-8b35-fca6dd1c1369" providerId="ADAL" clId="{75A88773-6EE1-484E-AADE-FE631E01463B}" dt="2025-11-21T06:04:59.723" v="88028"/>
          <ac:spMkLst>
            <pc:docMk/>
            <pc:sldMk cId="3367204664" sldId="2147483083"/>
            <ac:spMk id="327" creationId="{9288A764-491A-0F96-30AA-8DA60DB54FD4}"/>
          </ac:spMkLst>
        </pc:spChg>
        <pc:spChg chg="mod">
          <ac:chgData name="Yudi Zhu" userId="571e1a55-055f-4c28-8b35-fca6dd1c1369" providerId="ADAL" clId="{75A88773-6EE1-484E-AADE-FE631E01463B}" dt="2025-11-21T06:04:59.754" v="88045"/>
          <ac:spMkLst>
            <pc:docMk/>
            <pc:sldMk cId="3367204664" sldId="2147483083"/>
            <ac:spMk id="328" creationId="{C3E00DD6-C6BB-BEB1-E2FD-0EE9D72860C0}"/>
          </ac:spMkLst>
        </pc:spChg>
        <pc:spChg chg="mod ord">
          <ac:chgData name="Yudi Zhu" userId="571e1a55-055f-4c28-8b35-fca6dd1c1369" providerId="ADAL" clId="{75A88773-6EE1-484E-AADE-FE631E01463B}" dt="2025-11-21T06:05:12.421" v="92373"/>
          <ac:spMkLst>
            <pc:docMk/>
            <pc:sldMk cId="3367204664" sldId="2147483083"/>
            <ac:spMk id="329" creationId="{109E288C-F26C-A46C-1D32-CCB20F2C8033}"/>
          </ac:spMkLst>
        </pc:spChg>
        <pc:spChg chg="mod">
          <ac:chgData name="Yudi Zhu" userId="571e1a55-055f-4c28-8b35-fca6dd1c1369" providerId="ADAL" clId="{75A88773-6EE1-484E-AADE-FE631E01463B}" dt="2025-11-21T06:04:59.714" v="88023"/>
          <ac:spMkLst>
            <pc:docMk/>
            <pc:sldMk cId="3367204664" sldId="2147483083"/>
            <ac:spMk id="330" creationId="{E13213BF-B766-5AFD-A093-A7AF63195082}"/>
          </ac:spMkLst>
        </pc:spChg>
        <pc:spChg chg="mod">
          <ac:chgData name="Yudi Zhu" userId="571e1a55-055f-4c28-8b35-fca6dd1c1369" providerId="ADAL" clId="{75A88773-6EE1-484E-AADE-FE631E01463B}" dt="2025-11-21T06:04:59.733" v="88034"/>
          <ac:spMkLst>
            <pc:docMk/>
            <pc:sldMk cId="3367204664" sldId="2147483083"/>
            <ac:spMk id="331" creationId="{489F2C24-4C81-53D6-05CB-AAAE50F99F16}"/>
          </ac:spMkLst>
        </pc:spChg>
        <pc:spChg chg="mod">
          <ac:chgData name="Yudi Zhu" userId="571e1a55-055f-4c28-8b35-fca6dd1c1369" providerId="ADAL" clId="{75A88773-6EE1-484E-AADE-FE631E01463B}" dt="2025-11-21T06:04:59.710" v="88022"/>
          <ac:spMkLst>
            <pc:docMk/>
            <pc:sldMk cId="3367204664" sldId="2147483083"/>
            <ac:spMk id="332" creationId="{33D433CB-E785-0468-35D0-4097D5C22D4F}"/>
          </ac:spMkLst>
        </pc:spChg>
        <pc:spChg chg="mod">
          <ac:chgData name="Yudi Zhu" userId="571e1a55-055f-4c28-8b35-fca6dd1c1369" providerId="ADAL" clId="{75A88773-6EE1-484E-AADE-FE631E01463B}" dt="2025-11-21T06:04:59.716" v="88024"/>
          <ac:spMkLst>
            <pc:docMk/>
            <pc:sldMk cId="3367204664" sldId="2147483083"/>
            <ac:spMk id="333" creationId="{9E0AB1A5-1B72-D7F9-5377-3F629561B188}"/>
          </ac:spMkLst>
        </pc:spChg>
        <pc:spChg chg="mod">
          <ac:chgData name="Yudi Zhu" userId="571e1a55-055f-4c28-8b35-fca6dd1c1369" providerId="ADAL" clId="{75A88773-6EE1-484E-AADE-FE631E01463B}" dt="2025-11-21T06:04:59.719" v="88025"/>
          <ac:spMkLst>
            <pc:docMk/>
            <pc:sldMk cId="3367204664" sldId="2147483083"/>
            <ac:spMk id="334" creationId="{867C521D-A7DC-2501-ADB5-7ACA23CCBF95}"/>
          </ac:spMkLst>
        </pc:spChg>
        <pc:spChg chg="mod ord">
          <ac:chgData name="Yudi Zhu" userId="571e1a55-055f-4c28-8b35-fca6dd1c1369" providerId="ADAL" clId="{75A88773-6EE1-484E-AADE-FE631E01463B}" dt="2025-11-21T06:05:12.441" v="92378"/>
          <ac:spMkLst>
            <pc:docMk/>
            <pc:sldMk cId="3367204664" sldId="2147483083"/>
            <ac:spMk id="335" creationId="{C595A024-6A88-C592-EC5F-C0D6087BC0D9}"/>
          </ac:spMkLst>
        </pc:spChg>
        <pc:spChg chg="mod">
          <ac:chgData name="Yudi Zhu" userId="571e1a55-055f-4c28-8b35-fca6dd1c1369" providerId="ADAL" clId="{75A88773-6EE1-484E-AADE-FE631E01463B}" dt="2025-11-21T06:04:59.725" v="88029"/>
          <ac:spMkLst>
            <pc:docMk/>
            <pc:sldMk cId="3367204664" sldId="2147483083"/>
            <ac:spMk id="336" creationId="{0E8AB1AC-B3E6-28BC-90D3-277BC2EE47D1}"/>
          </ac:spMkLst>
        </pc:spChg>
        <pc:spChg chg="mod ord">
          <ac:chgData name="Yudi Zhu" userId="571e1a55-055f-4c28-8b35-fca6dd1c1369" providerId="ADAL" clId="{75A88773-6EE1-484E-AADE-FE631E01463B}" dt="2025-11-21T06:05:12.425" v="92374"/>
          <ac:spMkLst>
            <pc:docMk/>
            <pc:sldMk cId="3367204664" sldId="2147483083"/>
            <ac:spMk id="337" creationId="{6339EBA0-A83C-2821-D5C3-2A8CF4C3678B}"/>
          </ac:spMkLst>
        </pc:spChg>
        <pc:spChg chg="mod ord">
          <ac:chgData name="Yudi Zhu" userId="571e1a55-055f-4c28-8b35-fca6dd1c1369" providerId="ADAL" clId="{75A88773-6EE1-484E-AADE-FE631E01463B}" dt="2025-11-21T06:05:12.426" v="92375"/>
          <ac:spMkLst>
            <pc:docMk/>
            <pc:sldMk cId="3367204664" sldId="2147483083"/>
            <ac:spMk id="338" creationId="{0630EAF5-492D-FEE3-7460-F09609936BCF}"/>
          </ac:spMkLst>
        </pc:spChg>
        <pc:spChg chg="mod">
          <ac:chgData name="Yudi Zhu" userId="571e1a55-055f-4c28-8b35-fca6dd1c1369" providerId="ADAL" clId="{75A88773-6EE1-484E-AADE-FE631E01463B}" dt="2025-11-21T06:04:59.736" v="88035"/>
          <ac:spMkLst>
            <pc:docMk/>
            <pc:sldMk cId="3367204664" sldId="2147483083"/>
            <ac:spMk id="339" creationId="{DF33A8C0-FDB3-D400-1E7A-194DEA1A51CD}"/>
          </ac:spMkLst>
        </pc:spChg>
        <pc:spChg chg="mod">
          <ac:chgData name="Yudi Zhu" userId="571e1a55-055f-4c28-8b35-fca6dd1c1369" providerId="ADAL" clId="{75A88773-6EE1-484E-AADE-FE631E01463B}" dt="2025-11-21T06:04:59.738" v="88036"/>
          <ac:spMkLst>
            <pc:docMk/>
            <pc:sldMk cId="3367204664" sldId="2147483083"/>
            <ac:spMk id="340" creationId="{3B4354CE-4605-19C2-2E45-75A212AA0BE3}"/>
          </ac:spMkLst>
        </pc:spChg>
        <pc:spChg chg="mod">
          <ac:chgData name="Yudi Zhu" userId="571e1a55-055f-4c28-8b35-fca6dd1c1369" providerId="ADAL" clId="{75A88773-6EE1-484E-AADE-FE631E01463B}" dt="2025-11-21T06:04:59.743" v="88038"/>
          <ac:spMkLst>
            <pc:docMk/>
            <pc:sldMk cId="3367204664" sldId="2147483083"/>
            <ac:spMk id="341" creationId="{D9422C09-BF60-36F4-208E-5EC0493256E0}"/>
          </ac:spMkLst>
        </pc:spChg>
        <pc:spChg chg="mod ord">
          <ac:chgData name="Yudi Zhu" userId="571e1a55-055f-4c28-8b35-fca6dd1c1369" providerId="ADAL" clId="{75A88773-6EE1-484E-AADE-FE631E01463B}" dt="2025-11-21T06:05:12.435" v="92376"/>
          <ac:spMkLst>
            <pc:docMk/>
            <pc:sldMk cId="3367204664" sldId="2147483083"/>
            <ac:spMk id="342" creationId="{3DF15A64-3CBF-74E3-667C-7A80201B0B7A}"/>
          </ac:spMkLst>
        </pc:spChg>
        <pc:spChg chg="mod ord">
          <ac:chgData name="Yudi Zhu" userId="571e1a55-055f-4c28-8b35-fca6dd1c1369" providerId="ADAL" clId="{75A88773-6EE1-484E-AADE-FE631E01463B}" dt="2025-11-21T06:05:12.437" v="92377"/>
          <ac:spMkLst>
            <pc:docMk/>
            <pc:sldMk cId="3367204664" sldId="2147483083"/>
            <ac:spMk id="343" creationId="{A6753685-9B17-6939-3D7D-8EB09DBAE194}"/>
          </ac:spMkLst>
        </pc:spChg>
        <pc:spChg chg="mod">
          <ac:chgData name="Yudi Zhu" userId="571e1a55-055f-4c28-8b35-fca6dd1c1369" providerId="ADAL" clId="{75A88773-6EE1-484E-AADE-FE631E01463B}" dt="2025-11-21T06:04:59.749" v="88043"/>
          <ac:spMkLst>
            <pc:docMk/>
            <pc:sldMk cId="3367204664" sldId="2147483083"/>
            <ac:spMk id="344" creationId="{609CC8B9-7584-460E-6EEB-B35C10C2B1A4}"/>
          </ac:spMkLst>
        </pc:spChg>
        <pc:spChg chg="mod">
          <ac:chgData name="Yudi Zhu" userId="571e1a55-055f-4c28-8b35-fca6dd1c1369" providerId="ADAL" clId="{75A88773-6EE1-484E-AADE-FE631E01463B}" dt="2025-11-21T06:04:59.752" v="88044"/>
          <ac:spMkLst>
            <pc:docMk/>
            <pc:sldMk cId="3367204664" sldId="2147483083"/>
            <ac:spMk id="345" creationId="{6AB948C8-1AF8-8225-FFB4-446384939364}"/>
          </ac:spMkLst>
        </pc:spChg>
        <pc:spChg chg="mod ord">
          <ac:chgData name="Yudi Zhu" userId="571e1a55-055f-4c28-8b35-fca6dd1c1369" providerId="ADAL" clId="{75A88773-6EE1-484E-AADE-FE631E01463B}" dt="2025-11-21T06:05:12.474" v="92388"/>
          <ac:spMkLst>
            <pc:docMk/>
            <pc:sldMk cId="3367204664" sldId="2147483083"/>
            <ac:spMk id="713" creationId="{C1CC29E3-A4E4-2455-6650-A794D218B744}"/>
          </ac:spMkLst>
        </pc:spChg>
        <pc:spChg chg="mod">
          <ac:chgData name="Yudi Zhu" userId="571e1a55-055f-4c28-8b35-fca6dd1c1369" providerId="ADAL" clId="{75A88773-6EE1-484E-AADE-FE631E01463B}" dt="2025-11-21T06:04:59.816" v="88083"/>
          <ac:spMkLst>
            <pc:docMk/>
            <pc:sldMk cId="3367204664" sldId="2147483083"/>
            <ac:spMk id="714" creationId="{F2911595-D826-D5CD-DE62-EEB22B0C30D2}"/>
          </ac:spMkLst>
        </pc:spChg>
        <pc:spChg chg="mod ord">
          <ac:chgData name="Yudi Zhu" userId="571e1a55-055f-4c28-8b35-fca6dd1c1369" providerId="ADAL" clId="{75A88773-6EE1-484E-AADE-FE631E01463B}" dt="2025-11-21T06:05:12.478" v="92389"/>
          <ac:spMkLst>
            <pc:docMk/>
            <pc:sldMk cId="3367204664" sldId="2147483083"/>
            <ac:spMk id="715" creationId="{2E6526C8-5335-AEA5-8DCB-85BE560BD72B}"/>
          </ac:spMkLst>
        </pc:spChg>
        <pc:spChg chg="mod">
          <ac:chgData name="Yudi Zhu" userId="571e1a55-055f-4c28-8b35-fca6dd1c1369" providerId="ADAL" clId="{75A88773-6EE1-484E-AADE-FE631E01463B}" dt="2025-11-21T06:04:59.821" v="88086"/>
          <ac:spMkLst>
            <pc:docMk/>
            <pc:sldMk cId="3367204664" sldId="2147483083"/>
            <ac:spMk id="716" creationId="{A232E357-C91A-97BF-6D96-52DECF5E59D0}"/>
          </ac:spMkLst>
        </pc:spChg>
        <pc:spChg chg="mod ord">
          <ac:chgData name="Yudi Zhu" userId="571e1a55-055f-4c28-8b35-fca6dd1c1369" providerId="ADAL" clId="{75A88773-6EE1-484E-AADE-FE631E01463B}" dt="2025-11-21T06:05:12.481" v="92390"/>
          <ac:spMkLst>
            <pc:docMk/>
            <pc:sldMk cId="3367204664" sldId="2147483083"/>
            <ac:spMk id="717" creationId="{2010722F-8B5B-48FC-8062-C95C80DDBA40}"/>
          </ac:spMkLst>
        </pc:spChg>
        <pc:spChg chg="mod">
          <ac:chgData name="Yudi Zhu" userId="571e1a55-055f-4c28-8b35-fca6dd1c1369" providerId="ADAL" clId="{75A88773-6EE1-484E-AADE-FE631E01463B}" dt="2025-11-21T06:04:59.853" v="88103"/>
          <ac:spMkLst>
            <pc:docMk/>
            <pc:sldMk cId="3367204664" sldId="2147483083"/>
            <ac:spMk id="718" creationId="{F331DDD4-DFB0-81AF-C08F-78C840CF8EE4}"/>
          </ac:spMkLst>
        </pc:spChg>
        <pc:spChg chg="mod ord">
          <ac:chgData name="Yudi Zhu" userId="571e1a55-055f-4c28-8b35-fca6dd1c1369" providerId="ADAL" clId="{75A88773-6EE1-484E-AADE-FE631E01463B}" dt="2025-11-21T06:05:12.485" v="92391"/>
          <ac:spMkLst>
            <pc:docMk/>
            <pc:sldMk cId="3367204664" sldId="2147483083"/>
            <ac:spMk id="719" creationId="{5D9464C7-E092-4525-D6A7-855BD84D57DF}"/>
          </ac:spMkLst>
        </pc:spChg>
        <pc:spChg chg="mod">
          <ac:chgData name="Yudi Zhu" userId="571e1a55-055f-4c28-8b35-fca6dd1c1369" providerId="ADAL" clId="{75A88773-6EE1-484E-AADE-FE631E01463B}" dt="2025-11-21T06:04:59.833" v="88093"/>
          <ac:spMkLst>
            <pc:docMk/>
            <pc:sldMk cId="3367204664" sldId="2147483083"/>
            <ac:spMk id="720" creationId="{2FBC5E1E-BA20-9AC6-33E0-B04BD4ED1E8C}"/>
          </ac:spMkLst>
        </pc:spChg>
        <pc:spChg chg="mod">
          <ac:chgData name="Yudi Zhu" userId="571e1a55-055f-4c28-8b35-fca6dd1c1369" providerId="ADAL" clId="{75A88773-6EE1-484E-AADE-FE631E01463B}" dt="2025-11-21T06:04:59.835" v="88094"/>
          <ac:spMkLst>
            <pc:docMk/>
            <pc:sldMk cId="3367204664" sldId="2147483083"/>
            <ac:spMk id="721" creationId="{897FD906-11EF-0BF1-77D0-10501FB2A3B7}"/>
          </ac:spMkLst>
        </pc:spChg>
        <pc:spChg chg="mod ord">
          <ac:chgData name="Yudi Zhu" userId="571e1a55-055f-4c28-8b35-fca6dd1c1369" providerId="ADAL" clId="{75A88773-6EE1-484E-AADE-FE631E01463B}" dt="2025-11-21T06:05:12.489" v="92392"/>
          <ac:spMkLst>
            <pc:docMk/>
            <pc:sldMk cId="3367204664" sldId="2147483083"/>
            <ac:spMk id="722" creationId="{2219ED27-C4F9-D184-71DF-4329497C4527}"/>
          </ac:spMkLst>
        </pc:spChg>
        <pc:spChg chg="mod">
          <ac:chgData name="Yudi Zhu" userId="571e1a55-055f-4c28-8b35-fca6dd1c1369" providerId="ADAL" clId="{75A88773-6EE1-484E-AADE-FE631E01463B}" dt="2025-11-21T06:04:59.840" v="88097"/>
          <ac:spMkLst>
            <pc:docMk/>
            <pc:sldMk cId="3367204664" sldId="2147483083"/>
            <ac:spMk id="723" creationId="{52B4AFC9-6B50-9281-9A56-83F917289650}"/>
          </ac:spMkLst>
        </pc:spChg>
        <pc:spChg chg="mod ord">
          <ac:chgData name="Yudi Zhu" userId="571e1a55-055f-4c28-8b35-fca6dd1c1369" providerId="ADAL" clId="{75A88773-6EE1-484E-AADE-FE631E01463B}" dt="2025-11-21T06:05:12.491" v="92393"/>
          <ac:spMkLst>
            <pc:docMk/>
            <pc:sldMk cId="3367204664" sldId="2147483083"/>
            <ac:spMk id="724" creationId="{93F8E09E-E5CE-44F5-109A-60FA4A9C6867}"/>
          </ac:spMkLst>
        </pc:spChg>
        <pc:spChg chg="mod">
          <ac:chgData name="Yudi Zhu" userId="571e1a55-055f-4c28-8b35-fca6dd1c1369" providerId="ADAL" clId="{75A88773-6EE1-484E-AADE-FE631E01463B}" dt="2025-11-21T06:04:59.844" v="88100"/>
          <ac:spMkLst>
            <pc:docMk/>
            <pc:sldMk cId="3367204664" sldId="2147483083"/>
            <ac:spMk id="725" creationId="{E95F9413-9890-8FA9-81D2-0BB5682FF3AF}"/>
          </ac:spMkLst>
        </pc:spChg>
        <pc:spChg chg="mod">
          <ac:chgData name="Yudi Zhu" userId="571e1a55-055f-4c28-8b35-fca6dd1c1369" providerId="ADAL" clId="{75A88773-6EE1-484E-AADE-FE631E01463B}" dt="2025-11-21T06:04:59.847" v="88101"/>
          <ac:spMkLst>
            <pc:docMk/>
            <pc:sldMk cId="3367204664" sldId="2147483083"/>
            <ac:spMk id="726" creationId="{70E5E667-3375-B3A8-7F4A-0B7CDA82B053}"/>
          </ac:spMkLst>
        </pc:spChg>
        <pc:spChg chg="mod">
          <ac:chgData name="Yudi Zhu" userId="571e1a55-055f-4c28-8b35-fca6dd1c1369" providerId="ADAL" clId="{75A88773-6EE1-484E-AADE-FE631E01463B}" dt="2025-11-21T06:04:59.830" v="88092"/>
          <ac:spMkLst>
            <pc:docMk/>
            <pc:sldMk cId="3367204664" sldId="2147483083"/>
            <ac:spMk id="727" creationId="{AAAC5D82-A9CC-5F41-3446-8497FB819BF9}"/>
          </ac:spMkLst>
        </pc:spChg>
        <pc:spChg chg="mod">
          <ac:chgData name="Yudi Zhu" userId="571e1a55-055f-4c28-8b35-fca6dd1c1369" providerId="ADAL" clId="{75A88773-6EE1-484E-AADE-FE631E01463B}" dt="2025-11-21T06:04:59.850" v="88102"/>
          <ac:spMkLst>
            <pc:docMk/>
            <pc:sldMk cId="3367204664" sldId="2147483083"/>
            <ac:spMk id="728" creationId="{DC65BC1B-ECCF-2392-4AA3-85CAAEF1039B}"/>
          </ac:spMkLst>
        </pc:spChg>
        <pc:spChg chg="mod ord">
          <ac:chgData name="Yudi Zhu" userId="571e1a55-055f-4c28-8b35-fca6dd1c1369" providerId="ADAL" clId="{75A88773-6EE1-484E-AADE-FE631E01463B}" dt="2025-11-21T06:05:12.457" v="92386"/>
          <ac:spMkLst>
            <pc:docMk/>
            <pc:sldMk cId="3367204664" sldId="2147483083"/>
            <ac:spMk id="729" creationId="{4CDBEDC5-BE2C-D1D9-B980-7A6DA5275606}"/>
          </ac:spMkLst>
        </pc:spChg>
        <pc:spChg chg="mod">
          <ac:chgData name="Yudi Zhu" userId="571e1a55-055f-4c28-8b35-fca6dd1c1369" providerId="ADAL" clId="{75A88773-6EE1-484E-AADE-FE631E01463B}" dt="2025-11-21T06:04:59.787" v="88067"/>
          <ac:spMkLst>
            <pc:docMk/>
            <pc:sldMk cId="3367204664" sldId="2147483083"/>
            <ac:spMk id="730" creationId="{CAED1C8E-88D6-B2D2-D5AB-0CFA428F95E1}"/>
          </ac:spMkLst>
        </pc:spChg>
        <pc:spChg chg="mod">
          <ac:chgData name="Yudi Zhu" userId="571e1a55-055f-4c28-8b35-fca6dd1c1369" providerId="ADAL" clId="{75A88773-6EE1-484E-AADE-FE631E01463B}" dt="2025-11-21T06:04:59.789" v="88068"/>
          <ac:spMkLst>
            <pc:docMk/>
            <pc:sldMk cId="3367204664" sldId="2147483083"/>
            <ac:spMk id="731" creationId="{CD0BDFEF-BCE0-6C21-5B2D-C03667E0119A}"/>
          </ac:spMkLst>
        </pc:spChg>
        <pc:spChg chg="mod">
          <ac:chgData name="Yudi Zhu" userId="571e1a55-055f-4c28-8b35-fca6dd1c1369" providerId="ADAL" clId="{75A88773-6EE1-484E-AADE-FE631E01463B}" dt="2025-11-21T06:04:59.791" v="88069"/>
          <ac:spMkLst>
            <pc:docMk/>
            <pc:sldMk cId="3367204664" sldId="2147483083"/>
            <ac:spMk id="732" creationId="{70D067B3-A3EC-AD93-1E74-9D93481265A6}"/>
          </ac:spMkLst>
        </pc:spChg>
        <pc:spChg chg="mod">
          <ac:chgData name="Yudi Zhu" userId="571e1a55-055f-4c28-8b35-fca6dd1c1369" providerId="ADAL" clId="{75A88773-6EE1-484E-AADE-FE631E01463B}" dt="2025-11-21T06:04:59.793" v="88070"/>
          <ac:spMkLst>
            <pc:docMk/>
            <pc:sldMk cId="3367204664" sldId="2147483083"/>
            <ac:spMk id="733" creationId="{444DC3A8-5EB8-DEC0-9152-0013D243F6CB}"/>
          </ac:spMkLst>
        </pc:spChg>
        <pc:spChg chg="mod">
          <ac:chgData name="Yudi Zhu" userId="571e1a55-055f-4c28-8b35-fca6dd1c1369" providerId="ADAL" clId="{75A88773-6EE1-484E-AADE-FE631E01463B}" dt="2025-11-21T06:04:59.796" v="88071"/>
          <ac:spMkLst>
            <pc:docMk/>
            <pc:sldMk cId="3367204664" sldId="2147483083"/>
            <ac:spMk id="734" creationId="{E2ECE2FD-8F32-2C4A-BB6D-9CC3F1B8D9F4}"/>
          </ac:spMkLst>
        </pc:spChg>
        <pc:spChg chg="mod">
          <ac:chgData name="Yudi Zhu" userId="571e1a55-055f-4c28-8b35-fca6dd1c1369" providerId="ADAL" clId="{75A88773-6EE1-484E-AADE-FE631E01463B}" dt="2025-11-21T06:04:59.798" v="88072"/>
          <ac:spMkLst>
            <pc:docMk/>
            <pc:sldMk cId="3367204664" sldId="2147483083"/>
            <ac:spMk id="735" creationId="{CDD042DF-11D8-8BBF-DBB7-667D8A2C9ECC}"/>
          </ac:spMkLst>
        </pc:spChg>
        <pc:spChg chg="mod">
          <ac:chgData name="Yudi Zhu" userId="571e1a55-055f-4c28-8b35-fca6dd1c1369" providerId="ADAL" clId="{75A88773-6EE1-484E-AADE-FE631E01463B}" dt="2025-11-21T06:04:59.801" v="88073"/>
          <ac:spMkLst>
            <pc:docMk/>
            <pc:sldMk cId="3367204664" sldId="2147483083"/>
            <ac:spMk id="736" creationId="{A00DADCF-F413-057C-D12E-EB499D24578E}"/>
          </ac:spMkLst>
        </pc:spChg>
        <pc:spChg chg="mod">
          <ac:chgData name="Yudi Zhu" userId="571e1a55-055f-4c28-8b35-fca6dd1c1369" providerId="ADAL" clId="{75A88773-6EE1-484E-AADE-FE631E01463B}" dt="2025-11-21T06:04:59.826" v="88089"/>
          <ac:spMkLst>
            <pc:docMk/>
            <pc:sldMk cId="3367204664" sldId="2147483083"/>
            <ac:spMk id="737" creationId="{80F53945-1E20-1535-48DC-4101400DA52F}"/>
          </ac:spMkLst>
        </pc:spChg>
        <pc:spChg chg="mod">
          <ac:chgData name="Yudi Zhu" userId="571e1a55-055f-4c28-8b35-fca6dd1c1369" providerId="ADAL" clId="{75A88773-6EE1-484E-AADE-FE631E01463B}" dt="2025-11-21T06:04:59.803" v="88074"/>
          <ac:spMkLst>
            <pc:docMk/>
            <pc:sldMk cId="3367204664" sldId="2147483083"/>
            <ac:spMk id="738" creationId="{F182A9A8-F4C8-007E-62A8-2A0C91DFB9E6}"/>
          </ac:spMkLst>
        </pc:spChg>
        <pc:spChg chg="mod">
          <ac:chgData name="Yudi Zhu" userId="571e1a55-055f-4c28-8b35-fca6dd1c1369" providerId="ADAL" clId="{75A88773-6EE1-484E-AADE-FE631E01463B}" dt="2025-11-21T06:04:59.804" v="88075"/>
          <ac:spMkLst>
            <pc:docMk/>
            <pc:sldMk cId="3367204664" sldId="2147483083"/>
            <ac:spMk id="739" creationId="{991A9663-4AF8-505E-6F3F-A04749B6A89F}"/>
          </ac:spMkLst>
        </pc:spChg>
        <pc:spChg chg="mod ord">
          <ac:chgData name="Yudi Zhu" userId="571e1a55-055f-4c28-8b35-fca6dd1c1369" providerId="ADAL" clId="{75A88773-6EE1-484E-AADE-FE631E01463B}" dt="2025-11-21T06:05:12.471" v="92387"/>
          <ac:spMkLst>
            <pc:docMk/>
            <pc:sldMk cId="3367204664" sldId="2147483083"/>
            <ac:spMk id="740" creationId="{1C55878F-46CE-516D-D796-19986EB4F8D2}"/>
          </ac:spMkLst>
        </pc:spChg>
        <pc:spChg chg="mod ord">
          <ac:chgData name="Yudi Zhu" userId="571e1a55-055f-4c28-8b35-fca6dd1c1369" providerId="ADAL" clId="{75A88773-6EE1-484E-AADE-FE631E01463B}" dt="2025-11-21T06:05:12.497" v="92394"/>
          <ac:spMkLst>
            <pc:docMk/>
            <pc:sldMk cId="3367204664" sldId="2147483083"/>
            <ac:spMk id="741" creationId="{CF73EDD3-98B1-A017-35D1-0ADA25017A08}"/>
          </ac:spMkLst>
        </pc:spChg>
        <pc:spChg chg="mod">
          <ac:chgData name="Yudi Zhu" userId="571e1a55-055f-4c28-8b35-fca6dd1c1369" providerId="ADAL" clId="{75A88773-6EE1-484E-AADE-FE631E01463B}" dt="2025-11-21T06:04:59.855" v="88104"/>
          <ac:spMkLst>
            <pc:docMk/>
            <pc:sldMk cId="3367204664" sldId="2147483083"/>
            <ac:spMk id="742" creationId="{731658A0-4CE3-4B0B-DB19-11333373D698}"/>
          </ac:spMkLst>
        </pc:spChg>
        <pc:spChg chg="mod">
          <ac:chgData name="Yudi Zhu" userId="571e1a55-055f-4c28-8b35-fca6dd1c1369" providerId="ADAL" clId="{75A88773-6EE1-484E-AADE-FE631E01463B}" dt="2025-11-21T06:04:59.811" v="88080"/>
          <ac:spMkLst>
            <pc:docMk/>
            <pc:sldMk cId="3367204664" sldId="2147483083"/>
            <ac:spMk id="743" creationId="{CCFD32B0-7F1E-0CF1-4175-B48C117BDAAD}"/>
          </ac:spMkLst>
        </pc:spChg>
        <pc:spChg chg="mod">
          <ac:chgData name="Yudi Zhu" userId="571e1a55-055f-4c28-8b35-fca6dd1c1369" providerId="ADAL" clId="{75A88773-6EE1-484E-AADE-FE631E01463B}" dt="2025-11-21T06:04:59.933" v="88155"/>
          <ac:spMkLst>
            <pc:docMk/>
            <pc:sldMk cId="3367204664" sldId="2147483083"/>
            <ac:spMk id="769" creationId="{79C465A3-C884-3391-E195-D972872691BE}"/>
          </ac:spMkLst>
        </pc:spChg>
        <pc:spChg chg="mod">
          <ac:chgData name="Yudi Zhu" userId="571e1a55-055f-4c28-8b35-fca6dd1c1369" providerId="ADAL" clId="{75A88773-6EE1-484E-AADE-FE631E01463B}" dt="2025-11-21T06:04:59.946" v="88162"/>
          <ac:spMkLst>
            <pc:docMk/>
            <pc:sldMk cId="3367204664" sldId="2147483083"/>
            <ac:spMk id="770" creationId="{7F3F2B0B-8C2F-D061-95A1-D00FEFFC5A30}"/>
          </ac:spMkLst>
        </pc:spChg>
        <pc:spChg chg="mod">
          <ac:chgData name="Yudi Zhu" userId="571e1a55-055f-4c28-8b35-fca6dd1c1369" providerId="ADAL" clId="{75A88773-6EE1-484E-AADE-FE631E01463B}" dt="2025-11-21T06:04:59.952" v="88165"/>
          <ac:spMkLst>
            <pc:docMk/>
            <pc:sldMk cId="3367204664" sldId="2147483083"/>
            <ac:spMk id="771" creationId="{FB42A624-E79D-F75E-17FA-E071C2DF5432}"/>
          </ac:spMkLst>
        </pc:spChg>
        <pc:spChg chg="mod">
          <ac:chgData name="Yudi Zhu" userId="571e1a55-055f-4c28-8b35-fca6dd1c1369" providerId="ADAL" clId="{75A88773-6EE1-484E-AADE-FE631E01463B}" dt="2025-11-21T06:04:59.962" v="88169"/>
          <ac:spMkLst>
            <pc:docMk/>
            <pc:sldMk cId="3367204664" sldId="2147483083"/>
            <ac:spMk id="772" creationId="{55FEB434-31BC-4F9F-5FFF-2CA97950FAB0}"/>
          </ac:spMkLst>
        </pc:spChg>
        <pc:spChg chg="mod">
          <ac:chgData name="Yudi Zhu" userId="571e1a55-055f-4c28-8b35-fca6dd1c1369" providerId="ADAL" clId="{75A88773-6EE1-484E-AADE-FE631E01463B}" dt="2025-11-21T06:04:59.931" v="88154"/>
          <ac:spMkLst>
            <pc:docMk/>
            <pc:sldMk cId="3367204664" sldId="2147483083"/>
            <ac:spMk id="773" creationId="{96F4DFBF-C609-EC36-23F7-E8E66C05186F}"/>
          </ac:spMkLst>
        </pc:spChg>
        <pc:spChg chg="mod">
          <ac:chgData name="Yudi Zhu" userId="571e1a55-055f-4c28-8b35-fca6dd1c1369" providerId="ADAL" clId="{75A88773-6EE1-484E-AADE-FE631E01463B}" dt="2025-11-21T06:04:59.955" v="88166"/>
          <ac:spMkLst>
            <pc:docMk/>
            <pc:sldMk cId="3367204664" sldId="2147483083"/>
            <ac:spMk id="774" creationId="{CD8F3AB5-70E0-4171-FB47-9BBE19C22C2C}"/>
          </ac:spMkLst>
        </pc:spChg>
        <pc:spChg chg="mod">
          <ac:chgData name="Yudi Zhu" userId="571e1a55-055f-4c28-8b35-fca6dd1c1369" providerId="ADAL" clId="{75A88773-6EE1-484E-AADE-FE631E01463B}" dt="2025-11-21T06:04:59.938" v="88158"/>
          <ac:spMkLst>
            <pc:docMk/>
            <pc:sldMk cId="3367204664" sldId="2147483083"/>
            <ac:spMk id="775" creationId="{1A6BD526-4570-D023-5A0B-770E7EB86017}"/>
          </ac:spMkLst>
        </pc:spChg>
        <pc:spChg chg="mod">
          <ac:chgData name="Yudi Zhu" userId="571e1a55-055f-4c28-8b35-fca6dd1c1369" providerId="ADAL" clId="{75A88773-6EE1-484E-AADE-FE631E01463B}" dt="2025-11-21T06:04:59.941" v="88160"/>
          <ac:spMkLst>
            <pc:docMk/>
            <pc:sldMk cId="3367204664" sldId="2147483083"/>
            <ac:spMk id="776" creationId="{89927198-F7F0-8631-11D0-9A79CE0D8430}"/>
          </ac:spMkLst>
        </pc:spChg>
        <pc:spChg chg="mod">
          <ac:chgData name="Yudi Zhu" userId="571e1a55-055f-4c28-8b35-fca6dd1c1369" providerId="ADAL" clId="{75A88773-6EE1-484E-AADE-FE631E01463B}" dt="2025-11-21T06:04:59.943" v="88161"/>
          <ac:spMkLst>
            <pc:docMk/>
            <pc:sldMk cId="3367204664" sldId="2147483083"/>
            <ac:spMk id="777" creationId="{881BD580-71F1-7BE8-AF1A-9F9A0FB33CF7}"/>
          </ac:spMkLst>
        </pc:spChg>
        <pc:spChg chg="mod ord">
          <ac:chgData name="Yudi Zhu" userId="571e1a55-055f-4c28-8b35-fca6dd1c1369" providerId="ADAL" clId="{75A88773-6EE1-484E-AADE-FE631E01463B}" dt="2025-11-21T06:05:12.550" v="92414"/>
          <ac:spMkLst>
            <pc:docMk/>
            <pc:sldMk cId="3367204664" sldId="2147483083"/>
            <ac:spMk id="778" creationId="{DC0EE3D4-76FB-BE34-DB45-92F05887C27A}"/>
          </ac:spMkLst>
        </pc:spChg>
        <pc:spChg chg="mod">
          <ac:chgData name="Yudi Zhu" userId="571e1a55-055f-4c28-8b35-fca6dd1c1369" providerId="ADAL" clId="{75A88773-6EE1-484E-AADE-FE631E01463B}" dt="2025-11-21T06:04:59.969" v="88172"/>
          <ac:spMkLst>
            <pc:docMk/>
            <pc:sldMk cId="3367204664" sldId="2147483083"/>
            <ac:spMk id="779" creationId="{8DA9BE49-0867-8520-8695-6269B436049D}"/>
          </ac:spMkLst>
        </pc:spChg>
        <pc:spChg chg="mod">
          <ac:chgData name="Yudi Zhu" userId="571e1a55-055f-4c28-8b35-fca6dd1c1369" providerId="ADAL" clId="{75A88773-6EE1-484E-AADE-FE631E01463B}" dt="2025-11-21T06:04:59.958" v="88167"/>
          <ac:spMkLst>
            <pc:docMk/>
            <pc:sldMk cId="3367204664" sldId="2147483083"/>
            <ac:spMk id="780" creationId="{6C797585-3EAA-D5C1-4B40-1A33EE99169C}"/>
          </ac:spMkLst>
        </pc:spChg>
        <pc:spChg chg="mod">
          <ac:chgData name="Yudi Zhu" userId="571e1a55-055f-4c28-8b35-fca6dd1c1369" providerId="ADAL" clId="{75A88773-6EE1-484E-AADE-FE631E01463B}" dt="2025-11-21T06:04:59.961" v="88168"/>
          <ac:spMkLst>
            <pc:docMk/>
            <pc:sldMk cId="3367204664" sldId="2147483083"/>
            <ac:spMk id="781" creationId="{461C1DAC-EBE7-86F4-BE7E-A9406A59C922}"/>
          </ac:spMkLst>
        </pc:spChg>
        <pc:spChg chg="mod">
          <ac:chgData name="Yudi Zhu" userId="571e1a55-055f-4c28-8b35-fca6dd1c1369" providerId="ADAL" clId="{75A88773-6EE1-484E-AADE-FE631E01463B}" dt="2025-11-21T06:04:59.964" v="88170"/>
          <ac:spMkLst>
            <pc:docMk/>
            <pc:sldMk cId="3367204664" sldId="2147483083"/>
            <ac:spMk id="782" creationId="{388A17F6-2D50-1F91-F8B0-7BDD5888728A}"/>
          </ac:spMkLst>
        </pc:spChg>
        <pc:spChg chg="mod">
          <ac:chgData name="Yudi Zhu" userId="571e1a55-055f-4c28-8b35-fca6dd1c1369" providerId="ADAL" clId="{75A88773-6EE1-484E-AADE-FE631E01463B}" dt="2025-11-21T06:04:59.901" v="88138"/>
          <ac:spMkLst>
            <pc:docMk/>
            <pc:sldMk cId="3367204664" sldId="2147483083"/>
            <ac:spMk id="783" creationId="{4A155612-36A0-2250-9D3D-003AE1151BCC}"/>
          </ac:spMkLst>
        </pc:spChg>
        <pc:spChg chg="mod">
          <ac:chgData name="Yudi Zhu" userId="571e1a55-055f-4c28-8b35-fca6dd1c1369" providerId="ADAL" clId="{75A88773-6EE1-484E-AADE-FE631E01463B}" dt="2025-11-21T06:04:59.903" v="88139"/>
          <ac:spMkLst>
            <pc:docMk/>
            <pc:sldMk cId="3367204664" sldId="2147483083"/>
            <ac:spMk id="784" creationId="{6DDD7D3E-6814-6786-32D7-76CC8985E857}"/>
          </ac:spMkLst>
        </pc:spChg>
        <pc:spChg chg="mod">
          <ac:chgData name="Yudi Zhu" userId="571e1a55-055f-4c28-8b35-fca6dd1c1369" providerId="ADAL" clId="{75A88773-6EE1-484E-AADE-FE631E01463B}" dt="2025-11-21T06:04:59.905" v="88140"/>
          <ac:spMkLst>
            <pc:docMk/>
            <pc:sldMk cId="3367204664" sldId="2147483083"/>
            <ac:spMk id="785" creationId="{F4098419-33B7-62BA-E17F-1683F711824B}"/>
          </ac:spMkLst>
        </pc:spChg>
        <pc:spChg chg="mod">
          <ac:chgData name="Yudi Zhu" userId="571e1a55-055f-4c28-8b35-fca6dd1c1369" providerId="ADAL" clId="{75A88773-6EE1-484E-AADE-FE631E01463B}" dt="2025-11-21T06:04:59.907" v="88141"/>
          <ac:spMkLst>
            <pc:docMk/>
            <pc:sldMk cId="3367204664" sldId="2147483083"/>
            <ac:spMk id="786" creationId="{D056461D-DA1B-A362-6920-C45023671DE2}"/>
          </ac:spMkLst>
        </pc:spChg>
        <pc:spChg chg="mod">
          <ac:chgData name="Yudi Zhu" userId="571e1a55-055f-4c28-8b35-fca6dd1c1369" providerId="ADAL" clId="{75A88773-6EE1-484E-AADE-FE631E01463B}" dt="2025-11-21T06:04:59.910" v="88142"/>
          <ac:spMkLst>
            <pc:docMk/>
            <pc:sldMk cId="3367204664" sldId="2147483083"/>
            <ac:spMk id="787" creationId="{D1703DEA-455D-5C48-CD36-0639A366C0AA}"/>
          </ac:spMkLst>
        </pc:spChg>
        <pc:spChg chg="mod ord">
          <ac:chgData name="Yudi Zhu" userId="571e1a55-055f-4c28-8b35-fca6dd1c1369" providerId="ADAL" clId="{75A88773-6EE1-484E-AADE-FE631E01463B}" dt="2025-11-21T06:05:12.526" v="92411"/>
          <ac:spMkLst>
            <pc:docMk/>
            <pc:sldMk cId="3367204664" sldId="2147483083"/>
            <ac:spMk id="788" creationId="{FF6313AD-3646-4B37-F467-3B6D9F4D8C7F}"/>
          </ac:spMkLst>
        </pc:spChg>
        <pc:spChg chg="mod">
          <ac:chgData name="Yudi Zhu" userId="571e1a55-055f-4c28-8b35-fca6dd1c1369" providerId="ADAL" clId="{75A88773-6EE1-484E-AADE-FE631E01463B}" dt="2025-11-21T06:04:59.914" v="88145"/>
          <ac:spMkLst>
            <pc:docMk/>
            <pc:sldMk cId="3367204664" sldId="2147483083"/>
            <ac:spMk id="789" creationId="{AA76787E-67D3-B727-74C0-3F2BD8A43A45}"/>
          </ac:spMkLst>
        </pc:spChg>
        <pc:spChg chg="mod">
          <ac:chgData name="Yudi Zhu" userId="571e1a55-055f-4c28-8b35-fca6dd1c1369" providerId="ADAL" clId="{75A88773-6EE1-484E-AADE-FE631E01463B}" dt="2025-11-21T06:04:59.916" v="88146"/>
          <ac:spMkLst>
            <pc:docMk/>
            <pc:sldMk cId="3367204664" sldId="2147483083"/>
            <ac:spMk id="790" creationId="{CAD136A2-D73F-A1AA-9C0B-BA478564547A}"/>
          </ac:spMkLst>
        </pc:spChg>
        <pc:spChg chg="mod">
          <ac:chgData name="Yudi Zhu" userId="571e1a55-055f-4c28-8b35-fca6dd1c1369" providerId="ADAL" clId="{75A88773-6EE1-484E-AADE-FE631E01463B}" dt="2025-11-21T06:04:59.919" v="88147"/>
          <ac:spMkLst>
            <pc:docMk/>
            <pc:sldMk cId="3367204664" sldId="2147483083"/>
            <ac:spMk id="791" creationId="{936E80F8-A453-CDFD-5FA0-E1C233D4F443}"/>
          </ac:spMkLst>
        </pc:spChg>
        <pc:spChg chg="mod ord">
          <ac:chgData name="Yudi Zhu" userId="571e1a55-055f-4c28-8b35-fca6dd1c1369" providerId="ADAL" clId="{75A88773-6EE1-484E-AADE-FE631E01463B}" dt="2025-11-21T06:05:12.533" v="92412"/>
          <ac:spMkLst>
            <pc:docMk/>
            <pc:sldMk cId="3367204664" sldId="2147483083"/>
            <ac:spMk id="792" creationId="{B8DAC3D3-9E42-50A6-4A21-5E478A98C822}"/>
          </ac:spMkLst>
        </pc:spChg>
        <pc:spChg chg="mod ord">
          <ac:chgData name="Yudi Zhu" userId="571e1a55-055f-4c28-8b35-fca6dd1c1369" providerId="ADAL" clId="{75A88773-6EE1-484E-AADE-FE631E01463B}" dt="2025-11-21T06:05:12.541" v="92413"/>
          <ac:spMkLst>
            <pc:docMk/>
            <pc:sldMk cId="3367204664" sldId="2147483083"/>
            <ac:spMk id="793" creationId="{AC243FCD-C66F-FCF6-6D95-C0AB850DE3AC}"/>
          </ac:spMkLst>
        </pc:spChg>
        <pc:spChg chg="mod">
          <ac:chgData name="Yudi Zhu" userId="571e1a55-055f-4c28-8b35-fca6dd1c1369" providerId="ADAL" clId="{75A88773-6EE1-484E-AADE-FE631E01463B}" dt="2025-11-21T06:04:59.923" v="88150"/>
          <ac:spMkLst>
            <pc:docMk/>
            <pc:sldMk cId="3367204664" sldId="2147483083"/>
            <ac:spMk id="794" creationId="{766946D2-24B6-7B61-1B51-7F431E619C3D}"/>
          </ac:spMkLst>
        </pc:spChg>
        <pc:spChg chg="mod">
          <ac:chgData name="Yudi Zhu" userId="571e1a55-055f-4c28-8b35-fca6dd1c1369" providerId="ADAL" clId="{75A88773-6EE1-484E-AADE-FE631E01463B}" dt="2025-11-21T06:04:59.925" v="88151"/>
          <ac:spMkLst>
            <pc:docMk/>
            <pc:sldMk cId="3367204664" sldId="2147483083"/>
            <ac:spMk id="795" creationId="{059F3979-8BA9-0CEE-C127-6C2DE7249FA1}"/>
          </ac:spMkLst>
        </pc:spChg>
        <pc:spChg chg="mod">
          <ac:chgData name="Yudi Zhu" userId="571e1a55-055f-4c28-8b35-fca6dd1c1369" providerId="ADAL" clId="{75A88773-6EE1-484E-AADE-FE631E01463B}" dt="2025-11-21T06:04:59.927" v="88152"/>
          <ac:spMkLst>
            <pc:docMk/>
            <pc:sldMk cId="3367204664" sldId="2147483083"/>
            <ac:spMk id="796" creationId="{A9ED2299-11AB-6647-213D-112EE2275394}"/>
          </ac:spMkLst>
        </pc:spChg>
        <pc:spChg chg="mod">
          <ac:chgData name="Yudi Zhu" userId="571e1a55-055f-4c28-8b35-fca6dd1c1369" providerId="ADAL" clId="{75A88773-6EE1-484E-AADE-FE631E01463B}" dt="2025-11-21T06:04:59.929" v="88153"/>
          <ac:spMkLst>
            <pc:docMk/>
            <pc:sldMk cId="3367204664" sldId="2147483083"/>
            <ac:spMk id="797" creationId="{C164DB90-EFD4-0BF7-FE6B-7739DF1B5657}"/>
          </ac:spMkLst>
        </pc:spChg>
        <pc:spChg chg="mod">
          <ac:chgData name="Yudi Zhu" userId="571e1a55-055f-4c28-8b35-fca6dd1c1369" providerId="ADAL" clId="{75A88773-6EE1-484E-AADE-FE631E01463B}" dt="2025-11-21T06:04:59.940" v="88159"/>
          <ac:spMkLst>
            <pc:docMk/>
            <pc:sldMk cId="3367204664" sldId="2147483083"/>
            <ac:spMk id="798" creationId="{53B52A9D-7FEA-E50A-8777-3358C8297B98}"/>
          </ac:spMkLst>
        </pc:spChg>
        <pc:spChg chg="mod">
          <ac:chgData name="Yudi Zhu" userId="571e1a55-055f-4c28-8b35-fca6dd1c1369" providerId="ADAL" clId="{75A88773-6EE1-484E-AADE-FE631E01463B}" dt="2025-11-21T06:04:59.967" v="88171"/>
          <ac:spMkLst>
            <pc:docMk/>
            <pc:sldMk cId="3367204664" sldId="2147483083"/>
            <ac:spMk id="799" creationId="{96E7BCBF-3429-9AE3-3AE4-FA7F25F7EC52}"/>
          </ac:spMkLst>
        </pc:spChg>
        <pc:spChg chg="mod ord">
          <ac:chgData name="Yudi Zhu" userId="571e1a55-055f-4c28-8b35-fca6dd1c1369" providerId="ADAL" clId="{75A88773-6EE1-484E-AADE-FE631E01463B}" dt="2025-11-21T06:05:12.560" v="92415"/>
          <ac:spMkLst>
            <pc:docMk/>
            <pc:sldMk cId="3367204664" sldId="2147483083"/>
            <ac:spMk id="869" creationId="{8A5B7BEF-BE82-656F-60AC-F65E58BAA62F}"/>
          </ac:spMkLst>
        </pc:spChg>
        <pc:spChg chg="mod ord">
          <ac:chgData name="Yudi Zhu" userId="571e1a55-055f-4c28-8b35-fca6dd1c1369" providerId="ADAL" clId="{75A88773-6EE1-484E-AADE-FE631E01463B}" dt="2025-11-21T06:05:12.561" v="92416"/>
          <ac:spMkLst>
            <pc:docMk/>
            <pc:sldMk cId="3367204664" sldId="2147483083"/>
            <ac:spMk id="870" creationId="{A815F930-9EBB-02B2-E464-57856A824DF4}"/>
          </ac:spMkLst>
        </pc:spChg>
        <pc:spChg chg="mod ord">
          <ac:chgData name="Yudi Zhu" userId="571e1a55-055f-4c28-8b35-fca6dd1c1369" providerId="ADAL" clId="{75A88773-6EE1-484E-AADE-FE631E01463B}" dt="2025-11-21T06:05:12.566" v="92418"/>
          <ac:spMkLst>
            <pc:docMk/>
            <pc:sldMk cId="3367204664" sldId="2147483083"/>
            <ac:spMk id="907" creationId="{1F0EE5F2-CD11-D7E7-5381-B2DE5CB56F8C}"/>
          </ac:spMkLst>
        </pc:spChg>
        <pc:spChg chg="mod ord">
          <ac:chgData name="Yudi Zhu" userId="571e1a55-055f-4c28-8b35-fca6dd1c1369" providerId="ADAL" clId="{75A88773-6EE1-484E-AADE-FE631E01463B}" dt="2025-11-21T06:05:12.570" v="92420"/>
          <ac:spMkLst>
            <pc:docMk/>
            <pc:sldMk cId="3367204664" sldId="2147483083"/>
            <ac:spMk id="909" creationId="{63690D76-B52D-AABA-DC28-D82D64C666A2}"/>
          </ac:spMkLst>
        </pc:spChg>
        <pc:spChg chg="mod ord">
          <ac:chgData name="Yudi Zhu" userId="571e1a55-055f-4c28-8b35-fca6dd1c1369" providerId="ADAL" clId="{75A88773-6EE1-484E-AADE-FE631E01463B}" dt="2025-11-21T06:05:12.355" v="92345"/>
          <ac:spMkLst>
            <pc:docMk/>
            <pc:sldMk cId="3367204664" sldId="2147483083"/>
            <ac:spMk id="911" creationId="{9EF67DB6-3AFC-292C-1B26-AEBE36CC5018}"/>
          </ac:spMkLst>
        </pc:spChg>
        <pc:spChg chg="mod ord">
          <ac:chgData name="Yudi Zhu" userId="571e1a55-055f-4c28-8b35-fca6dd1c1369" providerId="ADAL" clId="{75A88773-6EE1-484E-AADE-FE631E01463B}" dt="2025-11-21T06:05:12.349" v="92343"/>
          <ac:spMkLst>
            <pc:docMk/>
            <pc:sldMk cId="3367204664" sldId="2147483083"/>
            <ac:spMk id="912" creationId="{44BDF5FF-2A6F-83EE-5B12-394369AD8E0D}"/>
          </ac:spMkLst>
        </pc:spChg>
        <pc:spChg chg="mod ord">
          <ac:chgData name="Yudi Zhu" userId="571e1a55-055f-4c28-8b35-fca6dd1c1369" providerId="ADAL" clId="{75A88773-6EE1-484E-AADE-FE631E01463B}" dt="2025-11-21T06:05:12.352" v="92344"/>
          <ac:spMkLst>
            <pc:docMk/>
            <pc:sldMk cId="3367204664" sldId="2147483083"/>
            <ac:spMk id="913" creationId="{B2E9367F-E839-365A-8F57-B15AEA1D0EFC}"/>
          </ac:spMkLst>
        </pc:spChg>
        <pc:spChg chg="mod">
          <ac:chgData name="Yudi Zhu" userId="571e1a55-055f-4c28-8b35-fca6dd1c1369" providerId="ADAL" clId="{75A88773-6EE1-484E-AADE-FE631E01463B}" dt="2025-11-21T06:05:00.002" v="88195"/>
          <ac:spMkLst>
            <pc:docMk/>
            <pc:sldMk cId="3367204664" sldId="2147483083"/>
            <ac:spMk id="914" creationId="{33227F43-475D-76AF-3BB3-9525B8A6EFA4}"/>
          </ac:spMkLst>
        </pc:spChg>
        <pc:spChg chg="mod">
          <ac:chgData name="Yudi Zhu" userId="571e1a55-055f-4c28-8b35-fca6dd1c1369" providerId="ADAL" clId="{75A88773-6EE1-484E-AADE-FE631E01463B}" dt="2025-11-21T06:05:00.004" v="88196"/>
          <ac:spMkLst>
            <pc:docMk/>
            <pc:sldMk cId="3367204664" sldId="2147483083"/>
            <ac:spMk id="916" creationId="{D5999CF6-0157-E63A-65A4-EFCF04403D5A}"/>
          </ac:spMkLst>
        </pc:spChg>
        <pc:spChg chg="mod">
          <ac:chgData name="Yudi Zhu" userId="571e1a55-055f-4c28-8b35-fca6dd1c1369" providerId="ADAL" clId="{75A88773-6EE1-484E-AADE-FE631E01463B}" dt="2025-11-21T06:05:00.006" v="88197"/>
          <ac:spMkLst>
            <pc:docMk/>
            <pc:sldMk cId="3367204664" sldId="2147483083"/>
            <ac:spMk id="917" creationId="{80D61719-68E9-1FE9-E260-25EAA815BCCB}"/>
          </ac:spMkLst>
        </pc:spChg>
        <pc:spChg chg="mod">
          <ac:chgData name="Yudi Zhu" userId="571e1a55-055f-4c28-8b35-fca6dd1c1369" providerId="ADAL" clId="{75A88773-6EE1-484E-AADE-FE631E01463B}" dt="2025-11-21T06:05:00.009" v="88198"/>
          <ac:spMkLst>
            <pc:docMk/>
            <pc:sldMk cId="3367204664" sldId="2147483083"/>
            <ac:spMk id="918" creationId="{8B00A40D-5567-031D-5778-C45BF23D042E}"/>
          </ac:spMkLst>
        </pc:spChg>
        <pc:spChg chg="mod ord">
          <ac:chgData name="Yudi Zhu" userId="571e1a55-055f-4c28-8b35-fca6dd1c1369" providerId="ADAL" clId="{75A88773-6EE1-484E-AADE-FE631E01463B}" dt="2025-11-21T06:05:12.573" v="92422"/>
          <ac:spMkLst>
            <pc:docMk/>
            <pc:sldMk cId="3367204664" sldId="2147483083"/>
            <ac:spMk id="919" creationId="{086B4158-F3AC-8192-FD06-7E0EB5B4CCAC}"/>
          </ac:spMkLst>
        </pc:spChg>
        <pc:spChg chg="mod ord">
          <ac:chgData name="Yudi Zhu" userId="571e1a55-055f-4c28-8b35-fca6dd1c1369" providerId="ADAL" clId="{75A88773-6EE1-484E-AADE-FE631E01463B}" dt="2025-11-21T06:05:12.574" v="92423"/>
          <ac:spMkLst>
            <pc:docMk/>
            <pc:sldMk cId="3367204664" sldId="2147483083"/>
            <ac:spMk id="920" creationId="{CD78A288-0129-A771-96CE-08913AA70161}"/>
          </ac:spMkLst>
        </pc:spChg>
        <pc:spChg chg="mod ord">
          <ac:chgData name="Yudi Zhu" userId="571e1a55-055f-4c28-8b35-fca6dd1c1369" providerId="ADAL" clId="{75A88773-6EE1-484E-AADE-FE631E01463B}" dt="2025-11-21T06:05:12.576" v="92424"/>
          <ac:spMkLst>
            <pc:docMk/>
            <pc:sldMk cId="3367204664" sldId="2147483083"/>
            <ac:spMk id="921" creationId="{CC855AB6-33E4-C131-5B58-4C39CFC3BD5A}"/>
          </ac:spMkLst>
        </pc:spChg>
        <pc:spChg chg="mod ord">
          <ac:chgData name="Yudi Zhu" userId="571e1a55-055f-4c28-8b35-fca6dd1c1369" providerId="ADAL" clId="{75A88773-6EE1-484E-AADE-FE631E01463B}" dt="2025-11-21T06:05:12.577" v="92425"/>
          <ac:spMkLst>
            <pc:docMk/>
            <pc:sldMk cId="3367204664" sldId="2147483083"/>
            <ac:spMk id="922" creationId="{730DE8A4-D691-1FC7-EBAF-E295AAAB99EA}"/>
          </ac:spMkLst>
        </pc:spChg>
        <pc:graphicFrameChg chg="add del mod">
          <ac:chgData name="Yudi Zhu" userId="571e1a55-055f-4c28-8b35-fca6dd1c1369" providerId="ADAL" clId="{75A88773-6EE1-484E-AADE-FE631E01463B}" dt="2025-11-21T06:02:27.218" v="70629" actId="478"/>
          <ac:graphicFrameMkLst>
            <pc:docMk/>
            <pc:sldMk cId="3367204664" sldId="2147483083"/>
            <ac:graphicFrameMk id="13" creationId="{752C5E4A-8726-23E6-3D80-E19FB16E980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27.423" v="70753" actId="478"/>
          <ac:graphicFrameMkLst>
            <pc:docMk/>
            <pc:sldMk cId="3367204664" sldId="2147483083"/>
            <ac:graphicFrameMk id="20" creationId="{C116EBD8-FAF7-23C6-DFC4-02445438529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27.648" v="70887" actId="478"/>
          <ac:graphicFrameMkLst>
            <pc:docMk/>
            <pc:sldMk cId="3367204664" sldId="2147483083"/>
            <ac:graphicFrameMk id="30" creationId="{2B37326B-D964-A190-94DF-967CB858F169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7.696" v="87425"/>
          <ac:graphicFrameMkLst>
            <pc:docMk/>
            <pc:sldMk cId="3367204664" sldId="2147483083"/>
            <ac:graphicFrameMk id="33" creationId="{EF2A5483-6164-D10B-C7E7-0100BB30C195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8.478" v="87651"/>
          <ac:graphicFrameMkLst>
            <pc:docMk/>
            <pc:sldMk cId="3367204664" sldId="2147483083"/>
            <ac:graphicFrameMk id="36" creationId="{CAFA376C-86A8-51E8-B4C8-40DB485148D3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9.449" v="87921"/>
          <ac:graphicFrameMkLst>
            <pc:docMk/>
            <pc:sldMk cId="3367204664" sldId="2147483083"/>
            <ac:graphicFrameMk id="44" creationId="{2E074134-6127-DAC8-3742-EE0F9186FD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1.585" v="92101" actId="478"/>
          <ac:graphicFrameMkLst>
            <pc:docMk/>
            <pc:sldMk cId="3367204664" sldId="2147483083"/>
            <ac:graphicFrameMk id="46" creationId="{C28E70AD-D5C8-0212-C87B-747C3BC6C97A}"/>
          </ac:graphicFrameMkLst>
        </pc:graphicFrameChg>
        <pc:graphicFrameChg chg="mod">
          <ac:chgData name="Yudi Zhu" userId="571e1a55-055f-4c28-8b35-fca6dd1c1369" providerId="ADAL" clId="{75A88773-6EE1-484E-AADE-FE631E01463B}" dt="2025-11-21T06:05:12.588" v="92427" actId="1076"/>
          <ac:graphicFrameMkLst>
            <pc:docMk/>
            <pc:sldMk cId="3367204664" sldId="2147483083"/>
            <ac:graphicFrameMk id="48" creationId="{75A50572-C01B-DF99-0C84-C8EA58A6785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1.145" v="91961" actId="478"/>
          <ac:graphicFrameMkLst>
            <pc:docMk/>
            <pc:sldMk cId="3367204664" sldId="2147483083"/>
            <ac:graphicFrameMk id="49" creationId="{6E665088-A892-7201-1F82-80088521278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2.310" v="92340" actId="478"/>
          <ac:graphicFrameMkLst>
            <pc:docMk/>
            <pc:sldMk cId="3367204664" sldId="2147483083"/>
            <ac:graphicFrameMk id="50" creationId="{A3B89393-CA3F-F8F6-3136-DDD6E8C534EB}"/>
          </ac:graphicFrameMkLst>
        </pc:graphicFrameChg>
        <pc:graphicFrameChg chg="mod">
          <ac:chgData name="Yudi Zhu" userId="571e1a55-055f-4c28-8b35-fca6dd1c1369" providerId="ADAL" clId="{75A88773-6EE1-484E-AADE-FE631E01463B}" dt="2025-11-21T06:05:11.179" v="91963" actId="1076"/>
          <ac:graphicFrameMkLst>
            <pc:docMk/>
            <pc:sldMk cId="3367204664" sldId="2147483083"/>
            <ac:graphicFrameMk id="52" creationId="{DF9AF1A2-8D8D-972A-9B5B-44677F9AA14C}"/>
          </ac:graphicFrameMkLst>
        </pc:graphicFrameChg>
        <pc:graphicFrameChg chg="mod">
          <ac:chgData name="Yudi Zhu" userId="571e1a55-055f-4c28-8b35-fca6dd1c1369" providerId="ADAL" clId="{75A88773-6EE1-484E-AADE-FE631E01463B}" dt="2025-11-21T06:05:11.619" v="92103" actId="1076"/>
          <ac:graphicFrameMkLst>
            <pc:docMk/>
            <pc:sldMk cId="3367204664" sldId="2147483083"/>
            <ac:graphicFrameMk id="54" creationId="{93AA22AF-4F5A-2B79-3FEB-17EFAF516099}"/>
          </ac:graphicFrameMkLst>
        </pc:graphicFrameChg>
        <pc:graphicFrameChg chg="mod">
          <ac:chgData name="Yudi Zhu" userId="571e1a55-055f-4c28-8b35-fca6dd1c1369" providerId="ADAL" clId="{75A88773-6EE1-484E-AADE-FE631E01463B}" dt="2025-11-21T06:05:12.343" v="92342" actId="1076"/>
          <ac:graphicFrameMkLst>
            <pc:docMk/>
            <pc:sldMk cId="3367204664" sldId="2147483083"/>
            <ac:graphicFrameMk id="56" creationId="{2F7C1665-AD89-2F3B-AA5C-084CA2F996D6}"/>
          </ac:graphicFrameMkLst>
        </pc:graphicFrameChg>
        <pc:graphicFrameChg chg="del">
          <ac:chgData name="Yudi Zhu" userId="571e1a55-055f-4c28-8b35-fca6dd1c1369" providerId="ADAL" clId="{75A88773-6EE1-484E-AADE-FE631E01463B}" dt="2025-11-21T06:02:18.051" v="66699"/>
          <ac:graphicFrameMkLst>
            <pc:docMk/>
            <pc:sldMk cId="3367204664" sldId="2147483083"/>
            <ac:graphicFrameMk id="131" creationId="{035128B0-AD88-C041-331F-7FA3DD655668}"/>
          </ac:graphicFrameMkLst>
        </pc:graphicFrameChg>
        <pc:graphicFrameChg chg="del">
          <ac:chgData name="Yudi Zhu" userId="571e1a55-055f-4c28-8b35-fca6dd1c1369" providerId="ADAL" clId="{75A88773-6EE1-484E-AADE-FE631E01463B}" dt="2025-11-21T06:02:14.669" v="65571"/>
          <ac:graphicFrameMkLst>
            <pc:docMk/>
            <pc:sldMk cId="3367204664" sldId="2147483083"/>
            <ac:graphicFrameMk id="141" creationId="{4316672E-149A-541F-1B77-02CDBD5240C8}"/>
          </ac:graphicFrameMkLst>
        </pc:graphicFrameChg>
        <pc:graphicFrameChg chg="del">
          <ac:chgData name="Yudi Zhu" userId="571e1a55-055f-4c28-8b35-fca6dd1c1369" providerId="ADAL" clId="{75A88773-6EE1-484E-AADE-FE631E01463B}" dt="2025-11-21T06:02:16.172" v="66047"/>
          <ac:graphicFrameMkLst>
            <pc:docMk/>
            <pc:sldMk cId="3367204664" sldId="2147483083"/>
            <ac:graphicFrameMk id="151" creationId="{15F4DB9A-2F70-117B-9B2E-3E2441043768}"/>
          </ac:graphicFrameMkLst>
        </pc:graphicFrameChg>
        <pc:cxnChg chg="mod ord">
          <ac:chgData name="Yudi Zhu" userId="571e1a55-055f-4c28-8b35-fca6dd1c1369" providerId="ADAL" clId="{75A88773-6EE1-484E-AADE-FE631E01463B}" dt="2025-11-21T06:05:12.402" v="92371"/>
          <ac:cxnSpMkLst>
            <pc:docMk/>
            <pc:sldMk cId="3367204664" sldId="2147483083"/>
            <ac:cxnSpMk id="8" creationId="{1235E3F4-18B1-A351-4BD6-E4543CC09671}"/>
          </ac:cxnSpMkLst>
        </pc:cxnChg>
        <pc:cxnChg chg="add del mod ord">
          <ac:chgData name="Yudi Zhu" userId="571e1a55-055f-4c28-8b35-fca6dd1c1369" providerId="ADAL" clId="{75A88773-6EE1-484E-AADE-FE631E01463B}" dt="2025-11-21T06:02:27.421" v="70752" actId="478"/>
          <ac:cxnSpMkLst>
            <pc:docMk/>
            <pc:sldMk cId="3367204664" sldId="2147483083"/>
            <ac:cxnSpMk id="19" creationId="{F38BC9B0-CE82-4F68-679F-732F8BA46261}"/>
          </ac:cxnSpMkLst>
        </pc:cxnChg>
        <pc:cxnChg chg="mod ord">
          <ac:chgData name="Yudi Zhu" userId="571e1a55-055f-4c28-8b35-fca6dd1c1369" providerId="ADAL" clId="{75A88773-6EE1-484E-AADE-FE631E01463B}" dt="2025-11-21T06:05:12.453" v="92384"/>
          <ac:cxnSpMkLst>
            <pc:docMk/>
            <pc:sldMk cId="3367204664" sldId="2147483083"/>
            <ac:cxnSpMk id="27" creationId="{910AD2D5-C9C1-0E3A-E687-0F9498A14E55}"/>
          </ac:cxnSpMkLst>
        </pc:cxnChg>
        <pc:cxnChg chg="mod ord">
          <ac:chgData name="Yudi Zhu" userId="571e1a55-055f-4c28-8b35-fca6dd1c1369" providerId="ADAL" clId="{75A88773-6EE1-484E-AADE-FE631E01463B}" dt="2025-11-21T06:05:12.454" v="92385"/>
          <ac:cxnSpMkLst>
            <pc:docMk/>
            <pc:sldMk cId="3367204664" sldId="2147483083"/>
            <ac:cxnSpMk id="31" creationId="{BF67EDC1-ABB4-DBD6-34FD-EA781839A64E}"/>
          </ac:cxnSpMkLst>
        </pc:cxnChg>
        <pc:cxnChg chg="mod ord">
          <ac:chgData name="Yudi Zhu" userId="571e1a55-055f-4c28-8b35-fca6dd1c1369" providerId="ADAL" clId="{75A88773-6EE1-484E-AADE-FE631E01463B}" dt="2025-11-21T06:05:12.501" v="92396"/>
          <ac:cxnSpMkLst>
            <pc:docMk/>
            <pc:sldMk cId="3367204664" sldId="2147483083"/>
            <ac:cxnSpMk id="34" creationId="{B4610224-C2C1-425F-6FAC-3B54006B5A35}"/>
          </ac:cxnSpMkLst>
        </pc:cxnChg>
        <pc:cxnChg chg="mod ord">
          <ac:chgData name="Yudi Zhu" userId="571e1a55-055f-4c28-8b35-fca6dd1c1369" providerId="ADAL" clId="{75A88773-6EE1-484E-AADE-FE631E01463B}" dt="2025-11-21T06:05:12.511" v="92404"/>
          <ac:cxnSpMkLst>
            <pc:docMk/>
            <pc:sldMk cId="3367204664" sldId="2147483083"/>
            <ac:cxnSpMk id="38" creationId="{A75BB590-ED77-94C6-4A9C-271E91930B6F}"/>
          </ac:cxnSpMkLst>
        </pc:cxnChg>
        <pc:cxnChg chg="mod ord">
          <ac:chgData name="Yudi Zhu" userId="571e1a55-055f-4c28-8b35-fca6dd1c1369" providerId="ADAL" clId="{75A88773-6EE1-484E-AADE-FE631E01463B}" dt="2025-11-21T06:05:12.518" v="92409"/>
          <ac:cxnSpMkLst>
            <pc:docMk/>
            <pc:sldMk cId="3367204664" sldId="2147483083"/>
            <ac:cxnSpMk id="39" creationId="{A5E5FCDC-E487-3851-8E6D-05E368DEBF38}"/>
          </ac:cxnSpMkLst>
        </pc:cxnChg>
        <pc:cxnChg chg="mod ord">
          <ac:chgData name="Yudi Zhu" userId="571e1a55-055f-4c28-8b35-fca6dd1c1369" providerId="ADAL" clId="{75A88773-6EE1-484E-AADE-FE631E01463B}" dt="2025-11-21T06:05:12.508" v="92401"/>
          <ac:cxnSpMkLst>
            <pc:docMk/>
            <pc:sldMk cId="3367204664" sldId="2147483083"/>
            <ac:cxnSpMk id="40" creationId="{B7A3637A-8C32-1B87-A5C6-D6835E4A2E50}"/>
          </ac:cxnSpMkLst>
        </pc:cxnChg>
        <pc:cxnChg chg="mod ord">
          <ac:chgData name="Yudi Zhu" userId="571e1a55-055f-4c28-8b35-fca6dd1c1369" providerId="ADAL" clId="{75A88773-6EE1-484E-AADE-FE631E01463B}" dt="2025-11-21T06:05:12.517" v="92408"/>
          <ac:cxnSpMkLst>
            <pc:docMk/>
            <pc:sldMk cId="3367204664" sldId="2147483083"/>
            <ac:cxnSpMk id="41" creationId="{DDD40A3E-9239-0A32-852C-7DA5F21C80A4}"/>
          </ac:cxnSpMkLst>
        </pc:cxnChg>
        <pc:cxnChg chg="mod ord">
          <ac:chgData name="Yudi Zhu" userId="571e1a55-055f-4c28-8b35-fca6dd1c1369" providerId="ADAL" clId="{75A88773-6EE1-484E-AADE-FE631E01463B}" dt="2025-11-21T06:05:12.506" v="92400"/>
          <ac:cxnSpMkLst>
            <pc:docMk/>
            <pc:sldMk cId="3367204664" sldId="2147483083"/>
            <ac:cxnSpMk id="42" creationId="{62B56C84-1F44-5328-D520-E9391C9B32A1}"/>
          </ac:cxnSpMkLst>
        </pc:cxnChg>
        <pc:cxnChg chg="mod ord">
          <ac:chgData name="Yudi Zhu" userId="571e1a55-055f-4c28-8b35-fca6dd1c1369" providerId="ADAL" clId="{75A88773-6EE1-484E-AADE-FE631E01463B}" dt="2025-11-21T06:05:12.512" v="92405"/>
          <ac:cxnSpMkLst>
            <pc:docMk/>
            <pc:sldMk cId="3367204664" sldId="2147483083"/>
            <ac:cxnSpMk id="43" creationId="{82196F2D-CAEB-0496-7A7A-56FAAAE37A02}"/>
          </ac:cxnSpMkLst>
        </pc:cxnChg>
        <pc:cxnChg chg="add del mod ord">
          <ac:chgData name="Yudi Zhu" userId="571e1a55-055f-4c28-8b35-fca6dd1c1369" providerId="ADAL" clId="{75A88773-6EE1-484E-AADE-FE631E01463B}" dt="2025-11-21T06:05:11.143" v="91960" actId="478"/>
          <ac:cxnSpMkLst>
            <pc:docMk/>
            <pc:sldMk cId="3367204664" sldId="2147483083"/>
            <ac:cxnSpMk id="47" creationId="{5200213A-ACDF-2DA0-347A-179B251060B2}"/>
          </ac:cxnSpMkLst>
        </pc:cxnChg>
        <pc:cxnChg chg="mod ord">
          <ac:chgData name="Yudi Zhu" userId="571e1a55-055f-4c28-8b35-fca6dd1c1369" providerId="ADAL" clId="{75A88773-6EE1-484E-AADE-FE631E01463B}" dt="2025-11-21T06:05:12.448" v="92382"/>
          <ac:cxnSpMkLst>
            <pc:docMk/>
            <pc:sldMk cId="3367204664" sldId="2147483083"/>
            <ac:cxnSpMk id="144" creationId="{D9B832C9-6F30-FE57-61F6-5C9D48EBA7F9}"/>
          </ac:cxnSpMkLst>
        </pc:cxnChg>
        <pc:cxnChg chg="mod ord">
          <ac:chgData name="Yudi Zhu" userId="571e1a55-055f-4c28-8b35-fca6dd1c1369" providerId="ADAL" clId="{75A88773-6EE1-484E-AADE-FE631E01463B}" dt="2025-11-21T06:05:12.446" v="92381"/>
          <ac:cxnSpMkLst>
            <pc:docMk/>
            <pc:sldMk cId="3367204664" sldId="2147483083"/>
            <ac:cxnSpMk id="146" creationId="{A09940E3-8004-7E66-4326-658F505CE94B}"/>
          </ac:cxnSpMkLst>
        </pc:cxnChg>
        <pc:cxnChg chg="mod ord">
          <ac:chgData name="Yudi Zhu" userId="571e1a55-055f-4c28-8b35-fca6dd1c1369" providerId="ADAL" clId="{75A88773-6EE1-484E-AADE-FE631E01463B}" dt="2025-11-21T06:05:12.362" v="92350"/>
          <ac:cxnSpMkLst>
            <pc:docMk/>
            <pc:sldMk cId="3367204664" sldId="2147483083"/>
            <ac:cxnSpMk id="294" creationId="{53B74368-FE02-1779-32AA-ABA062E5B627}"/>
          </ac:cxnSpMkLst>
        </pc:cxnChg>
        <pc:cxnChg chg="mod ord">
          <ac:chgData name="Yudi Zhu" userId="571e1a55-055f-4c28-8b35-fca6dd1c1369" providerId="ADAL" clId="{75A88773-6EE1-484E-AADE-FE631E01463B}" dt="2025-11-21T06:05:12.358" v="92347"/>
          <ac:cxnSpMkLst>
            <pc:docMk/>
            <pc:sldMk cId="3367204664" sldId="2147483083"/>
            <ac:cxnSpMk id="305" creationId="{F169ADF9-0F35-F585-DA4B-2A06EB47909C}"/>
          </ac:cxnSpMkLst>
        </pc:cxnChg>
        <pc:cxnChg chg="mod ord">
          <ac:chgData name="Yudi Zhu" userId="571e1a55-055f-4c28-8b35-fca6dd1c1369" providerId="ADAL" clId="{75A88773-6EE1-484E-AADE-FE631E01463B}" dt="2025-11-21T06:05:12.359" v="92348"/>
          <ac:cxnSpMkLst>
            <pc:docMk/>
            <pc:sldMk cId="3367204664" sldId="2147483083"/>
            <ac:cxnSpMk id="308" creationId="{071109EA-0737-93DA-8C60-812FF87CC165}"/>
          </ac:cxnSpMkLst>
        </pc:cxnChg>
        <pc:cxnChg chg="mod ord">
          <ac:chgData name="Yudi Zhu" userId="571e1a55-055f-4c28-8b35-fca6dd1c1369" providerId="ADAL" clId="{75A88773-6EE1-484E-AADE-FE631E01463B}" dt="2025-11-21T06:05:12.377" v="92357"/>
          <ac:cxnSpMkLst>
            <pc:docMk/>
            <pc:sldMk cId="3367204664" sldId="2147483083"/>
            <ac:cxnSpMk id="348" creationId="{634C6E17-4FBC-4047-B9D5-DB0FD9DD9B19}"/>
          </ac:cxnSpMkLst>
        </pc:cxnChg>
        <pc:cxnChg chg="mod ord">
          <ac:chgData name="Yudi Zhu" userId="571e1a55-055f-4c28-8b35-fca6dd1c1369" providerId="ADAL" clId="{75A88773-6EE1-484E-AADE-FE631E01463B}" dt="2025-11-21T06:05:12.380" v="92358"/>
          <ac:cxnSpMkLst>
            <pc:docMk/>
            <pc:sldMk cId="3367204664" sldId="2147483083"/>
            <ac:cxnSpMk id="356" creationId="{E4AA5756-9CC4-E9C9-C2C8-50D08417D824}"/>
          </ac:cxnSpMkLst>
        </pc:cxnChg>
        <pc:cxnChg chg="mod ord">
          <ac:chgData name="Yudi Zhu" userId="571e1a55-055f-4c28-8b35-fca6dd1c1369" providerId="ADAL" clId="{75A88773-6EE1-484E-AADE-FE631E01463B}" dt="2025-11-21T06:05:12.385" v="92360"/>
          <ac:cxnSpMkLst>
            <pc:docMk/>
            <pc:sldMk cId="3367204664" sldId="2147483083"/>
            <ac:cxnSpMk id="517" creationId="{608291F3-2189-F9BB-AA9C-3DC2988626E0}"/>
          </ac:cxnSpMkLst>
        </pc:cxnChg>
        <pc:cxnChg chg="mod ord">
          <ac:chgData name="Yudi Zhu" userId="571e1a55-055f-4c28-8b35-fca6dd1c1369" providerId="ADAL" clId="{75A88773-6EE1-484E-AADE-FE631E01463B}" dt="2025-11-21T06:05:12.394" v="92366"/>
          <ac:cxnSpMkLst>
            <pc:docMk/>
            <pc:sldMk cId="3367204664" sldId="2147483083"/>
            <ac:cxnSpMk id="518" creationId="{31C849CE-DA9E-C6B5-38CD-DC5B25FE846E}"/>
          </ac:cxnSpMkLst>
        </pc:cxnChg>
        <pc:cxnChg chg="mod ord">
          <ac:chgData name="Yudi Zhu" userId="571e1a55-055f-4c28-8b35-fca6dd1c1369" providerId="ADAL" clId="{75A88773-6EE1-484E-AADE-FE631E01463B}" dt="2025-11-21T06:05:12.399" v="92369"/>
          <ac:cxnSpMkLst>
            <pc:docMk/>
            <pc:sldMk cId="3367204664" sldId="2147483083"/>
            <ac:cxnSpMk id="526" creationId="{D80ACC1C-DC70-5DCE-A9B5-231C07B652DA}"/>
          </ac:cxnSpMkLst>
        </pc:cxnChg>
        <pc:cxnChg chg="mod ord">
          <ac:chgData name="Yudi Zhu" userId="571e1a55-055f-4c28-8b35-fca6dd1c1369" providerId="ADAL" clId="{75A88773-6EE1-484E-AADE-FE631E01463B}" dt="2025-11-21T06:05:12.396" v="92367"/>
          <ac:cxnSpMkLst>
            <pc:docMk/>
            <pc:sldMk cId="3367204664" sldId="2147483083"/>
            <ac:cxnSpMk id="530" creationId="{259B52D2-C757-FC08-DAF4-B5560C74D495}"/>
          </ac:cxnSpMkLst>
        </pc:cxnChg>
        <pc:cxnChg chg="mod ord">
          <ac:chgData name="Yudi Zhu" userId="571e1a55-055f-4c28-8b35-fca6dd1c1369" providerId="ADAL" clId="{75A88773-6EE1-484E-AADE-FE631E01463B}" dt="2025-11-21T06:05:12.360" v="92349"/>
          <ac:cxnSpMkLst>
            <pc:docMk/>
            <pc:sldMk cId="3367204664" sldId="2147483083"/>
            <ac:cxnSpMk id="532" creationId="{24E2E3FD-2BD6-D8EF-4CAA-6116B5DA406C}"/>
          </ac:cxnSpMkLst>
        </pc:cxnChg>
        <pc:cxnChg chg="mod ord">
          <ac:chgData name="Yudi Zhu" userId="571e1a55-055f-4c28-8b35-fca6dd1c1369" providerId="ADAL" clId="{75A88773-6EE1-484E-AADE-FE631E01463B}" dt="2025-11-21T06:05:12.388" v="92362"/>
          <ac:cxnSpMkLst>
            <pc:docMk/>
            <pc:sldMk cId="3367204664" sldId="2147483083"/>
            <ac:cxnSpMk id="535" creationId="{0A140B74-D136-3883-129D-D4FD343DCF3E}"/>
          </ac:cxnSpMkLst>
        </pc:cxnChg>
        <pc:cxnChg chg="mod ord">
          <ac:chgData name="Yudi Zhu" userId="571e1a55-055f-4c28-8b35-fca6dd1c1369" providerId="ADAL" clId="{75A88773-6EE1-484E-AADE-FE631E01463B}" dt="2025-11-21T06:05:12.391" v="92364"/>
          <ac:cxnSpMkLst>
            <pc:docMk/>
            <pc:sldMk cId="3367204664" sldId="2147483083"/>
            <ac:cxnSpMk id="536" creationId="{F405C02F-E7BB-1117-5FBA-5E38581F3CC6}"/>
          </ac:cxnSpMkLst>
        </pc:cxnChg>
        <pc:cxnChg chg="mod ord">
          <ac:chgData name="Yudi Zhu" userId="571e1a55-055f-4c28-8b35-fca6dd1c1369" providerId="ADAL" clId="{75A88773-6EE1-484E-AADE-FE631E01463B}" dt="2025-11-21T06:05:12.383" v="92359"/>
          <ac:cxnSpMkLst>
            <pc:docMk/>
            <pc:sldMk cId="3367204664" sldId="2147483083"/>
            <ac:cxnSpMk id="537" creationId="{08B0A26A-EB74-1200-D2BA-CCAED3C1C566}"/>
          </ac:cxnSpMkLst>
        </pc:cxnChg>
        <pc:cxnChg chg="mod ord">
          <ac:chgData name="Yudi Zhu" userId="571e1a55-055f-4c28-8b35-fca6dd1c1369" providerId="ADAL" clId="{75A88773-6EE1-484E-AADE-FE631E01463B}" dt="2025-11-21T06:05:12.390" v="92363"/>
          <ac:cxnSpMkLst>
            <pc:docMk/>
            <pc:sldMk cId="3367204664" sldId="2147483083"/>
            <ac:cxnSpMk id="538" creationId="{DF38BC52-23CD-FEA2-1BA9-DB163C920372}"/>
          </ac:cxnSpMkLst>
        </pc:cxnChg>
        <pc:cxnChg chg="mod ord">
          <ac:chgData name="Yudi Zhu" userId="571e1a55-055f-4c28-8b35-fca6dd1c1369" providerId="ADAL" clId="{75A88773-6EE1-484E-AADE-FE631E01463B}" dt="2025-11-21T06:05:12.392" v="92365"/>
          <ac:cxnSpMkLst>
            <pc:docMk/>
            <pc:sldMk cId="3367204664" sldId="2147483083"/>
            <ac:cxnSpMk id="539" creationId="{2221086D-786E-BB33-8778-901A3A557C5B}"/>
          </ac:cxnSpMkLst>
        </pc:cxnChg>
        <pc:cxnChg chg="mod ord">
          <ac:chgData name="Yudi Zhu" userId="571e1a55-055f-4c28-8b35-fca6dd1c1369" providerId="ADAL" clId="{75A88773-6EE1-484E-AADE-FE631E01463B}" dt="2025-11-21T06:05:12.376" v="92356"/>
          <ac:cxnSpMkLst>
            <pc:docMk/>
            <pc:sldMk cId="3367204664" sldId="2147483083"/>
            <ac:cxnSpMk id="540" creationId="{773750BD-6D8C-5AA3-0CCD-B14EE533F06E}"/>
          </ac:cxnSpMkLst>
        </pc:cxnChg>
        <pc:cxnChg chg="mod ord">
          <ac:chgData name="Yudi Zhu" userId="571e1a55-055f-4c28-8b35-fca6dd1c1369" providerId="ADAL" clId="{75A88773-6EE1-484E-AADE-FE631E01463B}" dt="2025-11-21T06:05:12.370" v="92353"/>
          <ac:cxnSpMkLst>
            <pc:docMk/>
            <pc:sldMk cId="3367204664" sldId="2147483083"/>
            <ac:cxnSpMk id="541" creationId="{624A6EB8-EE62-9B60-20EF-C6F0EA36B44D}"/>
          </ac:cxnSpMkLst>
        </pc:cxnChg>
        <pc:cxnChg chg="mod ord">
          <ac:chgData name="Yudi Zhu" userId="571e1a55-055f-4c28-8b35-fca6dd1c1369" providerId="ADAL" clId="{75A88773-6EE1-484E-AADE-FE631E01463B}" dt="2025-11-21T06:05:12.365" v="92351"/>
          <ac:cxnSpMkLst>
            <pc:docMk/>
            <pc:sldMk cId="3367204664" sldId="2147483083"/>
            <ac:cxnSpMk id="542" creationId="{96D97C8E-B812-9BE3-AD4E-0C3ACC1EB874}"/>
          </ac:cxnSpMkLst>
        </pc:cxnChg>
        <pc:cxnChg chg="mod ord">
          <ac:chgData name="Yudi Zhu" userId="571e1a55-055f-4c28-8b35-fca6dd1c1369" providerId="ADAL" clId="{75A88773-6EE1-484E-AADE-FE631E01463B}" dt="2025-11-21T06:05:12.367" v="92352"/>
          <ac:cxnSpMkLst>
            <pc:docMk/>
            <pc:sldMk cId="3367204664" sldId="2147483083"/>
            <ac:cxnSpMk id="543" creationId="{310DED1D-8580-A686-3508-71398A69524F}"/>
          </ac:cxnSpMkLst>
        </pc:cxnChg>
        <pc:cxnChg chg="mod ord">
          <ac:chgData name="Yudi Zhu" userId="571e1a55-055f-4c28-8b35-fca6dd1c1369" providerId="ADAL" clId="{75A88773-6EE1-484E-AADE-FE631E01463B}" dt="2025-11-21T06:05:12.503" v="92398"/>
          <ac:cxnSpMkLst>
            <pc:docMk/>
            <pc:sldMk cId="3367204664" sldId="2147483083"/>
            <ac:cxnSpMk id="557" creationId="{FBF88677-9607-BBB0-2962-F516E9B9D991}"/>
          </ac:cxnSpMkLst>
        </pc:cxnChg>
        <pc:cxnChg chg="mod ord">
          <ac:chgData name="Yudi Zhu" userId="571e1a55-055f-4c28-8b35-fca6dd1c1369" providerId="ADAL" clId="{75A88773-6EE1-484E-AADE-FE631E01463B}" dt="2025-11-21T06:05:12.520" v="92410"/>
          <ac:cxnSpMkLst>
            <pc:docMk/>
            <pc:sldMk cId="3367204664" sldId="2147483083"/>
            <ac:cxnSpMk id="560" creationId="{1F63EE80-D75E-20C3-8A19-82AD49842142}"/>
          </ac:cxnSpMkLst>
        </pc:cxnChg>
        <pc:cxnChg chg="mod ord">
          <ac:chgData name="Yudi Zhu" userId="571e1a55-055f-4c28-8b35-fca6dd1c1369" providerId="ADAL" clId="{75A88773-6EE1-484E-AADE-FE631E01463B}" dt="2025-11-21T06:05:12.510" v="92403"/>
          <ac:cxnSpMkLst>
            <pc:docMk/>
            <pc:sldMk cId="3367204664" sldId="2147483083"/>
            <ac:cxnSpMk id="561" creationId="{FF4726C4-A509-7237-2D8F-E9E74E77FFC9}"/>
          </ac:cxnSpMkLst>
        </pc:cxnChg>
        <pc:cxnChg chg="mod ord">
          <ac:chgData name="Yudi Zhu" userId="571e1a55-055f-4c28-8b35-fca6dd1c1369" providerId="ADAL" clId="{75A88773-6EE1-484E-AADE-FE631E01463B}" dt="2025-11-21T06:05:12.516" v="92407"/>
          <ac:cxnSpMkLst>
            <pc:docMk/>
            <pc:sldMk cId="3367204664" sldId="2147483083"/>
            <ac:cxnSpMk id="562" creationId="{B6AD5F5A-32A7-FF68-FF4A-A4A0C0798FF8}"/>
          </ac:cxnSpMkLst>
        </pc:cxnChg>
        <pc:cxnChg chg="mod ord">
          <ac:chgData name="Yudi Zhu" userId="571e1a55-055f-4c28-8b35-fca6dd1c1369" providerId="ADAL" clId="{75A88773-6EE1-484E-AADE-FE631E01463B}" dt="2025-11-21T06:05:12.443" v="92379"/>
          <ac:cxnSpMkLst>
            <pc:docMk/>
            <pc:sldMk cId="3367204664" sldId="2147483083"/>
            <ac:cxnSpMk id="693" creationId="{C788FECD-209D-B218-D88F-2F5DDA88EDF1}"/>
          </ac:cxnSpMkLst>
        </pc:cxnChg>
        <pc:cxnChg chg="mod ord">
          <ac:chgData name="Yudi Zhu" userId="571e1a55-055f-4c28-8b35-fca6dd1c1369" providerId="ADAL" clId="{75A88773-6EE1-484E-AADE-FE631E01463B}" dt="2025-11-21T06:05:12.499" v="92395"/>
          <ac:cxnSpMkLst>
            <pc:docMk/>
            <pc:sldMk cId="3367204664" sldId="2147483083"/>
            <ac:cxnSpMk id="749" creationId="{C9543D74-90C0-31A6-7768-81F8B6E56B51}"/>
          </ac:cxnSpMkLst>
        </pc:cxnChg>
        <pc:cxnChg chg="mod ord">
          <ac:chgData name="Yudi Zhu" userId="571e1a55-055f-4c28-8b35-fca6dd1c1369" providerId="ADAL" clId="{75A88773-6EE1-484E-AADE-FE631E01463B}" dt="2025-11-21T06:05:12.502" v="92397"/>
          <ac:cxnSpMkLst>
            <pc:docMk/>
            <pc:sldMk cId="3367204664" sldId="2147483083"/>
            <ac:cxnSpMk id="750" creationId="{FAEC090B-6E89-20E8-7F6F-0CB62EF06118}"/>
          </ac:cxnSpMkLst>
        </pc:cxnChg>
        <pc:cxnChg chg="mod ord">
          <ac:chgData name="Yudi Zhu" userId="571e1a55-055f-4c28-8b35-fca6dd1c1369" providerId="ADAL" clId="{75A88773-6EE1-484E-AADE-FE631E01463B}" dt="2025-11-21T06:05:12.444" v="92380"/>
          <ac:cxnSpMkLst>
            <pc:docMk/>
            <pc:sldMk cId="3367204664" sldId="2147483083"/>
            <ac:cxnSpMk id="819" creationId="{15CD9D7A-42E3-AD67-5914-5CF0B47C1FB6}"/>
          </ac:cxnSpMkLst>
        </pc:cxnChg>
        <pc:cxnChg chg="mod ord">
          <ac:chgData name="Yudi Zhu" userId="571e1a55-055f-4c28-8b35-fca6dd1c1369" providerId="ADAL" clId="{75A88773-6EE1-484E-AADE-FE631E01463B}" dt="2025-11-21T06:05:12.452" v="92383"/>
          <ac:cxnSpMkLst>
            <pc:docMk/>
            <pc:sldMk cId="3367204664" sldId="2147483083"/>
            <ac:cxnSpMk id="822" creationId="{4CF71773-3B34-06B7-1F6E-860ADB52DD0C}"/>
          </ac:cxnSpMkLst>
        </pc:cxnChg>
        <pc:cxnChg chg="mod ord">
          <ac:chgData name="Yudi Zhu" userId="571e1a55-055f-4c28-8b35-fca6dd1c1369" providerId="ADAL" clId="{75A88773-6EE1-484E-AADE-FE631E01463B}" dt="2025-11-21T06:05:12.514" v="92406"/>
          <ac:cxnSpMkLst>
            <pc:docMk/>
            <pc:sldMk cId="3367204664" sldId="2147483083"/>
            <ac:cxnSpMk id="839" creationId="{9EA0980F-2D3E-CF9E-ADDE-B137BC4FCC76}"/>
          </ac:cxnSpMkLst>
        </pc:cxnChg>
        <pc:cxnChg chg="mod ord">
          <ac:chgData name="Yudi Zhu" userId="571e1a55-055f-4c28-8b35-fca6dd1c1369" providerId="ADAL" clId="{75A88773-6EE1-484E-AADE-FE631E01463B}" dt="2025-11-21T06:05:12.505" v="92399"/>
          <ac:cxnSpMkLst>
            <pc:docMk/>
            <pc:sldMk cId="3367204664" sldId="2147483083"/>
            <ac:cxnSpMk id="840" creationId="{21E966F7-755C-FD19-05EA-02A869DE92E3}"/>
          </ac:cxnSpMkLst>
        </pc:cxnChg>
        <pc:cxnChg chg="mod ord">
          <ac:chgData name="Yudi Zhu" userId="571e1a55-055f-4c28-8b35-fca6dd1c1369" providerId="ADAL" clId="{75A88773-6EE1-484E-AADE-FE631E01463B}" dt="2025-11-21T06:05:12.509" v="92402"/>
          <ac:cxnSpMkLst>
            <pc:docMk/>
            <pc:sldMk cId="3367204664" sldId="2147483083"/>
            <ac:cxnSpMk id="841" creationId="{3617F551-B0AA-99A9-2CAF-EF7D7C437DA5}"/>
          </ac:cxnSpMkLst>
        </pc:cxnChg>
        <pc:cxnChg chg="mod ord">
          <ac:chgData name="Yudi Zhu" userId="571e1a55-055f-4c28-8b35-fca6dd1c1369" providerId="ADAL" clId="{75A88773-6EE1-484E-AADE-FE631E01463B}" dt="2025-11-21T06:05:12.563" v="92417"/>
          <ac:cxnSpMkLst>
            <pc:docMk/>
            <pc:sldMk cId="3367204664" sldId="2147483083"/>
            <ac:cxnSpMk id="871" creationId="{B2DADC31-313B-E343-E9ED-1EC4C15F17A4}"/>
          </ac:cxnSpMkLst>
        </pc:cxnChg>
        <pc:cxnChg chg="mod ord">
          <ac:chgData name="Yudi Zhu" userId="571e1a55-055f-4c28-8b35-fca6dd1c1369" providerId="ADAL" clId="{75A88773-6EE1-484E-AADE-FE631E01463B}" dt="2025-11-21T06:05:12.568" v="92419"/>
          <ac:cxnSpMkLst>
            <pc:docMk/>
            <pc:sldMk cId="3367204664" sldId="2147483083"/>
            <ac:cxnSpMk id="908" creationId="{35F280B1-7698-BBB6-6CAA-918D9F9679C4}"/>
          </ac:cxnSpMkLst>
        </pc:cxnChg>
        <pc:cxnChg chg="mod ord">
          <ac:chgData name="Yudi Zhu" userId="571e1a55-055f-4c28-8b35-fca6dd1c1369" providerId="ADAL" clId="{75A88773-6EE1-484E-AADE-FE631E01463B}" dt="2025-11-21T06:05:12.571" v="92421"/>
          <ac:cxnSpMkLst>
            <pc:docMk/>
            <pc:sldMk cId="3367204664" sldId="2147483083"/>
            <ac:cxnSpMk id="910" creationId="{0BAE0C7B-E9D1-F6D9-0513-B773799CE429}"/>
          </ac:cxnSpMkLst>
        </pc:cxnChg>
        <pc:cxnChg chg="mod ord">
          <ac:chgData name="Yudi Zhu" userId="571e1a55-055f-4c28-8b35-fca6dd1c1369" providerId="ADAL" clId="{75A88773-6EE1-484E-AADE-FE631E01463B}" dt="2025-11-21T06:05:12.401" v="92370"/>
          <ac:cxnSpMkLst>
            <pc:docMk/>
            <pc:sldMk cId="3367204664" sldId="2147483083"/>
            <ac:cxnSpMk id="945" creationId="{DD00F1B9-5BD9-3339-EABB-040A8FE07057}"/>
          </ac:cxnSpMkLst>
        </pc:cxnChg>
        <pc:cxnChg chg="mod ord">
          <ac:chgData name="Yudi Zhu" userId="571e1a55-055f-4c28-8b35-fca6dd1c1369" providerId="ADAL" clId="{75A88773-6EE1-484E-AADE-FE631E01463B}" dt="2025-11-21T06:05:12.373" v="92354"/>
          <ac:cxnSpMkLst>
            <pc:docMk/>
            <pc:sldMk cId="3367204664" sldId="2147483083"/>
            <ac:cxnSpMk id="948" creationId="{8872F3BE-59BA-E242-5FC2-D4EB4F24D37E}"/>
          </ac:cxnSpMkLst>
        </pc:cxnChg>
        <pc:cxnChg chg="mod ord">
          <ac:chgData name="Yudi Zhu" userId="571e1a55-055f-4c28-8b35-fca6dd1c1369" providerId="ADAL" clId="{75A88773-6EE1-484E-AADE-FE631E01463B}" dt="2025-11-21T06:05:12.374" v="92355"/>
          <ac:cxnSpMkLst>
            <pc:docMk/>
            <pc:sldMk cId="3367204664" sldId="2147483083"/>
            <ac:cxnSpMk id="951" creationId="{7CD3D7FA-3FD0-E8CA-835E-31E4EFF65715}"/>
          </ac:cxnSpMkLst>
        </pc:cxnChg>
        <pc:cxnChg chg="mod ord">
          <ac:chgData name="Yudi Zhu" userId="571e1a55-055f-4c28-8b35-fca6dd1c1369" providerId="ADAL" clId="{75A88773-6EE1-484E-AADE-FE631E01463B}" dt="2025-11-21T06:05:12.398" v="92368"/>
          <ac:cxnSpMkLst>
            <pc:docMk/>
            <pc:sldMk cId="3367204664" sldId="2147483083"/>
            <ac:cxnSpMk id="952" creationId="{9D7C4841-F4B8-FB51-1090-79E3C9B760C3}"/>
          </ac:cxnSpMkLst>
        </pc:cxnChg>
        <pc:cxnChg chg="mod ord">
          <ac:chgData name="Yudi Zhu" userId="571e1a55-055f-4c28-8b35-fca6dd1c1369" providerId="ADAL" clId="{75A88773-6EE1-484E-AADE-FE631E01463B}" dt="2025-11-21T06:05:12.387" v="92361"/>
          <ac:cxnSpMkLst>
            <pc:docMk/>
            <pc:sldMk cId="3367204664" sldId="2147483083"/>
            <ac:cxnSpMk id="954" creationId="{0D46ECA6-A831-0DC0-A74C-8AAEF5673CCB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11.022" v="91925" actId="1076"/>
        <pc:sldMkLst>
          <pc:docMk/>
          <pc:sldMk cId="3323175271" sldId="2147483084"/>
        </pc:sldMkLst>
        <pc:spChg chg="mod ord">
          <ac:chgData name="Yudi Zhu" userId="571e1a55-055f-4c28-8b35-fca6dd1c1369" providerId="ADAL" clId="{75A88773-6EE1-484E-AADE-FE631E01463B}" dt="2025-11-21T06:05:10.842" v="91869"/>
          <ac:spMkLst>
            <pc:docMk/>
            <pc:sldMk cId="3323175271" sldId="2147483084"/>
            <ac:spMk id="2" creationId="{4CDBC283-38B0-D4A6-43BC-3C3326A88F7B}"/>
          </ac:spMkLst>
        </pc:spChg>
        <pc:spChg chg="add del mod modVis">
          <ac:chgData name="Yudi Zhu" userId="571e1a55-055f-4c28-8b35-fca6dd1c1369" providerId="ADAL" clId="{75A88773-6EE1-484E-AADE-FE631E01463B}" dt="2025-11-21T06:02:24.828" v="70191" actId="478"/>
          <ac:spMkLst>
            <pc:docMk/>
            <pc:sldMk cId="3323175271" sldId="2147483084"/>
            <ac:spMk id="3" creationId="{BBE1EB7B-FF2A-1BC8-74D1-190D10A1F77A}"/>
          </ac:spMkLst>
        </pc:spChg>
        <pc:spChg chg="add del mod">
          <ac:chgData name="Yudi Zhu" userId="571e1a55-055f-4c28-8b35-fca6dd1c1369" providerId="ADAL" clId="{75A88773-6EE1-484E-AADE-FE631E01463B}" dt="2025-11-21T06:04:54.883" v="86494"/>
          <ac:spMkLst>
            <pc:docMk/>
            <pc:sldMk cId="3323175271" sldId="2147483084"/>
            <ac:spMk id="5" creationId="{9719CA12-2DAC-21A4-7551-BCCB00799B6B}"/>
          </ac:spMkLst>
        </pc:spChg>
        <pc:spChg chg="add del mod">
          <ac:chgData name="Yudi Zhu" userId="571e1a55-055f-4c28-8b35-fca6dd1c1369" providerId="ADAL" clId="{75A88773-6EE1-484E-AADE-FE631E01463B}" dt="2025-11-21T06:04:54.885" v="86495"/>
          <ac:spMkLst>
            <pc:docMk/>
            <pc:sldMk cId="3323175271" sldId="2147483084"/>
            <ac:spMk id="6" creationId="{7D71E4EF-FC95-1737-D5E2-FFEEA474A019}"/>
          </ac:spMkLst>
        </pc:spChg>
        <pc:spChg chg="add del mod">
          <ac:chgData name="Yudi Zhu" userId="571e1a55-055f-4c28-8b35-fca6dd1c1369" providerId="ADAL" clId="{75A88773-6EE1-484E-AADE-FE631E01463B}" dt="2025-11-21T06:04:54.887" v="86496"/>
          <ac:spMkLst>
            <pc:docMk/>
            <pc:sldMk cId="3323175271" sldId="2147483084"/>
            <ac:spMk id="7" creationId="{5DE6347F-CBFD-B4DE-D0B0-0F8817A02E80}"/>
          </ac:spMkLst>
        </pc:spChg>
        <pc:spChg chg="add del mod">
          <ac:chgData name="Yudi Zhu" userId="571e1a55-055f-4c28-8b35-fca6dd1c1369" providerId="ADAL" clId="{75A88773-6EE1-484E-AADE-FE631E01463B}" dt="2025-11-21T06:04:54.888" v="86497"/>
          <ac:spMkLst>
            <pc:docMk/>
            <pc:sldMk cId="3323175271" sldId="2147483084"/>
            <ac:spMk id="8" creationId="{0155CF7C-18A9-05B9-D1BB-D16342215004}"/>
          </ac:spMkLst>
        </pc:spChg>
        <pc:spChg chg="add del mod">
          <ac:chgData name="Yudi Zhu" userId="571e1a55-055f-4c28-8b35-fca6dd1c1369" providerId="ADAL" clId="{75A88773-6EE1-484E-AADE-FE631E01463B}" dt="2025-11-21T06:04:54.889" v="86498"/>
          <ac:spMkLst>
            <pc:docMk/>
            <pc:sldMk cId="3323175271" sldId="2147483084"/>
            <ac:spMk id="10" creationId="{3FC22C46-83ED-C12B-BD8E-5A122C6E3E1F}"/>
          </ac:spMkLst>
        </pc:spChg>
        <pc:spChg chg="add del mod">
          <ac:chgData name="Yudi Zhu" userId="571e1a55-055f-4c28-8b35-fca6dd1c1369" providerId="ADAL" clId="{75A88773-6EE1-484E-AADE-FE631E01463B}" dt="2025-11-21T06:04:54.890" v="86499"/>
          <ac:spMkLst>
            <pc:docMk/>
            <pc:sldMk cId="3323175271" sldId="2147483084"/>
            <ac:spMk id="11" creationId="{B549BEDA-73D0-4E69-46D2-1539E06D44C6}"/>
          </ac:spMkLst>
        </pc:spChg>
        <pc:spChg chg="add del mod">
          <ac:chgData name="Yudi Zhu" userId="571e1a55-055f-4c28-8b35-fca6dd1c1369" providerId="ADAL" clId="{75A88773-6EE1-484E-AADE-FE631E01463B}" dt="2025-11-21T06:04:54.891" v="86500"/>
          <ac:spMkLst>
            <pc:docMk/>
            <pc:sldMk cId="3323175271" sldId="2147483084"/>
            <ac:spMk id="12" creationId="{D7821812-1295-F4FE-C859-461E08309049}"/>
          </ac:spMkLst>
        </pc:spChg>
        <pc:spChg chg="add del mod">
          <ac:chgData name="Yudi Zhu" userId="571e1a55-055f-4c28-8b35-fca6dd1c1369" providerId="ADAL" clId="{75A88773-6EE1-484E-AADE-FE631E01463B}" dt="2025-11-21T06:04:54.891" v="86501"/>
          <ac:spMkLst>
            <pc:docMk/>
            <pc:sldMk cId="3323175271" sldId="2147483084"/>
            <ac:spMk id="13" creationId="{4CEC74E9-E268-F3C2-8258-7158079BD739}"/>
          </ac:spMkLst>
        </pc:spChg>
        <pc:spChg chg="add del mod">
          <ac:chgData name="Yudi Zhu" userId="571e1a55-055f-4c28-8b35-fca6dd1c1369" providerId="ADAL" clId="{75A88773-6EE1-484E-AADE-FE631E01463B}" dt="2025-11-21T06:04:54.892" v="86502"/>
          <ac:spMkLst>
            <pc:docMk/>
            <pc:sldMk cId="3323175271" sldId="2147483084"/>
            <ac:spMk id="14" creationId="{B3D5B281-1F74-8CCB-54A9-4805FFF10F56}"/>
          </ac:spMkLst>
        </pc:spChg>
        <pc:spChg chg="add del mod">
          <ac:chgData name="Yudi Zhu" userId="571e1a55-055f-4c28-8b35-fca6dd1c1369" providerId="ADAL" clId="{75A88773-6EE1-484E-AADE-FE631E01463B}" dt="2025-11-21T06:04:54.893" v="86503"/>
          <ac:spMkLst>
            <pc:docMk/>
            <pc:sldMk cId="3323175271" sldId="2147483084"/>
            <ac:spMk id="15" creationId="{7F1E4F4B-C966-4CAD-6D27-11A5663615DB}"/>
          </ac:spMkLst>
        </pc:spChg>
        <pc:spChg chg="add del mod">
          <ac:chgData name="Yudi Zhu" userId="571e1a55-055f-4c28-8b35-fca6dd1c1369" providerId="ADAL" clId="{75A88773-6EE1-484E-AADE-FE631E01463B}" dt="2025-11-21T06:04:55.858" v="86772"/>
          <ac:spMkLst>
            <pc:docMk/>
            <pc:sldMk cId="3323175271" sldId="2147483084"/>
            <ac:spMk id="17" creationId="{3366CEC3-0791-3665-1D6A-CC09CBBBB38C}"/>
          </ac:spMkLst>
        </pc:spChg>
        <pc:spChg chg="add del mod">
          <ac:chgData name="Yudi Zhu" userId="571e1a55-055f-4c28-8b35-fca6dd1c1369" providerId="ADAL" clId="{75A88773-6EE1-484E-AADE-FE631E01463B}" dt="2025-11-21T06:04:55.865" v="86773"/>
          <ac:spMkLst>
            <pc:docMk/>
            <pc:sldMk cId="3323175271" sldId="2147483084"/>
            <ac:spMk id="18" creationId="{50A3210A-2538-B165-79D1-C32C2DBCF56D}"/>
          </ac:spMkLst>
        </pc:spChg>
        <pc:spChg chg="add del mod">
          <ac:chgData name="Yudi Zhu" userId="571e1a55-055f-4c28-8b35-fca6dd1c1369" providerId="ADAL" clId="{75A88773-6EE1-484E-AADE-FE631E01463B}" dt="2025-11-21T06:04:55.867" v="86774"/>
          <ac:spMkLst>
            <pc:docMk/>
            <pc:sldMk cId="3323175271" sldId="2147483084"/>
            <ac:spMk id="20" creationId="{FD431B1B-8F7C-0A4E-5122-210CD7EE6CE9}"/>
          </ac:spMkLst>
        </pc:spChg>
        <pc:spChg chg="add del mod">
          <ac:chgData name="Yudi Zhu" userId="571e1a55-055f-4c28-8b35-fca6dd1c1369" providerId="ADAL" clId="{75A88773-6EE1-484E-AADE-FE631E01463B}" dt="2025-11-21T06:04:55.870" v="86775"/>
          <ac:spMkLst>
            <pc:docMk/>
            <pc:sldMk cId="3323175271" sldId="2147483084"/>
            <ac:spMk id="21" creationId="{7DD2B1EE-2BC7-78C0-331E-17297099DA8B}"/>
          </ac:spMkLst>
        </pc:spChg>
        <pc:spChg chg="add del mod">
          <ac:chgData name="Yudi Zhu" userId="571e1a55-055f-4c28-8b35-fca6dd1c1369" providerId="ADAL" clId="{75A88773-6EE1-484E-AADE-FE631E01463B}" dt="2025-11-21T06:04:55.873" v="86776"/>
          <ac:spMkLst>
            <pc:docMk/>
            <pc:sldMk cId="3323175271" sldId="2147483084"/>
            <ac:spMk id="27" creationId="{F0ABF6FF-CED8-3C4B-6FB0-07A7CBA5374C}"/>
          </ac:spMkLst>
        </pc:spChg>
        <pc:spChg chg="add del mod">
          <ac:chgData name="Yudi Zhu" userId="571e1a55-055f-4c28-8b35-fca6dd1c1369" providerId="ADAL" clId="{75A88773-6EE1-484E-AADE-FE631E01463B}" dt="2025-11-21T06:04:55.874" v="86777"/>
          <ac:spMkLst>
            <pc:docMk/>
            <pc:sldMk cId="3323175271" sldId="2147483084"/>
            <ac:spMk id="32" creationId="{15B80665-A207-C20F-E072-56D21AF58B3C}"/>
          </ac:spMkLst>
        </pc:spChg>
        <pc:spChg chg="add del mod">
          <ac:chgData name="Yudi Zhu" userId="571e1a55-055f-4c28-8b35-fca6dd1c1369" providerId="ADAL" clId="{75A88773-6EE1-484E-AADE-FE631E01463B}" dt="2025-11-21T06:04:55.875" v="86778"/>
          <ac:spMkLst>
            <pc:docMk/>
            <pc:sldMk cId="3323175271" sldId="2147483084"/>
            <ac:spMk id="33" creationId="{B67E2926-CBB8-9110-B7EB-360084716583}"/>
          </ac:spMkLst>
        </pc:spChg>
        <pc:spChg chg="add del mod">
          <ac:chgData name="Yudi Zhu" userId="571e1a55-055f-4c28-8b35-fca6dd1c1369" providerId="ADAL" clId="{75A88773-6EE1-484E-AADE-FE631E01463B}" dt="2025-11-21T06:04:55.878" v="86779"/>
          <ac:spMkLst>
            <pc:docMk/>
            <pc:sldMk cId="3323175271" sldId="2147483084"/>
            <ac:spMk id="34" creationId="{E158224E-78E0-528F-E16D-0FAFE40B0A1C}"/>
          </ac:spMkLst>
        </pc:spChg>
        <pc:spChg chg="add del mod">
          <ac:chgData name="Yudi Zhu" userId="571e1a55-055f-4c28-8b35-fca6dd1c1369" providerId="ADAL" clId="{75A88773-6EE1-484E-AADE-FE631E01463B}" dt="2025-11-21T06:04:55.880" v="86780"/>
          <ac:spMkLst>
            <pc:docMk/>
            <pc:sldMk cId="3323175271" sldId="2147483084"/>
            <ac:spMk id="35" creationId="{70627E27-1725-215B-150F-C01FFA7DBAE6}"/>
          </ac:spMkLst>
        </pc:spChg>
        <pc:spChg chg="del mod modVis">
          <ac:chgData name="Yudi Zhu" userId="571e1a55-055f-4c28-8b35-fca6dd1c1369" providerId="ADAL" clId="{75A88773-6EE1-484E-AADE-FE631E01463B}" dt="2025-11-21T06:02:26.735" v="70375" actId="478"/>
          <ac:spMkLst>
            <pc:docMk/>
            <pc:sldMk cId="3323175271" sldId="2147483084"/>
            <ac:spMk id="39" creationId="{AFE09A7F-6FD4-614A-2982-99C36AF78C75}"/>
          </ac:spMkLst>
        </pc:spChg>
        <pc:spChg chg="del mod modVis">
          <ac:chgData name="Yudi Zhu" userId="571e1a55-055f-4c28-8b35-fca6dd1c1369" providerId="ADAL" clId="{75A88773-6EE1-484E-AADE-FE631E01463B}" dt="2025-11-21T06:02:26.935" v="70477" actId="478"/>
          <ac:spMkLst>
            <pc:docMk/>
            <pc:sldMk cId="3323175271" sldId="2147483084"/>
            <ac:spMk id="41" creationId="{C7FB19AC-3CF2-7A2D-94BB-B29E7BE9EE87}"/>
          </ac:spMkLst>
        </pc:spChg>
        <pc:spChg chg="del mod modVis">
          <ac:chgData name="Yudi Zhu" userId="571e1a55-055f-4c28-8b35-fca6dd1c1369" providerId="ADAL" clId="{75A88773-6EE1-484E-AADE-FE631E01463B}" dt="2025-11-21T06:02:27.124" v="70575" actId="478"/>
          <ac:spMkLst>
            <pc:docMk/>
            <pc:sldMk cId="3323175271" sldId="2147483084"/>
            <ac:spMk id="43" creationId="{62E960A9-6542-4020-B5A2-6FDF0257A40F}"/>
          </ac:spMkLst>
        </pc:spChg>
        <pc:spChg chg="add del mod modVis">
          <ac:chgData name="Yudi Zhu" userId="571e1a55-055f-4c28-8b35-fca6dd1c1369" providerId="ADAL" clId="{75A88773-6EE1-484E-AADE-FE631E01463B}" dt="2025-11-21T06:05:08.489" v="91523"/>
          <ac:spMkLst>
            <pc:docMk/>
            <pc:sldMk cId="3323175271" sldId="2147483084"/>
            <ac:spMk id="45" creationId="{296DA0E4-9EAA-E530-B433-4D0DFEDBAF0F}"/>
          </ac:spMkLst>
        </pc:spChg>
        <pc:spChg chg="del mod modVis">
          <ac:chgData name="Yudi Zhu" userId="571e1a55-055f-4c28-8b35-fca6dd1c1369" providerId="ADAL" clId="{75A88773-6EE1-484E-AADE-FE631E01463B}" dt="2025-11-21T06:05:10.295" v="91724" actId="478"/>
          <ac:spMkLst>
            <pc:docMk/>
            <pc:sldMk cId="3323175271" sldId="2147483084"/>
            <ac:spMk id="51" creationId="{A29BE63E-1FEB-E87D-7FF8-F5EC8EEFC03F}"/>
          </ac:spMkLst>
        </pc:spChg>
        <pc:spChg chg="del mod modVis">
          <ac:chgData name="Yudi Zhu" userId="571e1a55-055f-4c28-8b35-fca6dd1c1369" providerId="ADAL" clId="{75A88773-6EE1-484E-AADE-FE631E01463B}" dt="2025-11-21T06:05:10.675" v="91826" actId="478"/>
          <ac:spMkLst>
            <pc:docMk/>
            <pc:sldMk cId="3323175271" sldId="2147483084"/>
            <ac:spMk id="53" creationId="{7658FA89-ED07-EC94-47A6-B5AFE3330E94}"/>
          </ac:spMkLst>
        </pc:spChg>
        <pc:spChg chg="del mod modVis">
          <ac:chgData name="Yudi Zhu" userId="571e1a55-055f-4c28-8b35-fca6dd1c1369" providerId="ADAL" clId="{75A88773-6EE1-484E-AADE-FE631E01463B}" dt="2025-11-21T06:05:11.020" v="91924" actId="478"/>
          <ac:spMkLst>
            <pc:docMk/>
            <pc:sldMk cId="3323175271" sldId="2147483084"/>
            <ac:spMk id="55" creationId="{C0BFAF03-0FCB-46CE-1D2A-E47213502B11}"/>
          </ac:spMkLst>
        </pc:spChg>
        <pc:spChg chg="mod">
          <ac:chgData name="Yudi Zhu" userId="571e1a55-055f-4c28-8b35-fca6dd1c1369" providerId="ADAL" clId="{75A88773-6EE1-484E-AADE-FE631E01463B}" dt="2025-11-21T06:04:56.956" v="87155"/>
          <ac:spMkLst>
            <pc:docMk/>
            <pc:sldMk cId="3323175271" sldId="2147483084"/>
            <ac:spMk id="133" creationId="{7E94BB2C-6676-C47A-11A7-73AC1CB934AD}"/>
          </ac:spMkLst>
        </pc:spChg>
        <pc:spChg chg="mod">
          <ac:chgData name="Yudi Zhu" userId="571e1a55-055f-4c28-8b35-fca6dd1c1369" providerId="ADAL" clId="{75A88773-6EE1-484E-AADE-FE631E01463B}" dt="2025-11-21T06:04:56.958" v="87156"/>
          <ac:spMkLst>
            <pc:docMk/>
            <pc:sldMk cId="3323175271" sldId="2147483084"/>
            <ac:spMk id="135" creationId="{D62C4D38-8861-AE34-8CAD-EFDCA28487B5}"/>
          </ac:spMkLst>
        </pc:spChg>
        <pc:spChg chg="mod">
          <ac:chgData name="Yudi Zhu" userId="571e1a55-055f-4c28-8b35-fca6dd1c1369" providerId="ADAL" clId="{75A88773-6EE1-484E-AADE-FE631E01463B}" dt="2025-11-21T06:04:56.960" v="87157"/>
          <ac:spMkLst>
            <pc:docMk/>
            <pc:sldMk cId="3323175271" sldId="2147483084"/>
            <ac:spMk id="136" creationId="{F341237B-6EEE-781F-D127-D1D8BCC4FE4F}"/>
          </ac:spMkLst>
        </pc:spChg>
        <pc:spChg chg="mod">
          <ac:chgData name="Yudi Zhu" userId="571e1a55-055f-4c28-8b35-fca6dd1c1369" providerId="ADAL" clId="{75A88773-6EE1-484E-AADE-FE631E01463B}" dt="2025-11-21T06:04:56.962" v="87158"/>
          <ac:spMkLst>
            <pc:docMk/>
            <pc:sldMk cId="3323175271" sldId="2147483084"/>
            <ac:spMk id="137" creationId="{76FD0615-7126-B714-DBBA-DCA3569EBB7F}"/>
          </ac:spMkLst>
        </pc:spChg>
        <pc:spChg chg="mod ord">
          <ac:chgData name="Yudi Zhu" userId="571e1a55-055f-4c28-8b35-fca6dd1c1369" providerId="ADAL" clId="{75A88773-6EE1-484E-AADE-FE631E01463B}" dt="2025-11-21T06:05:11.009" v="91920"/>
          <ac:spMkLst>
            <pc:docMk/>
            <pc:sldMk cId="3323175271" sldId="2147483084"/>
            <ac:spMk id="138" creationId="{63E6A10C-F4C0-B8EE-34DE-AFD150BC0530}"/>
          </ac:spMkLst>
        </pc:spChg>
        <pc:spChg chg="mod ord">
          <ac:chgData name="Yudi Zhu" userId="571e1a55-055f-4c28-8b35-fca6dd1c1369" providerId="ADAL" clId="{75A88773-6EE1-484E-AADE-FE631E01463B}" dt="2025-11-21T06:05:11.011" v="91921"/>
          <ac:spMkLst>
            <pc:docMk/>
            <pc:sldMk cId="3323175271" sldId="2147483084"/>
            <ac:spMk id="139" creationId="{7C488830-9EE0-408D-E065-E07E2F7B2B94}"/>
          </ac:spMkLst>
        </pc:spChg>
        <pc:spChg chg="mod ord">
          <ac:chgData name="Yudi Zhu" userId="571e1a55-055f-4c28-8b35-fca6dd1c1369" providerId="ADAL" clId="{75A88773-6EE1-484E-AADE-FE631E01463B}" dt="2025-11-21T06:05:11.012" v="91922"/>
          <ac:spMkLst>
            <pc:docMk/>
            <pc:sldMk cId="3323175271" sldId="2147483084"/>
            <ac:spMk id="140" creationId="{C1E0824E-AF97-0F2F-D89D-79962DDECE83}"/>
          </ac:spMkLst>
        </pc:spChg>
        <pc:spChg chg="mod ord">
          <ac:chgData name="Yudi Zhu" userId="571e1a55-055f-4c28-8b35-fca6dd1c1369" providerId="ADAL" clId="{75A88773-6EE1-484E-AADE-FE631E01463B}" dt="2025-11-21T06:05:11.014" v="91923"/>
          <ac:spMkLst>
            <pc:docMk/>
            <pc:sldMk cId="3323175271" sldId="2147483084"/>
            <ac:spMk id="142" creationId="{3B800394-F73D-79EB-C0DC-DB8EBE810035}"/>
          </ac:spMkLst>
        </pc:spChg>
        <pc:spChg chg="mod">
          <ac:chgData name="Yudi Zhu" userId="571e1a55-055f-4c28-8b35-fca6dd1c1369" providerId="ADAL" clId="{75A88773-6EE1-484E-AADE-FE631E01463B}" dt="2025-11-21T06:04:56.709" v="87004"/>
          <ac:spMkLst>
            <pc:docMk/>
            <pc:sldMk cId="3323175271" sldId="2147483084"/>
            <ac:spMk id="185" creationId="{673A5B7D-71A6-4607-4F84-791D2DB5E0BD}"/>
          </ac:spMkLst>
        </pc:spChg>
        <pc:spChg chg="mod">
          <ac:chgData name="Yudi Zhu" userId="571e1a55-055f-4c28-8b35-fca6dd1c1369" providerId="ADAL" clId="{75A88773-6EE1-484E-AADE-FE631E01463B}" dt="2025-11-21T06:04:56.658" v="86979"/>
          <ac:spMkLst>
            <pc:docMk/>
            <pc:sldMk cId="3323175271" sldId="2147483084"/>
            <ac:spMk id="186" creationId="{AE98B524-473B-C353-2D5F-0114FF4FF0B7}"/>
          </ac:spMkLst>
        </pc:spChg>
        <pc:spChg chg="mod">
          <ac:chgData name="Yudi Zhu" userId="571e1a55-055f-4c28-8b35-fca6dd1c1369" providerId="ADAL" clId="{75A88773-6EE1-484E-AADE-FE631E01463B}" dt="2025-11-21T06:04:56.661" v="86980"/>
          <ac:spMkLst>
            <pc:docMk/>
            <pc:sldMk cId="3323175271" sldId="2147483084"/>
            <ac:spMk id="317" creationId="{A50DA8B3-6BA1-5B38-4571-944FFE9E02B5}"/>
          </ac:spMkLst>
        </pc:spChg>
        <pc:spChg chg="mod">
          <ac:chgData name="Yudi Zhu" userId="571e1a55-055f-4c28-8b35-fca6dd1c1369" providerId="ADAL" clId="{75A88773-6EE1-484E-AADE-FE631E01463B}" dt="2025-11-21T06:04:56.663" v="86981"/>
          <ac:spMkLst>
            <pc:docMk/>
            <pc:sldMk cId="3323175271" sldId="2147483084"/>
            <ac:spMk id="318" creationId="{25A49547-2537-F89D-C609-1ACAEA419DFF}"/>
          </ac:spMkLst>
        </pc:spChg>
        <pc:spChg chg="mod">
          <ac:chgData name="Yudi Zhu" userId="571e1a55-055f-4c28-8b35-fca6dd1c1369" providerId="ADAL" clId="{75A88773-6EE1-484E-AADE-FE631E01463B}" dt="2025-11-21T06:04:56.666" v="86982"/>
          <ac:spMkLst>
            <pc:docMk/>
            <pc:sldMk cId="3323175271" sldId="2147483084"/>
            <ac:spMk id="319" creationId="{6A2202F4-833E-E45D-8A45-ABC68F015A13}"/>
          </ac:spMkLst>
        </pc:spChg>
        <pc:spChg chg="mod">
          <ac:chgData name="Yudi Zhu" userId="571e1a55-055f-4c28-8b35-fca6dd1c1369" providerId="ADAL" clId="{75A88773-6EE1-484E-AADE-FE631E01463B}" dt="2025-11-21T06:04:56.669" v="86983"/>
          <ac:spMkLst>
            <pc:docMk/>
            <pc:sldMk cId="3323175271" sldId="2147483084"/>
            <ac:spMk id="320" creationId="{B568BBA8-9811-E998-E552-CDF8F5FA3BE6}"/>
          </ac:spMkLst>
        </pc:spChg>
        <pc:spChg chg="mod">
          <ac:chgData name="Yudi Zhu" userId="571e1a55-055f-4c28-8b35-fca6dd1c1369" providerId="ADAL" clId="{75A88773-6EE1-484E-AADE-FE631E01463B}" dt="2025-11-21T06:04:56.671" v="86984"/>
          <ac:spMkLst>
            <pc:docMk/>
            <pc:sldMk cId="3323175271" sldId="2147483084"/>
            <ac:spMk id="321" creationId="{DC257775-4429-B375-9BAF-6495A73474A4}"/>
          </ac:spMkLst>
        </pc:spChg>
        <pc:spChg chg="mod">
          <ac:chgData name="Yudi Zhu" userId="571e1a55-055f-4c28-8b35-fca6dd1c1369" providerId="ADAL" clId="{75A88773-6EE1-484E-AADE-FE631E01463B}" dt="2025-11-21T06:04:56.674" v="86985"/>
          <ac:spMkLst>
            <pc:docMk/>
            <pc:sldMk cId="3323175271" sldId="2147483084"/>
            <ac:spMk id="322" creationId="{079DD0C0-EDC9-1EE4-D0FC-1A4CBC44B149}"/>
          </ac:spMkLst>
        </pc:spChg>
        <pc:spChg chg="mod ord">
          <ac:chgData name="Yudi Zhu" userId="571e1a55-055f-4c28-8b35-fca6dd1c1369" providerId="ADAL" clId="{75A88773-6EE1-484E-AADE-FE631E01463B}" dt="2025-11-21T06:05:10.861" v="91876"/>
          <ac:spMkLst>
            <pc:docMk/>
            <pc:sldMk cId="3323175271" sldId="2147483084"/>
            <ac:spMk id="323" creationId="{CEF70136-68ED-553F-D685-AFCDDA8E82CA}"/>
          </ac:spMkLst>
        </pc:spChg>
        <pc:spChg chg="mod">
          <ac:chgData name="Yudi Zhu" userId="571e1a55-055f-4c28-8b35-fca6dd1c1369" providerId="ADAL" clId="{75A88773-6EE1-484E-AADE-FE631E01463B}" dt="2025-11-21T06:04:56.678" v="86988"/>
          <ac:spMkLst>
            <pc:docMk/>
            <pc:sldMk cId="3323175271" sldId="2147483084"/>
            <ac:spMk id="324" creationId="{C1F7FE3D-A192-797C-6725-4BD5E2FBF761}"/>
          </ac:spMkLst>
        </pc:spChg>
        <pc:spChg chg="mod">
          <ac:chgData name="Yudi Zhu" userId="571e1a55-055f-4c28-8b35-fca6dd1c1369" providerId="ADAL" clId="{75A88773-6EE1-484E-AADE-FE631E01463B}" dt="2025-11-21T06:04:56.681" v="86989"/>
          <ac:spMkLst>
            <pc:docMk/>
            <pc:sldMk cId="3323175271" sldId="2147483084"/>
            <ac:spMk id="325" creationId="{37A6A2BE-E7A5-2217-AA78-405EF01564D8}"/>
          </ac:spMkLst>
        </pc:spChg>
        <pc:spChg chg="mod">
          <ac:chgData name="Yudi Zhu" userId="571e1a55-055f-4c28-8b35-fca6dd1c1369" providerId="ADAL" clId="{75A88773-6EE1-484E-AADE-FE631E01463B}" dt="2025-11-21T06:04:56.684" v="86990"/>
          <ac:spMkLst>
            <pc:docMk/>
            <pc:sldMk cId="3323175271" sldId="2147483084"/>
            <ac:spMk id="326" creationId="{5A0F4AD8-4386-2B0E-FEDE-DA2293ECF56B}"/>
          </ac:spMkLst>
        </pc:spChg>
        <pc:spChg chg="mod ord">
          <ac:chgData name="Yudi Zhu" userId="571e1a55-055f-4c28-8b35-fca6dd1c1369" providerId="ADAL" clId="{75A88773-6EE1-484E-AADE-FE631E01463B}" dt="2025-11-21T06:05:10.868" v="91877"/>
          <ac:spMkLst>
            <pc:docMk/>
            <pc:sldMk cId="3323175271" sldId="2147483084"/>
            <ac:spMk id="327" creationId="{B9652F66-DDC4-BE85-47E0-650D07C339C8}"/>
          </ac:spMkLst>
        </pc:spChg>
        <pc:spChg chg="mod">
          <ac:chgData name="Yudi Zhu" userId="571e1a55-055f-4c28-8b35-fca6dd1c1369" providerId="ADAL" clId="{75A88773-6EE1-484E-AADE-FE631E01463B}" dt="2025-11-21T06:04:56.688" v="86993"/>
          <ac:spMkLst>
            <pc:docMk/>
            <pc:sldMk cId="3323175271" sldId="2147483084"/>
            <ac:spMk id="328" creationId="{9AF0DA72-584E-3CA3-050D-6A3BCF2C5076}"/>
          </ac:spMkLst>
        </pc:spChg>
        <pc:spChg chg="mod ord">
          <ac:chgData name="Yudi Zhu" userId="571e1a55-055f-4c28-8b35-fca6dd1c1369" providerId="ADAL" clId="{75A88773-6EE1-484E-AADE-FE631E01463B}" dt="2025-11-21T06:05:10.870" v="91878"/>
          <ac:spMkLst>
            <pc:docMk/>
            <pc:sldMk cId="3323175271" sldId="2147483084"/>
            <ac:spMk id="329" creationId="{F724639B-1DB7-F7C8-D3A5-7423D9757E0B}"/>
          </ac:spMkLst>
        </pc:spChg>
        <pc:spChg chg="mod ord">
          <ac:chgData name="Yudi Zhu" userId="571e1a55-055f-4c28-8b35-fca6dd1c1369" providerId="ADAL" clId="{75A88773-6EE1-484E-AADE-FE631E01463B}" dt="2025-11-21T06:05:10.894" v="91883"/>
          <ac:spMkLst>
            <pc:docMk/>
            <pc:sldMk cId="3323175271" sldId="2147483084"/>
            <ac:spMk id="330" creationId="{97848703-C65B-7CB5-96D3-A0FFC2E76579}"/>
          </ac:spMkLst>
        </pc:spChg>
        <pc:spChg chg="mod">
          <ac:chgData name="Yudi Zhu" userId="571e1a55-055f-4c28-8b35-fca6dd1c1369" providerId="ADAL" clId="{75A88773-6EE1-484E-AADE-FE631E01463B}" dt="2025-11-21T06:04:56.694" v="86996"/>
          <ac:spMkLst>
            <pc:docMk/>
            <pc:sldMk cId="3323175271" sldId="2147483084"/>
            <ac:spMk id="331" creationId="{51C5CFD9-6D58-115C-D830-C862AFDF25D6}"/>
          </ac:spMkLst>
        </pc:spChg>
        <pc:spChg chg="mod ord">
          <ac:chgData name="Yudi Zhu" userId="571e1a55-055f-4c28-8b35-fca6dd1c1369" providerId="ADAL" clId="{75A88773-6EE1-484E-AADE-FE631E01463B}" dt="2025-11-21T06:05:10.873" v="91879"/>
          <ac:spMkLst>
            <pc:docMk/>
            <pc:sldMk cId="3323175271" sldId="2147483084"/>
            <ac:spMk id="332" creationId="{CB1EE45F-9DDB-7EAD-3A9A-43D8444B2544}"/>
          </ac:spMkLst>
        </pc:spChg>
        <pc:spChg chg="mod">
          <ac:chgData name="Yudi Zhu" userId="571e1a55-055f-4c28-8b35-fca6dd1c1369" providerId="ADAL" clId="{75A88773-6EE1-484E-AADE-FE631E01463B}" dt="2025-11-21T06:04:56.701" v="86999"/>
          <ac:spMkLst>
            <pc:docMk/>
            <pc:sldMk cId="3323175271" sldId="2147483084"/>
            <ac:spMk id="333" creationId="{2936897C-AB8B-542F-6763-37919CD0F7AC}"/>
          </ac:spMkLst>
        </pc:spChg>
        <pc:spChg chg="mod ord">
          <ac:chgData name="Yudi Zhu" userId="571e1a55-055f-4c28-8b35-fca6dd1c1369" providerId="ADAL" clId="{75A88773-6EE1-484E-AADE-FE631E01463B}" dt="2025-11-21T06:05:10.875" v="91880"/>
          <ac:spMkLst>
            <pc:docMk/>
            <pc:sldMk cId="3323175271" sldId="2147483084"/>
            <ac:spMk id="334" creationId="{A1407B04-5FCF-FDB2-97F4-DCDBE288FA2C}"/>
          </ac:spMkLst>
        </pc:spChg>
        <pc:spChg chg="mod ord">
          <ac:chgData name="Yudi Zhu" userId="571e1a55-055f-4c28-8b35-fca6dd1c1369" providerId="ADAL" clId="{75A88773-6EE1-484E-AADE-FE631E01463B}" dt="2025-11-21T06:05:10.877" v="91881"/>
          <ac:spMkLst>
            <pc:docMk/>
            <pc:sldMk cId="3323175271" sldId="2147483084"/>
            <ac:spMk id="335" creationId="{FFC69DA2-ADB5-9954-EE06-D85D98D6F4A7}"/>
          </ac:spMkLst>
        </pc:spChg>
        <pc:spChg chg="mod">
          <ac:chgData name="Yudi Zhu" userId="571e1a55-055f-4c28-8b35-fca6dd1c1369" providerId="ADAL" clId="{75A88773-6EE1-484E-AADE-FE631E01463B}" dt="2025-11-21T06:04:56.711" v="87005"/>
          <ac:spMkLst>
            <pc:docMk/>
            <pc:sldMk cId="3323175271" sldId="2147483084"/>
            <ac:spMk id="336" creationId="{31E1D689-7FBB-4BCD-C510-0F885DF71CCC}"/>
          </ac:spMkLst>
        </pc:spChg>
        <pc:spChg chg="mod">
          <ac:chgData name="Yudi Zhu" userId="571e1a55-055f-4c28-8b35-fca6dd1c1369" providerId="ADAL" clId="{75A88773-6EE1-484E-AADE-FE631E01463B}" dt="2025-11-21T06:04:56.714" v="87006"/>
          <ac:spMkLst>
            <pc:docMk/>
            <pc:sldMk cId="3323175271" sldId="2147483084"/>
            <ac:spMk id="337" creationId="{8B1F68A3-AB38-441A-5BFF-C27BF740844D}"/>
          </ac:spMkLst>
        </pc:spChg>
        <pc:spChg chg="mod">
          <ac:chgData name="Yudi Zhu" userId="571e1a55-055f-4c28-8b35-fca6dd1c1369" providerId="ADAL" clId="{75A88773-6EE1-484E-AADE-FE631E01463B}" dt="2025-11-21T06:04:56.716" v="87007"/>
          <ac:spMkLst>
            <pc:docMk/>
            <pc:sldMk cId="3323175271" sldId="2147483084"/>
            <ac:spMk id="338" creationId="{D03005C9-60B3-45BF-3F5A-4579DF342426}"/>
          </ac:spMkLst>
        </pc:spChg>
        <pc:spChg chg="mod">
          <ac:chgData name="Yudi Zhu" userId="571e1a55-055f-4c28-8b35-fca6dd1c1369" providerId="ADAL" clId="{75A88773-6EE1-484E-AADE-FE631E01463B}" dt="2025-11-21T06:04:56.719" v="87008"/>
          <ac:spMkLst>
            <pc:docMk/>
            <pc:sldMk cId="3323175271" sldId="2147483084"/>
            <ac:spMk id="339" creationId="{5FAD2C75-515A-449A-B549-66641A30B520}"/>
          </ac:spMkLst>
        </pc:spChg>
        <pc:spChg chg="mod ord">
          <ac:chgData name="Yudi Zhu" userId="571e1a55-055f-4c28-8b35-fca6dd1c1369" providerId="ADAL" clId="{75A88773-6EE1-484E-AADE-FE631E01463B}" dt="2025-11-21T06:05:10.887" v="91882"/>
          <ac:spMkLst>
            <pc:docMk/>
            <pc:sldMk cId="3323175271" sldId="2147483084"/>
            <ac:spMk id="340" creationId="{0985CB23-16A3-5ED6-2FE9-A102B596388C}"/>
          </ac:spMkLst>
        </pc:spChg>
        <pc:spChg chg="mod">
          <ac:chgData name="Yudi Zhu" userId="571e1a55-055f-4c28-8b35-fca6dd1c1369" providerId="ADAL" clId="{75A88773-6EE1-484E-AADE-FE631E01463B}" dt="2025-11-21T06:04:56.724" v="87011"/>
          <ac:spMkLst>
            <pc:docMk/>
            <pc:sldMk cId="3323175271" sldId="2147483084"/>
            <ac:spMk id="341" creationId="{98B018DF-A61B-4027-241F-0E94CEC65DFC}"/>
          </ac:spMkLst>
        </pc:spChg>
        <pc:spChg chg="mod">
          <ac:chgData name="Yudi Zhu" userId="571e1a55-055f-4c28-8b35-fca6dd1c1369" providerId="ADAL" clId="{75A88773-6EE1-484E-AADE-FE631E01463B}" dt="2025-11-21T06:04:56.726" v="87012"/>
          <ac:spMkLst>
            <pc:docMk/>
            <pc:sldMk cId="3323175271" sldId="2147483084"/>
            <ac:spMk id="342" creationId="{0128CF18-C4F7-C53D-C7EA-CC33822F0061}"/>
          </ac:spMkLst>
        </pc:spChg>
        <pc:spChg chg="mod">
          <ac:chgData name="Yudi Zhu" userId="571e1a55-055f-4c28-8b35-fca6dd1c1369" providerId="ADAL" clId="{75A88773-6EE1-484E-AADE-FE631E01463B}" dt="2025-11-21T06:04:56.728" v="87013"/>
          <ac:spMkLst>
            <pc:docMk/>
            <pc:sldMk cId="3323175271" sldId="2147483084"/>
            <ac:spMk id="343" creationId="{3EA106B9-868F-FE21-329F-042FC18EEE04}"/>
          </ac:spMkLst>
        </pc:spChg>
        <pc:spChg chg="mod">
          <ac:chgData name="Yudi Zhu" userId="571e1a55-055f-4c28-8b35-fca6dd1c1369" providerId="ADAL" clId="{75A88773-6EE1-484E-AADE-FE631E01463B}" dt="2025-11-21T06:04:56.731" v="87014"/>
          <ac:spMkLst>
            <pc:docMk/>
            <pc:sldMk cId="3323175271" sldId="2147483084"/>
            <ac:spMk id="344" creationId="{AA0EBB06-D023-9BE0-2A89-DCB70DF6E1EF}"/>
          </ac:spMkLst>
        </pc:spChg>
        <pc:spChg chg="mod">
          <ac:chgData name="Yudi Zhu" userId="571e1a55-055f-4c28-8b35-fca6dd1c1369" providerId="ADAL" clId="{75A88773-6EE1-484E-AADE-FE631E01463B}" dt="2025-11-21T06:04:56.733" v="87015"/>
          <ac:spMkLst>
            <pc:docMk/>
            <pc:sldMk cId="3323175271" sldId="2147483084"/>
            <ac:spMk id="345" creationId="{98FBE664-FC46-F470-6D8D-564AA49CB5D6}"/>
          </ac:spMkLst>
        </pc:spChg>
        <pc:spChg chg="mod">
          <ac:chgData name="Yudi Zhu" userId="571e1a55-055f-4c28-8b35-fca6dd1c1369" providerId="ADAL" clId="{75A88773-6EE1-484E-AADE-FE631E01463B}" dt="2025-11-21T06:04:56.841" v="87075"/>
          <ac:spMkLst>
            <pc:docMk/>
            <pc:sldMk cId="3323175271" sldId="2147483084"/>
            <ac:spMk id="713" creationId="{6D153639-3087-C010-3E83-C2B97128E3EF}"/>
          </ac:spMkLst>
        </pc:spChg>
        <pc:spChg chg="mod">
          <ac:chgData name="Yudi Zhu" userId="571e1a55-055f-4c28-8b35-fca6dd1c1369" providerId="ADAL" clId="{75A88773-6EE1-484E-AADE-FE631E01463B}" dt="2025-11-21T06:04:56.802" v="87060"/>
          <ac:spMkLst>
            <pc:docMk/>
            <pc:sldMk cId="3323175271" sldId="2147483084"/>
            <ac:spMk id="714" creationId="{669E0C6E-08F0-661B-B965-9CC95A57223B}"/>
          </ac:spMkLst>
        </pc:spChg>
        <pc:spChg chg="mod">
          <ac:chgData name="Yudi Zhu" userId="571e1a55-055f-4c28-8b35-fca6dd1c1369" providerId="ADAL" clId="{75A88773-6EE1-484E-AADE-FE631E01463B}" dt="2025-11-21T06:04:56.805" v="87061"/>
          <ac:spMkLst>
            <pc:docMk/>
            <pc:sldMk cId="3323175271" sldId="2147483084"/>
            <ac:spMk id="715" creationId="{C8D9801A-B7CE-1349-9EBB-576070BEACF8}"/>
          </ac:spMkLst>
        </pc:spChg>
        <pc:spChg chg="mod">
          <ac:chgData name="Yudi Zhu" userId="571e1a55-055f-4c28-8b35-fca6dd1c1369" providerId="ADAL" clId="{75A88773-6EE1-484E-AADE-FE631E01463B}" dt="2025-11-21T06:04:56.810" v="87063"/>
          <ac:spMkLst>
            <pc:docMk/>
            <pc:sldMk cId="3323175271" sldId="2147483084"/>
            <ac:spMk id="716" creationId="{1CC27C97-C7EF-5226-37FD-ACAC38D55461}"/>
          </ac:spMkLst>
        </pc:spChg>
        <pc:spChg chg="mod">
          <ac:chgData name="Yudi Zhu" userId="571e1a55-055f-4c28-8b35-fca6dd1c1369" providerId="ADAL" clId="{75A88773-6EE1-484E-AADE-FE631E01463B}" dt="2025-11-21T06:04:56.812" v="87064"/>
          <ac:spMkLst>
            <pc:docMk/>
            <pc:sldMk cId="3323175271" sldId="2147483084"/>
            <ac:spMk id="717" creationId="{D06979AC-D979-D05D-8B8F-B2A1149664AF}"/>
          </ac:spMkLst>
        </pc:spChg>
        <pc:spChg chg="mod">
          <ac:chgData name="Yudi Zhu" userId="571e1a55-055f-4c28-8b35-fca6dd1c1369" providerId="ADAL" clId="{75A88773-6EE1-484E-AADE-FE631E01463B}" dt="2025-11-21T06:04:56.771" v="87046"/>
          <ac:spMkLst>
            <pc:docMk/>
            <pc:sldMk cId="3323175271" sldId="2147483084"/>
            <ac:spMk id="718" creationId="{D7325B82-5F34-B9B4-72FB-6F9DB9502127}"/>
          </ac:spMkLst>
        </pc:spChg>
        <pc:spChg chg="mod ord">
          <ac:chgData name="Yudi Zhu" userId="571e1a55-055f-4c28-8b35-fca6dd1c1369" providerId="ADAL" clId="{75A88773-6EE1-484E-AADE-FE631E01463B}" dt="2025-11-21T06:05:10.938" v="91898"/>
          <ac:spMkLst>
            <pc:docMk/>
            <pc:sldMk cId="3323175271" sldId="2147483084"/>
            <ac:spMk id="719" creationId="{41650593-5F73-8BD7-632C-C44087AEF7AD}"/>
          </ac:spMkLst>
        </pc:spChg>
        <pc:spChg chg="mod">
          <ac:chgData name="Yudi Zhu" userId="571e1a55-055f-4c28-8b35-fca6dd1c1369" providerId="ADAL" clId="{75A88773-6EE1-484E-AADE-FE631E01463B}" dt="2025-11-21T06:04:56.825" v="87068"/>
          <ac:spMkLst>
            <pc:docMk/>
            <pc:sldMk cId="3323175271" sldId="2147483084"/>
            <ac:spMk id="720" creationId="{6488793F-9092-060E-8774-C2A218C48A32}"/>
          </ac:spMkLst>
        </pc:spChg>
        <pc:spChg chg="mod">
          <ac:chgData name="Yudi Zhu" userId="571e1a55-055f-4c28-8b35-fca6dd1c1369" providerId="ADAL" clId="{75A88773-6EE1-484E-AADE-FE631E01463B}" dt="2025-11-21T06:04:56.828" v="87069"/>
          <ac:spMkLst>
            <pc:docMk/>
            <pc:sldMk cId="3323175271" sldId="2147483084"/>
            <ac:spMk id="721" creationId="{F64B97A0-0E3B-DEA2-2503-F3AA9E3EAC4F}"/>
          </ac:spMkLst>
        </pc:spChg>
        <pc:spChg chg="mod">
          <ac:chgData name="Yudi Zhu" userId="571e1a55-055f-4c28-8b35-fca6dd1c1369" providerId="ADAL" clId="{75A88773-6EE1-484E-AADE-FE631E01463B}" dt="2025-11-21T06:04:56.830" v="87070"/>
          <ac:spMkLst>
            <pc:docMk/>
            <pc:sldMk cId="3323175271" sldId="2147483084"/>
            <ac:spMk id="722" creationId="{6B1A04D0-ED32-082B-472C-9B1F9069EE5F}"/>
          </ac:spMkLst>
        </pc:spChg>
        <pc:spChg chg="mod">
          <ac:chgData name="Yudi Zhu" userId="571e1a55-055f-4c28-8b35-fca6dd1c1369" providerId="ADAL" clId="{75A88773-6EE1-484E-AADE-FE631E01463B}" dt="2025-11-21T06:04:56.843" v="87076"/>
          <ac:spMkLst>
            <pc:docMk/>
            <pc:sldMk cId="3323175271" sldId="2147483084"/>
            <ac:spMk id="723" creationId="{E731C32A-1E9E-CA25-8733-87C8E24E35BA}"/>
          </ac:spMkLst>
        </pc:spChg>
        <pc:spChg chg="mod">
          <ac:chgData name="Yudi Zhu" userId="571e1a55-055f-4c28-8b35-fca6dd1c1369" providerId="ADAL" clId="{75A88773-6EE1-484E-AADE-FE631E01463B}" dt="2025-11-21T06:04:56.836" v="87073"/>
          <ac:spMkLst>
            <pc:docMk/>
            <pc:sldMk cId="3323175271" sldId="2147483084"/>
            <ac:spMk id="724" creationId="{1CA5C230-8A2D-6181-0CA5-623667335323}"/>
          </ac:spMkLst>
        </pc:spChg>
        <pc:spChg chg="mod">
          <ac:chgData name="Yudi Zhu" userId="571e1a55-055f-4c28-8b35-fca6dd1c1369" providerId="ADAL" clId="{75A88773-6EE1-484E-AADE-FE631E01463B}" dt="2025-11-21T06:04:56.839" v="87074"/>
          <ac:spMkLst>
            <pc:docMk/>
            <pc:sldMk cId="3323175271" sldId="2147483084"/>
            <ac:spMk id="726" creationId="{4AC950BE-9023-1016-31DA-A18A8FC05A43}"/>
          </ac:spMkLst>
        </pc:spChg>
        <pc:spChg chg="mod">
          <ac:chgData name="Yudi Zhu" userId="571e1a55-055f-4c28-8b35-fca6dd1c1369" providerId="ADAL" clId="{75A88773-6EE1-484E-AADE-FE631E01463B}" dt="2025-11-21T06:04:56.768" v="87045"/>
          <ac:spMkLst>
            <pc:docMk/>
            <pc:sldMk cId="3323175271" sldId="2147483084"/>
            <ac:spMk id="727" creationId="{874197E4-1191-8E5B-40F6-2EC0E234DB92}"/>
          </ac:spMkLst>
        </pc:spChg>
        <pc:spChg chg="mod">
          <ac:chgData name="Yudi Zhu" userId="571e1a55-055f-4c28-8b35-fca6dd1c1369" providerId="ADAL" clId="{75A88773-6EE1-484E-AADE-FE631E01463B}" dt="2025-11-21T06:04:56.783" v="87050"/>
          <ac:spMkLst>
            <pc:docMk/>
            <pc:sldMk cId="3323175271" sldId="2147483084"/>
            <ac:spMk id="728" creationId="{A18C5277-1C25-4B37-5F55-0DD83FC35E33}"/>
          </ac:spMkLst>
        </pc:spChg>
        <pc:spChg chg="mod">
          <ac:chgData name="Yudi Zhu" userId="571e1a55-055f-4c28-8b35-fca6dd1c1369" providerId="ADAL" clId="{75A88773-6EE1-484E-AADE-FE631E01463B}" dt="2025-11-21T06:04:56.774" v="87047"/>
          <ac:spMkLst>
            <pc:docMk/>
            <pc:sldMk cId="3323175271" sldId="2147483084"/>
            <ac:spMk id="729" creationId="{3C151F1D-9F92-3595-8115-A29904D495B8}"/>
          </ac:spMkLst>
        </pc:spChg>
        <pc:spChg chg="mod">
          <ac:chgData name="Yudi Zhu" userId="571e1a55-055f-4c28-8b35-fca6dd1c1369" providerId="ADAL" clId="{75A88773-6EE1-484E-AADE-FE631E01463B}" dt="2025-11-21T06:04:56.777" v="87048"/>
          <ac:spMkLst>
            <pc:docMk/>
            <pc:sldMk cId="3323175271" sldId="2147483084"/>
            <ac:spMk id="730" creationId="{03E17B7A-A7D8-E497-3F23-492D5BC195F5}"/>
          </ac:spMkLst>
        </pc:spChg>
        <pc:spChg chg="mod">
          <ac:chgData name="Yudi Zhu" userId="571e1a55-055f-4c28-8b35-fca6dd1c1369" providerId="ADAL" clId="{75A88773-6EE1-484E-AADE-FE631E01463B}" dt="2025-11-21T06:04:56.780" v="87049"/>
          <ac:spMkLst>
            <pc:docMk/>
            <pc:sldMk cId="3323175271" sldId="2147483084"/>
            <ac:spMk id="731" creationId="{E0E392E6-F360-9C56-2ABA-368A34D15386}"/>
          </ac:spMkLst>
        </pc:spChg>
        <pc:spChg chg="mod">
          <ac:chgData name="Yudi Zhu" userId="571e1a55-055f-4c28-8b35-fca6dd1c1369" providerId="ADAL" clId="{75A88773-6EE1-484E-AADE-FE631E01463B}" dt="2025-11-21T06:04:56.785" v="87051"/>
          <ac:spMkLst>
            <pc:docMk/>
            <pc:sldMk cId="3323175271" sldId="2147483084"/>
            <ac:spMk id="732" creationId="{0816A8A9-7B30-1A9B-9756-1FE0DC24E42D}"/>
          </ac:spMkLst>
        </pc:spChg>
        <pc:spChg chg="mod">
          <ac:chgData name="Yudi Zhu" userId="571e1a55-055f-4c28-8b35-fca6dd1c1369" providerId="ADAL" clId="{75A88773-6EE1-484E-AADE-FE631E01463B}" dt="2025-11-21T06:04:56.788" v="87052"/>
          <ac:spMkLst>
            <pc:docMk/>
            <pc:sldMk cId="3323175271" sldId="2147483084"/>
            <ac:spMk id="733" creationId="{47167AED-5E9C-ADC4-B9DC-986C1143979A}"/>
          </ac:spMkLst>
        </pc:spChg>
        <pc:spChg chg="mod">
          <ac:chgData name="Yudi Zhu" userId="571e1a55-055f-4c28-8b35-fca6dd1c1369" providerId="ADAL" clId="{75A88773-6EE1-484E-AADE-FE631E01463B}" dt="2025-11-21T06:04:56.790" v="87053"/>
          <ac:spMkLst>
            <pc:docMk/>
            <pc:sldMk cId="3323175271" sldId="2147483084"/>
            <ac:spMk id="734" creationId="{1768E56F-C084-9448-DCCC-450292DDF09F}"/>
          </ac:spMkLst>
        </pc:spChg>
        <pc:spChg chg="mod">
          <ac:chgData name="Yudi Zhu" userId="571e1a55-055f-4c28-8b35-fca6dd1c1369" providerId="ADAL" clId="{75A88773-6EE1-484E-AADE-FE631E01463B}" dt="2025-11-21T06:04:56.793" v="87054"/>
          <ac:spMkLst>
            <pc:docMk/>
            <pc:sldMk cId="3323175271" sldId="2147483084"/>
            <ac:spMk id="735" creationId="{36485316-DDF8-1361-A16F-D6A5480C7112}"/>
          </ac:spMkLst>
        </pc:spChg>
        <pc:spChg chg="mod ord">
          <ac:chgData name="Yudi Zhu" userId="571e1a55-055f-4c28-8b35-fca6dd1c1369" providerId="ADAL" clId="{75A88773-6EE1-484E-AADE-FE631E01463B}" dt="2025-11-21T06:05:10.926" v="91897"/>
          <ac:spMkLst>
            <pc:docMk/>
            <pc:sldMk cId="3323175271" sldId="2147483084"/>
            <ac:spMk id="736" creationId="{454EB040-36DC-BC74-8F5D-3DF7734B5EEE}"/>
          </ac:spMkLst>
        </pc:spChg>
        <pc:spChg chg="mod">
          <ac:chgData name="Yudi Zhu" userId="571e1a55-055f-4c28-8b35-fca6dd1c1369" providerId="ADAL" clId="{75A88773-6EE1-484E-AADE-FE631E01463B}" dt="2025-11-21T06:04:56.833" v="87071"/>
          <ac:spMkLst>
            <pc:docMk/>
            <pc:sldMk cId="3323175271" sldId="2147483084"/>
            <ac:spMk id="737" creationId="{B584C184-490C-61DF-A517-CFEE2F650475}"/>
          </ac:spMkLst>
        </pc:spChg>
        <pc:spChg chg="mod">
          <ac:chgData name="Yudi Zhu" userId="571e1a55-055f-4c28-8b35-fca6dd1c1369" providerId="ADAL" clId="{75A88773-6EE1-484E-AADE-FE631E01463B}" dt="2025-11-21T06:04:56.801" v="87059"/>
          <ac:spMkLst>
            <pc:docMk/>
            <pc:sldMk cId="3323175271" sldId="2147483084"/>
            <ac:spMk id="738" creationId="{6C9B0974-93F7-27D0-D38F-26C76FC5EF55}"/>
          </ac:spMkLst>
        </pc:spChg>
        <pc:spChg chg="mod">
          <ac:chgData name="Yudi Zhu" userId="571e1a55-055f-4c28-8b35-fca6dd1c1369" providerId="ADAL" clId="{75A88773-6EE1-484E-AADE-FE631E01463B}" dt="2025-11-21T06:04:56.797" v="87057"/>
          <ac:spMkLst>
            <pc:docMk/>
            <pc:sldMk cId="3323175271" sldId="2147483084"/>
            <ac:spMk id="739" creationId="{4BE39877-04FA-F3AF-C7A3-8D449D734B91}"/>
          </ac:spMkLst>
        </pc:spChg>
        <pc:spChg chg="mod">
          <ac:chgData name="Yudi Zhu" userId="571e1a55-055f-4c28-8b35-fca6dd1c1369" providerId="ADAL" clId="{75A88773-6EE1-484E-AADE-FE631E01463B}" dt="2025-11-21T06:04:56.799" v="87058"/>
          <ac:spMkLst>
            <pc:docMk/>
            <pc:sldMk cId="3323175271" sldId="2147483084"/>
            <ac:spMk id="740" creationId="{B36F095A-B089-A2FE-6396-F0F2E341A40C}"/>
          </ac:spMkLst>
        </pc:spChg>
        <pc:spChg chg="mod">
          <ac:chgData name="Yudi Zhu" userId="571e1a55-055f-4c28-8b35-fca6dd1c1369" providerId="ADAL" clId="{75A88773-6EE1-484E-AADE-FE631E01463B}" dt="2025-11-21T06:04:56.818" v="87065"/>
          <ac:spMkLst>
            <pc:docMk/>
            <pc:sldMk cId="3323175271" sldId="2147483084"/>
            <ac:spMk id="741" creationId="{F15FB5BD-41D9-FC56-4056-F95BC0214161}"/>
          </ac:spMkLst>
        </pc:spChg>
        <pc:spChg chg="mod">
          <ac:chgData name="Yudi Zhu" userId="571e1a55-055f-4c28-8b35-fca6dd1c1369" providerId="ADAL" clId="{75A88773-6EE1-484E-AADE-FE631E01463B}" dt="2025-11-21T06:04:56.835" v="87072"/>
          <ac:spMkLst>
            <pc:docMk/>
            <pc:sldMk cId="3323175271" sldId="2147483084"/>
            <ac:spMk id="742" creationId="{3423FDE9-7A62-BAE8-8648-4ECD14F2E4CE}"/>
          </ac:spMkLst>
        </pc:spChg>
        <pc:spChg chg="mod">
          <ac:chgData name="Yudi Zhu" userId="571e1a55-055f-4c28-8b35-fca6dd1c1369" providerId="ADAL" clId="{75A88773-6EE1-484E-AADE-FE631E01463B}" dt="2025-11-21T06:04:56.807" v="87062"/>
          <ac:spMkLst>
            <pc:docMk/>
            <pc:sldMk cId="3323175271" sldId="2147483084"/>
            <ac:spMk id="743" creationId="{6415C43A-613A-D867-1626-D658795C9A95}"/>
          </ac:spMkLst>
        </pc:spChg>
        <pc:spChg chg="mod">
          <ac:chgData name="Yudi Zhu" userId="571e1a55-055f-4c28-8b35-fca6dd1c1369" providerId="ADAL" clId="{75A88773-6EE1-484E-AADE-FE631E01463B}" dt="2025-11-21T06:04:56.890" v="87112"/>
          <ac:spMkLst>
            <pc:docMk/>
            <pc:sldMk cId="3323175271" sldId="2147483084"/>
            <ac:spMk id="769" creationId="{5FACE895-04E1-31A3-F2F5-110C48CB07FB}"/>
          </ac:spMkLst>
        </pc:spChg>
        <pc:spChg chg="mod">
          <ac:chgData name="Yudi Zhu" userId="571e1a55-055f-4c28-8b35-fca6dd1c1369" providerId="ADAL" clId="{75A88773-6EE1-484E-AADE-FE631E01463B}" dt="2025-11-21T06:04:56.892" v="87113"/>
          <ac:spMkLst>
            <pc:docMk/>
            <pc:sldMk cId="3323175271" sldId="2147483084"/>
            <ac:spMk id="770" creationId="{B028AC69-D612-3475-EBA5-FDAF1C941BBF}"/>
          </ac:spMkLst>
        </pc:spChg>
        <pc:spChg chg="mod">
          <ac:chgData name="Yudi Zhu" userId="571e1a55-055f-4c28-8b35-fca6dd1c1369" providerId="ADAL" clId="{75A88773-6EE1-484E-AADE-FE631E01463B}" dt="2025-11-21T06:04:56.893" v="87114"/>
          <ac:spMkLst>
            <pc:docMk/>
            <pc:sldMk cId="3323175271" sldId="2147483084"/>
            <ac:spMk id="771" creationId="{986C029F-C2C0-25F3-1211-4D7F7B520002}"/>
          </ac:spMkLst>
        </pc:spChg>
        <pc:spChg chg="mod">
          <ac:chgData name="Yudi Zhu" userId="571e1a55-055f-4c28-8b35-fca6dd1c1369" providerId="ADAL" clId="{75A88773-6EE1-484E-AADE-FE631E01463B}" dt="2025-11-21T06:04:56.894" v="87115"/>
          <ac:spMkLst>
            <pc:docMk/>
            <pc:sldMk cId="3323175271" sldId="2147483084"/>
            <ac:spMk id="772" creationId="{26F0ABD3-E906-DC97-F963-285553D29028}"/>
          </ac:spMkLst>
        </pc:spChg>
        <pc:spChg chg="mod">
          <ac:chgData name="Yudi Zhu" userId="571e1a55-055f-4c28-8b35-fca6dd1c1369" providerId="ADAL" clId="{75A88773-6EE1-484E-AADE-FE631E01463B}" dt="2025-11-21T06:04:56.896" v="87116"/>
          <ac:spMkLst>
            <pc:docMk/>
            <pc:sldMk cId="3323175271" sldId="2147483084"/>
            <ac:spMk id="773" creationId="{B015116A-034B-BD9C-F787-D0467FE037B8}"/>
          </ac:spMkLst>
        </pc:spChg>
        <pc:spChg chg="mod">
          <ac:chgData name="Yudi Zhu" userId="571e1a55-055f-4c28-8b35-fca6dd1c1369" providerId="ADAL" clId="{75A88773-6EE1-484E-AADE-FE631E01463B}" dt="2025-11-21T06:04:56.917" v="87127"/>
          <ac:spMkLst>
            <pc:docMk/>
            <pc:sldMk cId="3323175271" sldId="2147483084"/>
            <ac:spMk id="774" creationId="{319B248F-2EB4-3C61-96FA-73FCFFB50B64}"/>
          </ac:spMkLst>
        </pc:spChg>
        <pc:spChg chg="mod">
          <ac:chgData name="Yudi Zhu" userId="571e1a55-055f-4c28-8b35-fca6dd1c1369" providerId="ADAL" clId="{75A88773-6EE1-484E-AADE-FE631E01463B}" dt="2025-11-21T06:04:56.902" v="87119"/>
          <ac:spMkLst>
            <pc:docMk/>
            <pc:sldMk cId="3323175271" sldId="2147483084"/>
            <ac:spMk id="775" creationId="{1DF3A903-21F8-6C7D-7CE4-5A67DAAF59C2}"/>
          </ac:spMkLst>
        </pc:spChg>
        <pc:spChg chg="mod">
          <ac:chgData name="Yudi Zhu" userId="571e1a55-055f-4c28-8b35-fca6dd1c1369" providerId="ADAL" clId="{75A88773-6EE1-484E-AADE-FE631E01463B}" dt="2025-11-21T06:04:56.904" v="87120"/>
          <ac:spMkLst>
            <pc:docMk/>
            <pc:sldMk cId="3323175271" sldId="2147483084"/>
            <ac:spMk id="776" creationId="{AFD63578-60A2-DD58-0FB4-97B7680C4D43}"/>
          </ac:spMkLst>
        </pc:spChg>
        <pc:spChg chg="mod">
          <ac:chgData name="Yudi Zhu" userId="571e1a55-055f-4c28-8b35-fca6dd1c1369" providerId="ADAL" clId="{75A88773-6EE1-484E-AADE-FE631E01463B}" dt="2025-11-21T06:04:56.906" v="87121"/>
          <ac:spMkLst>
            <pc:docMk/>
            <pc:sldMk cId="3323175271" sldId="2147483084"/>
            <ac:spMk id="777" creationId="{D21BD7E2-280E-2B57-7391-5E492FF06250}"/>
          </ac:spMkLst>
        </pc:spChg>
        <pc:spChg chg="mod ord">
          <ac:chgData name="Yudi Zhu" userId="571e1a55-055f-4c28-8b35-fca6dd1c1369" providerId="ADAL" clId="{75A88773-6EE1-484E-AADE-FE631E01463B}" dt="2025-11-21T06:05:10.989" v="91911"/>
          <ac:spMkLst>
            <pc:docMk/>
            <pc:sldMk cId="3323175271" sldId="2147483084"/>
            <ac:spMk id="778" creationId="{2D5A50F2-303C-B5B3-E83E-2B21B0DE4746}"/>
          </ac:spMkLst>
        </pc:spChg>
        <pc:spChg chg="mod">
          <ac:chgData name="Yudi Zhu" userId="571e1a55-055f-4c28-8b35-fca6dd1c1369" providerId="ADAL" clId="{75A88773-6EE1-484E-AADE-FE631E01463B}" dt="2025-11-21T06:04:56.912" v="87125"/>
          <ac:spMkLst>
            <pc:docMk/>
            <pc:sldMk cId="3323175271" sldId="2147483084"/>
            <ac:spMk id="779" creationId="{E06377FE-E18D-25D2-770F-A3738171E628}"/>
          </ac:spMkLst>
        </pc:spChg>
        <pc:spChg chg="mod">
          <ac:chgData name="Yudi Zhu" userId="571e1a55-055f-4c28-8b35-fca6dd1c1369" providerId="ADAL" clId="{75A88773-6EE1-484E-AADE-FE631E01463B}" dt="2025-11-21T06:04:56.915" v="87126"/>
          <ac:spMkLst>
            <pc:docMk/>
            <pc:sldMk cId="3323175271" sldId="2147483084"/>
            <ac:spMk id="780" creationId="{C01DF26D-3919-1EB0-E7C8-540F721BE058}"/>
          </ac:spMkLst>
        </pc:spChg>
        <pc:spChg chg="mod">
          <ac:chgData name="Yudi Zhu" userId="571e1a55-055f-4c28-8b35-fca6dd1c1369" providerId="ADAL" clId="{75A88773-6EE1-484E-AADE-FE631E01463B}" dt="2025-11-21T06:04:56.919" v="87128"/>
          <ac:spMkLst>
            <pc:docMk/>
            <pc:sldMk cId="3323175271" sldId="2147483084"/>
            <ac:spMk id="781" creationId="{258F8395-90C7-0352-D7D8-1615EE0639DD}"/>
          </ac:spMkLst>
        </pc:spChg>
        <pc:spChg chg="mod">
          <ac:chgData name="Yudi Zhu" userId="571e1a55-055f-4c28-8b35-fca6dd1c1369" providerId="ADAL" clId="{75A88773-6EE1-484E-AADE-FE631E01463B}" dt="2025-11-21T06:04:56.921" v="87129"/>
          <ac:spMkLst>
            <pc:docMk/>
            <pc:sldMk cId="3323175271" sldId="2147483084"/>
            <ac:spMk id="782" creationId="{DE74952A-DC18-75DC-AAFD-5BDA3414273B}"/>
          </ac:spMkLst>
        </pc:spChg>
        <pc:spChg chg="mod">
          <ac:chgData name="Yudi Zhu" userId="571e1a55-055f-4c28-8b35-fca6dd1c1369" providerId="ADAL" clId="{75A88773-6EE1-484E-AADE-FE631E01463B}" dt="2025-11-21T06:04:56.898" v="87117"/>
          <ac:spMkLst>
            <pc:docMk/>
            <pc:sldMk cId="3323175271" sldId="2147483084"/>
            <ac:spMk id="783" creationId="{854BFB23-AAD4-9855-CDA7-C8B9168B65B9}"/>
          </ac:spMkLst>
        </pc:spChg>
        <pc:spChg chg="mod">
          <ac:chgData name="Yudi Zhu" userId="571e1a55-055f-4c28-8b35-fca6dd1c1369" providerId="ADAL" clId="{75A88773-6EE1-484E-AADE-FE631E01463B}" dt="2025-11-21T06:04:56.910" v="87124"/>
          <ac:spMkLst>
            <pc:docMk/>
            <pc:sldMk cId="3323175271" sldId="2147483084"/>
            <ac:spMk id="784" creationId="{A71FF79D-4E07-C481-BD39-21F5F902835A}"/>
          </ac:spMkLst>
        </pc:spChg>
        <pc:spChg chg="mod">
          <ac:chgData name="Yudi Zhu" userId="571e1a55-055f-4c28-8b35-fca6dd1c1369" providerId="ADAL" clId="{75A88773-6EE1-484E-AADE-FE631E01463B}" dt="2025-11-21T06:04:56.923" v="87130"/>
          <ac:spMkLst>
            <pc:docMk/>
            <pc:sldMk cId="3323175271" sldId="2147483084"/>
            <ac:spMk id="785" creationId="{05D54567-A863-869A-1C66-6233A68151CC}"/>
          </ac:spMkLst>
        </pc:spChg>
        <pc:spChg chg="mod">
          <ac:chgData name="Yudi Zhu" userId="571e1a55-055f-4c28-8b35-fca6dd1c1369" providerId="ADAL" clId="{75A88773-6EE1-484E-AADE-FE631E01463B}" dt="2025-11-21T06:04:56.866" v="87096"/>
          <ac:spMkLst>
            <pc:docMk/>
            <pc:sldMk cId="3323175271" sldId="2147483084"/>
            <ac:spMk id="786" creationId="{62B24168-93B8-21EE-DF1F-233C46D3CBE9}"/>
          </ac:spMkLst>
        </pc:spChg>
        <pc:spChg chg="mod">
          <ac:chgData name="Yudi Zhu" userId="571e1a55-055f-4c28-8b35-fca6dd1c1369" providerId="ADAL" clId="{75A88773-6EE1-484E-AADE-FE631E01463B}" dt="2025-11-21T06:04:56.869" v="87097"/>
          <ac:spMkLst>
            <pc:docMk/>
            <pc:sldMk cId="3323175271" sldId="2147483084"/>
            <ac:spMk id="787" creationId="{A177C4AE-F6A9-DC48-35BA-B2AAB9363747}"/>
          </ac:spMkLst>
        </pc:spChg>
        <pc:spChg chg="mod ord">
          <ac:chgData name="Yudi Zhu" userId="571e1a55-055f-4c28-8b35-fca6dd1c1369" providerId="ADAL" clId="{75A88773-6EE1-484E-AADE-FE631E01463B}" dt="2025-11-21T06:05:10.965" v="91907"/>
          <ac:spMkLst>
            <pc:docMk/>
            <pc:sldMk cId="3323175271" sldId="2147483084"/>
            <ac:spMk id="788" creationId="{2B040062-42AA-E312-9EF5-2009E1E014E1}"/>
          </ac:spMkLst>
        </pc:spChg>
        <pc:spChg chg="mod">
          <ac:chgData name="Yudi Zhu" userId="571e1a55-055f-4c28-8b35-fca6dd1c1369" providerId="ADAL" clId="{75A88773-6EE1-484E-AADE-FE631E01463B}" dt="2025-11-21T06:04:56.874" v="87100"/>
          <ac:spMkLst>
            <pc:docMk/>
            <pc:sldMk cId="3323175271" sldId="2147483084"/>
            <ac:spMk id="789" creationId="{B8D89960-EFAD-DACB-FCDF-EA38AE9A3F79}"/>
          </ac:spMkLst>
        </pc:spChg>
        <pc:spChg chg="mod">
          <ac:chgData name="Yudi Zhu" userId="571e1a55-055f-4c28-8b35-fca6dd1c1369" providerId="ADAL" clId="{75A88773-6EE1-484E-AADE-FE631E01463B}" dt="2025-11-21T06:04:56.875" v="87101"/>
          <ac:spMkLst>
            <pc:docMk/>
            <pc:sldMk cId="3323175271" sldId="2147483084"/>
            <ac:spMk id="790" creationId="{926CC40A-4B27-EAC5-61E0-F0AE7C27A468}"/>
          </ac:spMkLst>
        </pc:spChg>
        <pc:spChg chg="mod">
          <ac:chgData name="Yudi Zhu" userId="571e1a55-055f-4c28-8b35-fca6dd1c1369" providerId="ADAL" clId="{75A88773-6EE1-484E-AADE-FE631E01463B}" dt="2025-11-21T06:04:56.877" v="87102"/>
          <ac:spMkLst>
            <pc:docMk/>
            <pc:sldMk cId="3323175271" sldId="2147483084"/>
            <ac:spMk id="791" creationId="{E6E53F77-B171-D80A-73FE-F9CE7F5245C9}"/>
          </ac:spMkLst>
        </pc:spChg>
        <pc:spChg chg="mod ord">
          <ac:chgData name="Yudi Zhu" userId="571e1a55-055f-4c28-8b35-fca6dd1c1369" providerId="ADAL" clId="{75A88773-6EE1-484E-AADE-FE631E01463B}" dt="2025-11-21T06:05:10.970" v="91908"/>
          <ac:spMkLst>
            <pc:docMk/>
            <pc:sldMk cId="3323175271" sldId="2147483084"/>
            <ac:spMk id="792" creationId="{18F1605E-3A59-EB36-D44B-79A91E71E1E7}"/>
          </ac:spMkLst>
        </pc:spChg>
        <pc:spChg chg="mod">
          <ac:chgData name="Yudi Zhu" userId="571e1a55-055f-4c28-8b35-fca6dd1c1369" providerId="ADAL" clId="{75A88773-6EE1-484E-AADE-FE631E01463B}" dt="2025-11-21T06:04:56.900" v="87118"/>
          <ac:spMkLst>
            <pc:docMk/>
            <pc:sldMk cId="3323175271" sldId="2147483084"/>
            <ac:spMk id="793" creationId="{9A51F97C-36F2-FDC5-9663-10E55A136A8F}"/>
          </ac:spMkLst>
        </pc:spChg>
        <pc:spChg chg="mod ord">
          <ac:chgData name="Yudi Zhu" userId="571e1a55-055f-4c28-8b35-fca6dd1c1369" providerId="ADAL" clId="{75A88773-6EE1-484E-AADE-FE631E01463B}" dt="2025-11-21T06:05:10.971" v="91909"/>
          <ac:spMkLst>
            <pc:docMk/>
            <pc:sldMk cId="3323175271" sldId="2147483084"/>
            <ac:spMk id="794" creationId="{3A5FE75C-B221-7E18-5898-C46748EAFC85}"/>
          </ac:spMkLst>
        </pc:spChg>
        <pc:spChg chg="mod">
          <ac:chgData name="Yudi Zhu" userId="571e1a55-055f-4c28-8b35-fca6dd1c1369" providerId="ADAL" clId="{75A88773-6EE1-484E-AADE-FE631E01463B}" dt="2025-11-21T06:04:56.883" v="87107"/>
          <ac:spMkLst>
            <pc:docMk/>
            <pc:sldMk cId="3323175271" sldId="2147483084"/>
            <ac:spMk id="795" creationId="{7F0AE225-7CFD-EE74-8F01-0E0C19DAACFF}"/>
          </ac:spMkLst>
        </pc:spChg>
        <pc:spChg chg="mod ord">
          <ac:chgData name="Yudi Zhu" userId="571e1a55-055f-4c28-8b35-fca6dd1c1369" providerId="ADAL" clId="{75A88773-6EE1-484E-AADE-FE631E01463B}" dt="2025-11-21T06:05:10.973" v="91910"/>
          <ac:spMkLst>
            <pc:docMk/>
            <pc:sldMk cId="3323175271" sldId="2147483084"/>
            <ac:spMk id="796" creationId="{77825DD0-45C2-528B-5E2C-55AD1FBEDD27}"/>
          </ac:spMkLst>
        </pc:spChg>
        <pc:spChg chg="mod">
          <ac:chgData name="Yudi Zhu" userId="571e1a55-055f-4c28-8b35-fca6dd1c1369" providerId="ADAL" clId="{75A88773-6EE1-484E-AADE-FE631E01463B}" dt="2025-11-21T06:04:56.888" v="87110"/>
          <ac:spMkLst>
            <pc:docMk/>
            <pc:sldMk cId="3323175271" sldId="2147483084"/>
            <ac:spMk id="797" creationId="{86FBEDBC-CD30-D72C-1518-3DDEEB6F1FC8}"/>
          </ac:spMkLst>
        </pc:spChg>
        <pc:spChg chg="mod">
          <ac:chgData name="Yudi Zhu" userId="571e1a55-055f-4c28-8b35-fca6dd1c1369" providerId="ADAL" clId="{75A88773-6EE1-484E-AADE-FE631E01463B}" dt="2025-11-21T06:04:56.889" v="87111"/>
          <ac:spMkLst>
            <pc:docMk/>
            <pc:sldMk cId="3323175271" sldId="2147483084"/>
            <ac:spMk id="798" creationId="{4C315C27-1FED-C812-4DFE-8E488F1BD940}"/>
          </ac:spMkLst>
        </pc:spChg>
        <pc:spChg chg="mod ord">
          <ac:chgData name="Yudi Zhu" userId="571e1a55-055f-4c28-8b35-fca6dd1c1369" providerId="ADAL" clId="{75A88773-6EE1-484E-AADE-FE631E01463B}" dt="2025-11-21T06:05:10.997" v="91912"/>
          <ac:spMkLst>
            <pc:docMk/>
            <pc:sldMk cId="3323175271" sldId="2147483084"/>
            <ac:spMk id="799" creationId="{BE556145-90E4-DAB6-4082-AD0DB8587AF6}"/>
          </ac:spMkLst>
        </pc:spChg>
        <pc:spChg chg="mod ord">
          <ac:chgData name="Yudi Zhu" userId="571e1a55-055f-4c28-8b35-fca6dd1c1369" providerId="ADAL" clId="{75A88773-6EE1-484E-AADE-FE631E01463B}" dt="2025-11-21T06:05:10.999" v="91913"/>
          <ac:spMkLst>
            <pc:docMk/>
            <pc:sldMk cId="3323175271" sldId="2147483084"/>
            <ac:spMk id="869" creationId="{EDE25651-265E-77FF-1B23-72294DE12BAA}"/>
          </ac:spMkLst>
        </pc:spChg>
        <pc:spChg chg="mod ord">
          <ac:chgData name="Yudi Zhu" userId="571e1a55-055f-4c28-8b35-fca6dd1c1369" providerId="ADAL" clId="{75A88773-6EE1-484E-AADE-FE631E01463B}" dt="2025-11-21T06:05:11.001" v="91914"/>
          <ac:spMkLst>
            <pc:docMk/>
            <pc:sldMk cId="3323175271" sldId="2147483084"/>
            <ac:spMk id="870" creationId="{38BD30CA-B81A-0CF2-2B43-C331DCFB6C08}"/>
          </ac:spMkLst>
        </pc:spChg>
        <pc:spChg chg="mod ord">
          <ac:chgData name="Yudi Zhu" userId="571e1a55-055f-4c28-8b35-fca6dd1c1369" providerId="ADAL" clId="{75A88773-6EE1-484E-AADE-FE631E01463B}" dt="2025-11-21T06:05:11.004" v="91916"/>
          <ac:spMkLst>
            <pc:docMk/>
            <pc:sldMk cId="3323175271" sldId="2147483084"/>
            <ac:spMk id="907" creationId="{A3D315B0-CD3D-9D44-9FE2-F3A229DA6370}"/>
          </ac:spMkLst>
        </pc:spChg>
        <pc:spChg chg="mod ord">
          <ac:chgData name="Yudi Zhu" userId="571e1a55-055f-4c28-8b35-fca6dd1c1369" providerId="ADAL" clId="{75A88773-6EE1-484E-AADE-FE631E01463B}" dt="2025-11-21T06:05:11.006" v="91918"/>
          <ac:spMkLst>
            <pc:docMk/>
            <pc:sldMk cId="3323175271" sldId="2147483084"/>
            <ac:spMk id="909" creationId="{26BEC9F0-2D35-20B3-07EA-574E80EA9FC8}"/>
          </ac:spMkLst>
        </pc:spChg>
        <pc:spChg chg="mod ord">
          <ac:chgData name="Yudi Zhu" userId="571e1a55-055f-4c28-8b35-fca6dd1c1369" providerId="ADAL" clId="{75A88773-6EE1-484E-AADE-FE631E01463B}" dt="2025-11-21T06:05:10.841" v="91868"/>
          <ac:spMkLst>
            <pc:docMk/>
            <pc:sldMk cId="3323175271" sldId="2147483084"/>
            <ac:spMk id="911" creationId="{EB438938-C836-BA4C-9CB4-CF59E11CF5BA}"/>
          </ac:spMkLst>
        </pc:spChg>
        <pc:spChg chg="mod ord">
          <ac:chgData name="Yudi Zhu" userId="571e1a55-055f-4c28-8b35-fca6dd1c1369" providerId="ADAL" clId="{75A88773-6EE1-484E-AADE-FE631E01463B}" dt="2025-11-21T06:05:10.837" v="91866"/>
          <ac:spMkLst>
            <pc:docMk/>
            <pc:sldMk cId="3323175271" sldId="2147483084"/>
            <ac:spMk id="912" creationId="{DEC44A48-C210-0CBE-D5D0-A5CEFDB47CF8}"/>
          </ac:spMkLst>
        </pc:spChg>
        <pc:spChg chg="mod ord">
          <ac:chgData name="Yudi Zhu" userId="571e1a55-055f-4c28-8b35-fca6dd1c1369" providerId="ADAL" clId="{75A88773-6EE1-484E-AADE-FE631E01463B}" dt="2025-11-21T06:05:10.838" v="91867"/>
          <ac:spMkLst>
            <pc:docMk/>
            <pc:sldMk cId="3323175271" sldId="2147483084"/>
            <ac:spMk id="913" creationId="{333286BD-B900-E14D-BF30-22ED40ECA470}"/>
          </ac:spMkLst>
        </pc:spChg>
        <pc:graphicFrameChg chg="add del mod">
          <ac:chgData name="Yudi Zhu" userId="571e1a55-055f-4c28-8b35-fca6dd1c1369" providerId="ADAL" clId="{75A88773-6EE1-484E-AADE-FE631E01463B}" dt="2025-11-21T06:02:26.379" v="70313" actId="478"/>
          <ac:graphicFrameMkLst>
            <pc:docMk/>
            <pc:sldMk cId="3323175271" sldId="2147483084"/>
            <ac:graphicFrameMk id="16" creationId="{96225C82-200E-300A-8D0A-F607987E2F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26.824" v="70415" actId="478"/>
          <ac:graphicFrameMkLst>
            <pc:docMk/>
            <pc:sldMk cId="3323175271" sldId="2147483084"/>
            <ac:graphicFrameMk id="36" creationId="{5A56C547-5BFD-07FC-2B4D-17321582AAE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27.004" v="70514" actId="478"/>
          <ac:graphicFrameMkLst>
            <pc:docMk/>
            <pc:sldMk cId="3323175271" sldId="2147483084"/>
            <ac:graphicFrameMk id="38" creationId="{31495012-473C-2B6C-E44F-70F3E69FB859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4.913" v="86509"/>
          <ac:graphicFrameMkLst>
            <pc:docMk/>
            <pc:sldMk cId="3323175271" sldId="2147483084"/>
            <ac:graphicFrameMk id="40" creationId="{CF16EA21-4924-E722-3778-BE540565BF76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5.894" v="86786"/>
          <ac:graphicFrameMkLst>
            <pc:docMk/>
            <pc:sldMk cId="3323175271" sldId="2147483084"/>
            <ac:graphicFrameMk id="42" creationId="{125F3123-1926-049D-C5CE-423A367B7A63}"/>
          </ac:graphicFrameMkLst>
        </pc:graphicFrameChg>
        <pc:graphicFrameChg chg="del mod">
          <ac:chgData name="Yudi Zhu" userId="571e1a55-055f-4c28-8b35-fca6dd1c1369" providerId="ADAL" clId="{75A88773-6EE1-484E-AADE-FE631E01463B}" dt="2025-11-21T06:04:56.484" v="86932"/>
          <ac:graphicFrameMkLst>
            <pc:docMk/>
            <pc:sldMk cId="3323175271" sldId="2147483084"/>
            <ac:graphicFrameMk id="44" creationId="{461F694D-7ECA-53FD-5502-54823B841C0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09.822" v="91662" actId="478"/>
          <ac:graphicFrameMkLst>
            <pc:docMk/>
            <pc:sldMk cId="3323175271" sldId="2147483084"/>
            <ac:graphicFrameMk id="46" creationId="{68E34C6E-62A7-4BFB-B2A0-C8EC38A24E3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0.435" v="91764" actId="478"/>
          <ac:graphicFrameMkLst>
            <pc:docMk/>
            <pc:sldMk cId="3323175271" sldId="2147483084"/>
            <ac:graphicFrameMk id="47" creationId="{78FF39BC-06CD-0A76-7868-B5C756B63B10}"/>
          </ac:graphicFrameMkLst>
        </pc:graphicFrameChg>
        <pc:graphicFrameChg chg="mod">
          <ac:chgData name="Yudi Zhu" userId="571e1a55-055f-4c28-8b35-fca6dd1c1369" providerId="ADAL" clId="{75A88773-6EE1-484E-AADE-FE631E01463B}" dt="2025-11-21T06:05:11.022" v="91925" actId="1076"/>
          <ac:graphicFrameMkLst>
            <pc:docMk/>
            <pc:sldMk cId="3323175271" sldId="2147483084"/>
            <ac:graphicFrameMk id="48" creationId="{1C438B4C-A07C-E094-A7C7-7E55AE0DBCF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0.798" v="91863" actId="478"/>
          <ac:graphicFrameMkLst>
            <pc:docMk/>
            <pc:sldMk cId="3323175271" sldId="2147483084"/>
            <ac:graphicFrameMk id="50" creationId="{AFB036BA-CAA3-7F80-8085-6F1BA703E427}"/>
          </ac:graphicFrameMkLst>
        </pc:graphicFrameChg>
        <pc:graphicFrameChg chg="mod">
          <ac:chgData name="Yudi Zhu" userId="571e1a55-055f-4c28-8b35-fca6dd1c1369" providerId="ADAL" clId="{75A88773-6EE1-484E-AADE-FE631E01463B}" dt="2025-11-21T06:05:10.090" v="91664" actId="1076"/>
          <ac:graphicFrameMkLst>
            <pc:docMk/>
            <pc:sldMk cId="3323175271" sldId="2147483084"/>
            <ac:graphicFrameMk id="52" creationId="{846B5919-0000-7A4D-CC7C-9DD5E2616BB2}"/>
          </ac:graphicFrameMkLst>
        </pc:graphicFrameChg>
        <pc:graphicFrameChg chg="mod">
          <ac:chgData name="Yudi Zhu" userId="571e1a55-055f-4c28-8b35-fca6dd1c1369" providerId="ADAL" clId="{75A88773-6EE1-484E-AADE-FE631E01463B}" dt="2025-11-21T06:05:10.470" v="91766" actId="1076"/>
          <ac:graphicFrameMkLst>
            <pc:docMk/>
            <pc:sldMk cId="3323175271" sldId="2147483084"/>
            <ac:graphicFrameMk id="54" creationId="{13800CDF-8FC6-812A-2A82-12E7C2A2E245}"/>
          </ac:graphicFrameMkLst>
        </pc:graphicFrameChg>
        <pc:graphicFrameChg chg="mod">
          <ac:chgData name="Yudi Zhu" userId="571e1a55-055f-4c28-8b35-fca6dd1c1369" providerId="ADAL" clId="{75A88773-6EE1-484E-AADE-FE631E01463B}" dt="2025-11-21T06:05:10.834" v="91865" actId="1076"/>
          <ac:graphicFrameMkLst>
            <pc:docMk/>
            <pc:sldMk cId="3323175271" sldId="2147483084"/>
            <ac:graphicFrameMk id="57" creationId="{E2978A49-B125-605A-A6EC-7C1674612B2D}"/>
          </ac:graphicFrameMkLst>
        </pc:graphicFrameChg>
        <pc:graphicFrameChg chg="del">
          <ac:chgData name="Yudi Zhu" userId="571e1a55-055f-4c28-8b35-fca6dd1c1369" providerId="ADAL" clId="{75A88773-6EE1-484E-AADE-FE631E01463B}" dt="2025-11-21T06:02:11.849" v="64475"/>
          <ac:graphicFrameMkLst>
            <pc:docMk/>
            <pc:sldMk cId="3323175271" sldId="2147483084"/>
            <ac:graphicFrameMk id="644" creationId="{877EEB05-3924-7215-04F4-629B8F4197F0}"/>
          </ac:graphicFrameMkLst>
        </pc:graphicFrameChg>
        <pc:graphicFrameChg chg="del">
          <ac:chgData name="Yudi Zhu" userId="571e1a55-055f-4c28-8b35-fca6dd1c1369" providerId="ADAL" clId="{75A88773-6EE1-484E-AADE-FE631E01463B}" dt="2025-11-21T06:02:09.760" v="63768"/>
          <ac:graphicFrameMkLst>
            <pc:docMk/>
            <pc:sldMk cId="3323175271" sldId="2147483084"/>
            <ac:graphicFrameMk id="676" creationId="{819A8F5C-3813-6C7A-AFB1-5834950E5A26}"/>
          </ac:graphicFrameMkLst>
        </pc:graphicFrameChg>
        <pc:graphicFrameChg chg="del">
          <ac:chgData name="Yudi Zhu" userId="571e1a55-055f-4c28-8b35-fca6dd1c1369" providerId="ADAL" clId="{75A88773-6EE1-484E-AADE-FE631E01463B}" dt="2025-11-21T06:02:12.528" v="64673"/>
          <ac:graphicFrameMkLst>
            <pc:docMk/>
            <pc:sldMk cId="3323175271" sldId="2147483084"/>
            <ac:graphicFrameMk id="697" creationId="{DB891BF2-8C63-E20E-130B-13F32B1175C4}"/>
          </ac:graphicFrameMkLst>
        </pc:graphicFrameChg>
        <pc:cxnChg chg="mod ord">
          <ac:chgData name="Yudi Zhu" userId="571e1a55-055f-4c28-8b35-fca6dd1c1369" providerId="ADAL" clId="{75A88773-6EE1-484E-AADE-FE631E01463B}" dt="2025-11-21T06:05:10.845" v="91871"/>
          <ac:cxnSpMkLst>
            <pc:docMk/>
            <pc:sldMk cId="3323175271" sldId="2147483084"/>
            <ac:cxnSpMk id="4" creationId="{1AE68797-B8E9-4E98-D43C-858AF14021F6}"/>
          </ac:cxnSpMkLst>
        </pc:cxnChg>
        <pc:cxnChg chg="mod ord">
          <ac:chgData name="Yudi Zhu" userId="571e1a55-055f-4c28-8b35-fca6dd1c1369" providerId="ADAL" clId="{75A88773-6EE1-484E-AADE-FE631E01463B}" dt="2025-11-21T06:05:10.846" v="91872"/>
          <ac:cxnSpMkLst>
            <pc:docMk/>
            <pc:sldMk cId="3323175271" sldId="2147483084"/>
            <ac:cxnSpMk id="9" creationId="{7754AC60-EDC3-A93C-1B90-9633A3CFCAEB}"/>
          </ac:cxnSpMkLst>
        </pc:cxnChg>
        <pc:cxnChg chg="mod ord">
          <ac:chgData name="Yudi Zhu" userId="571e1a55-055f-4c28-8b35-fca6dd1c1369" providerId="ADAL" clId="{75A88773-6EE1-484E-AADE-FE631E01463B}" dt="2025-11-21T06:05:10.901" v="91887"/>
          <ac:cxnSpMkLst>
            <pc:docMk/>
            <pc:sldMk cId="3323175271" sldId="2147483084"/>
            <ac:cxnSpMk id="19" creationId="{30CECBB9-4E15-E946-8D84-72926B9110AF}"/>
          </ac:cxnSpMkLst>
        </pc:cxnChg>
        <pc:cxnChg chg="mod ord">
          <ac:chgData name="Yudi Zhu" userId="571e1a55-055f-4c28-8b35-fca6dd1c1369" providerId="ADAL" clId="{75A88773-6EE1-484E-AADE-FE631E01463B}" dt="2025-11-21T06:05:10.905" v="91889"/>
          <ac:cxnSpMkLst>
            <pc:docMk/>
            <pc:sldMk cId="3323175271" sldId="2147483084"/>
            <ac:cxnSpMk id="22" creationId="{A2223B67-6505-151D-7BDB-6E92482021CB}"/>
          </ac:cxnSpMkLst>
        </pc:cxnChg>
        <pc:cxnChg chg="mod ord">
          <ac:chgData name="Yudi Zhu" userId="571e1a55-055f-4c28-8b35-fca6dd1c1369" providerId="ADAL" clId="{75A88773-6EE1-484E-AADE-FE631E01463B}" dt="2025-11-21T06:05:10.906" v="91890"/>
          <ac:cxnSpMkLst>
            <pc:docMk/>
            <pc:sldMk cId="3323175271" sldId="2147483084"/>
            <ac:cxnSpMk id="23" creationId="{06272341-AD7B-A94B-D677-151995780183}"/>
          </ac:cxnSpMkLst>
        </pc:cxnChg>
        <pc:cxnChg chg="mod ord">
          <ac:chgData name="Yudi Zhu" userId="571e1a55-055f-4c28-8b35-fca6dd1c1369" providerId="ADAL" clId="{75A88773-6EE1-484E-AADE-FE631E01463B}" dt="2025-11-21T06:05:10.912" v="91895"/>
          <ac:cxnSpMkLst>
            <pc:docMk/>
            <pc:sldMk cId="3323175271" sldId="2147483084"/>
            <ac:cxnSpMk id="24" creationId="{4FE7FE6F-A984-10DB-9F8F-47FA2FC420C2}"/>
          </ac:cxnSpMkLst>
        </pc:cxnChg>
        <pc:cxnChg chg="mod ord">
          <ac:chgData name="Yudi Zhu" userId="571e1a55-055f-4c28-8b35-fca6dd1c1369" providerId="ADAL" clId="{75A88773-6EE1-484E-AADE-FE631E01463B}" dt="2025-11-21T06:05:10.910" v="91893"/>
          <ac:cxnSpMkLst>
            <pc:docMk/>
            <pc:sldMk cId="3323175271" sldId="2147483084"/>
            <ac:cxnSpMk id="25" creationId="{599FAEAA-DD1A-C0A2-D085-6BAE865F7DB3}"/>
          </ac:cxnSpMkLst>
        </pc:cxnChg>
        <pc:cxnChg chg="mod ord">
          <ac:chgData name="Yudi Zhu" userId="571e1a55-055f-4c28-8b35-fca6dd1c1369" providerId="ADAL" clId="{75A88773-6EE1-484E-AADE-FE631E01463B}" dt="2025-11-21T06:05:10.907" v="91891"/>
          <ac:cxnSpMkLst>
            <pc:docMk/>
            <pc:sldMk cId="3323175271" sldId="2147483084"/>
            <ac:cxnSpMk id="26" creationId="{04132D6F-EC6D-BA06-7C3D-4AC440ACC5C1}"/>
          </ac:cxnSpMkLst>
        </pc:cxnChg>
        <pc:cxnChg chg="mod ord">
          <ac:chgData name="Yudi Zhu" userId="571e1a55-055f-4c28-8b35-fca6dd1c1369" providerId="ADAL" clId="{75A88773-6EE1-484E-AADE-FE631E01463B}" dt="2025-11-21T06:05:10.904" v="91888"/>
          <ac:cxnSpMkLst>
            <pc:docMk/>
            <pc:sldMk cId="3323175271" sldId="2147483084"/>
            <ac:cxnSpMk id="28" creationId="{62D6EA97-4BC7-5AE8-1063-5DED4D8937CA}"/>
          </ac:cxnSpMkLst>
        </pc:cxnChg>
        <pc:cxnChg chg="mod ord">
          <ac:chgData name="Yudi Zhu" userId="571e1a55-055f-4c28-8b35-fca6dd1c1369" providerId="ADAL" clId="{75A88773-6EE1-484E-AADE-FE631E01463B}" dt="2025-11-21T06:05:10.909" v="91892"/>
          <ac:cxnSpMkLst>
            <pc:docMk/>
            <pc:sldMk cId="3323175271" sldId="2147483084"/>
            <ac:cxnSpMk id="29" creationId="{4120BB28-18F4-2A35-7ABD-4470D89EFAEB}"/>
          </ac:cxnSpMkLst>
        </pc:cxnChg>
        <pc:cxnChg chg="mod ord">
          <ac:chgData name="Yudi Zhu" userId="571e1a55-055f-4c28-8b35-fca6dd1c1369" providerId="ADAL" clId="{75A88773-6EE1-484E-AADE-FE631E01463B}" dt="2025-11-21T06:05:10.911" v="91894"/>
          <ac:cxnSpMkLst>
            <pc:docMk/>
            <pc:sldMk cId="3323175271" sldId="2147483084"/>
            <ac:cxnSpMk id="30" creationId="{F6BCFB98-9257-7EB5-A751-AD7A15F2BF04}"/>
          </ac:cxnSpMkLst>
        </pc:cxnChg>
        <pc:cxnChg chg="mod ord">
          <ac:chgData name="Yudi Zhu" userId="571e1a55-055f-4c28-8b35-fca6dd1c1369" providerId="ADAL" clId="{75A88773-6EE1-484E-AADE-FE631E01463B}" dt="2025-11-21T06:05:10.914" v="91896"/>
          <ac:cxnSpMkLst>
            <pc:docMk/>
            <pc:sldMk cId="3323175271" sldId="2147483084"/>
            <ac:cxnSpMk id="31" creationId="{F94C5D08-2350-ABCA-9FF2-F76F6D093E1B}"/>
          </ac:cxnSpMkLst>
        </pc:cxnChg>
        <pc:cxnChg chg="add del mod ord">
          <ac:chgData name="Yudi Zhu" userId="571e1a55-055f-4c28-8b35-fca6dd1c1369" providerId="ADAL" clId="{75A88773-6EE1-484E-AADE-FE631E01463B}" dt="2025-11-21T06:02:27.001" v="70511" actId="478"/>
          <ac:cxnSpMkLst>
            <pc:docMk/>
            <pc:sldMk cId="3323175271" sldId="2147483084"/>
            <ac:cxnSpMk id="37" creationId="{BA7AE261-89E4-7E71-E7DB-BA4CA013CBEC}"/>
          </ac:cxnSpMkLst>
        </pc:cxnChg>
        <pc:cxnChg chg="add del mod ord">
          <ac:chgData name="Yudi Zhu" userId="571e1a55-055f-4c28-8b35-fca6dd1c1369" providerId="ADAL" clId="{75A88773-6EE1-484E-AADE-FE631E01463B}" dt="2025-11-21T06:05:10.791" v="91860" actId="478"/>
          <ac:cxnSpMkLst>
            <pc:docMk/>
            <pc:sldMk cId="3323175271" sldId="2147483084"/>
            <ac:cxnSpMk id="49" creationId="{91CA9235-B018-966F-7851-D476D1745227}"/>
          </ac:cxnSpMkLst>
        </pc:cxnChg>
        <pc:cxnChg chg="mod ord">
          <ac:chgData name="Yudi Zhu" userId="571e1a55-055f-4c28-8b35-fca6dd1c1369" providerId="ADAL" clId="{75A88773-6EE1-484E-AADE-FE631E01463B}" dt="2025-11-21T06:05:10.951" v="91900"/>
          <ac:cxnSpMkLst>
            <pc:docMk/>
            <pc:sldMk cId="3323175271" sldId="2147483084"/>
            <ac:cxnSpMk id="56" creationId="{60CD512F-ABF2-2B51-4F3E-F8B56C649F57}"/>
          </ac:cxnSpMkLst>
        </pc:cxnChg>
        <pc:cxnChg chg="mod ord">
          <ac:chgData name="Yudi Zhu" userId="571e1a55-055f-4c28-8b35-fca6dd1c1369" providerId="ADAL" clId="{75A88773-6EE1-484E-AADE-FE631E01463B}" dt="2025-11-21T06:05:10.955" v="91902"/>
          <ac:cxnSpMkLst>
            <pc:docMk/>
            <pc:sldMk cId="3323175271" sldId="2147483084"/>
            <ac:cxnSpMk id="59" creationId="{B7709F4E-1C80-B89B-4469-ACD5DD83EB99}"/>
          </ac:cxnSpMkLst>
        </pc:cxnChg>
        <pc:cxnChg chg="mod ord">
          <ac:chgData name="Yudi Zhu" userId="571e1a55-055f-4c28-8b35-fca6dd1c1369" providerId="ADAL" clId="{75A88773-6EE1-484E-AADE-FE631E01463B}" dt="2025-11-21T06:05:10.956" v="91903"/>
          <ac:cxnSpMkLst>
            <pc:docMk/>
            <pc:sldMk cId="3323175271" sldId="2147483084"/>
            <ac:cxnSpMk id="60" creationId="{587CD143-682F-B140-E475-317630EF739D}"/>
          </ac:cxnSpMkLst>
        </pc:cxnChg>
        <pc:cxnChg chg="mod ord">
          <ac:chgData name="Yudi Zhu" userId="571e1a55-055f-4c28-8b35-fca6dd1c1369" providerId="ADAL" clId="{75A88773-6EE1-484E-AADE-FE631E01463B}" dt="2025-11-21T06:05:10.960" v="91906"/>
          <ac:cxnSpMkLst>
            <pc:docMk/>
            <pc:sldMk cId="3323175271" sldId="2147483084"/>
            <ac:cxnSpMk id="61" creationId="{84583B8C-874F-EAA1-AE91-C7EA3BB64C49}"/>
          </ac:cxnSpMkLst>
        </pc:cxnChg>
        <pc:cxnChg chg="mod ord">
          <ac:chgData name="Yudi Zhu" userId="571e1a55-055f-4c28-8b35-fca6dd1c1369" providerId="ADAL" clId="{75A88773-6EE1-484E-AADE-FE631E01463B}" dt="2025-11-21T06:05:10.900" v="91886"/>
          <ac:cxnSpMkLst>
            <pc:docMk/>
            <pc:sldMk cId="3323175271" sldId="2147483084"/>
            <ac:cxnSpMk id="144" creationId="{07939D15-40A5-33C9-E1DE-B63720B7D946}"/>
          </ac:cxnSpMkLst>
        </pc:cxnChg>
        <pc:cxnChg chg="mod ord">
          <ac:chgData name="Yudi Zhu" userId="571e1a55-055f-4c28-8b35-fca6dd1c1369" providerId="ADAL" clId="{75A88773-6EE1-484E-AADE-FE631E01463B}" dt="2025-11-21T06:05:10.847" v="91873"/>
          <ac:cxnSpMkLst>
            <pc:docMk/>
            <pc:sldMk cId="3323175271" sldId="2147483084"/>
            <ac:cxnSpMk id="294" creationId="{A8B7AA1B-83CA-2B05-ED76-D039647C491B}"/>
          </ac:cxnSpMkLst>
        </pc:cxnChg>
        <pc:cxnChg chg="mod ord">
          <ac:chgData name="Yudi Zhu" userId="571e1a55-055f-4c28-8b35-fca6dd1c1369" providerId="ADAL" clId="{75A88773-6EE1-484E-AADE-FE631E01463B}" dt="2025-11-21T06:05:10.843" v="91870"/>
          <ac:cxnSpMkLst>
            <pc:docMk/>
            <pc:sldMk cId="3323175271" sldId="2147483084"/>
            <ac:cxnSpMk id="305" creationId="{96212EC4-3DB7-FA2E-1313-395956A59A3F}"/>
          </ac:cxnSpMkLst>
        </pc:cxnChg>
        <pc:cxnChg chg="mod ord">
          <ac:chgData name="Yudi Zhu" userId="571e1a55-055f-4c28-8b35-fca6dd1c1369" providerId="ADAL" clId="{75A88773-6EE1-484E-AADE-FE631E01463B}" dt="2025-11-21T06:05:10.957" v="91904"/>
          <ac:cxnSpMkLst>
            <pc:docMk/>
            <pc:sldMk cId="3323175271" sldId="2147483084"/>
            <ac:cxnSpMk id="560" creationId="{4FF9246C-8F4A-299E-2A8A-1B5B8F9F0B6C}"/>
          </ac:cxnSpMkLst>
        </pc:cxnChg>
        <pc:cxnChg chg="mod ord">
          <ac:chgData name="Yudi Zhu" userId="571e1a55-055f-4c28-8b35-fca6dd1c1369" providerId="ADAL" clId="{75A88773-6EE1-484E-AADE-FE631E01463B}" dt="2025-11-21T06:05:10.958" v="91905"/>
          <ac:cxnSpMkLst>
            <pc:docMk/>
            <pc:sldMk cId="3323175271" sldId="2147483084"/>
            <ac:cxnSpMk id="561" creationId="{8341DDF2-0EBE-FE2D-ECB4-C75F978C3DD2}"/>
          </ac:cxnSpMkLst>
        </pc:cxnChg>
        <pc:cxnChg chg="mod ord">
          <ac:chgData name="Yudi Zhu" userId="571e1a55-055f-4c28-8b35-fca6dd1c1369" providerId="ADAL" clId="{75A88773-6EE1-484E-AADE-FE631E01463B}" dt="2025-11-21T06:05:10.950" v="91899"/>
          <ac:cxnSpMkLst>
            <pc:docMk/>
            <pc:sldMk cId="3323175271" sldId="2147483084"/>
            <ac:cxnSpMk id="749" creationId="{E5754D79-4B16-0112-36BD-2CB55B06C3C6}"/>
          </ac:cxnSpMkLst>
        </pc:cxnChg>
        <pc:cxnChg chg="mod ord">
          <ac:chgData name="Yudi Zhu" userId="571e1a55-055f-4c28-8b35-fca6dd1c1369" providerId="ADAL" clId="{75A88773-6EE1-484E-AADE-FE631E01463B}" dt="2025-11-21T06:05:10.953" v="91901"/>
          <ac:cxnSpMkLst>
            <pc:docMk/>
            <pc:sldMk cId="3323175271" sldId="2147483084"/>
            <ac:cxnSpMk id="750" creationId="{1504BFD2-D835-7135-92E3-3FF2C8087486}"/>
          </ac:cxnSpMkLst>
        </pc:cxnChg>
        <pc:cxnChg chg="mod ord">
          <ac:chgData name="Yudi Zhu" userId="571e1a55-055f-4c28-8b35-fca6dd1c1369" providerId="ADAL" clId="{75A88773-6EE1-484E-AADE-FE631E01463B}" dt="2025-11-21T06:05:11.002" v="91915"/>
          <ac:cxnSpMkLst>
            <pc:docMk/>
            <pc:sldMk cId="3323175271" sldId="2147483084"/>
            <ac:cxnSpMk id="871" creationId="{A41015E9-B190-61CE-69C8-8103EBEE4792}"/>
          </ac:cxnSpMkLst>
        </pc:cxnChg>
        <pc:cxnChg chg="mod ord">
          <ac:chgData name="Yudi Zhu" userId="571e1a55-055f-4c28-8b35-fca6dd1c1369" providerId="ADAL" clId="{75A88773-6EE1-484E-AADE-FE631E01463B}" dt="2025-11-21T06:05:10.852" v="91875"/>
          <ac:cxnSpMkLst>
            <pc:docMk/>
            <pc:sldMk cId="3323175271" sldId="2147483084"/>
            <ac:cxnSpMk id="902" creationId="{3EC31A3E-C99E-F632-EDEE-B5424EBB62B5}"/>
          </ac:cxnSpMkLst>
        </pc:cxnChg>
        <pc:cxnChg chg="mod ord">
          <ac:chgData name="Yudi Zhu" userId="571e1a55-055f-4c28-8b35-fca6dd1c1369" providerId="ADAL" clId="{75A88773-6EE1-484E-AADE-FE631E01463B}" dt="2025-11-21T06:05:11.005" v="91917"/>
          <ac:cxnSpMkLst>
            <pc:docMk/>
            <pc:sldMk cId="3323175271" sldId="2147483084"/>
            <ac:cxnSpMk id="908" creationId="{EF7C6327-8BFE-15B0-7747-392359C21BA4}"/>
          </ac:cxnSpMkLst>
        </pc:cxnChg>
        <pc:cxnChg chg="mod ord">
          <ac:chgData name="Yudi Zhu" userId="571e1a55-055f-4c28-8b35-fca6dd1c1369" providerId="ADAL" clId="{75A88773-6EE1-484E-AADE-FE631E01463B}" dt="2025-11-21T06:05:11.008" v="91919"/>
          <ac:cxnSpMkLst>
            <pc:docMk/>
            <pc:sldMk cId="3323175271" sldId="2147483084"/>
            <ac:cxnSpMk id="910" creationId="{F86C5C4F-E92C-0EE0-5BA5-4FAB81CBD0F8}"/>
          </ac:cxnSpMkLst>
        </pc:cxnChg>
        <pc:cxnChg chg="mod ord">
          <ac:chgData name="Yudi Zhu" userId="571e1a55-055f-4c28-8b35-fca6dd1c1369" providerId="ADAL" clId="{75A88773-6EE1-484E-AADE-FE631E01463B}" dt="2025-11-21T06:05:10.897" v="91884"/>
          <ac:cxnSpMkLst>
            <pc:docMk/>
            <pc:sldMk cId="3323175271" sldId="2147483084"/>
            <ac:cxnSpMk id="935" creationId="{AEBC4455-EB10-DF8D-935F-99E3B7D23CAB}"/>
          </ac:cxnSpMkLst>
        </pc:cxnChg>
        <pc:cxnChg chg="mod ord">
          <ac:chgData name="Yudi Zhu" userId="571e1a55-055f-4c28-8b35-fca6dd1c1369" providerId="ADAL" clId="{75A88773-6EE1-484E-AADE-FE631E01463B}" dt="2025-11-21T06:05:10.898" v="91885"/>
          <ac:cxnSpMkLst>
            <pc:docMk/>
            <pc:sldMk cId="3323175271" sldId="2147483084"/>
            <ac:cxnSpMk id="941" creationId="{B72D839C-616B-A46A-F51F-7A87B67DC842}"/>
          </ac:cxnSpMkLst>
        </pc:cxnChg>
        <pc:cxnChg chg="mod ord">
          <ac:chgData name="Yudi Zhu" userId="571e1a55-055f-4c28-8b35-fca6dd1c1369" providerId="ADAL" clId="{75A88773-6EE1-484E-AADE-FE631E01463B}" dt="2025-11-21T06:05:10.851" v="91874"/>
          <ac:cxnSpMkLst>
            <pc:docMk/>
            <pc:sldMk cId="3323175271" sldId="2147483084"/>
            <ac:cxnSpMk id="954" creationId="{05959310-5223-42B9-947F-56CE707CC39A}"/>
          </ac:cxnSpMkLst>
        </pc:cxnChg>
      </pc:sldChg>
      <pc:sldChg chg="addSp delSp modSp mod">
        <pc:chgData name="Yudi Zhu" userId="571e1a55-055f-4c28-8b35-fca6dd1c1369" providerId="ADAL" clId="{75A88773-6EE1-484E-AADE-FE631E01463B}" dt="2025-11-21T06:05:13.301" v="92648" actId="1076"/>
        <pc:sldMkLst>
          <pc:docMk/>
          <pc:sldMk cId="2668657357" sldId="2147483085"/>
        </pc:sldMkLst>
        <pc:spChg chg="mod ord">
          <ac:chgData name="Yudi Zhu" userId="571e1a55-055f-4c28-8b35-fca6dd1c1369" providerId="ADAL" clId="{75A88773-6EE1-484E-AADE-FE631E01463B}" dt="2025-11-21T06:05:13.195" v="92615"/>
          <ac:spMkLst>
            <pc:docMk/>
            <pc:sldMk cId="2668657357" sldId="2147483085"/>
            <ac:spMk id="2" creationId="{BD38918C-EFCC-7B67-EE50-F432F34640BA}"/>
          </ac:spMkLst>
        </pc:spChg>
        <pc:spChg chg="add del mod modVis">
          <ac:chgData name="Yudi Zhu" userId="571e1a55-055f-4c28-8b35-fca6dd1c1369" providerId="ADAL" clId="{75A88773-6EE1-484E-AADE-FE631E01463B}" dt="2025-11-21T06:02:24.880" v="70199" actId="478"/>
          <ac:spMkLst>
            <pc:docMk/>
            <pc:sldMk cId="2668657357" sldId="2147483085"/>
            <ac:spMk id="3" creationId="{8FE7478F-262D-B6CC-3214-AB1469822977}"/>
          </ac:spMkLst>
        </pc:spChg>
        <pc:spChg chg="del mod">
          <ac:chgData name="Yudi Zhu" userId="571e1a55-055f-4c28-8b35-fca6dd1c1369" providerId="ADAL" clId="{75A88773-6EE1-484E-AADE-FE631E01463B}" dt="2025-11-21T06:05:02.495" v="89227"/>
          <ac:spMkLst>
            <pc:docMk/>
            <pc:sldMk cId="2668657357" sldId="2147483085"/>
            <ac:spMk id="4" creationId="{C20C4547-E43B-67A4-EDC9-BB3CFDFB9394}"/>
          </ac:spMkLst>
        </pc:spChg>
        <pc:spChg chg="mod">
          <ac:chgData name="Yudi Zhu" userId="571e1a55-055f-4c28-8b35-fca6dd1c1369" providerId="ADAL" clId="{75A88773-6EE1-484E-AADE-FE631E01463B}" dt="2025-11-21T06:05:03.158" v="89488"/>
          <ac:spMkLst>
            <pc:docMk/>
            <pc:sldMk cId="2668657357" sldId="2147483085"/>
            <ac:spMk id="5" creationId="{0CFA277C-F515-D84A-79B6-072ADED51894}"/>
          </ac:spMkLst>
        </pc:spChg>
        <pc:spChg chg="mod">
          <ac:chgData name="Yudi Zhu" userId="571e1a55-055f-4c28-8b35-fca6dd1c1369" providerId="ADAL" clId="{75A88773-6EE1-484E-AADE-FE631E01463B}" dt="2025-11-21T06:05:03.159" v="89489"/>
          <ac:spMkLst>
            <pc:docMk/>
            <pc:sldMk cId="2668657357" sldId="2147483085"/>
            <ac:spMk id="6" creationId="{CF92E850-F4E8-E38F-4FC1-FCEE80088F3C}"/>
          </ac:spMkLst>
        </pc:spChg>
        <pc:spChg chg="del mod">
          <ac:chgData name="Yudi Zhu" userId="571e1a55-055f-4c28-8b35-fca6dd1c1369" providerId="ADAL" clId="{75A88773-6EE1-484E-AADE-FE631E01463B}" dt="2025-11-21T06:05:02.496" v="89228"/>
          <ac:spMkLst>
            <pc:docMk/>
            <pc:sldMk cId="2668657357" sldId="2147483085"/>
            <ac:spMk id="7" creationId="{312760CE-5AE7-D8C0-C206-E95ECDDF7B1A}"/>
          </ac:spMkLst>
        </pc:spChg>
        <pc:spChg chg="del mod">
          <ac:chgData name="Yudi Zhu" userId="571e1a55-055f-4c28-8b35-fca6dd1c1369" providerId="ADAL" clId="{75A88773-6EE1-484E-AADE-FE631E01463B}" dt="2025-11-21T06:05:02.498" v="89229"/>
          <ac:spMkLst>
            <pc:docMk/>
            <pc:sldMk cId="2668657357" sldId="2147483085"/>
            <ac:spMk id="8" creationId="{5C846AC0-D02C-52EF-CD02-9452348C9A1E}"/>
          </ac:spMkLst>
        </pc:spChg>
        <pc:spChg chg="del mod">
          <ac:chgData name="Yudi Zhu" userId="571e1a55-055f-4c28-8b35-fca6dd1c1369" providerId="ADAL" clId="{75A88773-6EE1-484E-AADE-FE631E01463B}" dt="2025-11-21T06:05:02.500" v="89230"/>
          <ac:spMkLst>
            <pc:docMk/>
            <pc:sldMk cId="2668657357" sldId="2147483085"/>
            <ac:spMk id="10" creationId="{A34D12A5-63FE-BCD8-887D-82D322883D1A}"/>
          </ac:spMkLst>
        </pc:spChg>
        <pc:spChg chg="del mod">
          <ac:chgData name="Yudi Zhu" userId="571e1a55-055f-4c28-8b35-fca6dd1c1369" providerId="ADAL" clId="{75A88773-6EE1-484E-AADE-FE631E01463B}" dt="2025-11-21T06:05:02.501" v="89231"/>
          <ac:spMkLst>
            <pc:docMk/>
            <pc:sldMk cId="2668657357" sldId="2147483085"/>
            <ac:spMk id="12" creationId="{6428D0E9-2B0A-69BF-A09A-2C1C3C8E0825}"/>
          </ac:spMkLst>
        </pc:spChg>
        <pc:spChg chg="del mod">
          <ac:chgData name="Yudi Zhu" userId="571e1a55-055f-4c28-8b35-fca6dd1c1369" providerId="ADAL" clId="{75A88773-6EE1-484E-AADE-FE631E01463B}" dt="2025-11-21T06:05:02.502" v="89232"/>
          <ac:spMkLst>
            <pc:docMk/>
            <pc:sldMk cId="2668657357" sldId="2147483085"/>
            <ac:spMk id="13" creationId="{C7E6E210-4E09-603C-7572-BA4630722C3D}"/>
          </ac:spMkLst>
        </pc:spChg>
        <pc:spChg chg="del mod modVis">
          <ac:chgData name="Yudi Zhu" userId="571e1a55-055f-4c28-8b35-fca6dd1c1369" providerId="ADAL" clId="{75A88773-6EE1-484E-AADE-FE631E01463B}" dt="2025-11-21T06:02:28.128" v="71215" actId="478"/>
          <ac:spMkLst>
            <pc:docMk/>
            <pc:sldMk cId="2668657357" sldId="2147483085"/>
            <ac:spMk id="16" creationId="{27C52701-FC27-8328-96E1-782A809AA18B}"/>
          </ac:spMkLst>
        </pc:spChg>
        <pc:spChg chg="del mod modVis">
          <ac:chgData name="Yudi Zhu" userId="571e1a55-055f-4c28-8b35-fca6dd1c1369" providerId="ADAL" clId="{75A88773-6EE1-484E-AADE-FE631E01463B}" dt="2025-11-21T06:02:28.263" v="71299" actId="478"/>
          <ac:spMkLst>
            <pc:docMk/>
            <pc:sldMk cId="2668657357" sldId="2147483085"/>
            <ac:spMk id="25" creationId="{7A2B0266-113C-1DA6-F6D2-3B7D67CCD547}"/>
          </ac:spMkLst>
        </pc:spChg>
        <pc:spChg chg="add del mod modVis">
          <ac:chgData name="Yudi Zhu" userId="571e1a55-055f-4c28-8b35-fca6dd1c1369" providerId="ADAL" clId="{75A88773-6EE1-484E-AADE-FE631E01463B}" dt="2025-11-21T06:05:08.554" v="91539"/>
          <ac:spMkLst>
            <pc:docMk/>
            <pc:sldMk cId="2668657357" sldId="2147483085"/>
            <ac:spMk id="28" creationId="{DF272C10-BACB-160B-01B7-BA65B37CBCD9}"/>
          </ac:spMkLst>
        </pc:spChg>
        <pc:spChg chg="del mod modVis">
          <ac:chgData name="Yudi Zhu" userId="571e1a55-055f-4c28-8b35-fca6dd1c1369" providerId="ADAL" clId="{75A88773-6EE1-484E-AADE-FE631E01463B}" dt="2025-11-21T06:05:13.017" v="92563" actId="478"/>
          <ac:spMkLst>
            <pc:docMk/>
            <pc:sldMk cId="2668657357" sldId="2147483085"/>
            <ac:spMk id="31" creationId="{3DF45378-7B04-B39F-B0D0-D55949A4306D}"/>
          </ac:spMkLst>
        </pc:spChg>
        <pc:spChg chg="del mod modVis">
          <ac:chgData name="Yudi Zhu" userId="571e1a55-055f-4c28-8b35-fca6dd1c1369" providerId="ADAL" clId="{75A88773-6EE1-484E-AADE-FE631E01463B}" dt="2025-11-21T06:05:13.299" v="92647" actId="478"/>
          <ac:spMkLst>
            <pc:docMk/>
            <pc:sldMk cId="2668657357" sldId="2147483085"/>
            <ac:spMk id="42" creationId="{31395454-5BB3-9D0E-3CCC-507FC7B8ED4F}"/>
          </ac:spMkLst>
        </pc:spChg>
        <pc:spChg chg="mod">
          <ac:chgData name="Yudi Zhu" userId="571e1a55-055f-4c28-8b35-fca6dd1c1369" providerId="ADAL" clId="{75A88773-6EE1-484E-AADE-FE631E01463B}" dt="2025-11-21T06:05:03.195" v="89521"/>
          <ac:spMkLst>
            <pc:docMk/>
            <pc:sldMk cId="2668657357" sldId="2147483085"/>
            <ac:spMk id="106" creationId="{8C370A7A-C44A-86A7-6A40-1AD4628FCC84}"/>
          </ac:spMkLst>
        </pc:spChg>
        <pc:spChg chg="mod">
          <ac:chgData name="Yudi Zhu" userId="571e1a55-055f-4c28-8b35-fca6dd1c1369" providerId="ADAL" clId="{75A88773-6EE1-484E-AADE-FE631E01463B}" dt="2025-11-21T06:05:03.197" v="89522"/>
          <ac:spMkLst>
            <pc:docMk/>
            <pc:sldMk cId="2668657357" sldId="2147483085"/>
            <ac:spMk id="107" creationId="{CD4FA85B-294B-12E3-296D-50F3E748DCC9}"/>
          </ac:spMkLst>
        </pc:spChg>
        <pc:spChg chg="mod">
          <ac:chgData name="Yudi Zhu" userId="571e1a55-055f-4c28-8b35-fca6dd1c1369" providerId="ADAL" clId="{75A88773-6EE1-484E-AADE-FE631E01463B}" dt="2025-11-21T06:05:03.199" v="89523"/>
          <ac:spMkLst>
            <pc:docMk/>
            <pc:sldMk cId="2668657357" sldId="2147483085"/>
            <ac:spMk id="108" creationId="{1C94BC39-8CF3-4305-1E73-24BA313EF475}"/>
          </ac:spMkLst>
        </pc:spChg>
        <pc:spChg chg="mod">
          <ac:chgData name="Yudi Zhu" userId="571e1a55-055f-4c28-8b35-fca6dd1c1369" providerId="ADAL" clId="{75A88773-6EE1-484E-AADE-FE631E01463B}" dt="2025-11-21T06:05:03.201" v="89524"/>
          <ac:spMkLst>
            <pc:docMk/>
            <pc:sldMk cId="2668657357" sldId="2147483085"/>
            <ac:spMk id="109" creationId="{92CFEEF1-080E-DABA-5599-C407893D30D9}"/>
          </ac:spMkLst>
        </pc:spChg>
        <pc:spChg chg="mod ord">
          <ac:chgData name="Yudi Zhu" userId="571e1a55-055f-4c28-8b35-fca6dd1c1369" providerId="ADAL" clId="{75A88773-6EE1-484E-AADE-FE631E01463B}" dt="2025-11-21T06:05:13.259" v="92634"/>
          <ac:spMkLst>
            <pc:docMk/>
            <pc:sldMk cId="2668657357" sldId="2147483085"/>
            <ac:spMk id="110" creationId="{F26D5B79-9DB4-6FE4-BB4A-8EE61DC00985}"/>
          </ac:spMkLst>
        </pc:spChg>
        <pc:spChg chg="mod ord">
          <ac:chgData name="Yudi Zhu" userId="571e1a55-055f-4c28-8b35-fca6dd1c1369" providerId="ADAL" clId="{75A88773-6EE1-484E-AADE-FE631E01463B}" dt="2025-11-21T06:05:13.260" v="92635"/>
          <ac:spMkLst>
            <pc:docMk/>
            <pc:sldMk cId="2668657357" sldId="2147483085"/>
            <ac:spMk id="111" creationId="{4C6DFDF9-80FC-8E0F-49F1-5C128AA82816}"/>
          </ac:spMkLst>
        </pc:spChg>
        <pc:spChg chg="mod">
          <ac:chgData name="Yudi Zhu" userId="571e1a55-055f-4c28-8b35-fca6dd1c1369" providerId="ADAL" clId="{75A88773-6EE1-484E-AADE-FE631E01463B}" dt="2025-11-21T06:05:03.206" v="89529"/>
          <ac:spMkLst>
            <pc:docMk/>
            <pc:sldMk cId="2668657357" sldId="2147483085"/>
            <ac:spMk id="112" creationId="{FDBE3892-0CD4-1A76-06E3-48556428747D}"/>
          </ac:spMkLst>
        </pc:spChg>
        <pc:spChg chg="mod">
          <ac:chgData name="Yudi Zhu" userId="571e1a55-055f-4c28-8b35-fca6dd1c1369" providerId="ADAL" clId="{75A88773-6EE1-484E-AADE-FE631E01463B}" dt="2025-11-21T06:05:03.208" v="89530"/>
          <ac:spMkLst>
            <pc:docMk/>
            <pc:sldMk cId="2668657357" sldId="2147483085"/>
            <ac:spMk id="113" creationId="{DFB0A3C4-1816-86A0-6207-57E4D884266D}"/>
          </ac:spMkLst>
        </pc:spChg>
        <pc:spChg chg="mod ord">
          <ac:chgData name="Yudi Zhu" userId="571e1a55-055f-4c28-8b35-fca6dd1c1369" providerId="ADAL" clId="{75A88773-6EE1-484E-AADE-FE631E01463B}" dt="2025-11-21T06:05:13.266" v="92636"/>
          <ac:spMkLst>
            <pc:docMk/>
            <pc:sldMk cId="2668657357" sldId="2147483085"/>
            <ac:spMk id="114" creationId="{F1B87586-8624-2B98-D668-2674B50918A3}"/>
          </ac:spMkLst>
        </pc:spChg>
        <pc:spChg chg="mod">
          <ac:chgData name="Yudi Zhu" userId="571e1a55-055f-4c28-8b35-fca6dd1c1369" providerId="ADAL" clId="{75A88773-6EE1-484E-AADE-FE631E01463B}" dt="2025-11-21T06:05:03.210" v="89533"/>
          <ac:spMkLst>
            <pc:docMk/>
            <pc:sldMk cId="2668657357" sldId="2147483085"/>
            <ac:spMk id="115" creationId="{6922F114-F5DD-7211-C060-C9B75084BA1B}"/>
          </ac:spMkLst>
        </pc:spChg>
        <pc:spChg chg="mod">
          <ac:chgData name="Yudi Zhu" userId="571e1a55-055f-4c28-8b35-fca6dd1c1369" providerId="ADAL" clId="{75A88773-6EE1-484E-AADE-FE631E01463B}" dt="2025-11-21T06:05:03.212" v="89534"/>
          <ac:spMkLst>
            <pc:docMk/>
            <pc:sldMk cId="2668657357" sldId="2147483085"/>
            <ac:spMk id="116" creationId="{82FB128D-7725-075B-1E5A-A880D1E83308}"/>
          </ac:spMkLst>
        </pc:spChg>
        <pc:spChg chg="mod">
          <ac:chgData name="Yudi Zhu" userId="571e1a55-055f-4c28-8b35-fca6dd1c1369" providerId="ADAL" clId="{75A88773-6EE1-484E-AADE-FE631E01463B}" dt="2025-11-21T06:05:03.215" v="89535"/>
          <ac:spMkLst>
            <pc:docMk/>
            <pc:sldMk cId="2668657357" sldId="2147483085"/>
            <ac:spMk id="117" creationId="{688C03B4-04BB-993E-4252-6B10B36F2068}"/>
          </ac:spMkLst>
        </pc:spChg>
        <pc:spChg chg="mod ord">
          <ac:chgData name="Yudi Zhu" userId="571e1a55-055f-4c28-8b35-fca6dd1c1369" providerId="ADAL" clId="{75A88773-6EE1-484E-AADE-FE631E01463B}" dt="2025-11-21T06:05:13.272" v="92637"/>
          <ac:spMkLst>
            <pc:docMk/>
            <pc:sldMk cId="2668657357" sldId="2147483085"/>
            <ac:spMk id="118" creationId="{431BF501-78D0-7760-1F78-69210C1497D7}"/>
          </ac:spMkLst>
        </pc:spChg>
        <pc:spChg chg="mod">
          <ac:chgData name="Yudi Zhu" userId="571e1a55-055f-4c28-8b35-fca6dd1c1369" providerId="ADAL" clId="{75A88773-6EE1-484E-AADE-FE631E01463B}" dt="2025-11-21T06:05:03.221" v="89539"/>
          <ac:spMkLst>
            <pc:docMk/>
            <pc:sldMk cId="2668657357" sldId="2147483085"/>
            <ac:spMk id="119" creationId="{4E4B0555-1157-C213-0A99-4BF490E013A4}"/>
          </ac:spMkLst>
        </pc:spChg>
        <pc:spChg chg="mod">
          <ac:chgData name="Yudi Zhu" userId="571e1a55-055f-4c28-8b35-fca6dd1c1369" providerId="ADAL" clId="{75A88773-6EE1-484E-AADE-FE631E01463B}" dt="2025-11-21T06:05:03.222" v="89540"/>
          <ac:spMkLst>
            <pc:docMk/>
            <pc:sldMk cId="2668657357" sldId="2147483085"/>
            <ac:spMk id="121" creationId="{05EBA651-D90D-7617-BB25-F585CA8F308C}"/>
          </ac:spMkLst>
        </pc:spChg>
        <pc:spChg chg="mod">
          <ac:chgData name="Yudi Zhu" userId="571e1a55-055f-4c28-8b35-fca6dd1c1369" providerId="ADAL" clId="{75A88773-6EE1-484E-AADE-FE631E01463B}" dt="2025-11-21T06:05:03.160" v="89490"/>
          <ac:spMkLst>
            <pc:docMk/>
            <pc:sldMk cId="2668657357" sldId="2147483085"/>
            <ac:spMk id="264" creationId="{B34B2A8E-A725-BE3F-060A-3339ADC8BA2B}"/>
          </ac:spMkLst>
        </pc:spChg>
        <pc:spChg chg="mod">
          <ac:chgData name="Yudi Zhu" userId="571e1a55-055f-4c28-8b35-fca6dd1c1369" providerId="ADAL" clId="{75A88773-6EE1-484E-AADE-FE631E01463B}" dt="2025-11-21T06:05:03.162" v="89492"/>
          <ac:spMkLst>
            <pc:docMk/>
            <pc:sldMk cId="2668657357" sldId="2147483085"/>
            <ac:spMk id="265" creationId="{E5B99CB0-AF35-9523-CCD8-5D460F1EFB1D}"/>
          </ac:spMkLst>
        </pc:spChg>
        <pc:spChg chg="mod">
          <ac:chgData name="Yudi Zhu" userId="571e1a55-055f-4c28-8b35-fca6dd1c1369" providerId="ADAL" clId="{75A88773-6EE1-484E-AADE-FE631E01463B}" dt="2025-11-21T06:05:03.167" v="89494"/>
          <ac:spMkLst>
            <pc:docMk/>
            <pc:sldMk cId="2668657357" sldId="2147483085"/>
            <ac:spMk id="266" creationId="{D906B5B5-3D0F-0804-8B67-6298CB7CDEF9}"/>
          </ac:spMkLst>
        </pc:spChg>
        <pc:spChg chg="mod">
          <ac:chgData name="Yudi Zhu" userId="571e1a55-055f-4c28-8b35-fca6dd1c1369" providerId="ADAL" clId="{75A88773-6EE1-484E-AADE-FE631E01463B}" dt="2025-11-21T06:05:03.171" v="89497"/>
          <ac:spMkLst>
            <pc:docMk/>
            <pc:sldMk cId="2668657357" sldId="2147483085"/>
            <ac:spMk id="267" creationId="{7FD5C2D1-065C-BE54-58E9-72570F54E097}"/>
          </ac:spMkLst>
        </pc:spChg>
        <pc:spChg chg="mod">
          <ac:chgData name="Yudi Zhu" userId="571e1a55-055f-4c28-8b35-fca6dd1c1369" providerId="ADAL" clId="{75A88773-6EE1-484E-AADE-FE631E01463B}" dt="2025-11-21T06:05:03.174" v="89499"/>
          <ac:spMkLst>
            <pc:docMk/>
            <pc:sldMk cId="2668657357" sldId="2147483085"/>
            <ac:spMk id="268" creationId="{EFFF287C-BADC-E8CA-196C-D0E14F6D3755}"/>
          </ac:spMkLst>
        </pc:spChg>
        <pc:spChg chg="mod">
          <ac:chgData name="Yudi Zhu" userId="571e1a55-055f-4c28-8b35-fca6dd1c1369" providerId="ADAL" clId="{75A88773-6EE1-484E-AADE-FE631E01463B}" dt="2025-11-21T06:05:03.176" v="89502"/>
          <ac:spMkLst>
            <pc:docMk/>
            <pc:sldMk cId="2668657357" sldId="2147483085"/>
            <ac:spMk id="269" creationId="{C6777B5C-8847-92DC-3D4C-B6C57AC72D81}"/>
          </ac:spMkLst>
        </pc:spChg>
        <pc:spChg chg="mod">
          <ac:chgData name="Yudi Zhu" userId="571e1a55-055f-4c28-8b35-fca6dd1c1369" providerId="ADAL" clId="{75A88773-6EE1-484E-AADE-FE631E01463B}" dt="2025-11-21T06:05:03.178" v="89504"/>
          <ac:spMkLst>
            <pc:docMk/>
            <pc:sldMk cId="2668657357" sldId="2147483085"/>
            <ac:spMk id="270" creationId="{D213B181-0FDA-BDF9-BCD2-A25001A63270}"/>
          </ac:spMkLst>
        </pc:spChg>
        <pc:spChg chg="mod">
          <ac:chgData name="Yudi Zhu" userId="571e1a55-055f-4c28-8b35-fca6dd1c1369" providerId="ADAL" clId="{75A88773-6EE1-484E-AADE-FE631E01463B}" dt="2025-11-21T06:05:03.182" v="89506"/>
          <ac:spMkLst>
            <pc:docMk/>
            <pc:sldMk cId="2668657357" sldId="2147483085"/>
            <ac:spMk id="271" creationId="{55188C7E-0C5C-8780-C3D5-62E2134CB478}"/>
          </ac:spMkLst>
        </pc:spChg>
        <pc:spChg chg="mod">
          <ac:chgData name="Yudi Zhu" userId="571e1a55-055f-4c28-8b35-fca6dd1c1369" providerId="ADAL" clId="{75A88773-6EE1-484E-AADE-FE631E01463B}" dt="2025-11-21T06:05:03.185" v="89508"/>
          <ac:spMkLst>
            <pc:docMk/>
            <pc:sldMk cId="2668657357" sldId="2147483085"/>
            <ac:spMk id="272" creationId="{9E98714F-E440-1738-DD29-A8D36CD120A2}"/>
          </ac:spMkLst>
        </pc:spChg>
        <pc:spChg chg="mod">
          <ac:chgData name="Yudi Zhu" userId="571e1a55-055f-4c28-8b35-fca6dd1c1369" providerId="ADAL" clId="{75A88773-6EE1-484E-AADE-FE631E01463B}" dt="2025-11-21T06:05:03.187" v="89510"/>
          <ac:spMkLst>
            <pc:docMk/>
            <pc:sldMk cId="2668657357" sldId="2147483085"/>
            <ac:spMk id="273" creationId="{FCB22F56-785E-8CBC-40E8-09BD17926269}"/>
          </ac:spMkLst>
        </pc:spChg>
        <pc:spChg chg="mod">
          <ac:chgData name="Yudi Zhu" userId="571e1a55-055f-4c28-8b35-fca6dd1c1369" providerId="ADAL" clId="{75A88773-6EE1-484E-AADE-FE631E01463B}" dt="2025-11-21T06:05:03.161" v="89491"/>
          <ac:spMkLst>
            <pc:docMk/>
            <pc:sldMk cId="2668657357" sldId="2147483085"/>
            <ac:spMk id="413" creationId="{9DC6F429-0799-5BAE-3FF6-F54953BB158F}"/>
          </ac:spMkLst>
        </pc:spChg>
        <pc:spChg chg="mod">
          <ac:chgData name="Yudi Zhu" userId="571e1a55-055f-4c28-8b35-fca6dd1c1369" providerId="ADAL" clId="{75A88773-6EE1-484E-AADE-FE631E01463B}" dt="2025-11-21T06:05:03.164" v="89493"/>
          <ac:spMkLst>
            <pc:docMk/>
            <pc:sldMk cId="2668657357" sldId="2147483085"/>
            <ac:spMk id="417" creationId="{33541444-D47B-FA07-37CE-40BBBC0C2206}"/>
          </ac:spMkLst>
        </pc:spChg>
        <pc:spChg chg="mod ord">
          <ac:chgData name="Yudi Zhu" userId="571e1a55-055f-4c28-8b35-fca6dd1c1369" providerId="ADAL" clId="{75A88773-6EE1-484E-AADE-FE631E01463B}" dt="2025-11-21T06:05:13.226" v="92627"/>
          <ac:spMkLst>
            <pc:docMk/>
            <pc:sldMk cId="2668657357" sldId="2147483085"/>
            <ac:spMk id="418" creationId="{EC311788-AD45-DFF5-F28E-3258868CB46F}"/>
          </ac:spMkLst>
        </pc:spChg>
        <pc:spChg chg="mod">
          <ac:chgData name="Yudi Zhu" userId="571e1a55-055f-4c28-8b35-fca6dd1c1369" providerId="ADAL" clId="{75A88773-6EE1-484E-AADE-FE631E01463B}" dt="2025-11-21T06:05:03.172" v="89498"/>
          <ac:spMkLst>
            <pc:docMk/>
            <pc:sldMk cId="2668657357" sldId="2147483085"/>
            <ac:spMk id="419" creationId="{034011CC-7BFF-86F2-5385-73633A5DEC92}"/>
          </ac:spMkLst>
        </pc:spChg>
        <pc:spChg chg="mod ord">
          <ac:chgData name="Yudi Zhu" userId="571e1a55-055f-4c28-8b35-fca6dd1c1369" providerId="ADAL" clId="{75A88773-6EE1-484E-AADE-FE631E01463B}" dt="2025-11-21T06:05:13.232" v="92628"/>
          <ac:spMkLst>
            <pc:docMk/>
            <pc:sldMk cId="2668657357" sldId="2147483085"/>
            <ac:spMk id="420" creationId="{D2565CDF-0DF9-5B2E-3ED0-1D0598F9335D}"/>
          </ac:spMkLst>
        </pc:spChg>
        <pc:spChg chg="mod">
          <ac:chgData name="Yudi Zhu" userId="571e1a55-055f-4c28-8b35-fca6dd1c1369" providerId="ADAL" clId="{75A88773-6EE1-484E-AADE-FE631E01463B}" dt="2025-11-21T06:05:03.178" v="89503"/>
          <ac:spMkLst>
            <pc:docMk/>
            <pc:sldMk cId="2668657357" sldId="2147483085"/>
            <ac:spMk id="421" creationId="{B379035E-B2CC-6E54-0585-6CF2F4FF0D25}"/>
          </ac:spMkLst>
        </pc:spChg>
        <pc:spChg chg="mod">
          <ac:chgData name="Yudi Zhu" userId="571e1a55-055f-4c28-8b35-fca6dd1c1369" providerId="ADAL" clId="{75A88773-6EE1-484E-AADE-FE631E01463B}" dt="2025-11-21T06:05:03.179" v="89505"/>
          <ac:spMkLst>
            <pc:docMk/>
            <pc:sldMk cId="2668657357" sldId="2147483085"/>
            <ac:spMk id="422" creationId="{265EF44E-B098-70C9-648C-D982B56BB57C}"/>
          </ac:spMkLst>
        </pc:spChg>
        <pc:spChg chg="mod">
          <ac:chgData name="Yudi Zhu" userId="571e1a55-055f-4c28-8b35-fca6dd1c1369" providerId="ADAL" clId="{75A88773-6EE1-484E-AADE-FE631E01463B}" dt="2025-11-21T06:05:03.183" v="89507"/>
          <ac:spMkLst>
            <pc:docMk/>
            <pc:sldMk cId="2668657357" sldId="2147483085"/>
            <ac:spMk id="423" creationId="{140845F2-BC93-FAF1-9D0B-6D2336EADF5F}"/>
          </ac:spMkLst>
        </pc:spChg>
        <pc:spChg chg="mod">
          <ac:chgData name="Yudi Zhu" userId="571e1a55-055f-4c28-8b35-fca6dd1c1369" providerId="ADAL" clId="{75A88773-6EE1-484E-AADE-FE631E01463B}" dt="2025-11-21T06:05:03.186" v="89509"/>
          <ac:spMkLst>
            <pc:docMk/>
            <pc:sldMk cId="2668657357" sldId="2147483085"/>
            <ac:spMk id="424" creationId="{8EC747FA-F073-0984-207D-C92D73B024E2}"/>
          </ac:spMkLst>
        </pc:spChg>
        <pc:spChg chg="mod">
          <ac:chgData name="Yudi Zhu" userId="571e1a55-055f-4c28-8b35-fca6dd1c1369" providerId="ADAL" clId="{75A88773-6EE1-484E-AADE-FE631E01463B}" dt="2025-11-21T06:05:03.188" v="89511"/>
          <ac:spMkLst>
            <pc:docMk/>
            <pc:sldMk cId="2668657357" sldId="2147483085"/>
            <ac:spMk id="425" creationId="{AD090EEF-2E17-0909-CD76-83F939D6AB5A}"/>
          </ac:spMkLst>
        </pc:spChg>
        <pc:spChg chg="mod">
          <ac:chgData name="Yudi Zhu" userId="571e1a55-055f-4c28-8b35-fca6dd1c1369" providerId="ADAL" clId="{75A88773-6EE1-484E-AADE-FE631E01463B}" dt="2025-11-21T06:05:03.219" v="89538"/>
          <ac:spMkLst>
            <pc:docMk/>
            <pc:sldMk cId="2668657357" sldId="2147483085"/>
            <ac:spMk id="582" creationId="{12873714-EE12-4BE1-4ABA-25F3F4C5C460}"/>
          </ac:spMkLst>
        </pc:spChg>
        <pc:spChg chg="mod">
          <ac:chgData name="Yudi Zhu" userId="571e1a55-055f-4c28-8b35-fca6dd1c1369" providerId="ADAL" clId="{75A88773-6EE1-484E-AADE-FE631E01463B}" dt="2025-11-21T06:05:03.230" v="89549"/>
          <ac:spMkLst>
            <pc:docMk/>
            <pc:sldMk cId="2668657357" sldId="2147483085"/>
            <ac:spMk id="813" creationId="{67E1DC45-649B-4039-D545-C329BB795459}"/>
          </ac:spMkLst>
        </pc:spChg>
        <pc:spChg chg="mod">
          <ac:chgData name="Yudi Zhu" userId="571e1a55-055f-4c28-8b35-fca6dd1c1369" providerId="ADAL" clId="{75A88773-6EE1-484E-AADE-FE631E01463B}" dt="2025-11-21T06:05:03.232" v="89550"/>
          <ac:spMkLst>
            <pc:docMk/>
            <pc:sldMk cId="2668657357" sldId="2147483085"/>
            <ac:spMk id="815" creationId="{A29572FB-5F63-6248-1FEF-0E6EBA1E96E2}"/>
          </ac:spMkLst>
        </pc:spChg>
        <pc:spChg chg="mod">
          <ac:chgData name="Yudi Zhu" userId="571e1a55-055f-4c28-8b35-fca6dd1c1369" providerId="ADAL" clId="{75A88773-6EE1-484E-AADE-FE631E01463B}" dt="2025-11-21T06:05:03.233" v="89551"/>
          <ac:spMkLst>
            <pc:docMk/>
            <pc:sldMk cId="2668657357" sldId="2147483085"/>
            <ac:spMk id="816" creationId="{84A0BD01-6912-6739-1859-19F6958A40A8}"/>
          </ac:spMkLst>
        </pc:spChg>
        <pc:spChg chg="mod">
          <ac:chgData name="Yudi Zhu" userId="571e1a55-055f-4c28-8b35-fca6dd1c1369" providerId="ADAL" clId="{75A88773-6EE1-484E-AADE-FE631E01463B}" dt="2025-11-21T06:05:03.235" v="89552"/>
          <ac:spMkLst>
            <pc:docMk/>
            <pc:sldMk cId="2668657357" sldId="2147483085"/>
            <ac:spMk id="817" creationId="{C9E8303D-DDC7-AA4E-80C9-580D4859E48E}"/>
          </ac:spMkLst>
        </pc:spChg>
        <pc:spChg chg="mod ord">
          <ac:chgData name="Yudi Zhu" userId="571e1a55-055f-4c28-8b35-fca6dd1c1369" providerId="ADAL" clId="{75A88773-6EE1-484E-AADE-FE631E01463B}" dt="2025-11-21T06:05:13.276" v="92638"/>
          <ac:spMkLst>
            <pc:docMk/>
            <pc:sldMk cId="2668657357" sldId="2147483085"/>
            <ac:spMk id="818" creationId="{E6D25C14-E32E-6BAB-9D33-1EB7DA5DD21B}"/>
          </ac:spMkLst>
        </pc:spChg>
        <pc:spChg chg="mod ord">
          <ac:chgData name="Yudi Zhu" userId="571e1a55-055f-4c28-8b35-fca6dd1c1369" providerId="ADAL" clId="{75A88773-6EE1-484E-AADE-FE631E01463B}" dt="2025-11-21T06:05:13.278" v="92639"/>
          <ac:spMkLst>
            <pc:docMk/>
            <pc:sldMk cId="2668657357" sldId="2147483085"/>
            <ac:spMk id="819" creationId="{7AA2B440-9124-CC32-CA75-0A83ADD648C8}"/>
          </ac:spMkLst>
        </pc:spChg>
        <pc:spChg chg="mod ord">
          <ac:chgData name="Yudi Zhu" userId="571e1a55-055f-4c28-8b35-fca6dd1c1369" providerId="ADAL" clId="{75A88773-6EE1-484E-AADE-FE631E01463B}" dt="2025-11-21T06:05:13.280" v="92640"/>
          <ac:spMkLst>
            <pc:docMk/>
            <pc:sldMk cId="2668657357" sldId="2147483085"/>
            <ac:spMk id="820" creationId="{A675EA42-C76B-3910-0CBE-04E39BCF21DB}"/>
          </ac:spMkLst>
        </pc:spChg>
        <pc:spChg chg="mod ord">
          <ac:chgData name="Yudi Zhu" userId="571e1a55-055f-4c28-8b35-fca6dd1c1369" providerId="ADAL" clId="{75A88773-6EE1-484E-AADE-FE631E01463B}" dt="2025-11-21T06:05:13.283" v="92641"/>
          <ac:spMkLst>
            <pc:docMk/>
            <pc:sldMk cId="2668657357" sldId="2147483085"/>
            <ac:spMk id="821" creationId="{56E56163-BF31-33F8-0554-EC80247E78EB}"/>
          </ac:spMkLst>
        </pc:spChg>
        <pc:spChg chg="mod ord">
          <ac:chgData name="Yudi Zhu" userId="571e1a55-055f-4c28-8b35-fca6dd1c1369" providerId="ADAL" clId="{75A88773-6EE1-484E-AADE-FE631E01463B}" dt="2025-11-21T06:05:13.290" v="92642"/>
          <ac:spMkLst>
            <pc:docMk/>
            <pc:sldMk cId="2668657357" sldId="2147483085"/>
            <ac:spMk id="925" creationId="{9706240A-0978-2053-DB9C-EE04E10C4F9E}"/>
          </ac:spMkLst>
        </pc:spChg>
        <pc:spChg chg="mod ord">
          <ac:chgData name="Yudi Zhu" userId="571e1a55-055f-4c28-8b35-fca6dd1c1369" providerId="ADAL" clId="{75A88773-6EE1-484E-AADE-FE631E01463B}" dt="2025-11-21T06:05:13.292" v="92643"/>
          <ac:spMkLst>
            <pc:docMk/>
            <pc:sldMk cId="2668657357" sldId="2147483085"/>
            <ac:spMk id="926" creationId="{A31AC8E4-680B-3693-A31E-FA81F4441C30}"/>
          </ac:spMkLst>
        </pc:spChg>
        <pc:spChg chg="mod ord">
          <ac:chgData name="Yudi Zhu" userId="571e1a55-055f-4c28-8b35-fca6dd1c1369" providerId="ADAL" clId="{75A88773-6EE1-484E-AADE-FE631E01463B}" dt="2025-11-21T06:05:13.297" v="92646"/>
          <ac:spMkLst>
            <pc:docMk/>
            <pc:sldMk cId="2668657357" sldId="2147483085"/>
            <ac:spMk id="929" creationId="{1A67DF83-0285-3ADF-6A1A-EDBC9CFC39E4}"/>
          </ac:spMkLst>
        </pc:spChg>
        <pc:graphicFrameChg chg="mod">
          <ac:chgData name="Yudi Zhu" userId="571e1a55-055f-4c28-8b35-fca6dd1c1369" providerId="ADAL" clId="{75A88773-6EE1-484E-AADE-FE631E01463B}" dt="2025-11-21T06:05:13.301" v="92648" actId="1076"/>
          <ac:graphicFrameMkLst>
            <pc:docMk/>
            <pc:sldMk cId="2668657357" sldId="2147483085"/>
            <ac:graphicFrameMk id="11" creationId="{FE17C21E-ECC8-37E3-B26B-91098A452777}"/>
          </ac:graphicFrameMkLst>
        </pc:graphicFrameChg>
        <pc:graphicFrameChg chg="del mod">
          <ac:chgData name="Yudi Zhu" userId="571e1a55-055f-4c28-8b35-fca6dd1c1369" providerId="ADAL" clId="{75A88773-6EE1-484E-AADE-FE631E01463B}" dt="2025-11-21T06:02:28.063" v="71181" actId="478"/>
          <ac:graphicFrameMkLst>
            <pc:docMk/>
            <pc:sldMk cId="2668657357" sldId="2147483085"/>
            <ac:graphicFrameMk id="14" creationId="{E8F256F3-E9B1-6CBD-995D-A77325F17F44}"/>
          </ac:graphicFrameMkLst>
        </pc:graphicFrameChg>
        <pc:graphicFrameChg chg="del mod">
          <ac:chgData name="Yudi Zhu" userId="571e1a55-055f-4c28-8b35-fca6dd1c1369" providerId="ADAL" clId="{75A88773-6EE1-484E-AADE-FE631E01463B}" dt="2025-11-21T06:02:28.198" v="71264" actId="478"/>
          <ac:graphicFrameMkLst>
            <pc:docMk/>
            <pc:sldMk cId="2668657357" sldId="2147483085"/>
            <ac:graphicFrameMk id="15" creationId="{9AA7F8E9-333C-4627-25D1-F941737EC577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2.519" v="89248"/>
          <ac:graphicFrameMkLst>
            <pc:docMk/>
            <pc:sldMk cId="2668657357" sldId="2147483085"/>
            <ac:graphicFrameMk id="24" creationId="{73C449C3-77F7-EC1A-50EF-734731EAD1CF}"/>
          </ac:graphicFrameMkLst>
        </pc:graphicFrameChg>
        <pc:graphicFrameChg chg="del mod">
          <ac:chgData name="Yudi Zhu" userId="571e1a55-055f-4c28-8b35-fca6dd1c1369" providerId="ADAL" clId="{75A88773-6EE1-484E-AADE-FE631E01463B}" dt="2025-11-21T06:05:03.019" v="89429"/>
          <ac:graphicFrameMkLst>
            <pc:docMk/>
            <pc:sldMk cId="2668657357" sldId="2147483085"/>
            <ac:graphicFrameMk id="27" creationId="{A2D214B0-6634-F796-3DE6-6C89EDEE618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2.883" v="92529" actId="478"/>
          <ac:graphicFrameMkLst>
            <pc:docMk/>
            <pc:sldMk cId="2668657357" sldId="2147483085"/>
            <ac:graphicFrameMk id="29" creationId="{DA7903DF-8423-3D08-413A-ED814F8A86B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3.163" v="92612" actId="478"/>
          <ac:graphicFrameMkLst>
            <pc:docMk/>
            <pc:sldMk cId="2668657357" sldId="2147483085"/>
            <ac:graphicFrameMk id="30" creationId="{14AF3377-03A3-E5B8-BF6A-E06E8419E1B7}"/>
          </ac:graphicFrameMkLst>
        </pc:graphicFrameChg>
        <pc:graphicFrameChg chg="mod">
          <ac:chgData name="Yudi Zhu" userId="571e1a55-055f-4c28-8b35-fca6dd1c1369" providerId="ADAL" clId="{75A88773-6EE1-484E-AADE-FE631E01463B}" dt="2025-11-21T06:05:12.911" v="92531" actId="1076"/>
          <ac:graphicFrameMkLst>
            <pc:docMk/>
            <pc:sldMk cId="2668657357" sldId="2147483085"/>
            <ac:graphicFrameMk id="41" creationId="{C9B996B6-C85C-34DD-74B9-8032263C7D6E}"/>
          </ac:graphicFrameMkLst>
        </pc:graphicFrameChg>
        <pc:graphicFrameChg chg="mod">
          <ac:chgData name="Yudi Zhu" userId="571e1a55-055f-4c28-8b35-fca6dd1c1369" providerId="ADAL" clId="{75A88773-6EE1-484E-AADE-FE631E01463B}" dt="2025-11-21T06:05:13.191" v="92614" actId="1076"/>
          <ac:graphicFrameMkLst>
            <pc:docMk/>
            <pc:sldMk cId="2668657357" sldId="2147483085"/>
            <ac:graphicFrameMk id="44" creationId="{018ABBDF-E822-F5C3-49EE-0396A0ED6B6C}"/>
          </ac:graphicFrameMkLst>
        </pc:graphicFrameChg>
        <pc:graphicFrameChg chg="del">
          <ac:chgData name="Yudi Zhu" userId="571e1a55-055f-4c28-8b35-fca6dd1c1369" providerId="ADAL" clId="{75A88773-6EE1-484E-AADE-FE631E01463B}" dt="2025-11-21T06:02:21.461" v="68407" actId="478"/>
          <ac:graphicFrameMkLst>
            <pc:docMk/>
            <pc:sldMk cId="2668657357" sldId="2147483085"/>
            <ac:graphicFrameMk id="891" creationId="{83DCE3FF-8BC3-9A58-39E3-6591D26E5053}"/>
          </ac:graphicFrameMkLst>
        </pc:graphicFrameChg>
        <pc:graphicFrameChg chg="del">
          <ac:chgData name="Yudi Zhu" userId="571e1a55-055f-4c28-8b35-fca6dd1c1369" providerId="ADAL" clId="{75A88773-6EE1-484E-AADE-FE631E01463B}" dt="2025-11-21T06:02:21.651" v="68615" actId="478"/>
          <ac:graphicFrameMkLst>
            <pc:docMk/>
            <pc:sldMk cId="2668657357" sldId="2147483085"/>
            <ac:graphicFrameMk id="924" creationId="{89088854-A5E3-4F28-DD07-05C4ABCF4DD1}"/>
          </ac:graphicFrameMkLst>
        </pc:graphicFrameChg>
        <pc:cxnChg chg="mod ord">
          <ac:chgData name="Yudi Zhu" userId="571e1a55-055f-4c28-8b35-fca6dd1c1369" providerId="ADAL" clId="{75A88773-6EE1-484E-AADE-FE631E01463B}" dt="2025-11-21T06:05:13.202" v="92618"/>
          <ac:cxnSpMkLst>
            <pc:docMk/>
            <pc:sldMk cId="2668657357" sldId="2147483085"/>
            <ac:cxnSpMk id="9" creationId="{F5965719-FE68-9436-86EC-4D109ABB9B71}"/>
          </ac:cxnSpMkLst>
        </pc:cxnChg>
        <pc:cxnChg chg="del mod ord">
          <ac:chgData name="Yudi Zhu" userId="571e1a55-055f-4c28-8b35-fca6dd1c1369" providerId="ADAL" clId="{75A88773-6EE1-484E-AADE-FE631E01463B}" dt="2025-11-21T06:05:02.504" v="89234"/>
          <ac:cxnSpMkLst>
            <pc:docMk/>
            <pc:sldMk cId="2668657357" sldId="2147483085"/>
            <ac:cxnSpMk id="17" creationId="{81B5B7F1-D9EB-7808-F02B-C3D5AB9A57E0}"/>
          </ac:cxnSpMkLst>
        </pc:cxnChg>
        <pc:cxnChg chg="del mod ord">
          <ac:chgData name="Yudi Zhu" userId="571e1a55-055f-4c28-8b35-fca6dd1c1369" providerId="ADAL" clId="{75A88773-6EE1-484E-AADE-FE631E01463B}" dt="2025-11-21T06:05:02.507" v="89236"/>
          <ac:cxnSpMkLst>
            <pc:docMk/>
            <pc:sldMk cId="2668657357" sldId="2147483085"/>
            <ac:cxnSpMk id="18" creationId="{2C4AEF83-6DDA-2192-F6CE-6400A81C59CB}"/>
          </ac:cxnSpMkLst>
        </pc:cxnChg>
        <pc:cxnChg chg="del mod ord">
          <ac:chgData name="Yudi Zhu" userId="571e1a55-055f-4c28-8b35-fca6dd1c1369" providerId="ADAL" clId="{75A88773-6EE1-484E-AADE-FE631E01463B}" dt="2025-11-21T06:05:02.509" v="89238"/>
          <ac:cxnSpMkLst>
            <pc:docMk/>
            <pc:sldMk cId="2668657357" sldId="2147483085"/>
            <ac:cxnSpMk id="19" creationId="{582FF32A-5E2B-12B1-082B-45A3D5435792}"/>
          </ac:cxnSpMkLst>
        </pc:cxnChg>
        <pc:cxnChg chg="del mod ord">
          <ac:chgData name="Yudi Zhu" userId="571e1a55-055f-4c28-8b35-fca6dd1c1369" providerId="ADAL" clId="{75A88773-6EE1-484E-AADE-FE631E01463B}" dt="2025-11-21T06:05:02.511" v="89240"/>
          <ac:cxnSpMkLst>
            <pc:docMk/>
            <pc:sldMk cId="2668657357" sldId="2147483085"/>
            <ac:cxnSpMk id="20" creationId="{8C5020B4-1D9D-F249-02D2-4C38AD3981D1}"/>
          </ac:cxnSpMkLst>
        </pc:cxnChg>
        <pc:cxnChg chg="del mod ord">
          <ac:chgData name="Yudi Zhu" userId="571e1a55-055f-4c28-8b35-fca6dd1c1369" providerId="ADAL" clId="{75A88773-6EE1-484E-AADE-FE631E01463B}" dt="2025-11-21T06:05:02.513" v="89242"/>
          <ac:cxnSpMkLst>
            <pc:docMk/>
            <pc:sldMk cId="2668657357" sldId="2147483085"/>
            <ac:cxnSpMk id="21" creationId="{94DF090C-DEDB-A295-ACFD-EF7747FFF37D}"/>
          </ac:cxnSpMkLst>
        </pc:cxnChg>
        <pc:cxnChg chg="del mod ord">
          <ac:chgData name="Yudi Zhu" userId="571e1a55-055f-4c28-8b35-fca6dd1c1369" providerId="ADAL" clId="{75A88773-6EE1-484E-AADE-FE631E01463B}" dt="2025-11-21T06:05:02.515" v="89244"/>
          <ac:cxnSpMkLst>
            <pc:docMk/>
            <pc:sldMk cId="2668657357" sldId="2147483085"/>
            <ac:cxnSpMk id="22" creationId="{CBBC3330-1702-F9DE-5195-C51EA65F6425}"/>
          </ac:cxnSpMkLst>
        </pc:cxnChg>
        <pc:cxnChg chg="del mod ord">
          <ac:chgData name="Yudi Zhu" userId="571e1a55-055f-4c28-8b35-fca6dd1c1369" providerId="ADAL" clId="{75A88773-6EE1-484E-AADE-FE631E01463B}" dt="2025-11-21T06:05:02.517" v="89246"/>
          <ac:cxnSpMkLst>
            <pc:docMk/>
            <pc:sldMk cId="2668657357" sldId="2147483085"/>
            <ac:cxnSpMk id="23" creationId="{8801194E-35AA-F9A9-8B23-CB3ABA0D9239}"/>
          </ac:cxnSpMkLst>
        </pc:cxnChg>
        <pc:cxnChg chg="del mod ord">
          <ac:chgData name="Yudi Zhu" userId="571e1a55-055f-4c28-8b35-fca6dd1c1369" providerId="ADAL" clId="{75A88773-6EE1-484E-AADE-FE631E01463B}" dt="2025-11-21T06:05:03.016" v="89427"/>
          <ac:cxnSpMkLst>
            <pc:docMk/>
            <pc:sldMk cId="2668657357" sldId="2147483085"/>
            <ac:cxnSpMk id="26" creationId="{2A86D950-D994-F0BF-C7D0-6B8CE6846987}"/>
          </ac:cxnSpMkLst>
        </pc:cxnChg>
        <pc:cxnChg chg="mod ord">
          <ac:chgData name="Yudi Zhu" userId="571e1a55-055f-4c28-8b35-fca6dd1c1369" providerId="ADAL" clId="{75A88773-6EE1-484E-AADE-FE631E01463B}" dt="2025-11-21T06:05:13.207" v="92620"/>
          <ac:cxnSpMkLst>
            <pc:docMk/>
            <pc:sldMk cId="2668657357" sldId="2147483085"/>
            <ac:cxnSpMk id="32" creationId="{DA86B465-304F-52E9-1037-6DCCE692AAE4}"/>
          </ac:cxnSpMkLst>
        </pc:cxnChg>
        <pc:cxnChg chg="mod ord">
          <ac:chgData name="Yudi Zhu" userId="571e1a55-055f-4c28-8b35-fca6dd1c1369" providerId="ADAL" clId="{75A88773-6EE1-484E-AADE-FE631E01463B}" dt="2025-11-21T06:05:13.198" v="92616"/>
          <ac:cxnSpMkLst>
            <pc:docMk/>
            <pc:sldMk cId="2668657357" sldId="2147483085"/>
            <ac:cxnSpMk id="33" creationId="{2CF63915-CF1E-6744-5BB0-9429E9F10607}"/>
          </ac:cxnSpMkLst>
        </pc:cxnChg>
        <pc:cxnChg chg="mod ord">
          <ac:chgData name="Yudi Zhu" userId="571e1a55-055f-4c28-8b35-fca6dd1c1369" providerId="ADAL" clId="{75A88773-6EE1-484E-AADE-FE631E01463B}" dt="2025-11-21T06:05:13.209" v="92621"/>
          <ac:cxnSpMkLst>
            <pc:docMk/>
            <pc:sldMk cId="2668657357" sldId="2147483085"/>
            <ac:cxnSpMk id="34" creationId="{8A4E6140-6446-0727-C98D-580655B26F17}"/>
          </ac:cxnSpMkLst>
        </pc:cxnChg>
        <pc:cxnChg chg="mod ord">
          <ac:chgData name="Yudi Zhu" userId="571e1a55-055f-4c28-8b35-fca6dd1c1369" providerId="ADAL" clId="{75A88773-6EE1-484E-AADE-FE631E01463B}" dt="2025-11-21T06:05:13.210" v="92622"/>
          <ac:cxnSpMkLst>
            <pc:docMk/>
            <pc:sldMk cId="2668657357" sldId="2147483085"/>
            <ac:cxnSpMk id="35" creationId="{A1D9C61A-3AB3-5321-FF51-FC0FA193E7B8}"/>
          </ac:cxnSpMkLst>
        </pc:cxnChg>
        <pc:cxnChg chg="mod ord">
          <ac:chgData name="Yudi Zhu" userId="571e1a55-055f-4c28-8b35-fca6dd1c1369" providerId="ADAL" clId="{75A88773-6EE1-484E-AADE-FE631E01463B}" dt="2025-11-21T06:05:13.211" v="92623"/>
          <ac:cxnSpMkLst>
            <pc:docMk/>
            <pc:sldMk cId="2668657357" sldId="2147483085"/>
            <ac:cxnSpMk id="36" creationId="{E86B7782-BF70-3725-90DB-94D0DB039578}"/>
          </ac:cxnSpMkLst>
        </pc:cxnChg>
        <pc:cxnChg chg="mod ord">
          <ac:chgData name="Yudi Zhu" userId="571e1a55-055f-4c28-8b35-fca6dd1c1369" providerId="ADAL" clId="{75A88773-6EE1-484E-AADE-FE631E01463B}" dt="2025-11-21T06:05:13.213" v="92624"/>
          <ac:cxnSpMkLst>
            <pc:docMk/>
            <pc:sldMk cId="2668657357" sldId="2147483085"/>
            <ac:cxnSpMk id="37" creationId="{5909B629-4727-CD22-651A-67AD2560301C}"/>
          </ac:cxnSpMkLst>
        </pc:cxnChg>
        <pc:cxnChg chg="mod ord">
          <ac:chgData name="Yudi Zhu" userId="571e1a55-055f-4c28-8b35-fca6dd1c1369" providerId="ADAL" clId="{75A88773-6EE1-484E-AADE-FE631E01463B}" dt="2025-11-21T06:05:13.215" v="92625"/>
          <ac:cxnSpMkLst>
            <pc:docMk/>
            <pc:sldMk cId="2668657357" sldId="2147483085"/>
            <ac:cxnSpMk id="38" creationId="{40FADC7B-55F7-6296-1867-E1BA8D04D798}"/>
          </ac:cxnSpMkLst>
        </pc:cxnChg>
        <pc:cxnChg chg="mod ord">
          <ac:chgData name="Yudi Zhu" userId="571e1a55-055f-4c28-8b35-fca6dd1c1369" providerId="ADAL" clId="{75A88773-6EE1-484E-AADE-FE631E01463B}" dt="2025-11-21T06:05:13.200" v="92617"/>
          <ac:cxnSpMkLst>
            <pc:docMk/>
            <pc:sldMk cId="2668657357" sldId="2147483085"/>
            <ac:cxnSpMk id="39" creationId="{44102B21-6090-E1BB-E6F2-0261060C0253}"/>
          </ac:cxnSpMkLst>
        </pc:cxnChg>
        <pc:cxnChg chg="mod ord">
          <ac:chgData name="Yudi Zhu" userId="571e1a55-055f-4c28-8b35-fca6dd1c1369" providerId="ADAL" clId="{75A88773-6EE1-484E-AADE-FE631E01463B}" dt="2025-11-21T06:05:13.217" v="92626"/>
          <ac:cxnSpMkLst>
            <pc:docMk/>
            <pc:sldMk cId="2668657357" sldId="2147483085"/>
            <ac:cxnSpMk id="40" creationId="{99C9C772-4FA2-6740-881E-2CE22300D7F9}"/>
          </ac:cxnSpMkLst>
        </pc:cxnChg>
        <pc:cxnChg chg="mod ord">
          <ac:chgData name="Yudi Zhu" userId="571e1a55-055f-4c28-8b35-fca6dd1c1369" providerId="ADAL" clId="{75A88773-6EE1-484E-AADE-FE631E01463B}" dt="2025-11-21T06:05:13.253" v="92633"/>
          <ac:cxnSpMkLst>
            <pc:docMk/>
            <pc:sldMk cId="2668657357" sldId="2147483085"/>
            <ac:cxnSpMk id="43" creationId="{73531F73-89C3-9C66-0E31-A5F8DBC6DFD3}"/>
          </ac:cxnSpMkLst>
        </pc:cxnChg>
        <pc:cxnChg chg="mod ord">
          <ac:chgData name="Yudi Zhu" userId="571e1a55-055f-4c28-8b35-fca6dd1c1369" providerId="ADAL" clId="{75A88773-6EE1-484E-AADE-FE631E01463B}" dt="2025-11-21T06:05:13.204" v="92619"/>
          <ac:cxnSpMkLst>
            <pc:docMk/>
            <pc:sldMk cId="2668657357" sldId="2147483085"/>
            <ac:cxnSpMk id="530" creationId="{79DACFC3-83CE-BB70-639D-AF6CD439146B}"/>
          </ac:cxnSpMkLst>
        </pc:cxnChg>
        <pc:cxnChg chg="mod ord">
          <ac:chgData name="Yudi Zhu" userId="571e1a55-055f-4c28-8b35-fca6dd1c1369" providerId="ADAL" clId="{75A88773-6EE1-484E-AADE-FE631E01463B}" dt="2025-11-21T06:05:13.248" v="92631"/>
          <ac:cxnSpMkLst>
            <pc:docMk/>
            <pc:sldMk cId="2668657357" sldId="2147483085"/>
            <ac:cxnSpMk id="699" creationId="{63803959-3E8C-D477-D512-168F330A3247}"/>
          </ac:cxnSpMkLst>
        </pc:cxnChg>
        <pc:cxnChg chg="mod ord">
          <ac:chgData name="Yudi Zhu" userId="571e1a55-055f-4c28-8b35-fca6dd1c1369" providerId="ADAL" clId="{75A88773-6EE1-484E-AADE-FE631E01463B}" dt="2025-11-21T06:05:13.250" v="92632"/>
          <ac:cxnSpMkLst>
            <pc:docMk/>
            <pc:sldMk cId="2668657357" sldId="2147483085"/>
            <ac:cxnSpMk id="749" creationId="{EE3773EA-4349-607C-14CA-09A4813A1589}"/>
          </ac:cxnSpMkLst>
        </pc:cxnChg>
        <pc:cxnChg chg="mod ord">
          <ac:chgData name="Yudi Zhu" userId="571e1a55-055f-4c28-8b35-fca6dd1c1369" providerId="ADAL" clId="{75A88773-6EE1-484E-AADE-FE631E01463B}" dt="2025-11-21T06:05:13.245" v="92629"/>
          <ac:cxnSpMkLst>
            <pc:docMk/>
            <pc:sldMk cId="2668657357" sldId="2147483085"/>
            <ac:cxnSpMk id="776" creationId="{EDA1FDBF-E66D-AB04-45D4-AABB846F7B0E}"/>
          </ac:cxnSpMkLst>
        </pc:cxnChg>
        <pc:cxnChg chg="mod ord">
          <ac:chgData name="Yudi Zhu" userId="571e1a55-055f-4c28-8b35-fca6dd1c1369" providerId="ADAL" clId="{75A88773-6EE1-484E-AADE-FE631E01463B}" dt="2025-11-21T06:05:13.246" v="92630"/>
          <ac:cxnSpMkLst>
            <pc:docMk/>
            <pc:sldMk cId="2668657357" sldId="2147483085"/>
            <ac:cxnSpMk id="778" creationId="{87F1B811-5C1F-5CAB-362E-22374BAF27FB}"/>
          </ac:cxnSpMkLst>
        </pc:cxnChg>
        <pc:cxnChg chg="del">
          <ac:chgData name="Yudi Zhu" userId="571e1a55-055f-4c28-8b35-fca6dd1c1369" providerId="ADAL" clId="{75A88773-6EE1-484E-AADE-FE631E01463B}" dt="2025-11-21T06:02:21.458" v="68400" actId="478"/>
          <ac:cxnSpMkLst>
            <pc:docMk/>
            <pc:sldMk cId="2668657357" sldId="2147483085"/>
            <ac:cxnSpMk id="884" creationId="{CBE3D2C9-1558-1B45-B9B3-367E8267730D}"/>
          </ac:cxnSpMkLst>
        </pc:cxnChg>
        <pc:cxnChg chg="del">
          <ac:chgData name="Yudi Zhu" userId="571e1a55-055f-4c28-8b35-fca6dd1c1369" providerId="ADAL" clId="{75A88773-6EE1-484E-AADE-FE631E01463B}" dt="2025-11-21T06:02:21.458" v="68401" actId="478"/>
          <ac:cxnSpMkLst>
            <pc:docMk/>
            <pc:sldMk cId="2668657357" sldId="2147483085"/>
            <ac:cxnSpMk id="885" creationId="{22BB3B06-D6D9-2FF8-98DF-0A3C53585563}"/>
          </ac:cxnSpMkLst>
        </pc:cxnChg>
        <pc:cxnChg chg="del">
          <ac:chgData name="Yudi Zhu" userId="571e1a55-055f-4c28-8b35-fca6dd1c1369" providerId="ADAL" clId="{75A88773-6EE1-484E-AADE-FE631E01463B}" dt="2025-11-21T06:02:21.458" v="68402" actId="478"/>
          <ac:cxnSpMkLst>
            <pc:docMk/>
            <pc:sldMk cId="2668657357" sldId="2147483085"/>
            <ac:cxnSpMk id="886" creationId="{68B65DEE-1308-0561-4394-AA147A6F7EC3}"/>
          </ac:cxnSpMkLst>
        </pc:cxnChg>
        <pc:cxnChg chg="del">
          <ac:chgData name="Yudi Zhu" userId="571e1a55-055f-4c28-8b35-fca6dd1c1369" providerId="ADAL" clId="{75A88773-6EE1-484E-AADE-FE631E01463B}" dt="2025-11-21T06:02:21.459" v="68403" actId="478"/>
          <ac:cxnSpMkLst>
            <pc:docMk/>
            <pc:sldMk cId="2668657357" sldId="2147483085"/>
            <ac:cxnSpMk id="887" creationId="{782D2F28-9D33-385B-5B8D-FBAD58CAADE9}"/>
          </ac:cxnSpMkLst>
        </pc:cxnChg>
        <pc:cxnChg chg="del">
          <ac:chgData name="Yudi Zhu" userId="571e1a55-055f-4c28-8b35-fca6dd1c1369" providerId="ADAL" clId="{75A88773-6EE1-484E-AADE-FE631E01463B}" dt="2025-11-21T06:02:21.459" v="68404" actId="478"/>
          <ac:cxnSpMkLst>
            <pc:docMk/>
            <pc:sldMk cId="2668657357" sldId="2147483085"/>
            <ac:cxnSpMk id="888" creationId="{DC93B935-8056-FD5E-65D5-F78F125AA6A8}"/>
          </ac:cxnSpMkLst>
        </pc:cxnChg>
        <pc:cxnChg chg="del">
          <ac:chgData name="Yudi Zhu" userId="571e1a55-055f-4c28-8b35-fca6dd1c1369" providerId="ADAL" clId="{75A88773-6EE1-484E-AADE-FE631E01463B}" dt="2025-11-21T06:02:21.459" v="68405" actId="478"/>
          <ac:cxnSpMkLst>
            <pc:docMk/>
            <pc:sldMk cId="2668657357" sldId="2147483085"/>
            <ac:cxnSpMk id="889" creationId="{FAD00AFA-FE22-DDBC-6CFF-2CEF7A11D4AA}"/>
          </ac:cxnSpMkLst>
        </pc:cxnChg>
        <pc:cxnChg chg="del">
          <ac:chgData name="Yudi Zhu" userId="571e1a55-055f-4c28-8b35-fca6dd1c1369" providerId="ADAL" clId="{75A88773-6EE1-484E-AADE-FE631E01463B}" dt="2025-11-21T06:02:21.460" v="68406" actId="478"/>
          <ac:cxnSpMkLst>
            <pc:docMk/>
            <pc:sldMk cId="2668657357" sldId="2147483085"/>
            <ac:cxnSpMk id="890" creationId="{49B6F17D-1844-4717-00CD-315239E5699F}"/>
          </ac:cxnSpMkLst>
        </pc:cxnChg>
        <pc:cxnChg chg="del">
          <ac:chgData name="Yudi Zhu" userId="571e1a55-055f-4c28-8b35-fca6dd1c1369" providerId="ADAL" clId="{75A88773-6EE1-484E-AADE-FE631E01463B}" dt="2025-11-21T06:02:21.650" v="68614" actId="478"/>
          <ac:cxnSpMkLst>
            <pc:docMk/>
            <pc:sldMk cId="2668657357" sldId="2147483085"/>
            <ac:cxnSpMk id="923" creationId="{3F3B748B-B2F9-722C-4CDD-ECC77409312C}"/>
          </ac:cxnSpMkLst>
        </pc:cxnChg>
        <pc:cxnChg chg="mod ord">
          <ac:chgData name="Yudi Zhu" userId="571e1a55-055f-4c28-8b35-fca6dd1c1369" providerId="ADAL" clId="{75A88773-6EE1-484E-AADE-FE631E01463B}" dt="2025-11-21T06:05:13.293" v="92644"/>
          <ac:cxnSpMkLst>
            <pc:docMk/>
            <pc:sldMk cId="2668657357" sldId="2147483085"/>
            <ac:cxnSpMk id="927" creationId="{0FDBD70D-2D4A-560B-6673-3B012D81D54B}"/>
          </ac:cxnSpMkLst>
        </pc:cxnChg>
        <pc:cxnChg chg="mod ord">
          <ac:chgData name="Yudi Zhu" userId="571e1a55-055f-4c28-8b35-fca6dd1c1369" providerId="ADAL" clId="{75A88773-6EE1-484E-AADE-FE631E01463B}" dt="2025-11-21T06:05:13.294" v="92645"/>
          <ac:cxnSpMkLst>
            <pc:docMk/>
            <pc:sldMk cId="2668657357" sldId="2147483085"/>
            <ac:cxnSpMk id="928" creationId="{6519B981-368D-83BF-6DD5-4303DC1B0CD8}"/>
          </ac:cxnSpMkLst>
        </pc:cxnChg>
      </pc:sldChg>
      <pc:sldChg chg="addSp delSp modSp new del mod ord">
        <pc:chgData name="Yudi Zhu" userId="571e1a55-055f-4c28-8b35-fca6dd1c1369" providerId="ADAL" clId="{75A88773-6EE1-484E-AADE-FE631E01463B}" dt="2025-11-21T10:09:16.486" v="451733" actId="47"/>
        <pc:sldMkLst>
          <pc:docMk/>
          <pc:sldMk cId="2609917702" sldId="2147483086"/>
        </pc:sldMkLst>
        <pc:spChg chg="mod ord">
          <ac:chgData name="Yudi Zhu" userId="571e1a55-055f-4c28-8b35-fca6dd1c1369" providerId="ADAL" clId="{75A88773-6EE1-484E-AADE-FE631E01463B}" dt="2025-11-21T06:04:52.260" v="85348"/>
          <ac:spMkLst>
            <pc:docMk/>
            <pc:sldMk cId="2609917702" sldId="2147483086"/>
            <ac:spMk id="2" creationId="{23BFD1E8-E280-7095-1993-33CE4F207626}"/>
          </ac:spMkLst>
        </pc:spChg>
        <pc:spChg chg="add del mod modVis">
          <ac:chgData name="Yudi Zhu" userId="571e1a55-055f-4c28-8b35-fca6dd1c1369" providerId="ADAL" clId="{75A88773-6EE1-484E-AADE-FE631E01463B}" dt="2025-11-21T06:02:24.702" v="70140" actId="478"/>
          <ac:spMkLst>
            <pc:docMk/>
            <pc:sldMk cId="2609917702" sldId="2147483086"/>
            <ac:spMk id="3" creationId="{79E23F50-DE22-7DBC-1321-8EEFA4F52365}"/>
          </ac:spMkLst>
        </pc:spChg>
        <pc:spChg chg="del">
          <ac:chgData name="Yudi Zhu" userId="571e1a55-055f-4c28-8b35-fca6dd1c1369" providerId="ADAL" clId="{75A88773-6EE1-484E-AADE-FE631E01463B}" dt="2025-11-18T09:56:37.343" v="3" actId="478"/>
          <ac:spMkLst>
            <pc:docMk/>
            <pc:sldMk cId="2609917702" sldId="2147483086"/>
            <ac:spMk id="3" creationId="{83295950-E706-8BDE-79B0-1EB155B0471C}"/>
          </ac:spMkLst>
        </pc:spChg>
        <pc:spChg chg="add mod">
          <ac:chgData name="Yudi Zhu" userId="571e1a55-055f-4c28-8b35-fca6dd1c1369" providerId="ADAL" clId="{75A88773-6EE1-484E-AADE-FE631E01463B}" dt="2025-11-21T06:04:52.298" v="85385"/>
          <ac:spMkLst>
            <pc:docMk/>
            <pc:sldMk cId="2609917702" sldId="2147483086"/>
            <ac:spMk id="4" creationId="{0C8C1DC3-7233-1986-C162-CC97E4256DD3}"/>
          </ac:spMkLst>
        </pc:spChg>
        <pc:spChg chg="add del mod modVis">
          <ac:chgData name="Yudi Zhu" userId="571e1a55-055f-4c28-8b35-fca6dd1c1369" providerId="ADAL" clId="{75A88773-6EE1-484E-AADE-FE631E01463B}" dt="2025-11-18T09:56:47.184" v="367"/>
          <ac:spMkLst>
            <pc:docMk/>
            <pc:sldMk cId="2609917702" sldId="2147483086"/>
            <ac:spMk id="5" creationId="{27FA6CCD-92FB-F4E0-9CE0-0FA50756655E}"/>
          </ac:spMkLst>
        </pc:spChg>
        <pc:spChg chg="add mod">
          <ac:chgData name="Yudi Zhu" userId="571e1a55-055f-4c28-8b35-fca6dd1c1369" providerId="ADAL" clId="{75A88773-6EE1-484E-AADE-FE631E01463B}" dt="2025-11-21T06:04:52.299" v="85386"/>
          <ac:spMkLst>
            <pc:docMk/>
            <pc:sldMk cId="2609917702" sldId="2147483086"/>
            <ac:spMk id="6" creationId="{C1A4EF1F-7F9A-BE5B-C10C-D4C20C2CEFCC}"/>
          </ac:spMkLst>
        </pc:spChg>
        <pc:spChg chg="add mod">
          <ac:chgData name="Yudi Zhu" userId="571e1a55-055f-4c28-8b35-fca6dd1c1369" providerId="ADAL" clId="{75A88773-6EE1-484E-AADE-FE631E01463B}" dt="2025-11-21T06:04:52.279" v="85366"/>
          <ac:spMkLst>
            <pc:docMk/>
            <pc:sldMk cId="2609917702" sldId="2147483086"/>
            <ac:spMk id="7" creationId="{69F79265-13B0-472B-E137-DFCBF26A22F3}"/>
          </ac:spMkLst>
        </pc:spChg>
        <pc:spChg chg="add mod">
          <ac:chgData name="Yudi Zhu" userId="571e1a55-055f-4c28-8b35-fca6dd1c1369" providerId="ADAL" clId="{75A88773-6EE1-484E-AADE-FE631E01463B}" dt="2025-11-21T06:04:52.262" v="85350"/>
          <ac:spMkLst>
            <pc:docMk/>
            <pc:sldMk cId="2609917702" sldId="2147483086"/>
            <ac:spMk id="8" creationId="{B3673537-FB80-5D9A-7677-70B2A848D490}"/>
          </ac:spMkLst>
        </pc:spChg>
        <pc:spChg chg="add mod">
          <ac:chgData name="Yudi Zhu" userId="571e1a55-055f-4c28-8b35-fca6dd1c1369" providerId="ADAL" clId="{75A88773-6EE1-484E-AADE-FE631E01463B}" dt="2025-11-21T06:04:52.263" v="85351"/>
          <ac:spMkLst>
            <pc:docMk/>
            <pc:sldMk cId="2609917702" sldId="2147483086"/>
            <ac:spMk id="9" creationId="{31D10A6C-54FA-1428-BA70-0F7D07D9FF04}"/>
          </ac:spMkLst>
        </pc:spChg>
        <pc:spChg chg="add del mod modVis">
          <ac:chgData name="Yudi Zhu" userId="571e1a55-055f-4c28-8b35-fca6dd1c1369" providerId="ADAL" clId="{75A88773-6EE1-484E-AADE-FE631E01463B}" dt="2025-11-21T06:05:08.309" v="91459"/>
          <ac:spMkLst>
            <pc:docMk/>
            <pc:sldMk cId="2609917702" sldId="2147483086"/>
            <ac:spMk id="10" creationId="{66DCE779-1567-A802-0056-EC97A721E2F7}"/>
          </ac:spMkLst>
        </pc:spChg>
        <pc:spChg chg="add mod">
          <ac:chgData name="Yudi Zhu" userId="571e1a55-055f-4c28-8b35-fca6dd1c1369" providerId="ADAL" clId="{75A88773-6EE1-484E-AADE-FE631E01463B}" dt="2025-11-21T06:04:52.296" v="85383"/>
          <ac:spMkLst>
            <pc:docMk/>
            <pc:sldMk cId="2609917702" sldId="2147483086"/>
            <ac:spMk id="11" creationId="{B409463E-0795-9A63-AC2B-F80F711B8122}"/>
          </ac:spMkLst>
        </pc:spChg>
        <pc:spChg chg="add mod">
          <ac:chgData name="Yudi Zhu" userId="571e1a55-055f-4c28-8b35-fca6dd1c1369" providerId="ADAL" clId="{75A88773-6EE1-484E-AADE-FE631E01463B}" dt="2025-11-21T06:04:52.296" v="85384"/>
          <ac:spMkLst>
            <pc:docMk/>
            <pc:sldMk cId="2609917702" sldId="2147483086"/>
            <ac:spMk id="12" creationId="{58076D87-FAD2-8788-FD88-884644B5AF9A}"/>
          </ac:spMkLst>
        </pc:spChg>
        <pc:spChg chg="add mod">
          <ac:chgData name="Yudi Zhu" userId="571e1a55-055f-4c28-8b35-fca6dd1c1369" providerId="ADAL" clId="{75A88773-6EE1-484E-AADE-FE631E01463B}" dt="2025-11-21T06:04:52.266" v="85352"/>
          <ac:spMkLst>
            <pc:docMk/>
            <pc:sldMk cId="2609917702" sldId="2147483086"/>
            <ac:spMk id="17" creationId="{CAF0E860-A487-8B69-943C-A86221C07590}"/>
          </ac:spMkLst>
        </pc:spChg>
        <pc:spChg chg="add mod">
          <ac:chgData name="Yudi Zhu" userId="571e1a55-055f-4c28-8b35-fca6dd1c1369" providerId="ADAL" clId="{75A88773-6EE1-484E-AADE-FE631E01463B}" dt="2025-11-21T06:04:52.268" v="85353"/>
          <ac:spMkLst>
            <pc:docMk/>
            <pc:sldMk cId="2609917702" sldId="2147483086"/>
            <ac:spMk id="18" creationId="{F841D3F1-4683-FB60-C338-F9F9B5E281BB}"/>
          </ac:spMkLst>
        </pc:spChg>
        <pc:spChg chg="add mod">
          <ac:chgData name="Yudi Zhu" userId="571e1a55-055f-4c28-8b35-fca6dd1c1369" providerId="ADAL" clId="{75A88773-6EE1-484E-AADE-FE631E01463B}" dt="2025-11-21T06:04:52.269" v="85354"/>
          <ac:spMkLst>
            <pc:docMk/>
            <pc:sldMk cId="2609917702" sldId="2147483086"/>
            <ac:spMk id="19" creationId="{25591192-4813-E553-BBF8-BE3E174DDEAB}"/>
          </ac:spMkLst>
        </pc:spChg>
        <pc:spChg chg="add mod">
          <ac:chgData name="Yudi Zhu" userId="571e1a55-055f-4c28-8b35-fca6dd1c1369" providerId="ADAL" clId="{75A88773-6EE1-484E-AADE-FE631E01463B}" dt="2025-11-21T06:04:52.270" v="85355"/>
          <ac:spMkLst>
            <pc:docMk/>
            <pc:sldMk cId="2609917702" sldId="2147483086"/>
            <ac:spMk id="20" creationId="{5AA85780-7B0A-36D7-FEC6-8DD48D6D8E41}"/>
          </ac:spMkLst>
        </pc:spChg>
        <pc:spChg chg="add mod">
          <ac:chgData name="Yudi Zhu" userId="571e1a55-055f-4c28-8b35-fca6dd1c1369" providerId="ADAL" clId="{75A88773-6EE1-484E-AADE-FE631E01463B}" dt="2025-11-21T06:04:52.271" v="85356"/>
          <ac:spMkLst>
            <pc:docMk/>
            <pc:sldMk cId="2609917702" sldId="2147483086"/>
            <ac:spMk id="21" creationId="{A856F5F3-5F13-816B-D671-97D5FFB0E482}"/>
          </ac:spMkLst>
        </pc:spChg>
        <pc:spChg chg="add mod">
          <ac:chgData name="Yudi Zhu" userId="571e1a55-055f-4c28-8b35-fca6dd1c1369" providerId="ADAL" clId="{75A88773-6EE1-484E-AADE-FE631E01463B}" dt="2025-11-21T06:04:52.272" v="85357"/>
          <ac:spMkLst>
            <pc:docMk/>
            <pc:sldMk cId="2609917702" sldId="2147483086"/>
            <ac:spMk id="22" creationId="{3DD37E7D-4E6D-2FA7-129C-9477E5564725}"/>
          </ac:spMkLst>
        </pc:spChg>
        <pc:spChg chg="add mod">
          <ac:chgData name="Yudi Zhu" userId="571e1a55-055f-4c28-8b35-fca6dd1c1369" providerId="ADAL" clId="{75A88773-6EE1-484E-AADE-FE631E01463B}" dt="2025-11-21T06:04:52.273" v="85358"/>
          <ac:spMkLst>
            <pc:docMk/>
            <pc:sldMk cId="2609917702" sldId="2147483086"/>
            <ac:spMk id="23" creationId="{49A27D17-496E-941E-11B6-3042770A89C9}"/>
          </ac:spMkLst>
        </pc:spChg>
        <pc:spChg chg="add mod">
          <ac:chgData name="Yudi Zhu" userId="571e1a55-055f-4c28-8b35-fca6dd1c1369" providerId="ADAL" clId="{75A88773-6EE1-484E-AADE-FE631E01463B}" dt="2025-11-21T06:04:52.273" v="85359"/>
          <ac:spMkLst>
            <pc:docMk/>
            <pc:sldMk cId="2609917702" sldId="2147483086"/>
            <ac:spMk id="24" creationId="{8E04B8A3-888F-37FF-6908-A2079C3D2222}"/>
          </ac:spMkLst>
        </pc:spChg>
        <pc:spChg chg="add del mod modVis">
          <ac:chgData name="Yudi Zhu" userId="571e1a55-055f-4c28-8b35-fca6dd1c1369" providerId="ADAL" clId="{75A88773-6EE1-484E-AADE-FE631E01463B}" dt="2025-11-18T09:57:11.897" v="715"/>
          <ac:spMkLst>
            <pc:docMk/>
            <pc:sldMk cId="2609917702" sldId="2147483086"/>
            <ac:spMk id="25" creationId="{D6ADF915-3901-0211-0E54-B3F90CC000F0}"/>
          </ac:spMkLst>
        </pc:spChg>
        <pc:spChg chg="add del mod modVis">
          <ac:chgData name="Yudi Zhu" userId="571e1a55-055f-4c28-8b35-fca6dd1c1369" providerId="ADAL" clId="{75A88773-6EE1-484E-AADE-FE631E01463B}" dt="2025-11-18T09:57:20.800" v="965"/>
          <ac:spMkLst>
            <pc:docMk/>
            <pc:sldMk cId="2609917702" sldId="2147483086"/>
            <ac:spMk id="27" creationId="{938080B4-0697-180E-7C7F-7F5D095C6E59}"/>
          </ac:spMkLst>
        </pc:spChg>
        <pc:spChg chg="add del mod">
          <ac:chgData name="Yudi Zhu" userId="571e1a55-055f-4c28-8b35-fca6dd1c1369" providerId="ADAL" clId="{75A88773-6EE1-484E-AADE-FE631E01463B}" dt="2025-11-18T09:57:30.519" v="1418"/>
          <ac:spMkLst>
            <pc:docMk/>
            <pc:sldMk cId="2609917702" sldId="2147483086"/>
            <ac:spMk id="28" creationId="{BD2286F5-A5F6-E9D4-F53E-01A3148B30E3}"/>
          </ac:spMkLst>
        </pc:spChg>
        <pc:spChg chg="add del mod">
          <ac:chgData name="Yudi Zhu" userId="571e1a55-055f-4c28-8b35-fca6dd1c1369" providerId="ADAL" clId="{75A88773-6EE1-484E-AADE-FE631E01463B}" dt="2025-11-18T09:57:30.536" v="1433"/>
          <ac:spMkLst>
            <pc:docMk/>
            <pc:sldMk cId="2609917702" sldId="2147483086"/>
            <ac:spMk id="29" creationId="{5AAA704C-3AD6-4DBA-541A-621F7D867E4C}"/>
          </ac:spMkLst>
        </pc:spChg>
        <pc:spChg chg="add del mod">
          <ac:chgData name="Yudi Zhu" userId="571e1a55-055f-4c28-8b35-fca6dd1c1369" providerId="ADAL" clId="{75A88773-6EE1-484E-AADE-FE631E01463B}" dt="2025-11-18T09:57:30.552" v="1448"/>
          <ac:spMkLst>
            <pc:docMk/>
            <pc:sldMk cId="2609917702" sldId="2147483086"/>
            <ac:spMk id="30" creationId="{C160A55A-3364-0C47-7ECC-C14BC3042930}"/>
          </ac:spMkLst>
        </pc:spChg>
        <pc:spChg chg="add del mod">
          <ac:chgData name="Yudi Zhu" userId="571e1a55-055f-4c28-8b35-fca6dd1c1369" providerId="ADAL" clId="{75A88773-6EE1-484E-AADE-FE631E01463B}" dt="2025-11-18T09:57:30.552" v="1449"/>
          <ac:spMkLst>
            <pc:docMk/>
            <pc:sldMk cId="2609917702" sldId="2147483086"/>
            <ac:spMk id="32" creationId="{C64804D6-0B60-CADA-CFA4-0FD4A04CC6FB}"/>
          </ac:spMkLst>
        </pc:spChg>
        <pc:spChg chg="add del mod">
          <ac:chgData name="Yudi Zhu" userId="571e1a55-055f-4c28-8b35-fca6dd1c1369" providerId="ADAL" clId="{75A88773-6EE1-484E-AADE-FE631E01463B}" dt="2025-11-18T09:57:30.567" v="1464"/>
          <ac:spMkLst>
            <pc:docMk/>
            <pc:sldMk cId="2609917702" sldId="2147483086"/>
            <ac:spMk id="33" creationId="{A75A62B7-6F78-5561-EB49-B2D0CB7BB991}"/>
          </ac:spMkLst>
        </pc:spChg>
        <pc:spChg chg="add del mod">
          <ac:chgData name="Yudi Zhu" userId="571e1a55-055f-4c28-8b35-fca6dd1c1369" providerId="ADAL" clId="{75A88773-6EE1-484E-AADE-FE631E01463B}" dt="2025-11-18T09:57:30.583" v="1479"/>
          <ac:spMkLst>
            <pc:docMk/>
            <pc:sldMk cId="2609917702" sldId="2147483086"/>
            <ac:spMk id="34" creationId="{3C3A4A94-5154-FA4D-4468-2E2FFCD3B5BC}"/>
          </ac:spMkLst>
        </pc:spChg>
        <pc:spChg chg="add del mod">
          <ac:chgData name="Yudi Zhu" userId="571e1a55-055f-4c28-8b35-fca6dd1c1369" providerId="ADAL" clId="{75A88773-6EE1-484E-AADE-FE631E01463B}" dt="2025-11-18T09:57:30.583" v="1480"/>
          <ac:spMkLst>
            <pc:docMk/>
            <pc:sldMk cId="2609917702" sldId="2147483086"/>
            <ac:spMk id="35" creationId="{C66CF66E-4740-17D8-A8FB-3601DD32AE10}"/>
          </ac:spMkLst>
        </pc:spChg>
        <pc:spChg chg="add del mod">
          <ac:chgData name="Yudi Zhu" userId="571e1a55-055f-4c28-8b35-fca6dd1c1369" providerId="ADAL" clId="{75A88773-6EE1-484E-AADE-FE631E01463B}" dt="2025-11-18T09:57:30.614" v="1495"/>
          <ac:spMkLst>
            <pc:docMk/>
            <pc:sldMk cId="2609917702" sldId="2147483086"/>
            <ac:spMk id="36" creationId="{1ACBBE67-02DC-C10D-C0E6-F6E826473619}"/>
          </ac:spMkLst>
        </pc:spChg>
        <pc:spChg chg="add del mod">
          <ac:chgData name="Yudi Zhu" userId="571e1a55-055f-4c28-8b35-fca6dd1c1369" providerId="ADAL" clId="{75A88773-6EE1-484E-AADE-FE631E01463B}" dt="2025-11-18T09:57:30.631" v="1510"/>
          <ac:spMkLst>
            <pc:docMk/>
            <pc:sldMk cId="2609917702" sldId="2147483086"/>
            <ac:spMk id="37" creationId="{73073A84-6F96-7CD0-EC75-398058B5AAFE}"/>
          </ac:spMkLst>
        </pc:spChg>
        <pc:spChg chg="add del mod">
          <ac:chgData name="Yudi Zhu" userId="571e1a55-055f-4c28-8b35-fca6dd1c1369" providerId="ADAL" clId="{75A88773-6EE1-484E-AADE-FE631E01463B}" dt="2025-11-18T09:57:30.665" v="1539"/>
          <ac:spMkLst>
            <pc:docMk/>
            <pc:sldMk cId="2609917702" sldId="2147483086"/>
            <ac:spMk id="38" creationId="{106CED23-B543-1EBF-4291-6BD5E8F8FC35}"/>
          </ac:spMkLst>
        </pc:spChg>
        <pc:spChg chg="add del mod">
          <ac:chgData name="Yudi Zhu" userId="571e1a55-055f-4c28-8b35-fca6dd1c1369" providerId="ADAL" clId="{75A88773-6EE1-484E-AADE-FE631E01463B}" dt="2025-11-18T09:57:30.666" v="1540"/>
          <ac:spMkLst>
            <pc:docMk/>
            <pc:sldMk cId="2609917702" sldId="2147483086"/>
            <ac:spMk id="39" creationId="{9BF49DB8-00AF-A14E-1084-2848C900F554}"/>
          </ac:spMkLst>
        </pc:spChg>
        <pc:spChg chg="add del mod modVis">
          <ac:chgData name="Yudi Zhu" userId="571e1a55-055f-4c28-8b35-fca6dd1c1369" providerId="ADAL" clId="{75A88773-6EE1-484E-AADE-FE631E01463B}" dt="2025-11-18T09:57:30.718" v="1583"/>
          <ac:spMkLst>
            <pc:docMk/>
            <pc:sldMk cId="2609917702" sldId="2147483086"/>
            <ac:spMk id="40" creationId="{D9014A5A-C3D6-F819-BABD-4C1171851142}"/>
          </ac:spMkLst>
        </pc:spChg>
        <pc:spChg chg="add mod ord">
          <ac:chgData name="Yudi Zhu" userId="571e1a55-055f-4c28-8b35-fca6dd1c1369" providerId="ADAL" clId="{75A88773-6EE1-484E-AADE-FE631E01463B}" dt="2025-11-21T06:04:52.276" v="85362"/>
          <ac:spMkLst>
            <pc:docMk/>
            <pc:sldMk cId="2609917702" sldId="2147483086"/>
            <ac:spMk id="41" creationId="{8AA9165E-848E-7659-F061-843D7C26D8EA}"/>
          </ac:spMkLst>
        </pc:spChg>
        <pc:spChg chg="add mod ord">
          <ac:chgData name="Yudi Zhu" userId="571e1a55-055f-4c28-8b35-fca6dd1c1369" providerId="ADAL" clId="{75A88773-6EE1-484E-AADE-FE631E01463B}" dt="2025-11-21T06:04:52.277" v="85364"/>
          <ac:spMkLst>
            <pc:docMk/>
            <pc:sldMk cId="2609917702" sldId="2147483086"/>
            <ac:spMk id="42" creationId="{C748F9EE-24D3-3557-AA12-2CBC3B1ABB61}"/>
          </ac:spMkLst>
        </pc:spChg>
        <pc:spChg chg="add mod ord">
          <ac:chgData name="Yudi Zhu" userId="571e1a55-055f-4c28-8b35-fca6dd1c1369" providerId="ADAL" clId="{75A88773-6EE1-484E-AADE-FE631E01463B}" dt="2025-11-21T06:04:52.282" v="85368"/>
          <ac:spMkLst>
            <pc:docMk/>
            <pc:sldMk cId="2609917702" sldId="2147483086"/>
            <ac:spMk id="43" creationId="{D1027CBF-964C-3AB0-A098-F3334C1C5550}"/>
          </ac:spMkLst>
        </pc:spChg>
        <pc:spChg chg="add mod ord">
          <ac:chgData name="Yudi Zhu" userId="571e1a55-055f-4c28-8b35-fca6dd1c1369" providerId="ADAL" clId="{75A88773-6EE1-484E-AADE-FE631E01463B}" dt="2025-11-21T06:04:52.284" v="85370"/>
          <ac:spMkLst>
            <pc:docMk/>
            <pc:sldMk cId="2609917702" sldId="2147483086"/>
            <ac:spMk id="44" creationId="{7F2D7842-3051-B040-2EDC-FA0ECE3DCBBC}"/>
          </ac:spMkLst>
        </pc:spChg>
        <pc:spChg chg="add mod ord">
          <ac:chgData name="Yudi Zhu" userId="571e1a55-055f-4c28-8b35-fca6dd1c1369" providerId="ADAL" clId="{75A88773-6EE1-484E-AADE-FE631E01463B}" dt="2025-11-21T06:04:52.287" v="85374"/>
          <ac:spMkLst>
            <pc:docMk/>
            <pc:sldMk cId="2609917702" sldId="2147483086"/>
            <ac:spMk id="45" creationId="{F4BF4E5A-E0EE-487F-6524-266B1B21FF5B}"/>
          </ac:spMkLst>
        </pc:spChg>
        <pc:spChg chg="add del mod modVis">
          <ac:chgData name="Yudi Zhu" userId="571e1a55-055f-4c28-8b35-fca6dd1c1369" providerId="ADAL" clId="{75A88773-6EE1-484E-AADE-FE631E01463B}" dt="2025-11-18T09:58:56.813" v="1748"/>
          <ac:spMkLst>
            <pc:docMk/>
            <pc:sldMk cId="2609917702" sldId="2147483086"/>
            <ac:spMk id="52" creationId="{DEA24EE0-70EE-EEB0-49A3-545588E729C1}"/>
          </ac:spMkLst>
        </pc:spChg>
        <pc:spChg chg="add del mod modVis">
          <ac:chgData name="Yudi Zhu" userId="571e1a55-055f-4c28-8b35-fca6dd1c1369" providerId="ADAL" clId="{75A88773-6EE1-484E-AADE-FE631E01463B}" dt="2025-11-18T09:59:01.291" v="1827"/>
          <ac:spMkLst>
            <pc:docMk/>
            <pc:sldMk cId="2609917702" sldId="2147483086"/>
            <ac:spMk id="54" creationId="{5A1FF53D-9D26-005D-1819-9C272A1E9567}"/>
          </ac:spMkLst>
        </pc:spChg>
        <pc:spChg chg="add del mod">
          <ac:chgData name="Yudi Zhu" userId="571e1a55-055f-4c28-8b35-fca6dd1c1369" providerId="ADAL" clId="{75A88773-6EE1-484E-AADE-FE631E01463B}" dt="2025-11-18T09:59:11.451" v="1952"/>
          <ac:spMkLst>
            <pc:docMk/>
            <pc:sldMk cId="2609917702" sldId="2147483086"/>
            <ac:spMk id="56" creationId="{DF56D17E-8074-9D67-49AB-758ACB8A6151}"/>
          </ac:spMkLst>
        </pc:spChg>
        <pc:spChg chg="add del mod modVis">
          <ac:chgData name="Yudi Zhu" userId="571e1a55-055f-4c28-8b35-fca6dd1c1369" providerId="ADAL" clId="{75A88773-6EE1-484E-AADE-FE631E01463B}" dt="2025-11-18T09:59:09.707" v="1949"/>
          <ac:spMkLst>
            <pc:docMk/>
            <pc:sldMk cId="2609917702" sldId="2147483086"/>
            <ac:spMk id="57" creationId="{DF0CD5C4-1302-AA50-3DD0-35BCFEB5F96D}"/>
          </ac:spMkLst>
        </pc:spChg>
        <pc:spChg chg="add del mod">
          <ac:chgData name="Yudi Zhu" userId="571e1a55-055f-4c28-8b35-fca6dd1c1369" providerId="ADAL" clId="{75A88773-6EE1-484E-AADE-FE631E01463B}" dt="2025-11-18T09:59:23.776" v="2482"/>
          <ac:spMkLst>
            <pc:docMk/>
            <pc:sldMk cId="2609917702" sldId="2147483086"/>
            <ac:spMk id="64" creationId="{00435815-8CE2-77FE-7BE3-CFDC3BFFDF3E}"/>
          </ac:spMkLst>
        </pc:spChg>
        <pc:spChg chg="add del mod modVis">
          <ac:chgData name="Yudi Zhu" userId="571e1a55-055f-4c28-8b35-fca6dd1c1369" providerId="ADAL" clId="{75A88773-6EE1-484E-AADE-FE631E01463B}" dt="2025-11-18T09:59:21.923" v="2479"/>
          <ac:spMkLst>
            <pc:docMk/>
            <pc:sldMk cId="2609917702" sldId="2147483086"/>
            <ac:spMk id="65" creationId="{544DE291-05B4-6EEF-7F6B-A51D052887BD}"/>
          </ac:spMkLst>
        </pc:spChg>
        <pc:spChg chg="add del mod">
          <ac:chgData name="Yudi Zhu" userId="571e1a55-055f-4c28-8b35-fca6dd1c1369" providerId="ADAL" clId="{75A88773-6EE1-484E-AADE-FE631E01463B}" dt="2025-11-18T09:59:34.554" v="2727"/>
          <ac:spMkLst>
            <pc:docMk/>
            <pc:sldMk cId="2609917702" sldId="2147483086"/>
            <ac:spMk id="69" creationId="{A7128B44-4B7A-3F57-BE6E-6296446719D1}"/>
          </ac:spMkLst>
        </pc:spChg>
        <pc:spChg chg="add del mod modVis">
          <ac:chgData name="Yudi Zhu" userId="571e1a55-055f-4c28-8b35-fca6dd1c1369" providerId="ADAL" clId="{75A88773-6EE1-484E-AADE-FE631E01463B}" dt="2025-11-18T09:59:32.479" v="2682"/>
          <ac:spMkLst>
            <pc:docMk/>
            <pc:sldMk cId="2609917702" sldId="2147483086"/>
            <ac:spMk id="70" creationId="{9792C6A2-0122-6868-0B23-6A3320A4B0A1}"/>
          </ac:spMkLst>
        </pc:spChg>
        <pc:spChg chg="add del mod">
          <ac:chgData name="Yudi Zhu" userId="571e1a55-055f-4c28-8b35-fca6dd1c1369" providerId="ADAL" clId="{75A88773-6EE1-484E-AADE-FE631E01463B}" dt="2025-11-18T09:59:47.124" v="2931"/>
          <ac:spMkLst>
            <pc:docMk/>
            <pc:sldMk cId="2609917702" sldId="2147483086"/>
            <ac:spMk id="74" creationId="{08B7B5EF-5A5A-A619-1225-D5214948742D}"/>
          </ac:spMkLst>
        </pc:spChg>
        <pc:spChg chg="add del mod modVis">
          <ac:chgData name="Yudi Zhu" userId="571e1a55-055f-4c28-8b35-fca6dd1c1369" providerId="ADAL" clId="{75A88773-6EE1-484E-AADE-FE631E01463B}" dt="2025-11-18T09:59:45.064" v="2886"/>
          <ac:spMkLst>
            <pc:docMk/>
            <pc:sldMk cId="2609917702" sldId="2147483086"/>
            <ac:spMk id="75" creationId="{F48C8AB7-1659-95C2-5B50-7707051F46A2}"/>
          </ac:spMkLst>
        </pc:spChg>
        <pc:spChg chg="add mod">
          <ac:chgData name="Yudi Zhu" userId="571e1a55-055f-4c28-8b35-fca6dd1c1369" providerId="ADAL" clId="{75A88773-6EE1-484E-AADE-FE631E01463B}" dt="2025-11-21T06:04:52.285" v="85372"/>
          <ac:spMkLst>
            <pc:docMk/>
            <pc:sldMk cId="2609917702" sldId="2147483086"/>
            <ac:spMk id="79" creationId="{A0901E9F-9B41-9303-6E99-E275FC6CB7B0}"/>
          </ac:spMkLst>
        </pc:spChg>
        <pc:spChg chg="add del mod modVis">
          <ac:chgData name="Yudi Zhu" userId="571e1a55-055f-4c28-8b35-fca6dd1c1369" providerId="ADAL" clId="{75A88773-6EE1-484E-AADE-FE631E01463B}" dt="2025-11-18T09:59:49.111" v="3090"/>
          <ac:spMkLst>
            <pc:docMk/>
            <pc:sldMk cId="2609917702" sldId="2147483086"/>
            <ac:spMk id="80" creationId="{4480AB30-7D0C-9B1C-9230-99030DA22B93}"/>
          </ac:spMkLst>
        </pc:spChg>
        <pc:spChg chg="add del mod modVis">
          <ac:chgData name="Yudi Zhu" userId="571e1a55-055f-4c28-8b35-fca6dd1c1369" providerId="ADAL" clId="{75A88773-6EE1-484E-AADE-FE631E01463B}" dt="2025-11-18T09:59:56.221" v="4296"/>
          <ac:spMkLst>
            <pc:docMk/>
            <pc:sldMk cId="2609917702" sldId="2147483086"/>
            <ac:spMk id="82" creationId="{F792A70D-FC41-C2ED-52F5-3C5EF4008F66}"/>
          </ac:spMkLst>
        </pc:spChg>
        <pc:spChg chg="add mod">
          <ac:chgData name="Yudi Zhu" userId="571e1a55-055f-4c28-8b35-fca6dd1c1369" providerId="ADAL" clId="{75A88773-6EE1-484E-AADE-FE631E01463B}" dt="2025-11-21T06:04:52.274" v="85360"/>
          <ac:spMkLst>
            <pc:docMk/>
            <pc:sldMk cId="2609917702" sldId="2147483086"/>
            <ac:spMk id="83" creationId="{860D8883-CC3F-A057-CE5C-95A154092842}"/>
          </ac:spMkLst>
        </pc:spChg>
        <pc:spChg chg="add mod">
          <ac:chgData name="Yudi Zhu" userId="571e1a55-055f-4c28-8b35-fca6dd1c1369" providerId="ADAL" clId="{75A88773-6EE1-484E-AADE-FE631E01463B}" dt="2025-11-21T06:04:52.275" v="85361"/>
          <ac:spMkLst>
            <pc:docMk/>
            <pc:sldMk cId="2609917702" sldId="2147483086"/>
            <ac:spMk id="84" creationId="{4DCB23F7-81A2-CC92-F079-C7138E04B34F}"/>
          </ac:spMkLst>
        </pc:spChg>
        <pc:spChg chg="add mod">
          <ac:chgData name="Yudi Zhu" userId="571e1a55-055f-4c28-8b35-fca6dd1c1369" providerId="ADAL" clId="{75A88773-6EE1-484E-AADE-FE631E01463B}" dt="2025-11-21T06:04:52.277" v="85363"/>
          <ac:spMkLst>
            <pc:docMk/>
            <pc:sldMk cId="2609917702" sldId="2147483086"/>
            <ac:spMk id="85" creationId="{61A3A6DE-7DD8-FE88-F8E8-20E59851D90E}"/>
          </ac:spMkLst>
        </pc:spChg>
        <pc:spChg chg="add mod">
          <ac:chgData name="Yudi Zhu" userId="571e1a55-055f-4c28-8b35-fca6dd1c1369" providerId="ADAL" clId="{75A88773-6EE1-484E-AADE-FE631E01463B}" dt="2025-11-21T06:04:52.278" v="85365"/>
          <ac:spMkLst>
            <pc:docMk/>
            <pc:sldMk cId="2609917702" sldId="2147483086"/>
            <ac:spMk id="86" creationId="{6D8C83A7-862C-DB6E-8AD0-FBE2642B5435}"/>
          </ac:spMkLst>
        </pc:spChg>
        <pc:spChg chg="add mod">
          <ac:chgData name="Yudi Zhu" userId="571e1a55-055f-4c28-8b35-fca6dd1c1369" providerId="ADAL" clId="{75A88773-6EE1-484E-AADE-FE631E01463B}" dt="2025-11-21T06:04:52.295" v="85382"/>
          <ac:spMkLst>
            <pc:docMk/>
            <pc:sldMk cId="2609917702" sldId="2147483086"/>
            <ac:spMk id="87" creationId="{725883EA-E783-97E3-B5C8-C3AD49BA109E}"/>
          </ac:spMkLst>
        </pc:spChg>
        <pc:spChg chg="add mod">
          <ac:chgData name="Yudi Zhu" userId="571e1a55-055f-4c28-8b35-fca6dd1c1369" providerId="ADAL" clId="{75A88773-6EE1-484E-AADE-FE631E01463B}" dt="2025-11-21T06:04:52.280" v="85367"/>
          <ac:spMkLst>
            <pc:docMk/>
            <pc:sldMk cId="2609917702" sldId="2147483086"/>
            <ac:spMk id="88" creationId="{6FBB6447-F595-44D1-E80F-0B50801BE55F}"/>
          </ac:spMkLst>
        </pc:spChg>
        <pc:spChg chg="add mod">
          <ac:chgData name="Yudi Zhu" userId="571e1a55-055f-4c28-8b35-fca6dd1c1369" providerId="ADAL" clId="{75A88773-6EE1-484E-AADE-FE631E01463B}" dt="2025-11-21T06:04:52.283" v="85369"/>
          <ac:spMkLst>
            <pc:docMk/>
            <pc:sldMk cId="2609917702" sldId="2147483086"/>
            <ac:spMk id="89" creationId="{F5347516-BCDA-D250-3839-D2E8AA4183FD}"/>
          </ac:spMkLst>
        </pc:spChg>
        <pc:spChg chg="add mod">
          <ac:chgData name="Yudi Zhu" userId="571e1a55-055f-4c28-8b35-fca6dd1c1369" providerId="ADAL" clId="{75A88773-6EE1-484E-AADE-FE631E01463B}" dt="2025-11-21T06:04:52.285" v="85371"/>
          <ac:spMkLst>
            <pc:docMk/>
            <pc:sldMk cId="2609917702" sldId="2147483086"/>
            <ac:spMk id="90" creationId="{0BD6EB44-49D6-9BAF-4A5D-2D661DCF8728}"/>
          </ac:spMkLst>
        </pc:spChg>
        <pc:spChg chg="add mod">
          <ac:chgData name="Yudi Zhu" userId="571e1a55-055f-4c28-8b35-fca6dd1c1369" providerId="ADAL" clId="{75A88773-6EE1-484E-AADE-FE631E01463B}" dt="2025-11-21T06:04:52.286" v="85373"/>
          <ac:spMkLst>
            <pc:docMk/>
            <pc:sldMk cId="2609917702" sldId="2147483086"/>
            <ac:spMk id="91" creationId="{5131AF59-3830-971B-F5B7-59DEBEF1BAD9}"/>
          </ac:spMkLst>
        </pc:spChg>
        <pc:spChg chg="add mod">
          <ac:chgData name="Yudi Zhu" userId="571e1a55-055f-4c28-8b35-fca6dd1c1369" providerId="ADAL" clId="{75A88773-6EE1-484E-AADE-FE631E01463B}" dt="2025-11-21T06:04:52.288" v="85375"/>
          <ac:spMkLst>
            <pc:docMk/>
            <pc:sldMk cId="2609917702" sldId="2147483086"/>
            <ac:spMk id="92" creationId="{F2E10A7D-45BE-DD00-21DC-4FA82731C1FA}"/>
          </ac:spMkLst>
        </pc:spChg>
        <pc:spChg chg="add mod">
          <ac:chgData name="Yudi Zhu" userId="571e1a55-055f-4c28-8b35-fca6dd1c1369" providerId="ADAL" clId="{75A88773-6EE1-484E-AADE-FE631E01463B}" dt="2025-11-21T06:04:52.289" v="85376"/>
          <ac:spMkLst>
            <pc:docMk/>
            <pc:sldMk cId="2609917702" sldId="2147483086"/>
            <ac:spMk id="93" creationId="{B6705702-0632-93EE-742B-D8B00EE009FA}"/>
          </ac:spMkLst>
        </pc:spChg>
        <pc:spChg chg="add mod">
          <ac:chgData name="Yudi Zhu" userId="571e1a55-055f-4c28-8b35-fca6dd1c1369" providerId="ADAL" clId="{75A88773-6EE1-484E-AADE-FE631E01463B}" dt="2025-11-21T06:04:52.289" v="85377"/>
          <ac:spMkLst>
            <pc:docMk/>
            <pc:sldMk cId="2609917702" sldId="2147483086"/>
            <ac:spMk id="94" creationId="{2488831A-FA46-FC3B-93B1-AAF25FE4C9DA}"/>
          </ac:spMkLst>
        </pc:spChg>
        <pc:spChg chg="add mod">
          <ac:chgData name="Yudi Zhu" userId="571e1a55-055f-4c28-8b35-fca6dd1c1369" providerId="ADAL" clId="{75A88773-6EE1-484E-AADE-FE631E01463B}" dt="2025-11-21T06:04:52.291" v="85378"/>
          <ac:spMkLst>
            <pc:docMk/>
            <pc:sldMk cId="2609917702" sldId="2147483086"/>
            <ac:spMk id="95" creationId="{2A09792C-98A8-F3A5-C088-F1BDD08A14B3}"/>
          </ac:spMkLst>
        </pc:spChg>
        <pc:spChg chg="add mod">
          <ac:chgData name="Yudi Zhu" userId="571e1a55-055f-4c28-8b35-fca6dd1c1369" providerId="ADAL" clId="{75A88773-6EE1-484E-AADE-FE631E01463B}" dt="2025-11-21T06:04:52.292" v="85379"/>
          <ac:spMkLst>
            <pc:docMk/>
            <pc:sldMk cId="2609917702" sldId="2147483086"/>
            <ac:spMk id="96" creationId="{C4F6C69E-8566-8A0B-E02E-452C42A1E8F6}"/>
          </ac:spMkLst>
        </pc:spChg>
        <pc:spChg chg="add mod">
          <ac:chgData name="Yudi Zhu" userId="571e1a55-055f-4c28-8b35-fca6dd1c1369" providerId="ADAL" clId="{75A88773-6EE1-484E-AADE-FE631E01463B}" dt="2025-11-21T06:04:52.293" v="85380"/>
          <ac:spMkLst>
            <pc:docMk/>
            <pc:sldMk cId="2609917702" sldId="2147483086"/>
            <ac:spMk id="97" creationId="{C4A26B6E-949B-4998-31EF-0CF75073DBC3}"/>
          </ac:spMkLst>
        </pc:spChg>
        <pc:spChg chg="add mod">
          <ac:chgData name="Yudi Zhu" userId="571e1a55-055f-4c28-8b35-fca6dd1c1369" providerId="ADAL" clId="{75A88773-6EE1-484E-AADE-FE631E01463B}" dt="2025-11-21T06:04:52.294" v="85381"/>
          <ac:spMkLst>
            <pc:docMk/>
            <pc:sldMk cId="2609917702" sldId="2147483086"/>
            <ac:spMk id="98" creationId="{547FF888-2862-2FFE-F270-2D4DE155F947}"/>
          </ac:spMkLst>
        </pc:spChg>
        <pc:graphicFrameChg chg="add del mod">
          <ac:chgData name="Yudi Zhu" userId="571e1a55-055f-4c28-8b35-fca6dd1c1369" providerId="ADAL" clId="{75A88773-6EE1-484E-AADE-FE631E01463B}" dt="2025-11-21T06:04:52.236" v="85341"/>
          <ac:graphicFrameMkLst>
            <pc:docMk/>
            <pc:sldMk cId="2609917702" sldId="2147483086"/>
            <ac:graphicFrameMk id="5" creationId="{BB4EC351-4C0D-D4B3-E918-15D5A21B379E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6:49.132" v="395"/>
          <ac:graphicFrameMkLst>
            <pc:docMk/>
            <pc:sldMk cId="2609917702" sldId="2147483086"/>
            <ac:graphicFrameMk id="10" creationId="{229FF312-C51C-FDF2-7DB0-99E417FE4D92}"/>
          </ac:graphicFrameMkLst>
        </pc:graphicFrameChg>
        <pc:graphicFrameChg chg="add mod ord modVis">
          <ac:chgData name="Yudi Zhu" userId="571e1a55-055f-4c28-8b35-fca6dd1c1369" providerId="ADAL" clId="{75A88773-6EE1-484E-AADE-FE631E01463B}" dt="2025-11-21T06:05:08.311" v="91461"/>
          <ac:graphicFrameMkLst>
            <pc:docMk/>
            <pc:sldMk cId="2609917702" sldId="2147483086"/>
            <ac:graphicFrameMk id="13" creationId="{E77EB675-4838-E8E7-C061-60B7D1BEDBD1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6:50.867" v="420"/>
          <ac:graphicFrameMkLst>
            <pc:docMk/>
            <pc:sldMk cId="2609917702" sldId="2147483086"/>
            <ac:graphicFrameMk id="14" creationId="{6755D428-4445-046A-76C1-D6A6ECCD9C09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2.261" v="85349"/>
          <ac:graphicFrameMkLst>
            <pc:docMk/>
            <pc:sldMk cId="2609917702" sldId="2147483086"/>
            <ac:graphicFrameMk id="14" creationId="{F69F96FB-9340-26C4-4639-7F309CC04FDB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6:52.270" v="445"/>
          <ac:graphicFrameMkLst>
            <pc:docMk/>
            <pc:sldMk cId="2609917702" sldId="2147483086"/>
            <ac:graphicFrameMk id="15" creationId="{D5516D09-74DD-3D9C-4A30-E82F94622752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7:11.849" v="690"/>
          <ac:graphicFrameMkLst>
            <pc:docMk/>
            <pc:sldMk cId="2609917702" sldId="2147483086"/>
            <ac:graphicFrameMk id="16" creationId="{6FA3802D-B7FA-AB1B-AD1E-E94C3A0B64C9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7:20.766" v="937"/>
          <ac:graphicFrameMkLst>
            <pc:docMk/>
            <pc:sldMk cId="2609917702" sldId="2147483086"/>
            <ac:graphicFrameMk id="26" creationId="{46BF966D-1428-14DA-CB35-358EF6B20C9C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7:30.667" v="1542"/>
          <ac:graphicFrameMkLst>
            <pc:docMk/>
            <pc:sldMk cId="2609917702" sldId="2147483086"/>
            <ac:graphicFrameMk id="31" creationId="{2DB37E36-F6F2-623D-D6ED-9C98B6697C94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7:40.087" v="1587"/>
          <ac:graphicFrameMkLst>
            <pc:docMk/>
            <pc:sldMk cId="2609917702" sldId="2147483086"/>
            <ac:graphicFrameMk id="49" creationId="{D9E708C7-8E83-75A9-EDDD-6DD2AF1780AC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8:54.044" v="1630"/>
          <ac:graphicFrameMkLst>
            <pc:docMk/>
            <pc:sldMk cId="2609917702" sldId="2147483086"/>
            <ac:graphicFrameMk id="50" creationId="{F9CFF938-4A3C-8E5B-5962-261F2852D1E9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8:56.770" v="1705"/>
          <ac:graphicFrameMkLst>
            <pc:docMk/>
            <pc:sldMk cId="2609917702" sldId="2147483086"/>
            <ac:graphicFrameMk id="51" creationId="{4C72BB3A-5EF6-88A2-0C2A-E47E16CB5FE0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01.248" v="1784"/>
          <ac:graphicFrameMkLst>
            <pc:docMk/>
            <pc:sldMk cId="2609917702" sldId="2147483086"/>
            <ac:graphicFrameMk id="53" creationId="{CAB5FAF8-AA78-8B84-5E20-9FDB94899EFE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09.658" v="1907"/>
          <ac:graphicFrameMkLst>
            <pc:docMk/>
            <pc:sldMk cId="2609917702" sldId="2147483086"/>
            <ac:graphicFrameMk id="55" creationId="{991DCD42-755B-2A28-05E2-0054785EA5F0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11.456" v="1954"/>
          <ac:graphicFrameMkLst>
            <pc:docMk/>
            <pc:sldMk cId="2609917702" sldId="2147483086"/>
            <ac:graphicFrameMk id="58" creationId="{C6A34D95-FC5F-B561-E8BB-39ABD506BCBA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13.063" v="2049"/>
          <ac:graphicFrameMkLst>
            <pc:docMk/>
            <pc:sldMk cId="2609917702" sldId="2147483086"/>
            <ac:graphicFrameMk id="59" creationId="{CE88184B-FF67-5C95-785F-EE06BAEEB0B0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14.465" v="2140"/>
          <ac:graphicFrameMkLst>
            <pc:docMk/>
            <pc:sldMk cId="2609917702" sldId="2147483086"/>
            <ac:graphicFrameMk id="60" creationId="{EAB2E04A-7D07-91F3-DC53-A4E52F567493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16.622" v="2231"/>
          <ac:graphicFrameMkLst>
            <pc:docMk/>
            <pc:sldMk cId="2609917702" sldId="2147483086"/>
            <ac:graphicFrameMk id="61" creationId="{EB0280BC-277B-3811-EA62-0CD3BEB30370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18.558" v="2322"/>
          <ac:graphicFrameMkLst>
            <pc:docMk/>
            <pc:sldMk cId="2609917702" sldId="2147483086"/>
            <ac:graphicFrameMk id="62" creationId="{F010A5F1-93B8-9819-676D-219FED59938D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21.891" v="2439"/>
          <ac:graphicFrameMkLst>
            <pc:docMk/>
            <pc:sldMk cId="2609917702" sldId="2147483086"/>
            <ac:graphicFrameMk id="63" creationId="{3F06A6DF-CD7E-9281-4F0F-1D9838A72BAF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23.792" v="2484"/>
          <ac:graphicFrameMkLst>
            <pc:docMk/>
            <pc:sldMk cId="2609917702" sldId="2147483086"/>
            <ac:graphicFrameMk id="66" creationId="{77702EBF-AE7A-6D0D-1753-67381F326529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32.125" v="2525"/>
          <ac:graphicFrameMkLst>
            <pc:docMk/>
            <pc:sldMk cId="2609917702" sldId="2147483086"/>
            <ac:graphicFrameMk id="67" creationId="{E4202D1C-284C-E052-8135-6B24A4CFC812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32.438" v="2642"/>
          <ac:graphicFrameMkLst>
            <pc:docMk/>
            <pc:sldMk cId="2609917702" sldId="2147483086"/>
            <ac:graphicFrameMk id="68" creationId="{F4FC43EE-5BC8-3DBF-5934-94E647E3C553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33.107" v="2686"/>
          <ac:graphicFrameMkLst>
            <pc:docMk/>
            <pc:sldMk cId="2609917702" sldId="2147483086"/>
            <ac:graphicFrameMk id="71" creationId="{A6C64FF0-35A6-1693-D572-7FBEEC1C10F5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34.557" v="2729"/>
          <ac:graphicFrameMkLst>
            <pc:docMk/>
            <pc:sldMk cId="2609917702" sldId="2147483086"/>
            <ac:graphicFrameMk id="72" creationId="{701AF480-664B-441D-9182-1561527F55E8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45.022" v="2846"/>
          <ac:graphicFrameMkLst>
            <pc:docMk/>
            <pc:sldMk cId="2609917702" sldId="2147483086"/>
            <ac:graphicFrameMk id="73" creationId="{AD54EBE6-FE9D-1685-5590-6CC5DBA7B740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45.604" v="2890"/>
          <ac:graphicFrameMkLst>
            <pc:docMk/>
            <pc:sldMk cId="2609917702" sldId="2147483086"/>
            <ac:graphicFrameMk id="76" creationId="{95961720-3028-18E8-8107-D3DA04EC330F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47.124" v="2933"/>
          <ac:graphicFrameMkLst>
            <pc:docMk/>
            <pc:sldMk cId="2609917702" sldId="2147483086"/>
            <ac:graphicFrameMk id="77" creationId="{6F964F88-95AA-DA8D-5420-FFEC7F6A104B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49.084" v="3050"/>
          <ac:graphicFrameMkLst>
            <pc:docMk/>
            <pc:sldMk cId="2609917702" sldId="2147483086"/>
            <ac:graphicFrameMk id="78" creationId="{7FF127AF-6873-68C6-5EEF-A1843D31E156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56.189" v="4249"/>
          <ac:graphicFrameMkLst>
            <pc:docMk/>
            <pc:sldMk cId="2609917702" sldId="2147483086"/>
            <ac:graphicFrameMk id="81" creationId="{FB691490-DB2C-BF1C-CCA8-256AA5A1DB9F}"/>
          </ac:graphicFrameMkLst>
        </pc:graphicFrameChg>
        <pc:graphicFrameChg chg="add del mod">
          <ac:chgData name="Yudi Zhu" userId="571e1a55-055f-4c28-8b35-fca6dd1c1369" providerId="ADAL" clId="{75A88773-6EE1-484E-AADE-FE631E01463B}" dt="2025-11-18T09:59:58.242" v="4300"/>
          <ac:graphicFrameMkLst>
            <pc:docMk/>
            <pc:sldMk cId="2609917702" sldId="2147483086"/>
            <ac:graphicFrameMk id="99" creationId="{8F95BC31-DEA9-41E1-E7EB-D19C8FAB455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1.871" v="60335"/>
          <ac:graphicFrameMkLst>
            <pc:docMk/>
            <pc:sldMk cId="2609917702" sldId="2147483086"/>
            <ac:graphicFrameMk id="100" creationId="{FE610181-4C85-1641-C44F-FD38EFD126A4}"/>
          </ac:graphicFrameMkLst>
        </pc:graphicFrameChg>
        <pc:cxnChg chg="add del mod ord">
          <ac:chgData name="Yudi Zhu" userId="571e1a55-055f-4c28-8b35-fca6dd1c1369" providerId="ADAL" clId="{75A88773-6EE1-484E-AADE-FE631E01463B}" dt="2025-11-18T09:59:56.142" v="4188"/>
          <ac:cxnSpMkLst>
            <pc:docMk/>
            <pc:sldMk cId="2609917702" sldId="2147483086"/>
            <ac:cxnSpMk id="46" creationId="{01E66FA6-30CB-BE63-D7C6-95AD31F8365D}"/>
          </ac:cxnSpMkLst>
        </pc:cxnChg>
        <pc:cxnChg chg="add del mod ord">
          <ac:chgData name="Yudi Zhu" userId="571e1a55-055f-4c28-8b35-fca6dd1c1369" providerId="ADAL" clId="{75A88773-6EE1-484E-AADE-FE631E01463B}" dt="2025-11-18T09:59:13.063" v="2037"/>
          <ac:cxnSpMkLst>
            <pc:docMk/>
            <pc:sldMk cId="2609917702" sldId="2147483086"/>
            <ac:cxnSpMk id="47" creationId="{4D681825-4D8E-09ED-D9CA-9FDB393E86F7}"/>
          </ac:cxnSpMkLst>
        </pc:cxnChg>
        <pc:cxnChg chg="add del mod ord">
          <ac:chgData name="Yudi Zhu" userId="571e1a55-055f-4c28-8b35-fca6dd1c1369" providerId="ADAL" clId="{75A88773-6EE1-484E-AADE-FE631E01463B}" dt="2025-11-18T09:59:56.158" v="4212"/>
          <ac:cxnSpMkLst>
            <pc:docMk/>
            <pc:sldMk cId="2609917702" sldId="2147483086"/>
            <ac:cxnSpMk id="48" creationId="{AF8F4066-9D96-F47D-AD6B-C58EEC642F6A}"/>
          </ac:cxnSpMkLst>
        </pc:cxnChg>
      </pc:sldChg>
      <pc:sldChg chg="addSp delSp modSp new del mod">
        <pc:chgData name="Yudi Zhu" userId="571e1a55-055f-4c28-8b35-fca6dd1c1369" providerId="ADAL" clId="{75A88773-6EE1-484E-AADE-FE631E01463B}" dt="2025-11-21T10:09:15.102" v="451732" actId="47"/>
        <pc:sldMkLst>
          <pc:docMk/>
          <pc:sldMk cId="1294829499" sldId="2147483087"/>
        </pc:sldMkLst>
        <pc:spChg chg="mod ord">
          <ac:chgData name="Yudi Zhu" userId="571e1a55-055f-4c28-8b35-fca6dd1c1369" providerId="ADAL" clId="{75A88773-6EE1-484E-AADE-FE631E01463B}" dt="2025-11-21T06:04:51.963" v="85219"/>
          <ac:spMkLst>
            <pc:docMk/>
            <pc:sldMk cId="1294829499" sldId="2147483087"/>
            <ac:spMk id="2" creationId="{C8528062-4CDC-EC02-8FC3-2A6F1715D3B4}"/>
          </ac:spMkLst>
        </pc:spChg>
        <pc:spChg chg="del mod ord">
          <ac:chgData name="Yudi Zhu" userId="571e1a55-055f-4c28-8b35-fca6dd1c1369" providerId="ADAL" clId="{75A88773-6EE1-484E-AADE-FE631E01463B}" dt="2025-11-20T09:17:15.603" v="7849" actId="478"/>
          <ac:spMkLst>
            <pc:docMk/>
            <pc:sldMk cId="1294829499" sldId="2147483087"/>
            <ac:spMk id="3" creationId="{BDDFAD3D-DA37-E943-000E-EA57C44CF23D}"/>
          </ac:spMkLst>
        </pc:spChg>
        <pc:spChg chg="add del mod modVis">
          <ac:chgData name="Yudi Zhu" userId="571e1a55-055f-4c28-8b35-fca6dd1c1369" providerId="ADAL" clId="{75A88773-6EE1-484E-AADE-FE631E01463B}" dt="2025-11-21T06:02:24.694" v="70138" actId="478"/>
          <ac:spMkLst>
            <pc:docMk/>
            <pc:sldMk cId="1294829499" sldId="2147483087"/>
            <ac:spMk id="3" creationId="{BEA2E488-B67D-8FC7-835D-A5067FCD4DD2}"/>
          </ac:spMkLst>
        </pc:spChg>
        <pc:spChg chg="add del mod modVis">
          <ac:chgData name="Yudi Zhu" userId="571e1a55-055f-4c28-8b35-fca6dd1c1369" providerId="ADAL" clId="{75A88773-6EE1-484E-AADE-FE631E01463B}" dt="2025-11-21T03:40:51.552" v="12204"/>
          <ac:spMkLst>
            <pc:docMk/>
            <pc:sldMk cId="1294829499" sldId="2147483087"/>
            <ac:spMk id="3" creationId="{F2FF1853-49F8-8C29-4533-664ABA550C99}"/>
          </ac:spMkLst>
        </pc:spChg>
        <pc:spChg chg="add mod">
          <ac:chgData name="Yudi Zhu" userId="571e1a55-055f-4c28-8b35-fca6dd1c1369" providerId="ADAL" clId="{75A88773-6EE1-484E-AADE-FE631E01463B}" dt="2025-11-21T06:04:51.988" v="85236"/>
          <ac:spMkLst>
            <pc:docMk/>
            <pc:sldMk cId="1294829499" sldId="2147483087"/>
            <ac:spMk id="4" creationId="{C14C4691-7347-2B0F-C21E-E1614EAD1B42}"/>
          </ac:spMkLst>
        </pc:spChg>
        <pc:spChg chg="add del mod">
          <ac:chgData name="Yudi Zhu" userId="571e1a55-055f-4c28-8b35-fca6dd1c1369" providerId="ADAL" clId="{75A88773-6EE1-484E-AADE-FE631E01463B}" dt="2025-11-21T03:43:24.197" v="12638"/>
          <ac:spMkLst>
            <pc:docMk/>
            <pc:sldMk cId="1294829499" sldId="2147483087"/>
            <ac:spMk id="5" creationId="{8705127A-CB73-00DE-FDC6-38A1EA146D4A}"/>
          </ac:spMkLst>
        </pc:spChg>
        <pc:spChg chg="add del mod">
          <ac:chgData name="Yudi Zhu" userId="571e1a55-055f-4c28-8b35-fca6dd1c1369" providerId="ADAL" clId="{75A88773-6EE1-484E-AADE-FE631E01463B}" dt="2025-11-21T06:04:51.902" v="85185"/>
          <ac:spMkLst>
            <pc:docMk/>
            <pc:sldMk cId="1294829499" sldId="2147483087"/>
            <ac:spMk id="5" creationId="{DE99A967-F1E4-6492-D2F5-842F9C5DDFC8}"/>
          </ac:spMkLst>
        </pc:spChg>
        <pc:spChg chg="add del mod">
          <ac:chgData name="Yudi Zhu" userId="571e1a55-055f-4c28-8b35-fca6dd1c1369" providerId="ADAL" clId="{75A88773-6EE1-484E-AADE-FE631E01463B}" dt="2025-11-21T03:43:24.197" v="12640"/>
          <ac:spMkLst>
            <pc:docMk/>
            <pc:sldMk cId="1294829499" sldId="2147483087"/>
            <ac:spMk id="6" creationId="{273379F5-7CD9-382D-E53B-A7BD51A59786}"/>
          </ac:spMkLst>
        </pc:spChg>
        <pc:spChg chg="add del mod">
          <ac:chgData name="Yudi Zhu" userId="571e1a55-055f-4c28-8b35-fca6dd1c1369" providerId="ADAL" clId="{75A88773-6EE1-484E-AADE-FE631E01463B}" dt="2025-11-21T06:04:51.904" v="85186"/>
          <ac:spMkLst>
            <pc:docMk/>
            <pc:sldMk cId="1294829499" sldId="2147483087"/>
            <ac:spMk id="6" creationId="{A61340EF-8894-6406-AE0A-802A7778D0C2}"/>
          </ac:spMkLst>
        </pc:spChg>
        <pc:spChg chg="add mod">
          <ac:chgData name="Yudi Zhu" userId="571e1a55-055f-4c28-8b35-fca6dd1c1369" providerId="ADAL" clId="{75A88773-6EE1-484E-AADE-FE631E01463B}" dt="2025-11-21T06:04:51.967" v="85221"/>
          <ac:spMkLst>
            <pc:docMk/>
            <pc:sldMk cId="1294829499" sldId="2147483087"/>
            <ac:spMk id="7" creationId="{4A7CDE01-8DEB-9BEA-FC4C-A7D88595B04B}"/>
          </ac:spMkLst>
        </pc:spChg>
        <pc:spChg chg="add mod">
          <ac:chgData name="Yudi Zhu" userId="571e1a55-055f-4c28-8b35-fca6dd1c1369" providerId="ADAL" clId="{75A88773-6EE1-484E-AADE-FE631E01463B}" dt="2025-11-21T06:04:51.969" v="85222"/>
          <ac:spMkLst>
            <pc:docMk/>
            <pc:sldMk cId="1294829499" sldId="2147483087"/>
            <ac:spMk id="8" creationId="{F11A8184-1A48-EDA3-046C-32C3DB8601E0}"/>
          </ac:spMkLst>
        </pc:spChg>
        <pc:spChg chg="add del mod">
          <ac:chgData name="Yudi Zhu" userId="571e1a55-055f-4c28-8b35-fca6dd1c1369" providerId="ADAL" clId="{75A88773-6EE1-484E-AADE-FE631E01463B}" dt="2025-11-20T09:25:01.378" v="8308"/>
          <ac:spMkLst>
            <pc:docMk/>
            <pc:sldMk cId="1294829499" sldId="2147483087"/>
            <ac:spMk id="9" creationId="{4E5DA5D6-01AB-9E46-382B-047CFE7F48B9}"/>
          </ac:spMkLst>
        </pc:spChg>
        <pc:spChg chg="add mod">
          <ac:chgData name="Yudi Zhu" userId="571e1a55-055f-4c28-8b35-fca6dd1c1369" providerId="ADAL" clId="{75A88773-6EE1-484E-AADE-FE631E01463B}" dt="2025-11-21T06:04:51.971" v="85223"/>
          <ac:spMkLst>
            <pc:docMk/>
            <pc:sldMk cId="1294829499" sldId="2147483087"/>
            <ac:spMk id="9" creationId="{DD9E3BB8-6C9B-7044-052C-0C3C48B90DA4}"/>
          </ac:spMkLst>
        </pc:spChg>
        <pc:spChg chg="add del mod">
          <ac:chgData name="Yudi Zhu" userId="571e1a55-055f-4c28-8b35-fca6dd1c1369" providerId="ADAL" clId="{75A88773-6EE1-484E-AADE-FE631E01463B}" dt="2025-11-20T09:25:01.378" v="8307"/>
          <ac:spMkLst>
            <pc:docMk/>
            <pc:sldMk cId="1294829499" sldId="2147483087"/>
            <ac:spMk id="10" creationId="{3274E7A4-86FE-4B25-E627-6B2F34F739C6}"/>
          </ac:spMkLst>
        </pc:spChg>
        <pc:spChg chg="add del mod">
          <ac:chgData name="Yudi Zhu" userId="571e1a55-055f-4c28-8b35-fca6dd1c1369" providerId="ADAL" clId="{75A88773-6EE1-484E-AADE-FE631E01463B}" dt="2025-11-21T03:43:24.197" v="12641"/>
          <ac:spMkLst>
            <pc:docMk/>
            <pc:sldMk cId="1294829499" sldId="2147483087"/>
            <ac:spMk id="10" creationId="{577E0900-A867-6564-A291-74293A77EB35}"/>
          </ac:spMkLst>
        </pc:spChg>
        <pc:spChg chg="add del mod">
          <ac:chgData name="Yudi Zhu" userId="571e1a55-055f-4c28-8b35-fca6dd1c1369" providerId="ADAL" clId="{75A88773-6EE1-484E-AADE-FE631E01463B}" dt="2025-11-21T06:04:51.906" v="85187"/>
          <ac:spMkLst>
            <pc:docMk/>
            <pc:sldMk cId="1294829499" sldId="2147483087"/>
            <ac:spMk id="10" creationId="{7D0F626D-4B42-DAA2-4B77-63FE9E0DBF90}"/>
          </ac:spMkLst>
        </pc:spChg>
        <pc:spChg chg="add del mod">
          <ac:chgData name="Yudi Zhu" userId="571e1a55-055f-4c28-8b35-fca6dd1c1369" providerId="ADAL" clId="{75A88773-6EE1-484E-AADE-FE631E01463B}" dt="2025-11-21T03:43:24.210" v="12642"/>
          <ac:spMkLst>
            <pc:docMk/>
            <pc:sldMk cId="1294829499" sldId="2147483087"/>
            <ac:spMk id="11" creationId="{20B8FF7C-ED59-B614-1070-DF98757EE203}"/>
          </ac:spMkLst>
        </pc:spChg>
        <pc:spChg chg="add del mod">
          <ac:chgData name="Yudi Zhu" userId="571e1a55-055f-4c28-8b35-fca6dd1c1369" providerId="ADAL" clId="{75A88773-6EE1-484E-AADE-FE631E01463B}" dt="2025-11-21T06:04:51.906" v="85188"/>
          <ac:spMkLst>
            <pc:docMk/>
            <pc:sldMk cId="1294829499" sldId="2147483087"/>
            <ac:spMk id="11" creationId="{94A016C8-CD1A-5871-49A4-74104E6AE819}"/>
          </ac:spMkLst>
        </pc:spChg>
        <pc:spChg chg="add del mod">
          <ac:chgData name="Yudi Zhu" userId="571e1a55-055f-4c28-8b35-fca6dd1c1369" providerId="ADAL" clId="{75A88773-6EE1-484E-AADE-FE631E01463B}" dt="2025-11-20T09:25:01.376" v="8304"/>
          <ac:spMkLst>
            <pc:docMk/>
            <pc:sldMk cId="1294829499" sldId="2147483087"/>
            <ac:spMk id="11" creationId="{C371BE78-D89A-A4A8-0896-F8D43562F79B}"/>
          </ac:spMkLst>
        </pc:spChg>
        <pc:spChg chg="add del mod">
          <ac:chgData name="Yudi Zhu" userId="571e1a55-055f-4c28-8b35-fca6dd1c1369" providerId="ADAL" clId="{75A88773-6EE1-484E-AADE-FE631E01463B}" dt="2025-11-21T06:04:51.907" v="85189"/>
          <ac:spMkLst>
            <pc:docMk/>
            <pc:sldMk cId="1294829499" sldId="2147483087"/>
            <ac:spMk id="12" creationId="{685490DA-F38E-3A3E-04CB-E07D90984B43}"/>
          </ac:spMkLst>
        </pc:spChg>
        <pc:spChg chg="add del mod">
          <ac:chgData name="Yudi Zhu" userId="571e1a55-055f-4c28-8b35-fca6dd1c1369" providerId="ADAL" clId="{75A88773-6EE1-484E-AADE-FE631E01463B}" dt="2025-11-21T03:43:24.210" v="12643"/>
          <ac:spMkLst>
            <pc:docMk/>
            <pc:sldMk cId="1294829499" sldId="2147483087"/>
            <ac:spMk id="12" creationId="{EECF52FD-0EEC-C02A-2996-4DA348DEE257}"/>
          </ac:spMkLst>
        </pc:spChg>
        <pc:spChg chg="add del mod">
          <ac:chgData name="Yudi Zhu" userId="571e1a55-055f-4c28-8b35-fca6dd1c1369" providerId="ADAL" clId="{75A88773-6EE1-484E-AADE-FE631E01463B}" dt="2025-11-20T09:25:01.374" v="8301"/>
          <ac:spMkLst>
            <pc:docMk/>
            <pc:sldMk cId="1294829499" sldId="2147483087"/>
            <ac:spMk id="12" creationId="{F7CA9533-B734-F848-33C5-B73FF950EC57}"/>
          </ac:spMkLst>
        </pc:spChg>
        <pc:spChg chg="add del mod">
          <ac:chgData name="Yudi Zhu" userId="571e1a55-055f-4c28-8b35-fca6dd1c1369" providerId="ADAL" clId="{75A88773-6EE1-484E-AADE-FE631E01463B}" dt="2025-11-21T06:04:51.908" v="85190"/>
          <ac:spMkLst>
            <pc:docMk/>
            <pc:sldMk cId="1294829499" sldId="2147483087"/>
            <ac:spMk id="13" creationId="{DD4128CB-E3F4-91F2-E5E8-87E50A091527}"/>
          </ac:spMkLst>
        </pc:spChg>
        <pc:spChg chg="add del mod">
          <ac:chgData name="Yudi Zhu" userId="571e1a55-055f-4c28-8b35-fca6dd1c1369" providerId="ADAL" clId="{75A88773-6EE1-484E-AADE-FE631E01463B}" dt="2025-11-20T09:25:01.372" v="8298"/>
          <ac:spMkLst>
            <pc:docMk/>
            <pc:sldMk cId="1294829499" sldId="2147483087"/>
            <ac:spMk id="13" creationId="{EB0A54FC-7071-35D3-DA62-1726E2FA5E08}"/>
          </ac:spMkLst>
        </pc:spChg>
        <pc:spChg chg="add del mod">
          <ac:chgData name="Yudi Zhu" userId="571e1a55-055f-4c28-8b35-fca6dd1c1369" providerId="ADAL" clId="{75A88773-6EE1-484E-AADE-FE631E01463B}" dt="2025-11-21T06:04:51.909" v="85191"/>
          <ac:spMkLst>
            <pc:docMk/>
            <pc:sldMk cId="1294829499" sldId="2147483087"/>
            <ac:spMk id="14" creationId="{5FCFB157-C82C-A67F-D327-AC6D74231147}"/>
          </ac:spMkLst>
        </pc:spChg>
        <pc:spChg chg="add del mod modVis">
          <ac:chgData name="Yudi Zhu" userId="571e1a55-055f-4c28-8b35-fca6dd1c1369" providerId="ADAL" clId="{75A88773-6EE1-484E-AADE-FE631E01463B}" dt="2025-11-20T09:17:13.806" v="7834"/>
          <ac:spMkLst>
            <pc:docMk/>
            <pc:sldMk cId="1294829499" sldId="2147483087"/>
            <ac:spMk id="14" creationId="{A998CBFB-9702-943D-DF70-8D8D9C7C593E}"/>
          </ac:spMkLst>
        </pc:spChg>
        <pc:spChg chg="add del mod">
          <ac:chgData name="Yudi Zhu" userId="571e1a55-055f-4c28-8b35-fca6dd1c1369" providerId="ADAL" clId="{75A88773-6EE1-484E-AADE-FE631E01463B}" dt="2025-11-21T06:04:51.910" v="85192"/>
          <ac:spMkLst>
            <pc:docMk/>
            <pc:sldMk cId="1294829499" sldId="2147483087"/>
            <ac:spMk id="15" creationId="{6B0B9354-4C5B-01AA-2803-F7EA01FC9807}"/>
          </ac:spMkLst>
        </pc:spChg>
        <pc:spChg chg="add del mod ord">
          <ac:chgData name="Yudi Zhu" userId="571e1a55-055f-4c28-8b35-fca6dd1c1369" providerId="ADAL" clId="{75A88773-6EE1-484E-AADE-FE631E01463B}" dt="2025-11-21T03:44:18.962" v="15979"/>
          <ac:spMkLst>
            <pc:docMk/>
            <pc:sldMk cId="1294829499" sldId="2147483087"/>
            <ac:spMk id="15" creationId="{961F9C5C-165D-4DF3-B3E7-3468D64AA0D7}"/>
          </ac:spMkLst>
        </pc:spChg>
        <pc:spChg chg="add del mod">
          <ac:chgData name="Yudi Zhu" userId="571e1a55-055f-4c28-8b35-fca6dd1c1369" providerId="ADAL" clId="{75A88773-6EE1-484E-AADE-FE631E01463B}" dt="2025-11-21T03:43:24.197" v="12637"/>
          <ac:spMkLst>
            <pc:docMk/>
            <pc:sldMk cId="1294829499" sldId="2147483087"/>
            <ac:spMk id="17" creationId="{AD1867E1-711D-7C97-2A98-204A36111C87}"/>
          </ac:spMkLst>
        </pc:spChg>
        <pc:spChg chg="add del mod">
          <ac:chgData name="Yudi Zhu" userId="571e1a55-055f-4c28-8b35-fca6dd1c1369" providerId="ADAL" clId="{75A88773-6EE1-484E-AADE-FE631E01463B}" dt="2025-11-21T06:04:51.911" v="85193"/>
          <ac:spMkLst>
            <pc:docMk/>
            <pc:sldMk cId="1294829499" sldId="2147483087"/>
            <ac:spMk id="17" creationId="{D90BA148-879A-54FC-4674-B8167D62148B}"/>
          </ac:spMkLst>
        </pc:spChg>
        <pc:spChg chg="add del mod">
          <ac:chgData name="Yudi Zhu" userId="571e1a55-055f-4c28-8b35-fca6dd1c1369" providerId="ADAL" clId="{75A88773-6EE1-484E-AADE-FE631E01463B}" dt="2025-11-21T06:04:51.912" v="85194"/>
          <ac:spMkLst>
            <pc:docMk/>
            <pc:sldMk cId="1294829499" sldId="2147483087"/>
            <ac:spMk id="18" creationId="{D96BA087-5D41-EB33-831C-D04E94C2C247}"/>
          </ac:spMkLst>
        </pc:spChg>
        <pc:spChg chg="add del mod">
          <ac:chgData name="Yudi Zhu" userId="571e1a55-055f-4c28-8b35-fca6dd1c1369" providerId="ADAL" clId="{75A88773-6EE1-484E-AADE-FE631E01463B}" dt="2025-11-21T03:43:24.197" v="12639"/>
          <ac:spMkLst>
            <pc:docMk/>
            <pc:sldMk cId="1294829499" sldId="2147483087"/>
            <ac:spMk id="18" creationId="{ED75DB9F-B026-C404-B2C5-08509EEEDA70}"/>
          </ac:spMkLst>
        </pc:spChg>
        <pc:spChg chg="add del mod modVis">
          <ac:chgData name="Yudi Zhu" userId="571e1a55-055f-4c28-8b35-fca6dd1c1369" providerId="ADAL" clId="{75A88773-6EE1-484E-AADE-FE631E01463B}" dt="2025-11-20T09:17:42.002" v="8209"/>
          <ac:spMkLst>
            <pc:docMk/>
            <pc:sldMk cId="1294829499" sldId="2147483087"/>
            <ac:spMk id="19" creationId="{0D266640-BD93-6330-CD73-38051E94E6F7}"/>
          </ac:spMkLst>
        </pc:spChg>
        <pc:spChg chg="add mod">
          <ac:chgData name="Yudi Zhu" userId="571e1a55-055f-4c28-8b35-fca6dd1c1369" providerId="ADAL" clId="{75A88773-6EE1-484E-AADE-FE631E01463B}" dt="2025-11-21T06:04:51.972" v="85224"/>
          <ac:spMkLst>
            <pc:docMk/>
            <pc:sldMk cId="1294829499" sldId="2147483087"/>
            <ac:spMk id="19" creationId="{B3FCA4EB-F975-2BCF-34FE-FB8F3C90C8D0}"/>
          </ac:spMkLst>
        </pc:spChg>
        <pc:spChg chg="add del mod">
          <ac:chgData name="Yudi Zhu" userId="571e1a55-055f-4c28-8b35-fca6dd1c1369" providerId="ADAL" clId="{75A88773-6EE1-484E-AADE-FE631E01463B}" dt="2025-11-20T09:17:53.819" v="8223"/>
          <ac:spMkLst>
            <pc:docMk/>
            <pc:sldMk cId="1294829499" sldId="2147483087"/>
            <ac:spMk id="20" creationId="{42E11EB0-8407-5415-C735-25BA5FB072C3}"/>
          </ac:spMkLst>
        </pc:spChg>
        <pc:spChg chg="add mod">
          <ac:chgData name="Yudi Zhu" userId="571e1a55-055f-4c28-8b35-fca6dd1c1369" providerId="ADAL" clId="{75A88773-6EE1-484E-AADE-FE631E01463B}" dt="2025-11-21T06:04:51.973" v="85225"/>
          <ac:spMkLst>
            <pc:docMk/>
            <pc:sldMk cId="1294829499" sldId="2147483087"/>
            <ac:spMk id="20" creationId="{E4B95DA0-7C91-0168-9FD0-4E1352A39644}"/>
          </ac:spMkLst>
        </pc:spChg>
        <pc:spChg chg="add mod">
          <ac:chgData name="Yudi Zhu" userId="571e1a55-055f-4c28-8b35-fca6dd1c1369" providerId="ADAL" clId="{75A88773-6EE1-484E-AADE-FE631E01463B}" dt="2025-11-21T06:04:51.974" v="85226"/>
          <ac:spMkLst>
            <pc:docMk/>
            <pc:sldMk cId="1294829499" sldId="2147483087"/>
            <ac:spMk id="21" creationId="{CDA448A1-399F-C21D-A2F3-726E96B45F8B}"/>
          </ac:spMkLst>
        </pc:spChg>
        <pc:spChg chg="add del mod">
          <ac:chgData name="Yudi Zhu" userId="571e1a55-055f-4c28-8b35-fca6dd1c1369" providerId="ADAL" clId="{75A88773-6EE1-484E-AADE-FE631E01463B}" dt="2025-11-20T09:17:53.852" v="8250"/>
          <ac:spMkLst>
            <pc:docMk/>
            <pc:sldMk cId="1294829499" sldId="2147483087"/>
            <ac:spMk id="21" creationId="{CE7CE720-7BAE-7F4B-66AD-6674D18A5ED2}"/>
          </ac:spMkLst>
        </pc:spChg>
        <pc:spChg chg="add del mod ord">
          <ac:chgData name="Yudi Zhu" userId="571e1a55-055f-4c28-8b35-fca6dd1c1369" providerId="ADAL" clId="{75A88773-6EE1-484E-AADE-FE631E01463B}" dt="2025-11-20T09:17:53.852" v="8252"/>
          <ac:spMkLst>
            <pc:docMk/>
            <pc:sldMk cId="1294829499" sldId="2147483087"/>
            <ac:spMk id="22" creationId="{56C2D43C-79CF-76D6-A7E2-EB96C1F582CA}"/>
          </ac:spMkLst>
        </pc:spChg>
        <pc:spChg chg="add mod">
          <ac:chgData name="Yudi Zhu" userId="571e1a55-055f-4c28-8b35-fca6dd1c1369" providerId="ADAL" clId="{75A88773-6EE1-484E-AADE-FE631E01463B}" dt="2025-11-21T06:04:51.976" v="85227"/>
          <ac:spMkLst>
            <pc:docMk/>
            <pc:sldMk cId="1294829499" sldId="2147483087"/>
            <ac:spMk id="22" creationId="{94B825C5-F9F2-A424-72BE-0D649D356483}"/>
          </ac:spMkLst>
        </pc:spChg>
        <pc:spChg chg="add mod">
          <ac:chgData name="Yudi Zhu" userId="571e1a55-055f-4c28-8b35-fca6dd1c1369" providerId="ADAL" clId="{75A88773-6EE1-484E-AADE-FE631E01463B}" dt="2025-11-21T06:04:51.977" v="85228"/>
          <ac:spMkLst>
            <pc:docMk/>
            <pc:sldMk cId="1294829499" sldId="2147483087"/>
            <ac:spMk id="23" creationId="{CB93F64D-DFA4-F1DF-8973-DF65627A3BE4}"/>
          </ac:spMkLst>
        </pc:spChg>
        <pc:spChg chg="add del mod modVis">
          <ac:chgData name="Yudi Zhu" userId="571e1a55-055f-4c28-8b35-fca6dd1c1369" providerId="ADAL" clId="{75A88773-6EE1-484E-AADE-FE631E01463B}" dt="2025-11-20T09:17:53.895" v="8293"/>
          <ac:spMkLst>
            <pc:docMk/>
            <pc:sldMk cId="1294829499" sldId="2147483087"/>
            <ac:spMk id="24" creationId="{3274D875-235B-5C86-50E4-3E6A790D2EDC}"/>
          </ac:spMkLst>
        </pc:spChg>
        <pc:spChg chg="add mod">
          <ac:chgData name="Yudi Zhu" userId="571e1a55-055f-4c28-8b35-fca6dd1c1369" providerId="ADAL" clId="{75A88773-6EE1-484E-AADE-FE631E01463B}" dt="2025-11-21T06:04:51.978" v="85229"/>
          <ac:spMkLst>
            <pc:docMk/>
            <pc:sldMk cId="1294829499" sldId="2147483087"/>
            <ac:spMk id="24" creationId="{B9FB2AFE-4459-41A0-DD04-80626A21D9A5}"/>
          </ac:spMkLst>
        </pc:spChg>
        <pc:spChg chg="add mod">
          <ac:chgData name="Yudi Zhu" userId="571e1a55-055f-4c28-8b35-fca6dd1c1369" providerId="ADAL" clId="{75A88773-6EE1-484E-AADE-FE631E01463B}" dt="2025-11-21T06:04:51.979" v="85230"/>
          <ac:spMkLst>
            <pc:docMk/>
            <pc:sldMk cId="1294829499" sldId="2147483087"/>
            <ac:spMk id="25" creationId="{5515FFD5-A616-A626-47DB-D61638E7F585}"/>
          </ac:spMkLst>
        </pc:spChg>
        <pc:spChg chg="add del mod">
          <ac:chgData name="Yudi Zhu" userId="571e1a55-055f-4c28-8b35-fca6dd1c1369" providerId="ADAL" clId="{75A88773-6EE1-484E-AADE-FE631E01463B}" dt="2025-11-21T03:40:40.462" v="11466"/>
          <ac:spMkLst>
            <pc:docMk/>
            <pc:sldMk cId="1294829499" sldId="2147483087"/>
            <ac:spMk id="26" creationId="{41578362-1161-378C-48AC-3E2A71CDA507}"/>
          </ac:spMkLst>
        </pc:spChg>
        <pc:spChg chg="add del mod modVis">
          <ac:chgData name="Yudi Zhu" userId="571e1a55-055f-4c28-8b35-fca6dd1c1369" providerId="ADAL" clId="{75A88773-6EE1-484E-AADE-FE631E01463B}" dt="2025-11-21T06:05:08.296" v="91455"/>
          <ac:spMkLst>
            <pc:docMk/>
            <pc:sldMk cId="1294829499" sldId="2147483087"/>
            <ac:spMk id="27" creationId="{13DDB282-5FC1-4707-133C-07F69CC10B60}"/>
          </ac:spMkLst>
        </pc:spChg>
        <pc:spChg chg="add del mod modVis">
          <ac:chgData name="Yudi Zhu" userId="571e1a55-055f-4c28-8b35-fca6dd1c1369" providerId="ADAL" clId="{75A88773-6EE1-484E-AADE-FE631E01463B}" dt="2025-11-21T03:43:11.280" v="12498"/>
          <ac:spMkLst>
            <pc:docMk/>
            <pc:sldMk cId="1294829499" sldId="2147483087"/>
            <ac:spMk id="27" creationId="{4C7D449A-0923-A13E-168F-FC507075F5B7}"/>
          </ac:spMkLst>
        </pc:spChg>
        <pc:spChg chg="add del mod modVis">
          <ac:chgData name="Yudi Zhu" userId="571e1a55-055f-4c28-8b35-fca6dd1c1369" providerId="ADAL" clId="{75A88773-6EE1-484E-AADE-FE631E01463B}" dt="2025-11-20T09:25:09.782" v="8676"/>
          <ac:spMkLst>
            <pc:docMk/>
            <pc:sldMk cId="1294829499" sldId="2147483087"/>
            <ac:spMk id="27" creationId="{C4C442CC-95DF-F55F-6A83-80CBE10BE288}"/>
          </ac:spMkLst>
        </pc:spChg>
        <pc:spChg chg="add del mod">
          <ac:chgData name="Yudi Zhu" userId="571e1a55-055f-4c28-8b35-fca6dd1c1369" providerId="ADAL" clId="{75A88773-6EE1-484E-AADE-FE631E01463B}" dt="2025-11-21T03:40:40.462" v="11464"/>
          <ac:spMkLst>
            <pc:docMk/>
            <pc:sldMk cId="1294829499" sldId="2147483087"/>
            <ac:spMk id="28" creationId="{6A475972-7C9D-C690-9DBF-E74FA6AC7A0A}"/>
          </ac:spMkLst>
        </pc:spChg>
        <pc:spChg chg="add del mod">
          <ac:chgData name="Yudi Zhu" userId="571e1a55-055f-4c28-8b35-fca6dd1c1369" providerId="ADAL" clId="{75A88773-6EE1-484E-AADE-FE631E01463B}" dt="2025-11-21T03:40:40.447" v="11460"/>
          <ac:spMkLst>
            <pc:docMk/>
            <pc:sldMk cId="1294829499" sldId="2147483087"/>
            <ac:spMk id="29" creationId="{433F1F4A-C26C-B861-1311-90A450B651CD}"/>
          </ac:spMkLst>
        </pc:spChg>
        <pc:spChg chg="add del mod">
          <ac:chgData name="Yudi Zhu" userId="571e1a55-055f-4c28-8b35-fca6dd1c1369" providerId="ADAL" clId="{75A88773-6EE1-484E-AADE-FE631E01463B}" dt="2025-11-21T03:40:40.447" v="11455"/>
          <ac:spMkLst>
            <pc:docMk/>
            <pc:sldMk cId="1294829499" sldId="2147483087"/>
            <ac:spMk id="30" creationId="{D89A0B48-8DEF-D49D-77A9-0F2F3A1541C2}"/>
          </ac:spMkLst>
        </pc:spChg>
        <pc:spChg chg="add del mod">
          <ac:chgData name="Yudi Zhu" userId="571e1a55-055f-4c28-8b35-fca6dd1c1369" providerId="ADAL" clId="{75A88773-6EE1-484E-AADE-FE631E01463B}" dt="2025-11-21T03:40:40.447" v="11450"/>
          <ac:spMkLst>
            <pc:docMk/>
            <pc:sldMk cId="1294829499" sldId="2147483087"/>
            <ac:spMk id="31" creationId="{FC5BEF97-F6FF-3903-4C70-29EE70484534}"/>
          </ac:spMkLst>
        </pc:spChg>
        <pc:spChg chg="add del mod">
          <ac:chgData name="Yudi Zhu" userId="571e1a55-055f-4c28-8b35-fca6dd1c1369" providerId="ADAL" clId="{75A88773-6EE1-484E-AADE-FE631E01463B}" dt="2025-11-21T03:40:40.462" v="11465"/>
          <ac:spMkLst>
            <pc:docMk/>
            <pc:sldMk cId="1294829499" sldId="2147483087"/>
            <ac:spMk id="33" creationId="{73EA90C8-1296-59DC-D314-52C86D023D4D}"/>
          </ac:spMkLst>
        </pc:spChg>
        <pc:spChg chg="add del mod">
          <ac:chgData name="Yudi Zhu" userId="571e1a55-055f-4c28-8b35-fca6dd1c1369" providerId="ADAL" clId="{75A88773-6EE1-484E-AADE-FE631E01463B}" dt="2025-11-21T03:40:40.447" v="11463"/>
          <ac:spMkLst>
            <pc:docMk/>
            <pc:sldMk cId="1294829499" sldId="2147483087"/>
            <ac:spMk id="34" creationId="{5CC40102-0DB1-2AB3-5975-145DE231CFA5}"/>
          </ac:spMkLst>
        </pc:spChg>
        <pc:spChg chg="add del mod modVis">
          <ac:chgData name="Yudi Zhu" userId="571e1a55-055f-4c28-8b35-fca6dd1c1369" providerId="ADAL" clId="{75A88773-6EE1-484E-AADE-FE631E01463B}" dt="2025-11-21T03:43:19.727" v="12634"/>
          <ac:spMkLst>
            <pc:docMk/>
            <pc:sldMk cId="1294829499" sldId="2147483087"/>
            <ac:spMk id="35" creationId="{04E85129-B207-6E44-732B-0A801C068EC0}"/>
          </ac:spMkLst>
        </pc:spChg>
        <pc:spChg chg="add del mod">
          <ac:chgData name="Yudi Zhu" userId="571e1a55-055f-4c28-8b35-fca6dd1c1369" providerId="ADAL" clId="{75A88773-6EE1-484E-AADE-FE631E01463B}" dt="2025-11-21T03:40:40.447" v="11462"/>
          <ac:spMkLst>
            <pc:docMk/>
            <pc:sldMk cId="1294829499" sldId="2147483087"/>
            <ac:spMk id="37" creationId="{CD8B283F-91AC-8891-BF5C-CC9BB758F25F}"/>
          </ac:spMkLst>
        </pc:spChg>
        <pc:spChg chg="add del mod modVis">
          <ac:chgData name="Yudi Zhu" userId="571e1a55-055f-4c28-8b35-fca6dd1c1369" providerId="ADAL" clId="{75A88773-6EE1-484E-AADE-FE631E01463B}" dt="2025-11-21T03:43:24.394" v="12764"/>
          <ac:spMkLst>
            <pc:docMk/>
            <pc:sldMk cId="1294829499" sldId="2147483087"/>
            <ac:spMk id="38" creationId="{1C028CB3-3555-06BC-50A9-511D3AF8E7B0}"/>
          </ac:spMkLst>
        </pc:spChg>
        <pc:spChg chg="add del mod modVis">
          <ac:chgData name="Yudi Zhu" userId="571e1a55-055f-4c28-8b35-fca6dd1c1369" providerId="ADAL" clId="{75A88773-6EE1-484E-AADE-FE631E01463B}" dt="2025-11-20T09:25:19.984" v="8814"/>
          <ac:spMkLst>
            <pc:docMk/>
            <pc:sldMk cId="1294829499" sldId="2147483087"/>
            <ac:spMk id="38" creationId="{34165F4B-E092-B31C-CF23-9EC38F2E8E99}"/>
          </ac:spMkLst>
        </pc:spChg>
        <pc:spChg chg="add del mod">
          <ac:chgData name="Yudi Zhu" userId="571e1a55-055f-4c28-8b35-fca6dd1c1369" providerId="ADAL" clId="{75A88773-6EE1-484E-AADE-FE631E01463B}" dt="2025-11-21T03:40:40.447" v="11461"/>
          <ac:spMkLst>
            <pc:docMk/>
            <pc:sldMk cId="1294829499" sldId="2147483087"/>
            <ac:spMk id="40" creationId="{D1DD1122-F9D8-4871-1064-14DF2B65736B}"/>
          </ac:spMkLst>
        </pc:spChg>
        <pc:spChg chg="add del mod modVis">
          <ac:chgData name="Yudi Zhu" userId="571e1a55-055f-4c28-8b35-fca6dd1c1369" providerId="ADAL" clId="{75A88773-6EE1-484E-AADE-FE631E01463B}" dt="2025-11-20T09:25:49.164" v="9060"/>
          <ac:spMkLst>
            <pc:docMk/>
            <pc:sldMk cId="1294829499" sldId="2147483087"/>
            <ac:spMk id="41" creationId="{4856BB9A-CDEE-E984-B6DD-AD4D0F9933C3}"/>
          </ac:spMkLst>
        </pc:spChg>
        <pc:spChg chg="add mod">
          <ac:chgData name="Yudi Zhu" userId="571e1a55-055f-4c28-8b35-fca6dd1c1369" providerId="ADAL" clId="{75A88773-6EE1-484E-AADE-FE631E01463B}" dt="2025-11-21T06:04:51.989" v="85237"/>
          <ac:spMkLst>
            <pc:docMk/>
            <pc:sldMk cId="1294829499" sldId="2147483087"/>
            <ac:spMk id="41" creationId="{D40BAF53-0B98-2E59-77C1-90CFDE6C994B}"/>
          </ac:spMkLst>
        </pc:spChg>
        <pc:spChg chg="add del mod">
          <ac:chgData name="Yudi Zhu" userId="571e1a55-055f-4c28-8b35-fca6dd1c1369" providerId="ADAL" clId="{75A88773-6EE1-484E-AADE-FE631E01463B}" dt="2025-11-21T03:40:40.447" v="11459"/>
          <ac:spMkLst>
            <pc:docMk/>
            <pc:sldMk cId="1294829499" sldId="2147483087"/>
            <ac:spMk id="42" creationId="{BCEE99B4-F8DB-5D5A-F5E9-270A696D18B7}"/>
          </ac:spMkLst>
        </pc:spChg>
        <pc:spChg chg="add del mod">
          <ac:chgData name="Yudi Zhu" userId="571e1a55-055f-4c28-8b35-fca6dd1c1369" providerId="ADAL" clId="{75A88773-6EE1-484E-AADE-FE631E01463B}" dt="2025-11-21T03:40:40.447" v="11454"/>
          <ac:spMkLst>
            <pc:docMk/>
            <pc:sldMk cId="1294829499" sldId="2147483087"/>
            <ac:spMk id="43" creationId="{BD5A32BE-C169-F953-3E66-1CCD4FF06FDB}"/>
          </ac:spMkLst>
        </pc:spChg>
        <pc:spChg chg="add del mod">
          <ac:chgData name="Yudi Zhu" userId="571e1a55-055f-4c28-8b35-fca6dd1c1369" providerId="ADAL" clId="{75A88773-6EE1-484E-AADE-FE631E01463B}" dt="2025-11-21T03:40:40.447" v="11449"/>
          <ac:spMkLst>
            <pc:docMk/>
            <pc:sldMk cId="1294829499" sldId="2147483087"/>
            <ac:spMk id="44" creationId="{742D5552-466C-4133-332B-5DCF881B8580}"/>
          </ac:spMkLst>
        </pc:spChg>
        <pc:spChg chg="add mod">
          <ac:chgData name="Yudi Zhu" userId="571e1a55-055f-4c28-8b35-fca6dd1c1369" providerId="ADAL" clId="{75A88773-6EE1-484E-AADE-FE631E01463B}" dt="2025-11-21T06:04:51.989" v="85238"/>
          <ac:spMkLst>
            <pc:docMk/>
            <pc:sldMk cId="1294829499" sldId="2147483087"/>
            <ac:spMk id="45" creationId="{E3EF32F3-966E-2FA6-C172-CFFEEDBB1BF3}"/>
          </ac:spMkLst>
        </pc:spChg>
        <pc:spChg chg="add mod">
          <ac:chgData name="Yudi Zhu" userId="571e1a55-055f-4c28-8b35-fca6dd1c1369" providerId="ADAL" clId="{75A88773-6EE1-484E-AADE-FE631E01463B}" dt="2025-11-21T06:04:51.991" v="85239"/>
          <ac:spMkLst>
            <pc:docMk/>
            <pc:sldMk cId="1294829499" sldId="2147483087"/>
            <ac:spMk id="46" creationId="{6E9FDDC8-2B2F-F251-8BA7-530D1AABDE66}"/>
          </ac:spMkLst>
        </pc:spChg>
        <pc:spChg chg="add del mod">
          <ac:chgData name="Yudi Zhu" userId="571e1a55-055f-4c28-8b35-fca6dd1c1369" providerId="ADAL" clId="{75A88773-6EE1-484E-AADE-FE631E01463B}" dt="2025-11-21T03:40:40.447" v="11458"/>
          <ac:spMkLst>
            <pc:docMk/>
            <pc:sldMk cId="1294829499" sldId="2147483087"/>
            <ac:spMk id="47" creationId="{7FC7FB42-792A-878C-B4C0-BCD51925249D}"/>
          </ac:spMkLst>
        </pc:spChg>
        <pc:spChg chg="add mod">
          <ac:chgData name="Yudi Zhu" userId="571e1a55-055f-4c28-8b35-fca6dd1c1369" providerId="ADAL" clId="{75A88773-6EE1-484E-AADE-FE631E01463B}" dt="2025-11-21T06:04:51.992" v="85240"/>
          <ac:spMkLst>
            <pc:docMk/>
            <pc:sldMk cId="1294829499" sldId="2147483087"/>
            <ac:spMk id="48" creationId="{49798E43-9435-1199-B6BD-6B7FF6103745}"/>
          </ac:spMkLst>
        </pc:spChg>
        <pc:spChg chg="add del mod modVis">
          <ac:chgData name="Yudi Zhu" userId="571e1a55-055f-4c28-8b35-fca6dd1c1369" providerId="ADAL" clId="{75A88773-6EE1-484E-AADE-FE631E01463B}" dt="2025-11-20T09:26:04.222" v="9687"/>
          <ac:spMkLst>
            <pc:docMk/>
            <pc:sldMk cId="1294829499" sldId="2147483087"/>
            <ac:spMk id="48" creationId="{83023531-36E2-2AE8-55FE-355A740051EE}"/>
          </ac:spMkLst>
        </pc:spChg>
        <pc:spChg chg="add del mod">
          <ac:chgData name="Yudi Zhu" userId="571e1a55-055f-4c28-8b35-fca6dd1c1369" providerId="ADAL" clId="{75A88773-6EE1-484E-AADE-FE631E01463B}" dt="2025-11-21T03:40:40.447" v="11457"/>
          <ac:spMkLst>
            <pc:docMk/>
            <pc:sldMk cId="1294829499" sldId="2147483087"/>
            <ac:spMk id="49" creationId="{AB25B69C-09E1-C95D-39EE-9FCCC0E493A4}"/>
          </ac:spMkLst>
        </pc:spChg>
        <pc:spChg chg="add del mod">
          <ac:chgData name="Yudi Zhu" userId="571e1a55-055f-4c28-8b35-fca6dd1c1369" providerId="ADAL" clId="{75A88773-6EE1-484E-AADE-FE631E01463B}" dt="2025-11-21T03:40:40.447" v="11456"/>
          <ac:spMkLst>
            <pc:docMk/>
            <pc:sldMk cId="1294829499" sldId="2147483087"/>
            <ac:spMk id="50" creationId="{8EC4AB9B-84DA-49EA-6FBE-7B275E83BED1}"/>
          </ac:spMkLst>
        </pc:spChg>
        <pc:spChg chg="add del mod">
          <ac:chgData name="Yudi Zhu" userId="571e1a55-055f-4c28-8b35-fca6dd1c1369" providerId="ADAL" clId="{75A88773-6EE1-484E-AADE-FE631E01463B}" dt="2025-11-21T03:40:40.447" v="11453"/>
          <ac:spMkLst>
            <pc:docMk/>
            <pc:sldMk cId="1294829499" sldId="2147483087"/>
            <ac:spMk id="51" creationId="{0BA92B7B-8CB3-49E0-EAD8-12A859FA1C61}"/>
          </ac:spMkLst>
        </pc:spChg>
        <pc:spChg chg="add del mod">
          <ac:chgData name="Yudi Zhu" userId="571e1a55-055f-4c28-8b35-fca6dd1c1369" providerId="ADAL" clId="{75A88773-6EE1-484E-AADE-FE631E01463B}" dt="2025-11-21T03:40:40.447" v="11452"/>
          <ac:spMkLst>
            <pc:docMk/>
            <pc:sldMk cId="1294829499" sldId="2147483087"/>
            <ac:spMk id="52" creationId="{AA292309-F98D-64FF-05BE-BCC27787F449}"/>
          </ac:spMkLst>
        </pc:spChg>
        <pc:spChg chg="add del mod">
          <ac:chgData name="Yudi Zhu" userId="571e1a55-055f-4c28-8b35-fca6dd1c1369" providerId="ADAL" clId="{75A88773-6EE1-484E-AADE-FE631E01463B}" dt="2025-11-21T03:40:40.447" v="11451"/>
          <ac:spMkLst>
            <pc:docMk/>
            <pc:sldMk cId="1294829499" sldId="2147483087"/>
            <ac:spMk id="53" creationId="{6C4945FE-6C81-9BCE-C6D9-3AE9E4A92A52}"/>
          </ac:spMkLst>
        </pc:spChg>
        <pc:spChg chg="add del mod">
          <ac:chgData name="Yudi Zhu" userId="571e1a55-055f-4c28-8b35-fca6dd1c1369" providerId="ADAL" clId="{75A88773-6EE1-484E-AADE-FE631E01463B}" dt="2025-11-21T03:40:40.447" v="11448"/>
          <ac:spMkLst>
            <pc:docMk/>
            <pc:sldMk cId="1294829499" sldId="2147483087"/>
            <ac:spMk id="54" creationId="{EB930388-CC8C-8975-8117-F93E5FAA63E0}"/>
          </ac:spMkLst>
        </pc:spChg>
        <pc:spChg chg="add del mod">
          <ac:chgData name="Yudi Zhu" userId="571e1a55-055f-4c28-8b35-fca6dd1c1369" providerId="ADAL" clId="{75A88773-6EE1-484E-AADE-FE631E01463B}" dt="2025-11-21T03:40:40.447" v="11447"/>
          <ac:spMkLst>
            <pc:docMk/>
            <pc:sldMk cId="1294829499" sldId="2147483087"/>
            <ac:spMk id="55" creationId="{6D11B13D-FB0F-B81F-D7D3-39E47036A887}"/>
          </ac:spMkLst>
        </pc:spChg>
        <pc:spChg chg="add del mod">
          <ac:chgData name="Yudi Zhu" userId="571e1a55-055f-4c28-8b35-fca6dd1c1369" providerId="ADAL" clId="{75A88773-6EE1-484E-AADE-FE631E01463B}" dt="2025-11-21T03:40:40.447" v="11446"/>
          <ac:spMkLst>
            <pc:docMk/>
            <pc:sldMk cId="1294829499" sldId="2147483087"/>
            <ac:spMk id="56" creationId="{597B600B-CD9E-056F-449F-91A31136163F}"/>
          </ac:spMkLst>
        </pc:spChg>
        <pc:spChg chg="add del mod modVis">
          <ac:chgData name="Yudi Zhu" userId="571e1a55-055f-4c28-8b35-fca6dd1c1369" providerId="ADAL" clId="{75A88773-6EE1-484E-AADE-FE631E01463B}" dt="2025-11-21T03:44:02.111" v="13121"/>
          <ac:spMkLst>
            <pc:docMk/>
            <pc:sldMk cId="1294829499" sldId="2147483087"/>
            <ac:spMk id="57" creationId="{6B7A9ED9-AE44-CC0B-E276-03152599B8C5}"/>
          </ac:spMkLst>
        </pc:spChg>
        <pc:spChg chg="add del mod ord">
          <ac:chgData name="Yudi Zhu" userId="571e1a55-055f-4c28-8b35-fca6dd1c1369" providerId="ADAL" clId="{75A88773-6EE1-484E-AADE-FE631E01463B}" dt="2025-11-20T09:35:32.193" v="9768"/>
          <ac:spMkLst>
            <pc:docMk/>
            <pc:sldMk cId="1294829499" sldId="2147483087"/>
            <ac:spMk id="58" creationId="{B0B127F2-EEDF-987C-9EFA-BE6DE43388CB}"/>
          </ac:spMkLst>
        </pc:spChg>
        <pc:spChg chg="add del mod ord">
          <ac:chgData name="Yudi Zhu" userId="571e1a55-055f-4c28-8b35-fca6dd1c1369" providerId="ADAL" clId="{75A88773-6EE1-484E-AADE-FE631E01463B}" dt="2025-11-20T09:35:32.193" v="9766"/>
          <ac:spMkLst>
            <pc:docMk/>
            <pc:sldMk cId="1294829499" sldId="2147483087"/>
            <ac:spMk id="59" creationId="{388FD959-EF6A-F327-9019-D46507232663}"/>
          </ac:spMkLst>
        </pc:spChg>
        <pc:spChg chg="add del mod ord">
          <ac:chgData name="Yudi Zhu" userId="571e1a55-055f-4c28-8b35-fca6dd1c1369" providerId="ADAL" clId="{75A88773-6EE1-484E-AADE-FE631E01463B}" dt="2025-11-21T03:44:18.962" v="15996"/>
          <ac:spMkLst>
            <pc:docMk/>
            <pc:sldMk cId="1294829499" sldId="2147483087"/>
            <ac:spMk id="60" creationId="{02B1E0DB-E375-C83E-A19C-64B5018068DE}"/>
          </ac:spMkLst>
        </pc:spChg>
        <pc:spChg chg="add del mod">
          <ac:chgData name="Yudi Zhu" userId="571e1a55-055f-4c28-8b35-fca6dd1c1369" providerId="ADAL" clId="{75A88773-6EE1-484E-AADE-FE631E01463B}" dt="2025-11-20T09:35:32.193" v="9764"/>
          <ac:spMkLst>
            <pc:docMk/>
            <pc:sldMk cId="1294829499" sldId="2147483087"/>
            <ac:spMk id="60" creationId="{677DCC97-D1F6-FD00-9E38-54DAB18F5A83}"/>
          </ac:spMkLst>
        </pc:spChg>
        <pc:spChg chg="add del mod ord">
          <ac:chgData name="Yudi Zhu" userId="571e1a55-055f-4c28-8b35-fca6dd1c1369" providerId="ADAL" clId="{75A88773-6EE1-484E-AADE-FE631E01463B}" dt="2025-11-21T03:44:18.978" v="16013"/>
          <ac:spMkLst>
            <pc:docMk/>
            <pc:sldMk cId="1294829499" sldId="2147483087"/>
            <ac:spMk id="62" creationId="{D14ADDB2-79E3-D51B-A30D-76A638715B0D}"/>
          </ac:spMkLst>
        </pc:spChg>
        <pc:spChg chg="add del mod modVis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3" creationId="{BB7D4FBC-8DF4-2B19-56F4-FDB7DB398989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4" creationId="{64EB55DE-49E3-2A54-CCB7-316E7B13C122}"/>
          </ac:spMkLst>
        </pc:spChg>
        <pc:spChg chg="add del mod ord">
          <ac:chgData name="Yudi Zhu" userId="571e1a55-055f-4c28-8b35-fca6dd1c1369" providerId="ADAL" clId="{75A88773-6EE1-484E-AADE-FE631E01463B}" dt="2025-11-21T03:44:19.001" v="16030"/>
          <ac:spMkLst>
            <pc:docMk/>
            <pc:sldMk cId="1294829499" sldId="2147483087"/>
            <ac:spMk id="64" creationId="{9974242E-D4C9-4E38-DE6A-E5E51679E7A1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5" creationId="{FAD0A222-1CF8-5CC3-22CE-24519BAE921A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6" creationId="{72AFBDDE-37A2-8258-D306-D185D8C46155}"/>
          </ac:spMkLst>
        </pc:spChg>
        <pc:spChg chg="add del mod ord">
          <ac:chgData name="Yudi Zhu" userId="571e1a55-055f-4c28-8b35-fca6dd1c1369" providerId="ADAL" clId="{75A88773-6EE1-484E-AADE-FE631E01463B}" dt="2025-11-21T03:44:19.010" v="16047"/>
          <ac:spMkLst>
            <pc:docMk/>
            <pc:sldMk cId="1294829499" sldId="2147483087"/>
            <ac:spMk id="66" creationId="{C4601277-41E2-137F-1FC8-D7050A08343D}"/>
          </ac:spMkLst>
        </pc:spChg>
        <pc:spChg chg="add del mod modVis">
          <ac:chgData name="Yudi Zhu" userId="571e1a55-055f-4c28-8b35-fca6dd1c1369" providerId="ADAL" clId="{75A88773-6EE1-484E-AADE-FE631E01463B}" dt="2025-11-21T03:44:09.196" v="13304"/>
          <ac:spMkLst>
            <pc:docMk/>
            <pc:sldMk cId="1294829499" sldId="2147483087"/>
            <ac:spMk id="67" creationId="{253834A9-BC0C-8797-3DA3-38F412450C8F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7" creationId="{D7E51AAB-5127-C0B1-690F-83E620BD0839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8" creationId="{645B997E-982C-057A-2E46-42B2454BEB39}"/>
          </ac:spMkLst>
        </pc:spChg>
        <pc:spChg chg="add del mod modVis">
          <ac:chgData name="Yudi Zhu" userId="571e1a55-055f-4c28-8b35-fca6dd1c1369" providerId="ADAL" clId="{75A88773-6EE1-484E-AADE-FE631E01463B}" dt="2025-11-21T03:44:19.082" v="16246"/>
          <ac:spMkLst>
            <pc:docMk/>
            <pc:sldMk cId="1294829499" sldId="2147483087"/>
            <ac:spMk id="69" creationId="{54C222B4-1333-7361-EEE4-8FD23396A759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69" creationId="{B3F13723-F114-82BB-4F44-B8747939C6EE}"/>
          </ac:spMkLst>
        </pc:spChg>
        <pc:spChg chg="add del mod ord">
          <ac:chgData name="Yudi Zhu" userId="571e1a55-055f-4c28-8b35-fca6dd1c1369" providerId="ADAL" clId="{75A88773-6EE1-484E-AADE-FE631E01463B}" dt="2025-11-21T03:44:24.077" v="16252"/>
          <ac:spMkLst>
            <pc:docMk/>
            <pc:sldMk cId="1294829499" sldId="2147483087"/>
            <ac:spMk id="70" creationId="{DB944C04-C330-787D-A586-C62DA575B5EB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70" creationId="{FC563AEC-88E3-1E43-1DC6-AF5663DF9248}"/>
          </ac:spMkLst>
        </pc:spChg>
        <pc:spChg chg="add del mod ord">
          <ac:chgData name="Yudi Zhu" userId="571e1a55-055f-4c28-8b35-fca6dd1c1369" providerId="ADAL" clId="{75A88773-6EE1-484E-AADE-FE631E01463B}" dt="2025-11-21T03:44:24.086" v="16254"/>
          <ac:spMkLst>
            <pc:docMk/>
            <pc:sldMk cId="1294829499" sldId="2147483087"/>
            <ac:spMk id="71" creationId="{7AFDCFBB-8184-AB5B-F6CC-583ED37CA3F3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71" creationId="{EC12B0B0-BD75-2FAA-4EB0-6FA3E2737B7D}"/>
          </ac:spMkLst>
        </pc:spChg>
        <pc:spChg chg="add del mod ord">
          <ac:chgData name="Yudi Zhu" userId="571e1a55-055f-4c28-8b35-fca6dd1c1369" providerId="ADAL" clId="{75A88773-6EE1-484E-AADE-FE631E01463B}" dt="2025-11-21T03:44:24.086" v="16258"/>
          <ac:spMkLst>
            <pc:docMk/>
            <pc:sldMk cId="1294829499" sldId="2147483087"/>
            <ac:spMk id="72" creationId="{3D3ACE2B-F222-5C0E-CC30-24FA0CA7F483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72" creationId="{C3CB6FFA-CD7F-9BBC-1DAA-C969919AE771}"/>
          </ac:spMkLst>
        </pc:spChg>
        <pc:spChg chg="add del mod ord">
          <ac:chgData name="Yudi Zhu" userId="571e1a55-055f-4c28-8b35-fca6dd1c1369" providerId="ADAL" clId="{75A88773-6EE1-484E-AADE-FE631E01463B}" dt="2025-11-21T03:44:24.086" v="16262"/>
          <ac:spMkLst>
            <pc:docMk/>
            <pc:sldMk cId="1294829499" sldId="2147483087"/>
            <ac:spMk id="73" creationId="{A752127A-3A60-CF12-DB3F-2908209B1A5D}"/>
          </ac:spMkLst>
        </pc:spChg>
        <pc:spChg chg="add mod">
          <ac:chgData name="Yudi Zhu" userId="571e1a55-055f-4c28-8b35-fca6dd1c1369" providerId="ADAL" clId="{75A88773-6EE1-484E-AADE-FE631E01463B}" dt="2025-11-20T09:35:36.022" v="10830"/>
          <ac:spMkLst>
            <pc:docMk/>
            <pc:sldMk cId="1294829499" sldId="2147483087"/>
            <ac:spMk id="73" creationId="{C7BB0073-321B-80E6-96A7-E956605A9C3C}"/>
          </ac:spMkLst>
        </pc:spChg>
        <pc:spChg chg="add del mod ord">
          <ac:chgData name="Yudi Zhu" userId="571e1a55-055f-4c28-8b35-fca6dd1c1369" providerId="ADAL" clId="{75A88773-6EE1-484E-AADE-FE631E01463B}" dt="2025-11-21T03:44:24.077" v="16250"/>
          <ac:spMkLst>
            <pc:docMk/>
            <pc:sldMk cId="1294829499" sldId="2147483087"/>
            <ac:spMk id="74" creationId="{68CCA566-C724-350F-FE05-D960B69EFC0E}"/>
          </ac:spMkLst>
        </pc:spChg>
        <pc:spChg chg="add del mod modVis">
          <ac:chgData name="Yudi Zhu" userId="571e1a55-055f-4c28-8b35-fca6dd1c1369" providerId="ADAL" clId="{75A88773-6EE1-484E-AADE-FE631E01463B}" dt="2025-11-20T09:35:43.003" v="10991"/>
          <ac:spMkLst>
            <pc:docMk/>
            <pc:sldMk cId="1294829499" sldId="2147483087"/>
            <ac:spMk id="75" creationId="{41398571-EE0D-4849-7147-56832A4B6EA6}"/>
          </ac:spMkLst>
        </pc:spChg>
        <pc:spChg chg="add del mod">
          <ac:chgData name="Yudi Zhu" userId="571e1a55-055f-4c28-8b35-fca6dd1c1369" providerId="ADAL" clId="{75A88773-6EE1-484E-AADE-FE631E01463B}" dt="2025-11-21T03:44:26.537" v="16523"/>
          <ac:spMkLst>
            <pc:docMk/>
            <pc:sldMk cId="1294829499" sldId="2147483087"/>
            <ac:spMk id="75" creationId="{F2624333-953E-9456-A029-61762CF74155}"/>
          </ac:spMkLst>
        </pc:spChg>
        <pc:spChg chg="add del mod ord">
          <ac:chgData name="Yudi Zhu" userId="571e1a55-055f-4c28-8b35-fca6dd1c1369" providerId="ADAL" clId="{75A88773-6EE1-484E-AADE-FE631E01463B}" dt="2025-11-21T03:44:24.097" v="16268"/>
          <ac:spMkLst>
            <pc:docMk/>
            <pc:sldMk cId="1294829499" sldId="2147483087"/>
            <ac:spMk id="76" creationId="{9EF3515C-68C9-E14F-2102-00221A87E0E2}"/>
          </ac:spMkLst>
        </pc:spChg>
        <pc:spChg chg="add del mod modVis">
          <ac:chgData name="Yudi Zhu" userId="571e1a55-055f-4c28-8b35-fca6dd1c1369" providerId="ADAL" clId="{75A88773-6EE1-484E-AADE-FE631E01463B}" dt="2025-11-20T09:35:45.046" v="11128"/>
          <ac:spMkLst>
            <pc:docMk/>
            <pc:sldMk cId="1294829499" sldId="2147483087"/>
            <ac:spMk id="77" creationId="{21464D73-430A-8C03-7670-3CB39ADE8BB9}"/>
          </ac:spMkLst>
        </pc:spChg>
        <pc:spChg chg="add del mod">
          <ac:chgData name="Yudi Zhu" userId="571e1a55-055f-4c28-8b35-fca6dd1c1369" providerId="ADAL" clId="{75A88773-6EE1-484E-AADE-FE631E01463B}" dt="2025-11-21T03:44:26.537" v="16524"/>
          <ac:spMkLst>
            <pc:docMk/>
            <pc:sldMk cId="1294829499" sldId="2147483087"/>
            <ac:spMk id="77" creationId="{59A19DF1-B6A5-C365-0479-7600E9268B9A}"/>
          </ac:spMkLst>
        </pc:spChg>
        <pc:spChg chg="add del mod ord">
          <ac:chgData name="Yudi Zhu" userId="571e1a55-055f-4c28-8b35-fca6dd1c1369" providerId="ADAL" clId="{75A88773-6EE1-484E-AADE-FE631E01463B}" dt="2025-11-21T03:44:24.098" v="16284"/>
          <ac:spMkLst>
            <pc:docMk/>
            <pc:sldMk cId="1294829499" sldId="2147483087"/>
            <ac:spMk id="78" creationId="{60200E26-DF94-BA80-9DF8-FD689FE8694F}"/>
          </ac:spMkLst>
        </pc:spChg>
        <pc:spChg chg="add del mod ord">
          <ac:chgData name="Yudi Zhu" userId="571e1a55-055f-4c28-8b35-fca6dd1c1369" providerId="ADAL" clId="{75A88773-6EE1-484E-AADE-FE631E01463B}" dt="2025-11-21T03:44:24.098" v="16288"/>
          <ac:spMkLst>
            <pc:docMk/>
            <pc:sldMk cId="1294829499" sldId="2147483087"/>
            <ac:spMk id="79" creationId="{210CD345-A51D-6DE7-1436-6E04C503BFBE}"/>
          </ac:spMkLst>
        </pc:spChg>
        <pc:spChg chg="add del mod">
          <ac:chgData name="Yudi Zhu" userId="571e1a55-055f-4c28-8b35-fca6dd1c1369" providerId="ADAL" clId="{75A88773-6EE1-484E-AADE-FE631E01463B}" dt="2025-11-21T03:44:26.543" v="16525"/>
          <ac:spMkLst>
            <pc:docMk/>
            <pc:sldMk cId="1294829499" sldId="2147483087"/>
            <ac:spMk id="80" creationId="{E31DC617-EE6A-EBAD-BC96-2902AC3780E6}"/>
          </ac:spMkLst>
        </pc:spChg>
        <pc:spChg chg="add del mod">
          <ac:chgData name="Yudi Zhu" userId="571e1a55-055f-4c28-8b35-fca6dd1c1369" providerId="ADAL" clId="{75A88773-6EE1-484E-AADE-FE631E01463B}" dt="2025-11-21T03:44:26.543" v="16526"/>
          <ac:spMkLst>
            <pc:docMk/>
            <pc:sldMk cId="1294829499" sldId="2147483087"/>
            <ac:spMk id="81" creationId="{1ED02462-9A23-9FE1-95F8-8139064B74CC}"/>
          </ac:spMkLst>
        </pc:spChg>
        <pc:spChg chg="add del mod ord">
          <ac:chgData name="Yudi Zhu" userId="571e1a55-055f-4c28-8b35-fca6dd1c1369" providerId="ADAL" clId="{75A88773-6EE1-484E-AADE-FE631E01463B}" dt="2025-11-21T03:44:24.110" v="16318"/>
          <ac:spMkLst>
            <pc:docMk/>
            <pc:sldMk cId="1294829499" sldId="2147483087"/>
            <ac:spMk id="82" creationId="{5A8F56A4-AEB7-F6FE-9B1F-5F4D57047649}"/>
          </ac:spMkLst>
        </pc:spChg>
        <pc:spChg chg="add del mod">
          <ac:chgData name="Yudi Zhu" userId="571e1a55-055f-4c28-8b35-fca6dd1c1369" providerId="ADAL" clId="{75A88773-6EE1-484E-AADE-FE631E01463B}" dt="2025-11-21T03:44:24.110" v="16327"/>
          <ac:spMkLst>
            <pc:docMk/>
            <pc:sldMk cId="1294829499" sldId="2147483087"/>
            <ac:spMk id="84" creationId="{97B2DBB5-59BB-968C-AEFA-727B1B7D1C51}"/>
          </ac:spMkLst>
        </pc:spChg>
        <pc:spChg chg="add del mod">
          <ac:chgData name="Yudi Zhu" userId="571e1a55-055f-4c28-8b35-fca6dd1c1369" providerId="ADAL" clId="{75A88773-6EE1-484E-AADE-FE631E01463B}" dt="2025-11-21T03:44:26.543" v="16527"/>
          <ac:spMkLst>
            <pc:docMk/>
            <pc:sldMk cId="1294829499" sldId="2147483087"/>
            <ac:spMk id="85" creationId="{123DE348-39A1-C4EB-674C-284B1D39AC43}"/>
          </ac:spMkLst>
        </pc:spChg>
        <pc:spChg chg="add del mod ord">
          <ac:chgData name="Yudi Zhu" userId="571e1a55-055f-4c28-8b35-fca6dd1c1369" providerId="ADAL" clId="{75A88773-6EE1-484E-AADE-FE631E01463B}" dt="2025-11-21T03:44:24.110" v="16339"/>
          <ac:spMkLst>
            <pc:docMk/>
            <pc:sldMk cId="1294829499" sldId="2147483087"/>
            <ac:spMk id="86" creationId="{62E54C0B-DADF-2952-3EEE-35A9B63818E6}"/>
          </ac:spMkLst>
        </pc:spChg>
        <pc:spChg chg="add del mod ord">
          <ac:chgData name="Yudi Zhu" userId="571e1a55-055f-4c28-8b35-fca6dd1c1369" providerId="ADAL" clId="{75A88773-6EE1-484E-AADE-FE631E01463B}" dt="2025-11-21T03:44:24.110" v="16341"/>
          <ac:spMkLst>
            <pc:docMk/>
            <pc:sldMk cId="1294829499" sldId="2147483087"/>
            <ac:spMk id="87" creationId="{CE3BAC08-A73A-6A95-F41F-E6AE5963611D}"/>
          </ac:spMkLst>
        </pc:spChg>
        <pc:spChg chg="add del mod">
          <ac:chgData name="Yudi Zhu" userId="571e1a55-055f-4c28-8b35-fca6dd1c1369" providerId="ADAL" clId="{75A88773-6EE1-484E-AADE-FE631E01463B}" dt="2025-11-21T03:44:26.543" v="16529"/>
          <ac:spMkLst>
            <pc:docMk/>
            <pc:sldMk cId="1294829499" sldId="2147483087"/>
            <ac:spMk id="88" creationId="{5998FB4D-7FF8-5631-225F-56430767321C}"/>
          </ac:spMkLst>
        </pc:spChg>
        <pc:spChg chg="add del mod">
          <ac:chgData name="Yudi Zhu" userId="571e1a55-055f-4c28-8b35-fca6dd1c1369" providerId="ADAL" clId="{75A88773-6EE1-484E-AADE-FE631E01463B}" dt="2025-11-21T03:44:26.543" v="16528"/>
          <ac:spMkLst>
            <pc:docMk/>
            <pc:sldMk cId="1294829499" sldId="2147483087"/>
            <ac:spMk id="89" creationId="{6295AAF1-9556-0B14-38C4-F7380DF65CBC}"/>
          </ac:spMkLst>
        </pc:spChg>
        <pc:spChg chg="add del mod">
          <ac:chgData name="Yudi Zhu" userId="571e1a55-055f-4c28-8b35-fca6dd1c1369" providerId="ADAL" clId="{75A88773-6EE1-484E-AADE-FE631E01463B}" dt="2025-11-21T03:44:26.537" v="16522"/>
          <ac:spMkLst>
            <pc:docMk/>
            <pc:sldMk cId="1294829499" sldId="2147483087"/>
            <ac:spMk id="90" creationId="{B9B301D1-B182-5EBF-505B-5BF284223D1A}"/>
          </ac:spMkLst>
        </pc:spChg>
        <pc:spChg chg="add del mod">
          <ac:chgData name="Yudi Zhu" userId="571e1a55-055f-4c28-8b35-fca6dd1c1369" providerId="ADAL" clId="{75A88773-6EE1-484E-AADE-FE631E01463B}" dt="2025-11-21T03:44:26.543" v="16530"/>
          <ac:spMkLst>
            <pc:docMk/>
            <pc:sldMk cId="1294829499" sldId="2147483087"/>
            <ac:spMk id="91" creationId="{9B83A90D-4C8C-C898-8AA6-B7B1D87EF219}"/>
          </ac:spMkLst>
        </pc:spChg>
        <pc:spChg chg="add del mod ord">
          <ac:chgData name="Yudi Zhu" userId="571e1a55-055f-4c28-8b35-fca6dd1c1369" providerId="ADAL" clId="{75A88773-6EE1-484E-AADE-FE631E01463B}" dt="2025-11-21T03:44:24.142" v="16391"/>
          <ac:spMkLst>
            <pc:docMk/>
            <pc:sldMk cId="1294829499" sldId="2147483087"/>
            <ac:spMk id="92" creationId="{FAAAC817-3F11-6D43-B27E-EBC631498031}"/>
          </ac:spMkLst>
        </pc:spChg>
        <pc:spChg chg="add del mod ord">
          <ac:chgData name="Yudi Zhu" userId="571e1a55-055f-4c28-8b35-fca6dd1c1369" providerId="ADAL" clId="{75A88773-6EE1-484E-AADE-FE631E01463B}" dt="2025-11-21T03:44:24.143" v="16395"/>
          <ac:spMkLst>
            <pc:docMk/>
            <pc:sldMk cId="1294829499" sldId="2147483087"/>
            <ac:spMk id="93" creationId="{73079C69-A9D0-C375-A01B-A55DC223FACC}"/>
          </ac:spMkLst>
        </pc:spChg>
        <pc:spChg chg="add del mod ord">
          <ac:chgData name="Yudi Zhu" userId="571e1a55-055f-4c28-8b35-fca6dd1c1369" providerId="ADAL" clId="{75A88773-6EE1-484E-AADE-FE631E01463B}" dt="2025-11-21T03:44:24.144" v="16399"/>
          <ac:spMkLst>
            <pc:docMk/>
            <pc:sldMk cId="1294829499" sldId="2147483087"/>
            <ac:spMk id="94" creationId="{DE279FF2-0083-24A0-7235-224548F4A31C}"/>
          </ac:spMkLst>
        </pc:spChg>
        <pc:spChg chg="add del mod ord">
          <ac:chgData name="Yudi Zhu" userId="571e1a55-055f-4c28-8b35-fca6dd1c1369" providerId="ADAL" clId="{75A88773-6EE1-484E-AADE-FE631E01463B}" dt="2025-11-21T03:44:24.125" v="16347"/>
          <ac:spMkLst>
            <pc:docMk/>
            <pc:sldMk cId="1294829499" sldId="2147483087"/>
            <ac:spMk id="95" creationId="{95A35B40-D7C1-C26E-2E1D-F6011814F820}"/>
          </ac:spMkLst>
        </pc:spChg>
        <pc:spChg chg="add del mod ord">
          <ac:chgData name="Yudi Zhu" userId="571e1a55-055f-4c28-8b35-fca6dd1c1369" providerId="ADAL" clId="{75A88773-6EE1-484E-AADE-FE631E01463B}" dt="2025-11-21T03:44:24.110" v="16322"/>
          <ac:spMkLst>
            <pc:docMk/>
            <pc:sldMk cId="1294829499" sldId="2147483087"/>
            <ac:spMk id="96" creationId="{00BF87C7-F8BC-0D99-D78B-993372905256}"/>
          </ac:spMkLst>
        </pc:spChg>
        <pc:spChg chg="add del mod">
          <ac:chgData name="Yudi Zhu" userId="571e1a55-055f-4c28-8b35-fca6dd1c1369" providerId="ADAL" clId="{75A88773-6EE1-484E-AADE-FE631E01463B}" dt="2025-11-21T03:44:26.543" v="16531"/>
          <ac:spMkLst>
            <pc:docMk/>
            <pc:sldMk cId="1294829499" sldId="2147483087"/>
            <ac:spMk id="97" creationId="{9856C9DE-7A74-2969-81B2-3B41FDD035CE}"/>
          </ac:spMkLst>
        </pc:spChg>
        <pc:spChg chg="add mod">
          <ac:chgData name="Yudi Zhu" userId="571e1a55-055f-4c28-8b35-fca6dd1c1369" providerId="ADAL" clId="{75A88773-6EE1-484E-AADE-FE631E01463B}" dt="2025-11-21T06:04:51.981" v="85231"/>
          <ac:spMkLst>
            <pc:docMk/>
            <pc:sldMk cId="1294829499" sldId="2147483087"/>
            <ac:spMk id="158" creationId="{1DFB8EDA-19AD-6733-F9F9-049CBCE2A5F3}"/>
          </ac:spMkLst>
        </pc:spChg>
        <pc:spChg chg="add mod">
          <ac:chgData name="Yudi Zhu" userId="571e1a55-055f-4c28-8b35-fca6dd1c1369" providerId="ADAL" clId="{75A88773-6EE1-484E-AADE-FE631E01463B}" dt="2025-11-21T06:04:51.983" v="85232"/>
          <ac:spMkLst>
            <pc:docMk/>
            <pc:sldMk cId="1294829499" sldId="2147483087"/>
            <ac:spMk id="159" creationId="{9F1E74E0-C590-2EB7-E829-06AFD6CE6BC0}"/>
          </ac:spMkLst>
        </pc:spChg>
        <pc:spChg chg="add mod">
          <ac:chgData name="Yudi Zhu" userId="571e1a55-055f-4c28-8b35-fca6dd1c1369" providerId="ADAL" clId="{75A88773-6EE1-484E-AADE-FE631E01463B}" dt="2025-11-21T06:04:51.985" v="85233"/>
          <ac:spMkLst>
            <pc:docMk/>
            <pc:sldMk cId="1294829499" sldId="2147483087"/>
            <ac:spMk id="160" creationId="{027BFB4D-E6FB-D97B-1272-6395A5467AC4}"/>
          </ac:spMkLst>
        </pc:spChg>
        <pc:spChg chg="add mod">
          <ac:chgData name="Yudi Zhu" userId="571e1a55-055f-4c28-8b35-fca6dd1c1369" providerId="ADAL" clId="{75A88773-6EE1-484E-AADE-FE631E01463B}" dt="2025-11-21T06:04:51.986" v="85234"/>
          <ac:spMkLst>
            <pc:docMk/>
            <pc:sldMk cId="1294829499" sldId="2147483087"/>
            <ac:spMk id="161" creationId="{0D36FC82-D800-6997-CD31-86EF74C4D6EC}"/>
          </ac:spMkLst>
        </pc:spChg>
        <pc:spChg chg="add mod">
          <ac:chgData name="Yudi Zhu" userId="571e1a55-055f-4c28-8b35-fca6dd1c1369" providerId="ADAL" clId="{75A88773-6EE1-484E-AADE-FE631E01463B}" dt="2025-11-21T06:04:51.987" v="85235"/>
          <ac:spMkLst>
            <pc:docMk/>
            <pc:sldMk cId="1294829499" sldId="2147483087"/>
            <ac:spMk id="162" creationId="{C3F90E6E-86E6-D3A9-E9D9-3299638B24FD}"/>
          </ac:spMkLst>
        </pc:spChg>
        <pc:spChg chg="add del mod modVis">
          <ac:chgData name="Yudi Zhu" userId="571e1a55-055f-4c28-8b35-fca6dd1c1369" providerId="ADAL" clId="{75A88773-6EE1-484E-AADE-FE631E01463B}" dt="2025-11-21T03:44:24.261" v="16519"/>
          <ac:spMkLst>
            <pc:docMk/>
            <pc:sldMk cId="1294829499" sldId="2147483087"/>
            <ac:spMk id="163" creationId="{7C236E49-F94D-C5B8-B128-438631317029}"/>
          </ac:spMkLst>
        </pc:spChg>
        <pc:spChg chg="add del mod modVis">
          <ac:chgData name="Yudi Zhu" userId="571e1a55-055f-4c28-8b35-fca6dd1c1369" providerId="ADAL" clId="{75A88773-6EE1-484E-AADE-FE631E01463B}" dt="2025-11-21T03:44:26.646" v="16627"/>
          <ac:spMkLst>
            <pc:docMk/>
            <pc:sldMk cId="1294829499" sldId="2147483087"/>
            <ac:spMk id="165" creationId="{CE60AAC3-DB29-B0F6-EA70-338F32B5914E}"/>
          </ac:spMkLst>
        </pc:spChg>
        <pc:spChg chg="add del mod modVis">
          <ac:chgData name="Yudi Zhu" userId="571e1a55-055f-4c28-8b35-fca6dd1c1369" providerId="ADAL" clId="{75A88773-6EE1-484E-AADE-FE631E01463B}" dt="2025-11-21T03:44:44.712" v="16787"/>
          <ac:spMkLst>
            <pc:docMk/>
            <pc:sldMk cId="1294829499" sldId="2147483087"/>
            <ac:spMk id="167" creationId="{3345BD45-A9DC-E317-A84B-5CE670659D7A}"/>
          </ac:spMkLst>
        </pc:spChg>
        <pc:spChg chg="add del mod modVis">
          <ac:chgData name="Yudi Zhu" userId="571e1a55-055f-4c28-8b35-fca6dd1c1369" providerId="ADAL" clId="{75A88773-6EE1-484E-AADE-FE631E01463B}" dt="2025-11-21T03:44:47.313" v="16905"/>
          <ac:spMkLst>
            <pc:docMk/>
            <pc:sldMk cId="1294829499" sldId="2147483087"/>
            <ac:spMk id="169" creationId="{2E22859D-3D35-E196-D314-E673DCCA28D6}"/>
          </ac:spMkLst>
        </pc:spChg>
        <pc:spChg chg="add del mod modVis">
          <ac:chgData name="Yudi Zhu" userId="571e1a55-055f-4c28-8b35-fca6dd1c1369" providerId="ADAL" clId="{75A88773-6EE1-484E-AADE-FE631E01463B}" dt="2025-11-21T03:44:48.945" v="17023"/>
          <ac:spMkLst>
            <pc:docMk/>
            <pc:sldMk cId="1294829499" sldId="2147483087"/>
            <ac:spMk id="171" creationId="{61516A24-4970-3D1E-9C16-A5EBC0209D3E}"/>
          </ac:spMkLst>
        </pc:spChg>
        <pc:spChg chg="add del mod modVis">
          <ac:chgData name="Yudi Zhu" userId="571e1a55-055f-4c28-8b35-fca6dd1c1369" providerId="ADAL" clId="{75A88773-6EE1-484E-AADE-FE631E01463B}" dt="2025-11-21T03:44:51.194" v="17121"/>
          <ac:spMkLst>
            <pc:docMk/>
            <pc:sldMk cId="1294829499" sldId="2147483087"/>
            <ac:spMk id="173" creationId="{FA44FCF6-F2C0-EA93-1A71-471062E8519B}"/>
          </ac:spMkLst>
        </pc:spChg>
        <pc:spChg chg="add del mod modVis">
          <ac:chgData name="Yudi Zhu" userId="571e1a55-055f-4c28-8b35-fca6dd1c1369" providerId="ADAL" clId="{75A88773-6EE1-484E-AADE-FE631E01463B}" dt="2025-11-21T03:45:02.830" v="17191"/>
          <ac:spMkLst>
            <pc:docMk/>
            <pc:sldMk cId="1294829499" sldId="2147483087"/>
            <ac:spMk id="175" creationId="{AC10281A-0C56-D8AC-D948-322CB85AAF04}"/>
          </ac:spMkLst>
        </pc:spChg>
        <pc:spChg chg="add del mod modVis">
          <ac:chgData name="Yudi Zhu" userId="571e1a55-055f-4c28-8b35-fca6dd1c1369" providerId="ADAL" clId="{75A88773-6EE1-484E-AADE-FE631E01463B}" dt="2025-11-21T03:45:04.980" v="17301"/>
          <ac:spMkLst>
            <pc:docMk/>
            <pc:sldMk cId="1294829499" sldId="2147483087"/>
            <ac:spMk id="177" creationId="{48DF4550-4E2D-9069-235D-BA8D413047D7}"/>
          </ac:spMkLst>
        </pc:spChg>
        <pc:graphicFrameChg chg="add del mod">
          <ac:chgData name="Yudi Zhu" userId="571e1a55-055f-4c28-8b35-fca6dd1c1369" providerId="ADAL" clId="{75A88773-6EE1-484E-AADE-FE631E01463B}" dt="2025-11-20T09:17:13.776" v="7809"/>
          <ac:graphicFrameMkLst>
            <pc:docMk/>
            <pc:sldMk cId="1294829499" sldId="2147483087"/>
            <ac:graphicFrameMk id="8" creationId="{014FB86D-C2CE-10DA-BCC6-CFEA656576A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3:11.216" v="12440"/>
          <ac:graphicFrameMkLst>
            <pc:docMk/>
            <pc:sldMk cId="1294829499" sldId="2147483087"/>
            <ac:graphicFrameMk id="13" creationId="{8A01BC7C-81C1-8D3A-E2E9-83FAC8A6160D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17:17.340" v="7903"/>
          <ac:graphicFrameMkLst>
            <pc:docMk/>
            <pc:sldMk cId="1294829499" sldId="2147483087"/>
            <ac:graphicFrameMk id="15" creationId="{C083DE8D-2B4F-9194-3415-A81A4F9D5429}"/>
          </ac:graphicFrameMkLst>
        </pc:graphicFrameChg>
        <pc:graphicFrameChg chg="add mod ord modVis">
          <ac:chgData name="Yudi Zhu" userId="571e1a55-055f-4c28-8b35-fca6dd1c1369" providerId="ADAL" clId="{75A88773-6EE1-484E-AADE-FE631E01463B}" dt="2025-11-21T06:05:08.299" v="91457"/>
          <ac:graphicFrameMkLst>
            <pc:docMk/>
            <pc:sldMk cId="1294829499" sldId="2147483087"/>
            <ac:graphicFrameMk id="16" creationId="{9CFEF764-C1E0-3A48-FDB0-0F061396F8E4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17:23.703" v="7980"/>
          <ac:graphicFrameMkLst>
            <pc:docMk/>
            <pc:sldMk cId="1294829499" sldId="2147483087"/>
            <ac:graphicFrameMk id="17" creationId="{D0EA0C26-96B0-595C-5C06-F4ECEC26F229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17:41.967" v="8182"/>
          <ac:graphicFrameMkLst>
            <pc:docMk/>
            <pc:sldMk cId="1294829499" sldId="2147483087"/>
            <ac:graphicFrameMk id="18" creationId="{50BABE86-FA6F-C251-75AE-30517973A1FD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17:53.866" v="8270"/>
          <ac:graphicFrameMkLst>
            <pc:docMk/>
            <pc:sldMk cId="1294829499" sldId="2147483087"/>
            <ac:graphicFrameMk id="23" creationId="{28CE14D9-1588-6B29-C5FF-2306B5D1098F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01.378" v="8310"/>
          <ac:graphicFrameMkLst>
            <pc:docMk/>
            <pc:sldMk cId="1294829499" sldId="2147483087"/>
            <ac:graphicFrameMk id="25" creationId="{09DA168A-960B-5586-A536-7AE5ED56BD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1.914" v="85196"/>
          <ac:graphicFrameMkLst>
            <pc:docMk/>
            <pc:sldMk cId="1294829499" sldId="2147483087"/>
            <ac:graphicFrameMk id="26" creationId="{8672562A-90BC-D450-6521-991E9DC9CF88}"/>
          </ac:graphicFrameMkLst>
        </pc:graphicFrameChg>
        <pc:graphicFrameChg chg="add mod">
          <ac:chgData name="Yudi Zhu" userId="571e1a55-055f-4c28-8b35-fca6dd1c1369" providerId="ADAL" clId="{75A88773-6EE1-484E-AADE-FE631E01463B}" dt="2025-11-21T06:04:51.965" v="85220"/>
          <ac:graphicFrameMkLst>
            <pc:docMk/>
            <pc:sldMk cId="1294829499" sldId="2147483087"/>
            <ac:graphicFrameMk id="28" creationId="{96FDCD91-412D-2861-7550-0AD9309F4D0F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11.571" v="8692"/>
          <ac:graphicFrameMkLst>
            <pc:docMk/>
            <pc:sldMk cId="1294829499" sldId="2147483087"/>
            <ac:graphicFrameMk id="32" creationId="{E3BFF844-340D-D4B8-1546-E74D7013FBF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3:19.678" v="12582"/>
          <ac:graphicFrameMkLst>
            <pc:docMk/>
            <pc:sldMk cId="1294829499" sldId="2147483087"/>
            <ac:graphicFrameMk id="32" creationId="{EE3CA884-84D4-7CF2-858B-5479A26DE710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18.188" v="8711"/>
          <ac:graphicFrameMkLst>
            <pc:docMk/>
            <pc:sldMk cId="1294829499" sldId="2147483087"/>
            <ac:graphicFrameMk id="35" creationId="{DA6D07E9-100C-1A0E-1907-4A268317AB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3:24.348" v="12725"/>
          <ac:graphicFrameMkLst>
            <pc:docMk/>
            <pc:sldMk cId="1294829499" sldId="2147483087"/>
            <ac:graphicFrameMk id="36" creationId="{72441A38-0E35-4D71-A39B-2ADFB8439449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19.937" v="8780"/>
          <ac:graphicFrameMkLst>
            <pc:docMk/>
            <pc:sldMk cId="1294829499" sldId="2147483087"/>
            <ac:graphicFrameMk id="36" creationId="{AAFE2749-2651-9467-F36E-F25280061FA3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49.137" v="9038"/>
          <ac:graphicFrameMkLst>
            <pc:docMk/>
            <pc:sldMk cId="1294829499" sldId="2147483087"/>
            <ac:graphicFrameMk id="39" creationId="{2F1BB56B-CB74-C570-6DE9-AFB03FEFA44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01.958" v="12898"/>
          <ac:graphicFrameMkLst>
            <pc:docMk/>
            <pc:sldMk cId="1294829499" sldId="2147483087"/>
            <ac:graphicFrameMk id="39" creationId="{52D647E1-F065-9A36-FEC8-A13D0F39A2C4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5:52.456" v="9088"/>
          <ac:graphicFrameMkLst>
            <pc:docMk/>
            <pc:sldMk cId="1294829499" sldId="2147483087"/>
            <ac:graphicFrameMk id="45" creationId="{039074BB-C73F-DDBD-19EC-0A64A7826187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26:04.185" v="9656"/>
          <ac:graphicFrameMkLst>
            <pc:docMk/>
            <pc:sldMk cId="1294829499" sldId="2147483087"/>
            <ac:graphicFrameMk id="46" creationId="{4E5131A7-63E9-E2BD-576A-D1C4C6315711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30.697" v="9727"/>
          <ac:graphicFrameMkLst>
            <pc:docMk/>
            <pc:sldMk cId="1294829499" sldId="2147483087"/>
            <ac:graphicFrameMk id="57" creationId="{C50FF8CD-D65F-22DD-9615-609EA6D0DA9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09.134" v="13189"/>
          <ac:graphicFrameMkLst>
            <pc:docMk/>
            <pc:sldMk cId="1294829499" sldId="2147483087"/>
            <ac:graphicFrameMk id="58" creationId="{87F6B15E-CA63-559B-1CAB-26DCA76795A7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32.201" v="9770"/>
          <ac:graphicFrameMkLst>
            <pc:docMk/>
            <pc:sldMk cId="1294829499" sldId="2147483087"/>
            <ac:graphicFrameMk id="61" creationId="{DA1D9044-3AA5-50DC-F919-8196C230A65F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45.014" v="11097"/>
          <ac:graphicFrameMkLst>
            <pc:docMk/>
            <pc:sldMk cId="1294829499" sldId="2147483087"/>
            <ac:graphicFrameMk id="62" creationId="{8A8F36A6-DED4-CE76-BFAF-9C8A7CC6DB2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18.916" v="15956"/>
          <ac:graphicFrameMkLst>
            <pc:docMk/>
            <pc:sldMk cId="1294829499" sldId="2147483087"/>
            <ac:graphicFrameMk id="68" creationId="{11310B3C-E74F-B3E0-6A55-C73D145ED7EA}"/>
          </ac:graphicFrameMkLst>
        </pc:graphicFrameChg>
        <pc:graphicFrameChg chg="add mod">
          <ac:chgData name="Yudi Zhu" userId="571e1a55-055f-4c28-8b35-fca6dd1c1369" providerId="ADAL" clId="{75A88773-6EE1-484E-AADE-FE631E01463B}" dt="2025-11-20T09:35:36.022" v="10830"/>
          <ac:graphicFrameMkLst>
            <pc:docMk/>
            <pc:sldMk cId="1294829499" sldId="2147483087"/>
            <ac:graphicFrameMk id="74" creationId="{CB794770-DA36-D1A9-E8ED-56BC495785D4}"/>
          </ac:graphicFrameMkLst>
        </pc:graphicFrameChg>
        <pc:graphicFrameChg chg="add mod">
          <ac:chgData name="Yudi Zhu" userId="571e1a55-055f-4c28-8b35-fca6dd1c1369" providerId="ADAL" clId="{75A88773-6EE1-484E-AADE-FE631E01463B}" dt="2025-11-20T09:35:43.003" v="10991"/>
          <ac:graphicFrameMkLst>
            <pc:docMk/>
            <pc:sldMk cId="1294829499" sldId="2147483087"/>
            <ac:graphicFrameMk id="76" creationId="{383CF209-5CF2-9C6F-F38F-E5E817D44A54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46.504" v="11162"/>
          <ac:graphicFrameMkLst>
            <pc:docMk/>
            <pc:sldMk cId="1294829499" sldId="2147483087"/>
            <ac:graphicFrameMk id="78" creationId="{01E43B9E-2C4B-22BC-C785-1DFB90CC634C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52.619" v="11225"/>
          <ac:graphicFrameMkLst>
            <pc:docMk/>
            <pc:sldMk cId="1294829499" sldId="2147483087"/>
            <ac:graphicFrameMk id="79" creationId="{607B0B62-6D28-EEEC-91F0-5302DC7FFE70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5:55.252" v="11288"/>
          <ac:graphicFrameMkLst>
            <pc:docMk/>
            <pc:sldMk cId="1294829499" sldId="2147483087"/>
            <ac:graphicFrameMk id="80" creationId="{6FF2AB0E-50C1-D281-5897-6523A43EB881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6:12.679" v="11351"/>
          <ac:graphicFrameMkLst>
            <pc:docMk/>
            <pc:sldMk cId="1294829499" sldId="2147483087"/>
            <ac:graphicFrameMk id="81" creationId="{0F6F632D-C51D-2F91-F767-46A43BA7F99A}"/>
          </ac:graphicFrameMkLst>
        </pc:graphicFrameChg>
        <pc:graphicFrameChg chg="add del mod">
          <ac:chgData name="Yudi Zhu" userId="571e1a55-055f-4c28-8b35-fca6dd1c1369" providerId="ADAL" clId="{75A88773-6EE1-484E-AADE-FE631E01463B}" dt="2025-11-20T09:36:15.280" v="11414"/>
          <ac:graphicFrameMkLst>
            <pc:docMk/>
            <pc:sldMk cId="1294829499" sldId="2147483087"/>
            <ac:graphicFrameMk id="82" creationId="{9F75A3A4-2113-A283-92C8-DA70518DE0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0:40.472" v="11468"/>
          <ac:graphicFrameMkLst>
            <pc:docMk/>
            <pc:sldMk cId="1294829499" sldId="2147483087"/>
            <ac:graphicFrameMk id="83" creationId="{3DAEB487-0B39-5172-96A3-BB554D7D979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24.229" v="16479"/>
          <ac:graphicFrameMkLst>
            <pc:docMk/>
            <pc:sldMk cId="1294829499" sldId="2147483087"/>
            <ac:graphicFrameMk id="157" creationId="{E767CA25-BA94-B686-3B17-5F48B33E5C9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26.616" v="16597"/>
          <ac:graphicFrameMkLst>
            <pc:docMk/>
            <pc:sldMk cId="1294829499" sldId="2147483087"/>
            <ac:graphicFrameMk id="164" creationId="{9FCAA80D-CEFD-CBDA-3A6F-74D6F7133E3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44.663" v="16757"/>
          <ac:graphicFrameMkLst>
            <pc:docMk/>
            <pc:sldMk cId="1294829499" sldId="2147483087"/>
            <ac:graphicFrameMk id="166" creationId="{554F54E0-6DB0-520A-C731-7E69DABBE3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47.282" v="16875"/>
          <ac:graphicFrameMkLst>
            <pc:docMk/>
            <pc:sldMk cId="1294829499" sldId="2147483087"/>
            <ac:graphicFrameMk id="168" creationId="{D0CBCDA7-2F91-4E50-0685-CC118BE56E0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48.912" v="16993"/>
          <ac:graphicFrameMkLst>
            <pc:docMk/>
            <pc:sldMk cId="1294829499" sldId="2147483087"/>
            <ac:graphicFrameMk id="170" creationId="{F838EDA6-DD9C-5B45-899C-1CFA49CE7B4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4:51.150" v="17091"/>
          <ac:graphicFrameMkLst>
            <pc:docMk/>
            <pc:sldMk cId="1294829499" sldId="2147483087"/>
            <ac:graphicFrameMk id="172" creationId="{A0634348-1B0A-C48E-7FEA-BE198D6F61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5:02.802" v="17161"/>
          <ac:graphicFrameMkLst>
            <pc:docMk/>
            <pc:sldMk cId="1294829499" sldId="2147483087"/>
            <ac:graphicFrameMk id="174" creationId="{D6143806-02DB-FC5C-F403-DE973EB8579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5:04.948" v="17271"/>
          <ac:graphicFrameMkLst>
            <pc:docMk/>
            <pc:sldMk cId="1294829499" sldId="2147483087"/>
            <ac:graphicFrameMk id="176" creationId="{30F6F158-F326-B98D-5F4B-3E999BC2E54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2:01.567" v="60196"/>
          <ac:graphicFrameMkLst>
            <pc:docMk/>
            <pc:sldMk cId="1294829499" sldId="2147483087"/>
            <ac:graphicFrameMk id="178" creationId="{4773CC4A-143D-36F6-D100-81EE34FAE93A}"/>
          </ac:graphicFrameMkLst>
        </pc:graphicFrameChg>
        <pc:cxnChg chg="add del mod ord">
          <ac:chgData name="Yudi Zhu" userId="571e1a55-055f-4c28-8b35-fca6dd1c1369" providerId="ADAL" clId="{75A88773-6EE1-484E-AADE-FE631E01463B}" dt="2025-11-20T09:25:01.378" v="8306"/>
          <ac:cxnSpMkLst>
            <pc:docMk/>
            <pc:sldMk cId="1294829499" sldId="2147483087"/>
            <ac:cxnSpMk id="4" creationId="{C51127DC-E92D-0655-71C2-60E5F3169995}"/>
          </ac:cxnSpMkLst>
        </pc:cxnChg>
        <pc:cxnChg chg="add del mod ord">
          <ac:chgData name="Yudi Zhu" userId="571e1a55-055f-4c28-8b35-fca6dd1c1369" providerId="ADAL" clId="{75A88773-6EE1-484E-AADE-FE631E01463B}" dt="2025-11-20T09:25:01.376" v="8303"/>
          <ac:cxnSpMkLst>
            <pc:docMk/>
            <pc:sldMk cId="1294829499" sldId="2147483087"/>
            <ac:cxnSpMk id="5" creationId="{94422AA3-4B9F-F5F8-9685-2FF743E0BA47}"/>
          </ac:cxnSpMkLst>
        </pc:cxnChg>
        <pc:cxnChg chg="add del mod ord">
          <ac:chgData name="Yudi Zhu" userId="571e1a55-055f-4c28-8b35-fca6dd1c1369" providerId="ADAL" clId="{75A88773-6EE1-484E-AADE-FE631E01463B}" dt="2025-11-20T09:25:01.374" v="8300"/>
          <ac:cxnSpMkLst>
            <pc:docMk/>
            <pc:sldMk cId="1294829499" sldId="2147483087"/>
            <ac:cxnSpMk id="6" creationId="{05346AD1-E45B-EC58-2397-688E99E1DAFF}"/>
          </ac:cxnSpMkLst>
        </pc:cxnChg>
        <pc:cxnChg chg="add del mod ord">
          <ac:chgData name="Yudi Zhu" userId="571e1a55-055f-4c28-8b35-fca6dd1c1369" providerId="ADAL" clId="{75A88773-6EE1-484E-AADE-FE631E01463B}" dt="2025-11-20T09:25:01.371" v="8297"/>
          <ac:cxnSpMkLst>
            <pc:docMk/>
            <pc:sldMk cId="1294829499" sldId="2147483087"/>
            <ac:cxnSpMk id="7" creationId="{9D3C564E-D0B7-65ED-20BF-F23357C858C2}"/>
          </ac:cxnSpMkLst>
        </pc:cxnChg>
        <pc:cxnChg chg="add del mod ord">
          <ac:chgData name="Yudi Zhu" userId="571e1a55-055f-4c28-8b35-fca6dd1c1369" providerId="ADAL" clId="{75A88773-6EE1-484E-AADE-FE631E01463B}" dt="2025-11-21T03:44:18.962" v="15977"/>
          <ac:cxnSpMkLst>
            <pc:docMk/>
            <pc:sldMk cId="1294829499" sldId="2147483087"/>
            <ac:cxnSpMk id="14" creationId="{A909614E-D66B-B39D-7697-30CF0C271312}"/>
          </ac:cxnSpMkLst>
        </pc:cxnChg>
        <pc:cxnChg chg="add del mod ord">
          <ac:chgData name="Yudi Zhu" userId="571e1a55-055f-4c28-8b35-fca6dd1c1369" providerId="ADAL" clId="{75A88773-6EE1-484E-AADE-FE631E01463B}" dt="2025-11-21T03:44:18.962" v="15994"/>
          <ac:cxnSpMkLst>
            <pc:docMk/>
            <pc:sldMk cId="1294829499" sldId="2147483087"/>
            <ac:cxnSpMk id="59" creationId="{D1949F62-7A56-A371-A4F4-ABDF911E81BA}"/>
          </ac:cxnSpMkLst>
        </pc:cxnChg>
        <pc:cxnChg chg="add del mod ord">
          <ac:chgData name="Yudi Zhu" userId="571e1a55-055f-4c28-8b35-fca6dd1c1369" providerId="ADAL" clId="{75A88773-6EE1-484E-AADE-FE631E01463B}" dt="2025-11-21T03:44:18.978" v="16011"/>
          <ac:cxnSpMkLst>
            <pc:docMk/>
            <pc:sldMk cId="1294829499" sldId="2147483087"/>
            <ac:cxnSpMk id="61" creationId="{845BB737-F002-6746-9FEA-3BE7A7C731D8}"/>
          </ac:cxnSpMkLst>
        </pc:cxnChg>
        <pc:cxnChg chg="add del mod ord">
          <ac:chgData name="Yudi Zhu" userId="571e1a55-055f-4c28-8b35-fca6dd1c1369" providerId="ADAL" clId="{75A88773-6EE1-484E-AADE-FE631E01463B}" dt="2025-11-21T03:44:19.001" v="16028"/>
          <ac:cxnSpMkLst>
            <pc:docMk/>
            <pc:sldMk cId="1294829499" sldId="2147483087"/>
            <ac:cxnSpMk id="63" creationId="{2B96C9BB-2250-5859-D50C-B8282D24C91F}"/>
          </ac:cxnSpMkLst>
        </pc:cxnChg>
        <pc:cxnChg chg="add del mod ord">
          <ac:chgData name="Yudi Zhu" userId="571e1a55-055f-4c28-8b35-fca6dd1c1369" providerId="ADAL" clId="{75A88773-6EE1-484E-AADE-FE631E01463B}" dt="2025-11-21T03:44:19.010" v="16045"/>
          <ac:cxnSpMkLst>
            <pc:docMk/>
            <pc:sldMk cId="1294829499" sldId="2147483087"/>
            <ac:cxnSpMk id="65" creationId="{FD8C0D51-AA2F-2A9E-C99A-AB61739B9B85}"/>
          </ac:cxnSpMkLst>
        </pc:cxnChg>
        <pc:cxnChg chg="add del mod ord">
          <ac:chgData name="Yudi Zhu" userId="571e1a55-055f-4c28-8b35-fca6dd1c1369" providerId="ADAL" clId="{75A88773-6EE1-484E-AADE-FE631E01463B}" dt="2025-11-21T03:44:24.098" v="16278"/>
          <ac:cxnSpMkLst>
            <pc:docMk/>
            <pc:sldMk cId="1294829499" sldId="2147483087"/>
            <ac:cxnSpMk id="98" creationId="{02289F93-D94D-4990-1106-D63F222990FD}"/>
          </ac:cxnSpMkLst>
        </pc:cxnChg>
        <pc:cxnChg chg="add del mod ord">
          <ac:chgData name="Yudi Zhu" userId="571e1a55-055f-4c28-8b35-fca6dd1c1369" providerId="ADAL" clId="{75A88773-6EE1-484E-AADE-FE631E01463B}" dt="2025-11-21T03:44:24.098" v="16272"/>
          <ac:cxnSpMkLst>
            <pc:docMk/>
            <pc:sldMk cId="1294829499" sldId="2147483087"/>
            <ac:cxnSpMk id="99" creationId="{EF49FD50-2F73-9FEB-C2B4-97982AC07101}"/>
          </ac:cxnSpMkLst>
        </pc:cxnChg>
        <pc:cxnChg chg="add del mod ord">
          <ac:chgData name="Yudi Zhu" userId="571e1a55-055f-4c28-8b35-fca6dd1c1369" providerId="ADAL" clId="{75A88773-6EE1-484E-AADE-FE631E01463B}" dt="2025-11-21T03:44:24.098" v="16270"/>
          <ac:cxnSpMkLst>
            <pc:docMk/>
            <pc:sldMk cId="1294829499" sldId="2147483087"/>
            <ac:cxnSpMk id="100" creationId="{AD4D50B6-794D-739C-DA25-8C24A4B93228}"/>
          </ac:cxnSpMkLst>
        </pc:cxnChg>
        <pc:cxnChg chg="add del mod ord">
          <ac:chgData name="Yudi Zhu" userId="571e1a55-055f-4c28-8b35-fca6dd1c1369" providerId="ADAL" clId="{75A88773-6EE1-484E-AADE-FE631E01463B}" dt="2025-11-21T03:44:24.093" v="16266"/>
          <ac:cxnSpMkLst>
            <pc:docMk/>
            <pc:sldMk cId="1294829499" sldId="2147483087"/>
            <ac:cxnSpMk id="101" creationId="{F1027B0B-B06F-C8BE-FE14-2096B49DFA5C}"/>
          </ac:cxnSpMkLst>
        </pc:cxnChg>
        <pc:cxnChg chg="add del mod ord">
          <ac:chgData name="Yudi Zhu" userId="571e1a55-055f-4c28-8b35-fca6dd1c1369" providerId="ADAL" clId="{75A88773-6EE1-484E-AADE-FE631E01463B}" dt="2025-11-21T03:44:24.093" v="16264"/>
          <ac:cxnSpMkLst>
            <pc:docMk/>
            <pc:sldMk cId="1294829499" sldId="2147483087"/>
            <ac:cxnSpMk id="102" creationId="{08895155-B8B7-2182-3339-71127C6932F4}"/>
          </ac:cxnSpMkLst>
        </pc:cxnChg>
        <pc:cxnChg chg="add del mod ord">
          <ac:chgData name="Yudi Zhu" userId="571e1a55-055f-4c28-8b35-fca6dd1c1369" providerId="ADAL" clId="{75A88773-6EE1-484E-AADE-FE631E01463B}" dt="2025-11-21T03:44:24.086" v="16256"/>
          <ac:cxnSpMkLst>
            <pc:docMk/>
            <pc:sldMk cId="1294829499" sldId="2147483087"/>
            <ac:cxnSpMk id="103" creationId="{9A70F78F-FCD6-B85F-99A7-1A203D0DA189}"/>
          </ac:cxnSpMkLst>
        </pc:cxnChg>
        <pc:cxnChg chg="add del mod ord">
          <ac:chgData name="Yudi Zhu" userId="571e1a55-055f-4c28-8b35-fca6dd1c1369" providerId="ADAL" clId="{75A88773-6EE1-484E-AADE-FE631E01463B}" dt="2025-11-21T03:44:24.098" v="16294"/>
          <ac:cxnSpMkLst>
            <pc:docMk/>
            <pc:sldMk cId="1294829499" sldId="2147483087"/>
            <ac:cxnSpMk id="104" creationId="{DE9F1120-507E-CC18-90EC-F468876F2B04}"/>
          </ac:cxnSpMkLst>
        </pc:cxnChg>
        <pc:cxnChg chg="add del mod ord">
          <ac:chgData name="Yudi Zhu" userId="571e1a55-055f-4c28-8b35-fca6dd1c1369" providerId="ADAL" clId="{75A88773-6EE1-484E-AADE-FE631E01463B}" dt="2025-11-21T03:44:24.098" v="16292"/>
          <ac:cxnSpMkLst>
            <pc:docMk/>
            <pc:sldMk cId="1294829499" sldId="2147483087"/>
            <ac:cxnSpMk id="105" creationId="{EE1A91E1-45BB-266F-D50D-6AD5884F5592}"/>
          </ac:cxnSpMkLst>
        </pc:cxnChg>
        <pc:cxnChg chg="add del mod ord">
          <ac:chgData name="Yudi Zhu" userId="571e1a55-055f-4c28-8b35-fca6dd1c1369" providerId="ADAL" clId="{75A88773-6EE1-484E-AADE-FE631E01463B}" dt="2025-11-21T03:44:24.098" v="16290"/>
          <ac:cxnSpMkLst>
            <pc:docMk/>
            <pc:sldMk cId="1294829499" sldId="2147483087"/>
            <ac:cxnSpMk id="106" creationId="{D8A9814F-4F2F-971D-4980-81B37C73AB15}"/>
          </ac:cxnSpMkLst>
        </pc:cxnChg>
        <pc:cxnChg chg="add del mod ord">
          <ac:chgData name="Yudi Zhu" userId="571e1a55-055f-4c28-8b35-fca6dd1c1369" providerId="ADAL" clId="{75A88773-6EE1-484E-AADE-FE631E01463B}" dt="2025-11-21T03:44:24.098" v="16286"/>
          <ac:cxnSpMkLst>
            <pc:docMk/>
            <pc:sldMk cId="1294829499" sldId="2147483087"/>
            <ac:cxnSpMk id="107" creationId="{5960D0DB-688E-A7B5-C082-4F71DC3D6E6C}"/>
          </ac:cxnSpMkLst>
        </pc:cxnChg>
        <pc:cxnChg chg="add del mod ord">
          <ac:chgData name="Yudi Zhu" userId="571e1a55-055f-4c28-8b35-fca6dd1c1369" providerId="ADAL" clId="{75A88773-6EE1-484E-AADE-FE631E01463B}" dt="2025-11-21T03:44:24.110" v="16312"/>
          <ac:cxnSpMkLst>
            <pc:docMk/>
            <pc:sldMk cId="1294829499" sldId="2147483087"/>
            <ac:cxnSpMk id="108" creationId="{A1C3D75E-60E5-D3E8-1B41-AC997B5F6F25}"/>
          </ac:cxnSpMkLst>
        </pc:cxnChg>
        <pc:cxnChg chg="add del mod ord">
          <ac:chgData name="Yudi Zhu" userId="571e1a55-055f-4c28-8b35-fca6dd1c1369" providerId="ADAL" clId="{75A88773-6EE1-484E-AADE-FE631E01463B}" dt="2025-11-21T03:44:24.098" v="16282"/>
          <ac:cxnSpMkLst>
            <pc:docMk/>
            <pc:sldMk cId="1294829499" sldId="2147483087"/>
            <ac:cxnSpMk id="109" creationId="{A80E3175-7B54-8341-01C7-5E7B64158B47}"/>
          </ac:cxnSpMkLst>
        </pc:cxnChg>
        <pc:cxnChg chg="add del mod ord">
          <ac:chgData name="Yudi Zhu" userId="571e1a55-055f-4c28-8b35-fca6dd1c1369" providerId="ADAL" clId="{75A88773-6EE1-484E-AADE-FE631E01463B}" dt="2025-11-21T03:44:24.098" v="16280"/>
          <ac:cxnSpMkLst>
            <pc:docMk/>
            <pc:sldMk cId="1294829499" sldId="2147483087"/>
            <ac:cxnSpMk id="110" creationId="{058A2B86-A64C-CAF4-7464-6D2A7CCCB89F}"/>
          </ac:cxnSpMkLst>
        </pc:cxnChg>
        <pc:cxnChg chg="add del mod ord">
          <ac:chgData name="Yudi Zhu" userId="571e1a55-055f-4c28-8b35-fca6dd1c1369" providerId="ADAL" clId="{75A88773-6EE1-484E-AADE-FE631E01463B}" dt="2025-11-21T03:44:24.110" v="16310"/>
          <ac:cxnSpMkLst>
            <pc:docMk/>
            <pc:sldMk cId="1294829499" sldId="2147483087"/>
            <ac:cxnSpMk id="111" creationId="{2A2E0F2C-290B-F400-3C24-36018F578B2E}"/>
          </ac:cxnSpMkLst>
        </pc:cxnChg>
        <pc:cxnChg chg="add del mod ord">
          <ac:chgData name="Yudi Zhu" userId="571e1a55-055f-4c28-8b35-fca6dd1c1369" providerId="ADAL" clId="{75A88773-6EE1-484E-AADE-FE631E01463B}" dt="2025-11-21T03:44:24.110" v="16308"/>
          <ac:cxnSpMkLst>
            <pc:docMk/>
            <pc:sldMk cId="1294829499" sldId="2147483087"/>
            <ac:cxnSpMk id="112" creationId="{B556C39D-2407-2F96-9D86-43764CE443D0}"/>
          </ac:cxnSpMkLst>
        </pc:cxnChg>
        <pc:cxnChg chg="add del mod ord">
          <ac:chgData name="Yudi Zhu" userId="571e1a55-055f-4c28-8b35-fca6dd1c1369" providerId="ADAL" clId="{75A88773-6EE1-484E-AADE-FE631E01463B}" dt="2025-11-21T03:44:24.110" v="16306"/>
          <ac:cxnSpMkLst>
            <pc:docMk/>
            <pc:sldMk cId="1294829499" sldId="2147483087"/>
            <ac:cxnSpMk id="113" creationId="{5B319542-039A-BD97-081A-343F077648CE}"/>
          </ac:cxnSpMkLst>
        </pc:cxnChg>
        <pc:cxnChg chg="add del mod ord">
          <ac:chgData name="Yudi Zhu" userId="571e1a55-055f-4c28-8b35-fca6dd1c1369" providerId="ADAL" clId="{75A88773-6EE1-484E-AADE-FE631E01463B}" dt="2025-11-21T03:44:24.110" v="16304"/>
          <ac:cxnSpMkLst>
            <pc:docMk/>
            <pc:sldMk cId="1294829499" sldId="2147483087"/>
            <ac:cxnSpMk id="114" creationId="{8571041B-F463-0E09-FA43-F759B6FF9B68}"/>
          </ac:cxnSpMkLst>
        </pc:cxnChg>
        <pc:cxnChg chg="add del mod ord">
          <ac:chgData name="Yudi Zhu" userId="571e1a55-055f-4c28-8b35-fca6dd1c1369" providerId="ADAL" clId="{75A88773-6EE1-484E-AADE-FE631E01463B}" dt="2025-11-21T03:44:24.098" v="16298"/>
          <ac:cxnSpMkLst>
            <pc:docMk/>
            <pc:sldMk cId="1294829499" sldId="2147483087"/>
            <ac:cxnSpMk id="115" creationId="{93E73411-8C5E-9FFC-BD76-A95A2CCB5C9C}"/>
          </ac:cxnSpMkLst>
        </pc:cxnChg>
        <pc:cxnChg chg="add del mod ord">
          <ac:chgData name="Yudi Zhu" userId="571e1a55-055f-4c28-8b35-fca6dd1c1369" providerId="ADAL" clId="{75A88773-6EE1-484E-AADE-FE631E01463B}" dt="2025-11-21T03:44:24.098" v="16296"/>
          <ac:cxnSpMkLst>
            <pc:docMk/>
            <pc:sldMk cId="1294829499" sldId="2147483087"/>
            <ac:cxnSpMk id="116" creationId="{A09B944E-E208-B7E6-D928-8F4ADBF43D62}"/>
          </ac:cxnSpMkLst>
        </pc:cxnChg>
        <pc:cxnChg chg="add del mod ord">
          <ac:chgData name="Yudi Zhu" userId="571e1a55-055f-4c28-8b35-fca6dd1c1369" providerId="ADAL" clId="{75A88773-6EE1-484E-AADE-FE631E01463B}" dt="2025-11-21T03:44:24.110" v="16326"/>
          <ac:cxnSpMkLst>
            <pc:docMk/>
            <pc:sldMk cId="1294829499" sldId="2147483087"/>
            <ac:cxnSpMk id="117" creationId="{42DB4904-6E10-E12C-317B-021B8C42D406}"/>
          </ac:cxnSpMkLst>
        </pc:cxnChg>
        <pc:cxnChg chg="add del mod ord">
          <ac:chgData name="Yudi Zhu" userId="571e1a55-055f-4c28-8b35-fca6dd1c1369" providerId="ADAL" clId="{75A88773-6EE1-484E-AADE-FE631E01463B}" dt="2025-11-21T03:44:24.110" v="16324"/>
          <ac:cxnSpMkLst>
            <pc:docMk/>
            <pc:sldMk cId="1294829499" sldId="2147483087"/>
            <ac:cxnSpMk id="118" creationId="{8B916EC1-10A5-4D86-2566-3CC3C7840326}"/>
          </ac:cxnSpMkLst>
        </pc:cxnChg>
        <pc:cxnChg chg="add del mod ord">
          <ac:chgData name="Yudi Zhu" userId="571e1a55-055f-4c28-8b35-fca6dd1c1369" providerId="ADAL" clId="{75A88773-6EE1-484E-AADE-FE631E01463B}" dt="2025-11-21T03:44:24.110" v="16337"/>
          <ac:cxnSpMkLst>
            <pc:docMk/>
            <pc:sldMk cId="1294829499" sldId="2147483087"/>
            <ac:cxnSpMk id="119" creationId="{4BF57C20-8750-7586-2AEF-557CB54220C4}"/>
          </ac:cxnSpMkLst>
        </pc:cxnChg>
        <pc:cxnChg chg="add del mod ord">
          <ac:chgData name="Yudi Zhu" userId="571e1a55-055f-4c28-8b35-fca6dd1c1369" providerId="ADAL" clId="{75A88773-6EE1-484E-AADE-FE631E01463B}" dt="2025-11-21T03:44:24.110" v="16335"/>
          <ac:cxnSpMkLst>
            <pc:docMk/>
            <pc:sldMk cId="1294829499" sldId="2147483087"/>
            <ac:cxnSpMk id="120" creationId="{2DBFDB68-9850-BA2B-D1B7-DAD5CBA62B3F}"/>
          </ac:cxnSpMkLst>
        </pc:cxnChg>
        <pc:cxnChg chg="add del mod ord">
          <ac:chgData name="Yudi Zhu" userId="571e1a55-055f-4c28-8b35-fca6dd1c1369" providerId="ADAL" clId="{75A88773-6EE1-484E-AADE-FE631E01463B}" dt="2025-11-21T03:44:24.110" v="16333"/>
          <ac:cxnSpMkLst>
            <pc:docMk/>
            <pc:sldMk cId="1294829499" sldId="2147483087"/>
            <ac:cxnSpMk id="121" creationId="{BA4D16D4-34B0-F434-FD0C-5BFBD413D64B}"/>
          </ac:cxnSpMkLst>
        </pc:cxnChg>
        <pc:cxnChg chg="add del mod ord">
          <ac:chgData name="Yudi Zhu" userId="571e1a55-055f-4c28-8b35-fca6dd1c1369" providerId="ADAL" clId="{75A88773-6EE1-484E-AADE-FE631E01463B}" dt="2025-11-21T03:44:24.110" v="16331"/>
          <ac:cxnSpMkLst>
            <pc:docMk/>
            <pc:sldMk cId="1294829499" sldId="2147483087"/>
            <ac:cxnSpMk id="122" creationId="{A32464BA-0D6F-B9FD-2AE6-30491AEE01CE}"/>
          </ac:cxnSpMkLst>
        </pc:cxnChg>
        <pc:cxnChg chg="add del mod ord">
          <ac:chgData name="Yudi Zhu" userId="571e1a55-055f-4c28-8b35-fca6dd1c1369" providerId="ADAL" clId="{75A88773-6EE1-484E-AADE-FE631E01463B}" dt="2025-11-21T03:44:24.110" v="16329"/>
          <ac:cxnSpMkLst>
            <pc:docMk/>
            <pc:sldMk cId="1294829499" sldId="2147483087"/>
            <ac:cxnSpMk id="123" creationId="{0B3B9BB3-28F6-F908-7408-5F6557673F98}"/>
          </ac:cxnSpMkLst>
        </pc:cxnChg>
        <pc:cxnChg chg="add del mod ord">
          <ac:chgData name="Yudi Zhu" userId="571e1a55-055f-4c28-8b35-fca6dd1c1369" providerId="ADAL" clId="{75A88773-6EE1-484E-AADE-FE631E01463B}" dt="2025-11-21T03:44:24.125" v="16353"/>
          <ac:cxnSpMkLst>
            <pc:docMk/>
            <pc:sldMk cId="1294829499" sldId="2147483087"/>
            <ac:cxnSpMk id="124" creationId="{FAAC415E-E357-F81A-BACE-852999D30843}"/>
          </ac:cxnSpMkLst>
        </pc:cxnChg>
        <pc:cxnChg chg="add del mod ord">
          <ac:chgData name="Yudi Zhu" userId="571e1a55-055f-4c28-8b35-fca6dd1c1369" providerId="ADAL" clId="{75A88773-6EE1-484E-AADE-FE631E01463B}" dt="2025-11-21T03:44:24.125" v="16351"/>
          <ac:cxnSpMkLst>
            <pc:docMk/>
            <pc:sldMk cId="1294829499" sldId="2147483087"/>
            <ac:cxnSpMk id="125" creationId="{A834359F-FE1A-B76C-719A-1226312BE27A}"/>
          </ac:cxnSpMkLst>
        </pc:cxnChg>
        <pc:cxnChg chg="add del mod ord">
          <ac:chgData name="Yudi Zhu" userId="571e1a55-055f-4c28-8b35-fca6dd1c1369" providerId="ADAL" clId="{75A88773-6EE1-484E-AADE-FE631E01463B}" dt="2025-11-21T03:44:24.125" v="16349"/>
          <ac:cxnSpMkLst>
            <pc:docMk/>
            <pc:sldMk cId="1294829499" sldId="2147483087"/>
            <ac:cxnSpMk id="126" creationId="{75EFF925-A808-3CDF-CB99-CAE8A07AF6B5}"/>
          </ac:cxnSpMkLst>
        </pc:cxnChg>
        <pc:cxnChg chg="add del mod ord">
          <ac:chgData name="Yudi Zhu" userId="571e1a55-055f-4c28-8b35-fca6dd1c1369" providerId="ADAL" clId="{75A88773-6EE1-484E-AADE-FE631E01463B}" dt="2025-11-21T03:44:24.110" v="16343"/>
          <ac:cxnSpMkLst>
            <pc:docMk/>
            <pc:sldMk cId="1294829499" sldId="2147483087"/>
            <ac:cxnSpMk id="127" creationId="{E330975A-E53B-308E-DEEF-B5C7B40F97E8}"/>
          </ac:cxnSpMkLst>
        </pc:cxnChg>
        <pc:cxnChg chg="add del mod ord">
          <ac:chgData name="Yudi Zhu" userId="571e1a55-055f-4c28-8b35-fca6dd1c1369" providerId="ADAL" clId="{75A88773-6EE1-484E-AADE-FE631E01463B}" dt="2025-11-21T03:44:24.133" v="16363"/>
          <ac:cxnSpMkLst>
            <pc:docMk/>
            <pc:sldMk cId="1294829499" sldId="2147483087"/>
            <ac:cxnSpMk id="128" creationId="{05BF0676-50D3-5A15-03D1-06DDF38B861D}"/>
          </ac:cxnSpMkLst>
        </pc:cxnChg>
        <pc:cxnChg chg="add del mod ord">
          <ac:chgData name="Yudi Zhu" userId="571e1a55-055f-4c28-8b35-fca6dd1c1369" providerId="ADAL" clId="{75A88773-6EE1-484E-AADE-FE631E01463B}" dt="2025-11-21T03:44:24.110" v="16302"/>
          <ac:cxnSpMkLst>
            <pc:docMk/>
            <pc:sldMk cId="1294829499" sldId="2147483087"/>
            <ac:cxnSpMk id="129" creationId="{64C5DF2E-77BF-F4BA-5EFF-B2EC40275CCB}"/>
          </ac:cxnSpMkLst>
        </pc:cxnChg>
        <pc:cxnChg chg="add del mod ord">
          <ac:chgData name="Yudi Zhu" userId="571e1a55-055f-4c28-8b35-fca6dd1c1369" providerId="ADAL" clId="{75A88773-6EE1-484E-AADE-FE631E01463B}" dt="2025-11-21T03:44:24.109" v="16300"/>
          <ac:cxnSpMkLst>
            <pc:docMk/>
            <pc:sldMk cId="1294829499" sldId="2147483087"/>
            <ac:cxnSpMk id="130" creationId="{CC9B471B-EDAC-25CD-33F1-62687FBC4432}"/>
          </ac:cxnSpMkLst>
        </pc:cxnChg>
        <pc:cxnChg chg="add del mod ord">
          <ac:chgData name="Yudi Zhu" userId="571e1a55-055f-4c28-8b35-fca6dd1c1369" providerId="ADAL" clId="{75A88773-6EE1-484E-AADE-FE631E01463B}" dt="2025-11-21T03:44:24.098" v="16276"/>
          <ac:cxnSpMkLst>
            <pc:docMk/>
            <pc:sldMk cId="1294829499" sldId="2147483087"/>
            <ac:cxnSpMk id="131" creationId="{3AFCFCEB-F38A-AF80-55C8-AED0022BCEC3}"/>
          </ac:cxnSpMkLst>
        </pc:cxnChg>
        <pc:cxnChg chg="add del mod ord">
          <ac:chgData name="Yudi Zhu" userId="571e1a55-055f-4c28-8b35-fca6dd1c1369" providerId="ADAL" clId="{75A88773-6EE1-484E-AADE-FE631E01463B}" dt="2025-11-21T03:44:24.098" v="16274"/>
          <ac:cxnSpMkLst>
            <pc:docMk/>
            <pc:sldMk cId="1294829499" sldId="2147483087"/>
            <ac:cxnSpMk id="132" creationId="{119AA6C4-0511-EC83-5E7D-A16F26F8CC87}"/>
          </ac:cxnSpMkLst>
        </pc:cxnChg>
        <pc:cxnChg chg="add del mod ord">
          <ac:chgData name="Yudi Zhu" userId="571e1a55-055f-4c28-8b35-fca6dd1c1369" providerId="ADAL" clId="{75A88773-6EE1-484E-AADE-FE631E01463B}" dt="2025-11-21T03:44:24.125" v="16361"/>
          <ac:cxnSpMkLst>
            <pc:docMk/>
            <pc:sldMk cId="1294829499" sldId="2147483087"/>
            <ac:cxnSpMk id="133" creationId="{0E43522A-BE5A-7F76-D163-6F14C64C9A94}"/>
          </ac:cxnSpMkLst>
        </pc:cxnChg>
        <pc:cxnChg chg="add del mod ord">
          <ac:chgData name="Yudi Zhu" userId="571e1a55-055f-4c28-8b35-fca6dd1c1369" providerId="ADAL" clId="{75A88773-6EE1-484E-AADE-FE631E01463B}" dt="2025-11-21T03:44:24.125" v="16359"/>
          <ac:cxnSpMkLst>
            <pc:docMk/>
            <pc:sldMk cId="1294829499" sldId="2147483087"/>
            <ac:cxnSpMk id="134" creationId="{657D2838-A18B-C2EE-1E23-07CA61C556E2}"/>
          </ac:cxnSpMkLst>
        </pc:cxnChg>
        <pc:cxnChg chg="add del mod ord">
          <ac:chgData name="Yudi Zhu" userId="571e1a55-055f-4c28-8b35-fca6dd1c1369" providerId="ADAL" clId="{75A88773-6EE1-484E-AADE-FE631E01463B}" dt="2025-11-21T03:44:24.125" v="16357"/>
          <ac:cxnSpMkLst>
            <pc:docMk/>
            <pc:sldMk cId="1294829499" sldId="2147483087"/>
            <ac:cxnSpMk id="135" creationId="{F90F1F6D-3324-723A-4F9B-4EBC0612F9C4}"/>
          </ac:cxnSpMkLst>
        </pc:cxnChg>
        <pc:cxnChg chg="add del mod ord">
          <ac:chgData name="Yudi Zhu" userId="571e1a55-055f-4c28-8b35-fca6dd1c1369" providerId="ADAL" clId="{75A88773-6EE1-484E-AADE-FE631E01463B}" dt="2025-11-21T03:44:24.125" v="16355"/>
          <ac:cxnSpMkLst>
            <pc:docMk/>
            <pc:sldMk cId="1294829499" sldId="2147483087"/>
            <ac:cxnSpMk id="136" creationId="{AE5C47FE-61D6-90DE-12D8-6C4C32574150}"/>
          </ac:cxnSpMkLst>
        </pc:cxnChg>
        <pc:cxnChg chg="add del mod ord">
          <ac:chgData name="Yudi Zhu" userId="571e1a55-055f-4c28-8b35-fca6dd1c1369" providerId="ADAL" clId="{75A88773-6EE1-484E-AADE-FE631E01463B}" dt="2025-11-21T03:44:24.086" v="16260"/>
          <ac:cxnSpMkLst>
            <pc:docMk/>
            <pc:sldMk cId="1294829499" sldId="2147483087"/>
            <ac:cxnSpMk id="137" creationId="{DA86B2F4-5A2B-5003-640B-5272C4692E16}"/>
          </ac:cxnSpMkLst>
        </pc:cxnChg>
        <pc:cxnChg chg="add del mod ord">
          <ac:chgData name="Yudi Zhu" userId="571e1a55-055f-4c28-8b35-fca6dd1c1369" providerId="ADAL" clId="{75A88773-6EE1-484E-AADE-FE631E01463B}" dt="2025-11-21T03:44:24.136" v="16373"/>
          <ac:cxnSpMkLst>
            <pc:docMk/>
            <pc:sldMk cId="1294829499" sldId="2147483087"/>
            <ac:cxnSpMk id="138" creationId="{3956AFB4-6CC3-2170-548D-0ACA8124F1FC}"/>
          </ac:cxnSpMkLst>
        </pc:cxnChg>
        <pc:cxnChg chg="add del mod ord">
          <ac:chgData name="Yudi Zhu" userId="571e1a55-055f-4c28-8b35-fca6dd1c1369" providerId="ADAL" clId="{75A88773-6EE1-484E-AADE-FE631E01463B}" dt="2025-11-21T03:44:24.135" v="16371"/>
          <ac:cxnSpMkLst>
            <pc:docMk/>
            <pc:sldMk cId="1294829499" sldId="2147483087"/>
            <ac:cxnSpMk id="139" creationId="{D094417F-F236-B896-BBAB-94C720A2C71D}"/>
          </ac:cxnSpMkLst>
        </pc:cxnChg>
        <pc:cxnChg chg="add del mod ord">
          <ac:chgData name="Yudi Zhu" userId="571e1a55-055f-4c28-8b35-fca6dd1c1369" providerId="ADAL" clId="{75A88773-6EE1-484E-AADE-FE631E01463B}" dt="2025-11-21T03:44:24.135" v="16369"/>
          <ac:cxnSpMkLst>
            <pc:docMk/>
            <pc:sldMk cId="1294829499" sldId="2147483087"/>
            <ac:cxnSpMk id="140" creationId="{61CCC471-04D0-0118-B9F0-2573E77AFB95}"/>
          </ac:cxnSpMkLst>
        </pc:cxnChg>
        <pc:cxnChg chg="add del mod ord">
          <ac:chgData name="Yudi Zhu" userId="571e1a55-055f-4c28-8b35-fca6dd1c1369" providerId="ADAL" clId="{75A88773-6EE1-484E-AADE-FE631E01463B}" dt="2025-11-21T03:44:24.134" v="16367"/>
          <ac:cxnSpMkLst>
            <pc:docMk/>
            <pc:sldMk cId="1294829499" sldId="2147483087"/>
            <ac:cxnSpMk id="141" creationId="{14DEE3B2-32A4-B1CC-F9BB-8BFC859BCFD5}"/>
          </ac:cxnSpMkLst>
        </pc:cxnChg>
        <pc:cxnChg chg="add del mod ord">
          <ac:chgData name="Yudi Zhu" userId="571e1a55-055f-4c28-8b35-fca6dd1c1369" providerId="ADAL" clId="{75A88773-6EE1-484E-AADE-FE631E01463B}" dt="2025-11-21T03:44:24.110" v="16316"/>
          <ac:cxnSpMkLst>
            <pc:docMk/>
            <pc:sldMk cId="1294829499" sldId="2147483087"/>
            <ac:cxnSpMk id="142" creationId="{C01191DB-117A-9EB5-9F4C-CA8A420D3E13}"/>
          </ac:cxnSpMkLst>
        </pc:cxnChg>
        <pc:cxnChg chg="add del mod ord">
          <ac:chgData name="Yudi Zhu" userId="571e1a55-055f-4c28-8b35-fca6dd1c1369" providerId="ADAL" clId="{75A88773-6EE1-484E-AADE-FE631E01463B}" dt="2025-11-21T03:44:24.110" v="16314"/>
          <ac:cxnSpMkLst>
            <pc:docMk/>
            <pc:sldMk cId="1294829499" sldId="2147483087"/>
            <ac:cxnSpMk id="143" creationId="{427351E4-7774-F430-F077-46A14F60C24E}"/>
          </ac:cxnSpMkLst>
        </pc:cxnChg>
        <pc:cxnChg chg="add del mod ord">
          <ac:chgData name="Yudi Zhu" userId="571e1a55-055f-4c28-8b35-fca6dd1c1369" providerId="ADAL" clId="{75A88773-6EE1-484E-AADE-FE631E01463B}" dt="2025-11-21T03:44:24.133" v="16365"/>
          <ac:cxnSpMkLst>
            <pc:docMk/>
            <pc:sldMk cId="1294829499" sldId="2147483087"/>
            <ac:cxnSpMk id="144" creationId="{3C9CF4E6-8593-DF1C-1156-988EDC2B079A}"/>
          </ac:cxnSpMkLst>
        </pc:cxnChg>
        <pc:cxnChg chg="add del mod ord">
          <ac:chgData name="Yudi Zhu" userId="571e1a55-055f-4c28-8b35-fca6dd1c1369" providerId="ADAL" clId="{75A88773-6EE1-484E-AADE-FE631E01463B}" dt="2025-11-21T03:44:24.141" v="16389"/>
          <ac:cxnSpMkLst>
            <pc:docMk/>
            <pc:sldMk cId="1294829499" sldId="2147483087"/>
            <ac:cxnSpMk id="145" creationId="{B2299F1A-7A68-396A-6D9A-6D5D8FE3EC90}"/>
          </ac:cxnSpMkLst>
        </pc:cxnChg>
        <pc:cxnChg chg="add del mod ord">
          <ac:chgData name="Yudi Zhu" userId="571e1a55-055f-4c28-8b35-fca6dd1c1369" providerId="ADAL" clId="{75A88773-6EE1-484E-AADE-FE631E01463B}" dt="2025-11-21T03:44:24.141" v="16387"/>
          <ac:cxnSpMkLst>
            <pc:docMk/>
            <pc:sldMk cId="1294829499" sldId="2147483087"/>
            <ac:cxnSpMk id="146" creationId="{ED8934D0-400A-408C-2555-DBF8EC7BD80F}"/>
          </ac:cxnSpMkLst>
        </pc:cxnChg>
        <pc:cxnChg chg="add del mod ord">
          <ac:chgData name="Yudi Zhu" userId="571e1a55-055f-4c28-8b35-fca6dd1c1369" providerId="ADAL" clId="{75A88773-6EE1-484E-AADE-FE631E01463B}" dt="2025-11-21T03:44:24.140" v="16385"/>
          <ac:cxnSpMkLst>
            <pc:docMk/>
            <pc:sldMk cId="1294829499" sldId="2147483087"/>
            <ac:cxnSpMk id="147" creationId="{9ADACDF3-DD28-C549-136C-8BC7772B4634}"/>
          </ac:cxnSpMkLst>
        </pc:cxnChg>
        <pc:cxnChg chg="add del mod ord">
          <ac:chgData name="Yudi Zhu" userId="571e1a55-055f-4c28-8b35-fca6dd1c1369" providerId="ADAL" clId="{75A88773-6EE1-484E-AADE-FE631E01463B}" dt="2025-11-21T03:44:24.139" v="16383"/>
          <ac:cxnSpMkLst>
            <pc:docMk/>
            <pc:sldMk cId="1294829499" sldId="2147483087"/>
            <ac:cxnSpMk id="148" creationId="{751B01FB-7B57-EF4A-6D94-5B3A36C6DCCB}"/>
          </ac:cxnSpMkLst>
        </pc:cxnChg>
        <pc:cxnChg chg="add del mod ord">
          <ac:chgData name="Yudi Zhu" userId="571e1a55-055f-4c28-8b35-fca6dd1c1369" providerId="ADAL" clId="{75A88773-6EE1-484E-AADE-FE631E01463B}" dt="2025-11-21T03:44:24.139" v="16381"/>
          <ac:cxnSpMkLst>
            <pc:docMk/>
            <pc:sldMk cId="1294829499" sldId="2147483087"/>
            <ac:cxnSpMk id="149" creationId="{B5F679CF-5546-5705-EEB1-1EEAB66B78B3}"/>
          </ac:cxnSpMkLst>
        </pc:cxnChg>
        <pc:cxnChg chg="add del mod ord">
          <ac:chgData name="Yudi Zhu" userId="571e1a55-055f-4c28-8b35-fca6dd1c1369" providerId="ADAL" clId="{75A88773-6EE1-484E-AADE-FE631E01463B}" dt="2025-11-21T03:44:24.138" v="16379"/>
          <ac:cxnSpMkLst>
            <pc:docMk/>
            <pc:sldMk cId="1294829499" sldId="2147483087"/>
            <ac:cxnSpMk id="150" creationId="{74908352-3CC3-3623-D7EC-08D051B6A00C}"/>
          </ac:cxnSpMkLst>
        </pc:cxnChg>
        <pc:cxnChg chg="add del mod ord">
          <ac:chgData name="Yudi Zhu" userId="571e1a55-055f-4c28-8b35-fca6dd1c1369" providerId="ADAL" clId="{75A88773-6EE1-484E-AADE-FE631E01463B}" dt="2025-11-21T03:44:24.137" v="16377"/>
          <ac:cxnSpMkLst>
            <pc:docMk/>
            <pc:sldMk cId="1294829499" sldId="2147483087"/>
            <ac:cxnSpMk id="151" creationId="{238D7FDE-AA50-059A-5405-C2AE3BFF5211}"/>
          </ac:cxnSpMkLst>
        </pc:cxnChg>
        <pc:cxnChg chg="add del mod ord">
          <ac:chgData name="Yudi Zhu" userId="571e1a55-055f-4c28-8b35-fca6dd1c1369" providerId="ADAL" clId="{75A88773-6EE1-484E-AADE-FE631E01463B}" dt="2025-11-21T03:44:24.137" v="16375"/>
          <ac:cxnSpMkLst>
            <pc:docMk/>
            <pc:sldMk cId="1294829499" sldId="2147483087"/>
            <ac:cxnSpMk id="152" creationId="{325FED32-1D09-99EB-667A-0AFD6C9A106E}"/>
          </ac:cxnSpMkLst>
        </pc:cxnChg>
        <pc:cxnChg chg="add del mod ord">
          <ac:chgData name="Yudi Zhu" userId="571e1a55-055f-4c28-8b35-fca6dd1c1369" providerId="ADAL" clId="{75A88773-6EE1-484E-AADE-FE631E01463B}" dt="2025-11-21T03:44:24.110" v="16320"/>
          <ac:cxnSpMkLst>
            <pc:docMk/>
            <pc:sldMk cId="1294829499" sldId="2147483087"/>
            <ac:cxnSpMk id="153" creationId="{E0041F62-A19A-3DFB-2DD0-82B8379DACC6}"/>
          </ac:cxnSpMkLst>
        </pc:cxnChg>
        <pc:cxnChg chg="add del mod ord">
          <ac:chgData name="Yudi Zhu" userId="571e1a55-055f-4c28-8b35-fca6dd1c1369" providerId="ADAL" clId="{75A88773-6EE1-484E-AADE-FE631E01463B}" dt="2025-11-21T03:44:24.125" v="16345"/>
          <ac:cxnSpMkLst>
            <pc:docMk/>
            <pc:sldMk cId="1294829499" sldId="2147483087"/>
            <ac:cxnSpMk id="154" creationId="{F061A5CE-1256-BA85-2475-1BB97560419D}"/>
          </ac:cxnSpMkLst>
        </pc:cxnChg>
        <pc:cxnChg chg="add del mod ord">
          <ac:chgData name="Yudi Zhu" userId="571e1a55-055f-4c28-8b35-fca6dd1c1369" providerId="ADAL" clId="{75A88773-6EE1-484E-AADE-FE631E01463B}" dt="2025-11-21T03:44:24.144" v="16397"/>
          <ac:cxnSpMkLst>
            <pc:docMk/>
            <pc:sldMk cId="1294829499" sldId="2147483087"/>
            <ac:cxnSpMk id="155" creationId="{26E73306-B85C-5642-7C98-5FAB97432DD8}"/>
          </ac:cxnSpMkLst>
        </pc:cxnChg>
        <pc:cxnChg chg="add del mod ord">
          <ac:chgData name="Yudi Zhu" userId="571e1a55-055f-4c28-8b35-fca6dd1c1369" providerId="ADAL" clId="{75A88773-6EE1-484E-AADE-FE631E01463B}" dt="2025-11-21T03:44:24.143" v="16393"/>
          <ac:cxnSpMkLst>
            <pc:docMk/>
            <pc:sldMk cId="1294829499" sldId="2147483087"/>
            <ac:cxnSpMk id="156" creationId="{AE00BCDF-7FA6-CE37-4240-55C6451371D8}"/>
          </ac:cxnSpMkLst>
        </pc:cxnChg>
      </pc:sldChg>
      <pc:sldChg chg="addSp delSp modSp new del mod">
        <pc:chgData name="Yudi Zhu" userId="571e1a55-055f-4c28-8b35-fca6dd1c1369" providerId="ADAL" clId="{75A88773-6EE1-484E-AADE-FE631E01463B}" dt="2025-11-21T10:09:09.110" v="451730" actId="47"/>
        <pc:sldMkLst>
          <pc:docMk/>
          <pc:sldMk cId="217569448" sldId="2147483088"/>
        </pc:sldMkLst>
        <pc:spChg chg="mod ord">
          <ac:chgData name="Yudi Zhu" userId="571e1a55-055f-4c28-8b35-fca6dd1c1369" providerId="ADAL" clId="{75A88773-6EE1-484E-AADE-FE631E01463B}" dt="2025-11-21T06:24:18.674" v="146071"/>
          <ac:spMkLst>
            <pc:docMk/>
            <pc:sldMk cId="217569448" sldId="2147483088"/>
            <ac:spMk id="2" creationId="{AD8403EE-983F-8549-FB96-BABC54A9C1D2}"/>
          </ac:spMkLst>
        </pc:spChg>
        <pc:spChg chg="del mod ord">
          <ac:chgData name="Yudi Zhu" userId="571e1a55-055f-4c28-8b35-fca6dd1c1369" providerId="ADAL" clId="{75A88773-6EE1-484E-AADE-FE631E01463B}" dt="2025-11-21T03:47:15.159" v="17685" actId="478"/>
          <ac:spMkLst>
            <pc:docMk/>
            <pc:sldMk cId="217569448" sldId="2147483088"/>
            <ac:spMk id="3" creationId="{6FA9C837-1396-BF3E-806A-4641B844C09D}"/>
          </ac:spMkLst>
        </pc:spChg>
        <pc:spChg chg="add del mod modVis">
          <ac:chgData name="Yudi Zhu" userId="571e1a55-055f-4c28-8b35-fca6dd1c1369" providerId="ADAL" clId="{75A88773-6EE1-484E-AADE-FE631E01463B}" dt="2025-11-21T05:52:19.826" v="27171"/>
          <ac:spMkLst>
            <pc:docMk/>
            <pc:sldMk cId="217569448" sldId="2147483088"/>
            <ac:spMk id="3" creationId="{EC063786-7327-DBD9-1DBE-8E63B3818865}"/>
          </ac:spMkLst>
        </pc:spChg>
        <pc:spChg chg="add mod">
          <ac:chgData name="Yudi Zhu" userId="571e1a55-055f-4c28-8b35-fca6dd1c1369" providerId="ADAL" clId="{75A88773-6EE1-484E-AADE-FE631E01463B}" dt="2025-11-21T06:24:18.704" v="146138"/>
          <ac:spMkLst>
            <pc:docMk/>
            <pc:sldMk cId="217569448" sldId="2147483088"/>
            <ac:spMk id="4" creationId="{077D6D36-B956-B877-41F0-063373B46D54}"/>
          </ac:spMkLst>
        </pc:spChg>
        <pc:spChg chg="add mo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5" creationId="{32B97551-7436-E864-80FC-152F8BC4B1E6}"/>
          </ac:spMkLst>
        </pc:spChg>
        <pc:spChg chg="add del mod modVis">
          <ac:chgData name="Yudi Zhu" userId="571e1a55-055f-4c28-8b35-fca6dd1c1369" providerId="ADAL" clId="{75A88773-6EE1-484E-AADE-FE631E01463B}" dt="2025-11-21T03:47:13.075" v="17670"/>
          <ac:spMkLst>
            <pc:docMk/>
            <pc:sldMk cId="217569448" sldId="2147483088"/>
            <ac:spMk id="5" creationId="{4BC802A0-A998-6783-1468-9604FA92B786}"/>
          </ac:spMkLst>
        </pc:spChg>
        <pc:spChg chg="add mod">
          <ac:chgData name="Yudi Zhu" userId="571e1a55-055f-4c28-8b35-fca6dd1c1369" providerId="ADAL" clId="{75A88773-6EE1-484E-AADE-FE631E01463B}" dt="2025-11-21T06:24:18.704" v="146139"/>
          <ac:spMkLst>
            <pc:docMk/>
            <pc:sldMk cId="217569448" sldId="2147483088"/>
            <ac:spMk id="6" creationId="{B16B0549-FBE5-2238-5C5A-7D4A395A9C78}"/>
          </ac:spMkLst>
        </pc:spChg>
        <pc:spChg chg="add mod">
          <ac:chgData name="Yudi Zhu" userId="571e1a55-055f-4c28-8b35-fca6dd1c1369" providerId="ADAL" clId="{75A88773-6EE1-484E-AADE-FE631E01463B}" dt="2025-11-21T06:24:18.704" v="146128"/>
          <ac:spMkLst>
            <pc:docMk/>
            <pc:sldMk cId="217569448" sldId="2147483088"/>
            <ac:spMk id="7" creationId="{D7A88684-1866-3F7F-F92D-AB1BC4125CDB}"/>
          </ac:spMkLst>
        </pc:spChg>
        <pc:spChg chg="add mod">
          <ac:chgData name="Yudi Zhu" userId="571e1a55-055f-4c28-8b35-fca6dd1c1369" providerId="ADAL" clId="{75A88773-6EE1-484E-AADE-FE631E01463B}" dt="2025-11-21T06:24:18.704" v="146132"/>
          <ac:spMkLst>
            <pc:docMk/>
            <pc:sldMk cId="217569448" sldId="2147483088"/>
            <ac:spMk id="8" creationId="{EF0E24A2-1020-1E60-ED1E-C8AB126ADD2F}"/>
          </ac:spMkLst>
        </pc:spChg>
        <pc:spChg chg="add mod">
          <ac:chgData name="Yudi Zhu" userId="571e1a55-055f-4c28-8b35-fca6dd1c1369" providerId="ADAL" clId="{75A88773-6EE1-484E-AADE-FE631E01463B}" dt="2025-11-21T06:24:18.685" v="146096"/>
          <ac:spMkLst>
            <pc:docMk/>
            <pc:sldMk cId="217569448" sldId="2147483088"/>
            <ac:spMk id="9" creationId="{AF320CE9-CF4A-8874-71CA-49AA4E89995C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0" creationId="{0861E60E-F024-2A44-9087-320BD271002E}"/>
          </ac:spMkLst>
        </pc:spChg>
        <pc:spChg chg="add del mod">
          <ac:chgData name="Yudi Zhu" userId="571e1a55-055f-4c28-8b35-fca6dd1c1369" providerId="ADAL" clId="{75A88773-6EE1-484E-AADE-FE631E01463B}" dt="2025-11-21T06:24:18.704" v="146134"/>
          <ac:spMkLst>
            <pc:docMk/>
            <pc:sldMk cId="217569448" sldId="2147483088"/>
            <ac:spMk id="11" creationId="{6FEB93FB-3356-2269-0C77-3F9A1AA4FF62}"/>
          </ac:spMkLst>
        </pc:spChg>
        <pc:spChg chg="add mod ord">
          <ac:chgData name="Yudi Zhu" userId="571e1a55-055f-4c28-8b35-fca6dd1c1369" providerId="ADAL" clId="{75A88773-6EE1-484E-AADE-FE631E01463B}" dt="2025-11-21T06:24:18.704" v="146135"/>
          <ac:spMkLst>
            <pc:docMk/>
            <pc:sldMk cId="217569448" sldId="2147483088"/>
            <ac:spMk id="12" creationId="{07887F7A-CE3A-5D03-2BB9-0028FBCAB430}"/>
          </ac:spMkLst>
        </pc:spChg>
        <pc:spChg chg="add del mod modVis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4" creationId="{53AE959E-B8BE-050A-42C1-45BFB6696CF9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5" creationId="{AE84ACB7-3ED7-26E5-48A4-BD1B6F350C4F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6" creationId="{6AD768A5-76C8-770F-2D55-6C8F69E2C565}"/>
          </ac:spMkLst>
        </pc:spChg>
        <pc:spChg chg="add del mod modVis">
          <ac:chgData name="Yudi Zhu" userId="571e1a55-055f-4c28-8b35-fca6dd1c1369" providerId="ADAL" clId="{75A88773-6EE1-484E-AADE-FE631E01463B}" dt="2025-11-21T03:47:25.888" v="17800"/>
          <ac:spMkLst>
            <pc:docMk/>
            <pc:sldMk cId="217569448" sldId="2147483088"/>
            <ac:spMk id="16" creationId="{D12454B9-B5A1-9613-BA6D-4CBCC51971E3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7" creationId="{5C261EAA-0728-B4A9-5172-6559835FD5B1}"/>
          </ac:spMkLst>
        </pc:spChg>
        <pc:spChg chg="add del mod modVis">
          <ac:chgData name="Yudi Zhu" userId="571e1a55-055f-4c28-8b35-fca6dd1c1369" providerId="ADAL" clId="{75A88773-6EE1-484E-AADE-FE631E01463B}" dt="2025-11-21T03:47:28.610" v="17855"/>
          <ac:spMkLst>
            <pc:docMk/>
            <pc:sldMk cId="217569448" sldId="2147483088"/>
            <ac:spMk id="18" creationId="{242AA00A-6F1E-60AA-58A8-65EF82899F69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8" creationId="{524D82BE-8F19-F838-9253-4B04F5CB1D80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19" creationId="{5D0654D5-C730-32F4-9D9D-954518DF949C}"/>
          </ac:spMkLst>
        </pc:spChg>
        <pc:spChg chg="add mod">
          <ac:chgData name="Yudi Zhu" userId="571e1a55-055f-4c28-8b35-fca6dd1c1369" providerId="ADAL" clId="{75A88773-6EE1-484E-AADE-FE631E01463B}" dt="2025-11-21T06:24:18.689" v="146100"/>
          <ac:spMkLst>
            <pc:docMk/>
            <pc:sldMk cId="217569448" sldId="2147483088"/>
            <ac:spMk id="20" creationId="{2845E7E1-D6E9-7446-0C6D-CE1BC1DD5BA9}"/>
          </ac:spMkLst>
        </pc:spChg>
        <pc:spChg chg="add mod">
          <ac:chgData name="Yudi Zhu" userId="571e1a55-055f-4c28-8b35-fca6dd1c1369" providerId="ADAL" clId="{75A88773-6EE1-484E-AADE-FE631E01463B}" dt="2025-11-21T06:24:18.692" v="146104"/>
          <ac:spMkLst>
            <pc:docMk/>
            <pc:sldMk cId="217569448" sldId="2147483088"/>
            <ac:spMk id="21" creationId="{5169A3A2-A8D9-9DE6-F298-C8EDD10E3305}"/>
          </ac:spMkLst>
        </pc:spChg>
        <pc:spChg chg="add mod">
          <ac:chgData name="Yudi Zhu" userId="571e1a55-055f-4c28-8b35-fca6dd1c1369" providerId="ADAL" clId="{75A88773-6EE1-484E-AADE-FE631E01463B}" dt="2025-11-21T06:24:18.694" v="146108"/>
          <ac:spMkLst>
            <pc:docMk/>
            <pc:sldMk cId="217569448" sldId="2147483088"/>
            <ac:spMk id="22" creationId="{2A38B043-4E13-7795-8485-B6F83E474FC6}"/>
          </ac:spMkLst>
        </pc:spChg>
        <pc:spChg chg="add mod">
          <ac:chgData name="Yudi Zhu" userId="571e1a55-055f-4c28-8b35-fca6dd1c1369" providerId="ADAL" clId="{75A88773-6EE1-484E-AADE-FE631E01463B}" dt="2025-11-21T06:24:18.697" v="146112"/>
          <ac:spMkLst>
            <pc:docMk/>
            <pc:sldMk cId="217569448" sldId="2147483088"/>
            <ac:spMk id="23" creationId="{12C39654-4281-87A1-AAE9-424D4689E0E6}"/>
          </ac:spMkLst>
        </pc:spChg>
        <pc:spChg chg="add mod">
          <ac:chgData name="Yudi Zhu" userId="571e1a55-055f-4c28-8b35-fca6dd1c1369" providerId="ADAL" clId="{75A88773-6EE1-484E-AADE-FE631E01463B}" dt="2025-11-21T06:24:18.699" v="146116"/>
          <ac:spMkLst>
            <pc:docMk/>
            <pc:sldMk cId="217569448" sldId="2147483088"/>
            <ac:spMk id="24" creationId="{F8348954-D526-FF7E-FD6A-640ED2132DF6}"/>
          </ac:spMkLst>
        </pc:spChg>
        <pc:spChg chg="add mod">
          <ac:chgData name="Yudi Zhu" userId="571e1a55-055f-4c28-8b35-fca6dd1c1369" providerId="ADAL" clId="{75A88773-6EE1-484E-AADE-FE631E01463B}" dt="2025-11-21T06:24:18.704" v="146133"/>
          <ac:spMkLst>
            <pc:docMk/>
            <pc:sldMk cId="217569448" sldId="2147483088"/>
            <ac:spMk id="25" creationId="{56FDA75F-663D-5F83-BFA3-544F5BD15ABF}"/>
          </ac:spMkLst>
        </pc:spChg>
        <pc:spChg chg="add mod">
          <ac:chgData name="Yudi Zhu" userId="571e1a55-055f-4c28-8b35-fca6dd1c1369" providerId="ADAL" clId="{75A88773-6EE1-484E-AADE-FE631E01463B}" dt="2025-11-21T06:24:18.704" v="146124"/>
          <ac:spMkLst>
            <pc:docMk/>
            <pc:sldMk cId="217569448" sldId="2147483088"/>
            <ac:spMk id="26" creationId="{492DCCE9-52F1-FEC5-B860-0F1DEDB6397C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27" creationId="{35493AA3-D3AC-1E60-C094-763C8868B8A5}"/>
          </ac:spMkLst>
        </pc:spChg>
        <pc:spChg chg="add del mod modVis">
          <ac:chgData name="Yudi Zhu" userId="571e1a55-055f-4c28-8b35-fca6dd1c1369" providerId="ADAL" clId="{75A88773-6EE1-484E-AADE-FE631E01463B}" dt="2025-11-21T03:47:37.383" v="18089"/>
          <ac:spMkLst>
            <pc:docMk/>
            <pc:sldMk cId="217569448" sldId="2147483088"/>
            <ac:spMk id="27" creationId="{5885AEB5-3D22-3BF9-7006-7650726EA9B6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28" creationId="{285153F1-0459-9DE1-975B-B89FEF6FE69A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29" creationId="{54DBFE4C-E85C-1F15-41FD-550BBB487C56}"/>
          </ac:spMkLst>
        </pc:spChg>
        <pc:spChg chg="add del mod modVis">
          <ac:chgData name="Yudi Zhu" userId="571e1a55-055f-4c28-8b35-fca6dd1c1369" providerId="ADAL" clId="{75A88773-6EE1-484E-AADE-FE631E01463B}" dt="2025-11-21T03:47:41.229" v="18336"/>
          <ac:spMkLst>
            <pc:docMk/>
            <pc:sldMk cId="217569448" sldId="2147483088"/>
            <ac:spMk id="29" creationId="{A6243B39-CECA-1255-7902-C7004A8AE3FC}"/>
          </ac:spMkLst>
        </pc:spChg>
        <pc:spChg chg="add del mod">
          <ac:chgData name="Yudi Zhu" userId="571e1a55-055f-4c28-8b35-fca6dd1c1369" providerId="ADAL" clId="{75A88773-6EE1-484E-AADE-FE631E01463B}" dt="2025-11-21T03:47:44.756" v="18677"/>
          <ac:spMkLst>
            <pc:docMk/>
            <pc:sldMk cId="217569448" sldId="2147483088"/>
            <ac:spMk id="30" creationId="{36353918-1FF0-47B7-CFD6-31FF5899D972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30" creationId="{F528690C-4688-EF92-4DE6-6BAA48FFD048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31" creationId="{4EAE7228-FE7B-E4B4-7977-3B71446B6F5A}"/>
          </ac:spMkLst>
        </pc:spChg>
        <pc:spChg chg="add del mod">
          <ac:chgData name="Yudi Zhu" userId="571e1a55-055f-4c28-8b35-fca6dd1c1369" providerId="ADAL" clId="{75A88773-6EE1-484E-AADE-FE631E01463B}" dt="2025-11-21T03:47:44.772" v="18692"/>
          <ac:spMkLst>
            <pc:docMk/>
            <pc:sldMk cId="217569448" sldId="2147483088"/>
            <ac:spMk id="31" creationId="{E3D8DD72-0B08-51BE-FCF7-01CD442BDEAE}"/>
          </ac:spMkLst>
        </pc:spChg>
        <pc:spChg chg="add del mod">
          <ac:chgData name="Yudi Zhu" userId="571e1a55-055f-4c28-8b35-fca6dd1c1369" providerId="ADAL" clId="{75A88773-6EE1-484E-AADE-FE631E01463B}" dt="2025-11-21T03:47:44.787" v="18707"/>
          <ac:spMkLst>
            <pc:docMk/>
            <pc:sldMk cId="217569448" sldId="2147483088"/>
            <ac:spMk id="32" creationId="{112E93F8-B6F1-36FB-CB8E-9FEF1809DBC6}"/>
          </ac:spMkLst>
        </pc:spChg>
        <pc:spChg chg="add del mod ord">
          <ac:chgData name="Yudi Zhu" userId="571e1a55-055f-4c28-8b35-fca6dd1c1369" providerId="ADAL" clId="{75A88773-6EE1-484E-AADE-FE631E01463B}" dt="2025-11-21T03:48:01.586" v="18782"/>
          <ac:spMkLst>
            <pc:docMk/>
            <pc:sldMk cId="217569448" sldId="2147483088"/>
            <ac:spMk id="34" creationId="{8D70A2EB-E600-A638-BF58-A238522B3012}"/>
          </ac:spMkLst>
        </pc:spChg>
        <pc:spChg chg="add del mod">
          <ac:chgData name="Yudi Zhu" userId="571e1a55-055f-4c28-8b35-fca6dd1c1369" providerId="ADAL" clId="{75A88773-6EE1-484E-AADE-FE631E01463B}" dt="2025-11-21T03:47:44.787" v="18714"/>
          <ac:spMkLst>
            <pc:docMk/>
            <pc:sldMk cId="217569448" sldId="2147483088"/>
            <ac:spMk id="35" creationId="{5A88EE88-B9E1-3688-1A60-6C8FACBBFDAE}"/>
          </ac:spMkLst>
        </pc:spChg>
        <pc:spChg chg="add del mod">
          <ac:chgData name="Yudi Zhu" userId="571e1a55-055f-4c28-8b35-fca6dd1c1369" providerId="ADAL" clId="{75A88773-6EE1-484E-AADE-FE631E01463B}" dt="2025-11-21T03:47:44.805" v="18729"/>
          <ac:spMkLst>
            <pc:docMk/>
            <pc:sldMk cId="217569448" sldId="2147483088"/>
            <ac:spMk id="36" creationId="{3F578C45-4CA0-2689-8DA4-19752EF14175}"/>
          </ac:spMkLst>
        </pc:spChg>
        <pc:spChg chg="add del mod ord">
          <ac:chgData name="Yudi Zhu" userId="571e1a55-055f-4c28-8b35-fca6dd1c1369" providerId="ADAL" clId="{75A88773-6EE1-484E-AADE-FE631E01463B}" dt="2025-11-21T03:48:01.586" v="18788"/>
          <ac:spMkLst>
            <pc:docMk/>
            <pc:sldMk cId="217569448" sldId="2147483088"/>
            <ac:spMk id="37" creationId="{E67D636F-5D62-331E-017A-024A80CA6C99}"/>
          </ac:spMkLst>
        </pc:spChg>
        <pc:spChg chg="add del mod">
          <ac:chgData name="Yudi Zhu" userId="571e1a55-055f-4c28-8b35-fca6dd1c1369" providerId="ADAL" clId="{75A88773-6EE1-484E-AADE-FE631E01463B}" dt="2025-11-21T03:47:44.805" v="18736"/>
          <ac:spMkLst>
            <pc:docMk/>
            <pc:sldMk cId="217569448" sldId="2147483088"/>
            <ac:spMk id="38" creationId="{8CBC5E1B-1DD5-B2DE-DEAE-E49831151352}"/>
          </ac:spMkLst>
        </pc:spChg>
        <pc:spChg chg="add del mod">
          <ac:chgData name="Yudi Zhu" userId="571e1a55-055f-4c28-8b35-fca6dd1c1369" providerId="ADAL" clId="{75A88773-6EE1-484E-AADE-FE631E01463B}" dt="2025-11-21T03:47:44.805" v="18737"/>
          <ac:spMkLst>
            <pc:docMk/>
            <pc:sldMk cId="217569448" sldId="2147483088"/>
            <ac:spMk id="39" creationId="{4BB71658-68F5-0D94-E274-8F7614DFD0C8}"/>
          </ac:spMkLst>
        </pc:spChg>
        <pc:spChg chg="add del mod">
          <ac:chgData name="Yudi Zhu" userId="571e1a55-055f-4c28-8b35-fca6dd1c1369" providerId="ADAL" clId="{75A88773-6EE1-484E-AADE-FE631E01463B}" dt="2025-11-21T03:47:44.805" v="18738"/>
          <ac:spMkLst>
            <pc:docMk/>
            <pc:sldMk cId="217569448" sldId="2147483088"/>
            <ac:spMk id="40" creationId="{B2BD4747-CB0B-DA4F-337B-61709B9C04E1}"/>
          </ac:spMkLst>
        </pc:spChg>
        <pc:spChg chg="add del mod modVis">
          <ac:chgData name="Yudi Zhu" userId="571e1a55-055f-4c28-8b35-fca6dd1c1369" providerId="ADAL" clId="{75A88773-6EE1-484E-AADE-FE631E01463B}" dt="2025-11-21T03:47:44.850" v="18774"/>
          <ac:spMkLst>
            <pc:docMk/>
            <pc:sldMk cId="217569448" sldId="2147483088"/>
            <ac:spMk id="41" creationId="{A61A07DE-C925-B3AD-AA61-6B790D2B9F31}"/>
          </ac:spMkLst>
        </pc:spChg>
        <pc:spChg chg="add mod ord">
          <ac:chgData name="Yudi Zhu" userId="571e1a55-055f-4c28-8b35-fca6dd1c1369" providerId="ADAL" clId="{75A88773-6EE1-484E-AADE-FE631E01463B}" dt="2025-11-21T05:53:45.755" v="29162"/>
          <ac:spMkLst>
            <pc:docMk/>
            <pc:sldMk cId="217569448" sldId="2147483088"/>
            <ac:spMk id="42" creationId="{B6A1CC46-8840-92B7-7D2B-5D95F1626F31}"/>
          </ac:spMkLst>
        </pc:spChg>
        <pc:spChg chg="add del mod ord">
          <ac:chgData name="Yudi Zhu" userId="571e1a55-055f-4c28-8b35-fca6dd1c1369" providerId="ADAL" clId="{75A88773-6EE1-484E-AADE-FE631E01463B}" dt="2025-11-21T03:48:01.586" v="18784"/>
          <ac:spMkLst>
            <pc:docMk/>
            <pc:sldMk cId="217569448" sldId="2147483088"/>
            <ac:spMk id="42" creationId="{BB5D5B72-9D94-B71E-FC31-2F5F76726F5C}"/>
          </ac:spMkLst>
        </pc:spChg>
        <pc:spChg chg="add del mod ord">
          <ac:chgData name="Yudi Zhu" userId="571e1a55-055f-4c28-8b35-fca6dd1c1369" providerId="ADAL" clId="{75A88773-6EE1-484E-AADE-FE631E01463B}" dt="2025-11-21T03:48:01.570" v="18780"/>
          <ac:spMkLst>
            <pc:docMk/>
            <pc:sldMk cId="217569448" sldId="2147483088"/>
            <ac:spMk id="43" creationId="{F941091A-2836-9906-4271-71D67DF3898A}"/>
          </ac:spMkLst>
        </pc:spChg>
        <pc:spChg chg="add del mod modVis">
          <ac:chgData name="Yudi Zhu" userId="571e1a55-055f-4c28-8b35-fca6dd1c1369" providerId="ADAL" clId="{75A88773-6EE1-484E-AADE-FE631E01463B}" dt="2025-11-21T05:54:30.341" v="29692"/>
          <ac:spMkLst>
            <pc:docMk/>
            <pc:sldMk cId="217569448" sldId="2147483088"/>
            <ac:spMk id="43" creationId="{FD419E3A-6F77-95B2-100D-7B35A6DB4775}"/>
          </ac:spMkLst>
        </pc:spChg>
        <pc:spChg chg="add del mod ord">
          <ac:chgData name="Yudi Zhu" userId="571e1a55-055f-4c28-8b35-fca6dd1c1369" providerId="ADAL" clId="{75A88773-6EE1-484E-AADE-FE631E01463B}" dt="2025-11-21T03:48:01.586" v="18786"/>
          <ac:spMkLst>
            <pc:docMk/>
            <pc:sldMk cId="217569448" sldId="2147483088"/>
            <ac:spMk id="44" creationId="{FFE9B098-3D1C-3EAE-82B7-FC95B83F4D1E}"/>
          </ac:spMkLst>
        </pc:spChg>
        <pc:spChg chg="add del mod modVis">
          <ac:chgData name="Yudi Zhu" userId="571e1a55-055f-4c28-8b35-fca6dd1c1369" providerId="ADAL" clId="{75A88773-6EE1-484E-AADE-FE631E01463B}" dt="2025-11-21T05:54:35.941" v="29932"/>
          <ac:spMkLst>
            <pc:docMk/>
            <pc:sldMk cId="217569448" sldId="2147483088"/>
            <ac:spMk id="45" creationId="{7ED60444-0524-EA53-3F49-CFEE2C4332F6}"/>
          </ac:spMkLst>
        </pc:spChg>
        <pc:spChg chg="add del mod modVis">
          <ac:chgData name="Yudi Zhu" userId="571e1a55-055f-4c28-8b35-fca6dd1c1369" providerId="ADAL" clId="{75A88773-6EE1-484E-AADE-FE631E01463B}" dt="2025-11-21T05:54:39.079" v="30139"/>
          <ac:spMkLst>
            <pc:docMk/>
            <pc:sldMk cId="217569448" sldId="2147483088"/>
            <ac:spMk id="47" creationId="{1637C05A-B193-721A-00C4-2B55D4D64154}"/>
          </ac:spMkLst>
        </pc:spChg>
        <pc:spChg chg="add del mod">
          <ac:chgData name="Yudi Zhu" userId="571e1a55-055f-4c28-8b35-fca6dd1c1369" providerId="ADAL" clId="{75A88773-6EE1-484E-AADE-FE631E01463B}" dt="2025-11-21T05:55:22.375" v="35503"/>
          <ac:spMkLst>
            <pc:docMk/>
            <pc:sldMk cId="217569448" sldId="2147483088"/>
            <ac:spMk id="50" creationId="{83A7C285-A6AD-4712-D601-AEF569CA5C93}"/>
          </ac:spMkLst>
        </pc:spChg>
        <pc:spChg chg="add del mod">
          <ac:chgData name="Yudi Zhu" userId="571e1a55-055f-4c28-8b35-fca6dd1c1369" providerId="ADAL" clId="{75A88773-6EE1-484E-AADE-FE631E01463B}" dt="2025-11-21T05:55:00.335" v="31528"/>
          <ac:spMkLst>
            <pc:docMk/>
            <pc:sldMk cId="217569448" sldId="2147483088"/>
            <ac:spMk id="51" creationId="{DBF355D7-CA63-77C8-60B2-55CC5F2D1F23}"/>
          </ac:spMkLst>
        </pc:spChg>
        <pc:spChg chg="add mod ord">
          <ac:chgData name="Yudi Zhu" userId="571e1a55-055f-4c28-8b35-fca6dd1c1369" providerId="ADAL" clId="{75A88773-6EE1-484E-AADE-FE631E01463B}" dt="2025-11-21T03:49:44.237" v="19101"/>
          <ac:spMkLst>
            <pc:docMk/>
            <pc:sldMk cId="217569448" sldId="2147483088"/>
            <ac:spMk id="52" creationId="{93015353-0099-6F62-19E1-F6080687FFBF}"/>
          </ac:spMkLst>
        </pc:spChg>
        <pc:spChg chg="add del mod">
          <ac:chgData name="Yudi Zhu" userId="571e1a55-055f-4c28-8b35-fca6dd1c1369" providerId="ADAL" clId="{75A88773-6EE1-484E-AADE-FE631E01463B}" dt="2025-11-21T05:55:00.334" v="31527"/>
          <ac:spMkLst>
            <pc:docMk/>
            <pc:sldMk cId="217569448" sldId="2147483088"/>
            <ac:spMk id="52" creationId="{E2C76C64-F2B3-8DB0-BBCA-B28E1C2E2CD2}"/>
          </ac:spMkLst>
        </pc:spChg>
        <pc:spChg chg="add del mod">
          <ac:chgData name="Yudi Zhu" userId="571e1a55-055f-4c28-8b35-fca6dd1c1369" providerId="ADAL" clId="{75A88773-6EE1-484E-AADE-FE631E01463B}" dt="2025-11-21T05:55:00.329" v="31526"/>
          <ac:spMkLst>
            <pc:docMk/>
            <pc:sldMk cId="217569448" sldId="2147483088"/>
            <ac:spMk id="53" creationId="{7DBC79F9-3C36-2690-848D-949EDBAEADF9}"/>
          </ac:spMkLst>
        </pc:spChg>
        <pc:spChg chg="add del mod modVis">
          <ac:chgData name="Yudi Zhu" userId="571e1a55-055f-4c28-8b35-fca6dd1c1369" providerId="ADAL" clId="{75A88773-6EE1-484E-AADE-FE631E01463B}" dt="2025-11-21T03:50:03.801" v="19309"/>
          <ac:spMkLst>
            <pc:docMk/>
            <pc:sldMk cId="217569448" sldId="2147483088"/>
            <ac:spMk id="53" creationId="{DF93FBC1-659A-595F-F589-3D79B701B369}"/>
          </ac:spMkLst>
        </pc:spChg>
        <pc:spChg chg="add del mod ord">
          <ac:chgData name="Yudi Zhu" userId="571e1a55-055f-4c28-8b35-fca6dd1c1369" providerId="ADAL" clId="{75A88773-6EE1-484E-AADE-FE631E01463B}" dt="2025-11-21T03:50:31.391" v="19449"/>
          <ac:spMkLst>
            <pc:docMk/>
            <pc:sldMk cId="217569448" sldId="2147483088"/>
            <ac:spMk id="54" creationId="{61C028BE-4F4E-FB56-28DC-C8641DCAD8AD}"/>
          </ac:spMkLst>
        </pc:spChg>
        <pc:spChg chg="add del mod">
          <ac:chgData name="Yudi Zhu" userId="571e1a55-055f-4c28-8b35-fca6dd1c1369" providerId="ADAL" clId="{75A88773-6EE1-484E-AADE-FE631E01463B}" dt="2025-11-21T05:55:00.329" v="31525"/>
          <ac:spMkLst>
            <pc:docMk/>
            <pc:sldMk cId="217569448" sldId="2147483088"/>
            <ac:spMk id="54" creationId="{9E6D6277-B1B2-1F01-7616-626B31984D6A}"/>
          </ac:spMkLst>
        </pc:spChg>
        <pc:spChg chg="add del mod">
          <ac:chgData name="Yudi Zhu" userId="571e1a55-055f-4c28-8b35-fca6dd1c1369" providerId="ADAL" clId="{75A88773-6EE1-484E-AADE-FE631E01463B}" dt="2025-11-21T05:55:00.329" v="31524"/>
          <ac:spMkLst>
            <pc:docMk/>
            <pc:sldMk cId="217569448" sldId="2147483088"/>
            <ac:spMk id="55" creationId="{C746D956-7480-C331-66C5-2B94E38644B9}"/>
          </ac:spMkLst>
        </pc:spChg>
        <pc:spChg chg="add del mod modVis">
          <ac:chgData name="Yudi Zhu" userId="571e1a55-055f-4c28-8b35-fca6dd1c1369" providerId="ADAL" clId="{75A88773-6EE1-484E-AADE-FE631E01463B}" dt="2025-11-21T03:50:07.999" v="19395"/>
          <ac:spMkLst>
            <pc:docMk/>
            <pc:sldMk cId="217569448" sldId="2147483088"/>
            <ac:spMk id="59" creationId="{EAAEC0E1-252E-99C2-233D-3BC54CECA610}"/>
          </ac:spMkLst>
        </pc:spChg>
        <pc:spChg chg="add del mod ord">
          <ac:chgData name="Yudi Zhu" userId="571e1a55-055f-4c28-8b35-fca6dd1c1369" providerId="ADAL" clId="{75A88773-6EE1-484E-AADE-FE631E01463B}" dt="2025-11-21T05:55:05.768" v="32348"/>
          <ac:spMkLst>
            <pc:docMk/>
            <pc:sldMk cId="217569448" sldId="2147483088"/>
            <ac:spMk id="60" creationId="{A6EC6E67-E635-B3B2-A3C8-A5F476A86744}"/>
          </ac:spMkLst>
        </pc:spChg>
        <pc:spChg chg="add del mod">
          <ac:chgData name="Yudi Zhu" userId="571e1a55-055f-4c28-8b35-fca6dd1c1369" providerId="ADAL" clId="{75A88773-6EE1-484E-AADE-FE631E01463B}" dt="2025-11-21T05:55:22.375" v="35488"/>
          <ac:spMkLst>
            <pc:docMk/>
            <pc:sldMk cId="217569448" sldId="2147483088"/>
            <ac:spMk id="61" creationId="{9179B985-B1BD-ADE4-3A6F-1B0AFDDABA1F}"/>
          </ac:spMkLst>
        </pc:spChg>
        <pc:spChg chg="add del mod">
          <ac:chgData name="Yudi Zhu" userId="571e1a55-055f-4c28-8b35-fca6dd1c1369" providerId="ADAL" clId="{75A88773-6EE1-484E-AADE-FE631E01463B}" dt="2025-11-21T05:55:05.755" v="32334"/>
          <ac:spMkLst>
            <pc:docMk/>
            <pc:sldMk cId="217569448" sldId="2147483088"/>
            <ac:spMk id="62" creationId="{136C5504-270A-864D-FC30-D0B7BABD6B4F}"/>
          </ac:spMkLst>
        </pc:spChg>
        <pc:spChg chg="add mod">
          <ac:chgData name="Yudi Zhu" userId="571e1a55-055f-4c28-8b35-fca6dd1c1369" providerId="ADAL" clId="{75A88773-6EE1-484E-AADE-FE631E01463B}" dt="2025-11-21T06:24:18.704" v="146140"/>
          <ac:spMkLst>
            <pc:docMk/>
            <pc:sldMk cId="217569448" sldId="2147483088"/>
            <ac:spMk id="63" creationId="{D55600C7-F99C-14D4-EB7A-B427636E3C47}"/>
          </ac:spMkLst>
        </pc:spChg>
        <pc:spChg chg="add del mod">
          <ac:chgData name="Yudi Zhu" userId="571e1a55-055f-4c28-8b35-fca6dd1c1369" providerId="ADAL" clId="{75A88773-6EE1-484E-AADE-FE631E01463B}" dt="2025-11-21T05:55:05.768" v="32349"/>
          <ac:spMkLst>
            <pc:docMk/>
            <pc:sldMk cId="217569448" sldId="2147483088"/>
            <ac:spMk id="64" creationId="{1C9696AD-FFA6-BD3C-95BA-3D6410A23175}"/>
          </ac:spMkLst>
        </pc:spChg>
        <pc:spChg chg="add del mod modVis">
          <ac:chgData name="Yudi Zhu" userId="571e1a55-055f-4c28-8b35-fca6dd1c1369" providerId="ADAL" clId="{75A88773-6EE1-484E-AADE-FE631E01463B}" dt="2025-11-21T03:55:03.938" v="19582"/>
          <ac:spMkLst>
            <pc:docMk/>
            <pc:sldMk cId="217569448" sldId="2147483088"/>
            <ac:spMk id="64" creationId="{DDE2EF0C-DD60-AEE1-F08C-A5BF4DAEC408}"/>
          </ac:spMkLst>
        </pc:spChg>
        <pc:spChg chg="add del mod">
          <ac:chgData name="Yudi Zhu" userId="571e1a55-055f-4c28-8b35-fca6dd1c1369" providerId="ADAL" clId="{75A88773-6EE1-484E-AADE-FE631E01463B}" dt="2025-11-21T05:55:22.375" v="35484"/>
          <ac:spMkLst>
            <pc:docMk/>
            <pc:sldMk cId="217569448" sldId="2147483088"/>
            <ac:spMk id="65" creationId="{9172E18F-E01A-3C48-BE55-68D11B1682B4}"/>
          </ac:spMkLst>
        </pc:spChg>
        <pc:spChg chg="add del mod">
          <ac:chgData name="Yudi Zhu" userId="571e1a55-055f-4c28-8b35-fca6dd1c1369" providerId="ADAL" clId="{75A88773-6EE1-484E-AADE-FE631E01463B}" dt="2025-11-21T03:55:22.786" v="19701"/>
          <ac:spMkLst>
            <pc:docMk/>
            <pc:sldMk cId="217569448" sldId="2147483088"/>
            <ac:spMk id="66" creationId="{3FB13982-0324-B8BF-5130-1899C8D0845D}"/>
          </ac:spMkLst>
        </pc:spChg>
        <pc:spChg chg="add del mod">
          <ac:chgData name="Yudi Zhu" userId="571e1a55-055f-4c28-8b35-fca6dd1c1369" providerId="ADAL" clId="{75A88773-6EE1-484E-AADE-FE631E01463B}" dt="2025-11-21T05:55:05.755" v="32335"/>
          <ac:spMkLst>
            <pc:docMk/>
            <pc:sldMk cId="217569448" sldId="2147483088"/>
            <ac:spMk id="66" creationId="{47DA617F-F85C-9EA0-0E33-F57FF163B212}"/>
          </ac:spMkLst>
        </pc:spChg>
        <pc:spChg chg="add del mod">
          <ac:chgData name="Yudi Zhu" userId="571e1a55-055f-4c28-8b35-fca6dd1c1369" providerId="ADAL" clId="{75A88773-6EE1-484E-AADE-FE631E01463B}" dt="2025-11-21T05:55:05.768" v="32350"/>
          <ac:spMkLst>
            <pc:docMk/>
            <pc:sldMk cId="217569448" sldId="2147483088"/>
            <ac:spMk id="67" creationId="{31200116-1F40-654A-6485-922756B112ED}"/>
          </ac:spMkLst>
        </pc:spChg>
        <pc:spChg chg="add del mod modVis">
          <ac:chgData name="Yudi Zhu" userId="571e1a55-055f-4c28-8b35-fca6dd1c1369" providerId="ADAL" clId="{75A88773-6EE1-484E-AADE-FE631E01463B}" dt="2025-11-21T03:55:11.906" v="19646"/>
          <ac:spMkLst>
            <pc:docMk/>
            <pc:sldMk cId="217569448" sldId="2147483088"/>
            <ac:spMk id="67" creationId="{DAB6C7B2-E4EB-9C80-A68A-A93BC97B13AF}"/>
          </ac:spMkLst>
        </pc:spChg>
        <pc:spChg chg="add del mod">
          <ac:chgData name="Yudi Zhu" userId="571e1a55-055f-4c28-8b35-fca6dd1c1369" providerId="ADAL" clId="{75A88773-6EE1-484E-AADE-FE631E01463B}" dt="2025-11-21T05:55:22.370" v="35480"/>
          <ac:spMkLst>
            <pc:docMk/>
            <pc:sldMk cId="217569448" sldId="2147483088"/>
            <ac:spMk id="68" creationId="{D78C04EA-DCE1-F940-1039-E931035BAFBA}"/>
          </ac:spMkLst>
        </pc:spChg>
        <pc:spChg chg="add del mod">
          <ac:chgData name="Yudi Zhu" userId="571e1a55-055f-4c28-8b35-fca6dd1c1369" providerId="ADAL" clId="{75A88773-6EE1-484E-AADE-FE631E01463B}" dt="2025-11-21T05:55:05.755" v="32336"/>
          <ac:spMkLst>
            <pc:docMk/>
            <pc:sldMk cId="217569448" sldId="2147483088"/>
            <ac:spMk id="69" creationId="{74480CA6-AB8F-A0EA-4090-4563634B6D67}"/>
          </ac:spMkLst>
        </pc:spChg>
        <pc:spChg chg="add del mod ord">
          <ac:chgData name="Yudi Zhu" userId="571e1a55-055f-4c28-8b35-fca6dd1c1369" providerId="ADAL" clId="{75A88773-6EE1-484E-AADE-FE631E01463B}" dt="2025-11-21T03:56:44.535" v="20993"/>
          <ac:spMkLst>
            <pc:docMk/>
            <pc:sldMk cId="217569448" sldId="2147483088"/>
            <ac:spMk id="71" creationId="{00B44C72-3135-CF88-5E2E-01C248ACC5B2}"/>
          </ac:spMkLst>
        </pc:spChg>
        <pc:spChg chg="add del mod">
          <ac:chgData name="Yudi Zhu" userId="571e1a55-055f-4c28-8b35-fca6dd1c1369" providerId="ADAL" clId="{75A88773-6EE1-484E-AADE-FE631E01463B}" dt="2025-11-21T05:55:05.768" v="32351"/>
          <ac:spMkLst>
            <pc:docMk/>
            <pc:sldMk cId="217569448" sldId="2147483088"/>
            <ac:spMk id="71" creationId="{369EDAFE-EC5E-7376-3F0A-EBB258E337F5}"/>
          </ac:spMkLst>
        </pc:spChg>
        <pc:spChg chg="add del mod">
          <ac:chgData name="Yudi Zhu" userId="571e1a55-055f-4c28-8b35-fca6dd1c1369" providerId="ADAL" clId="{75A88773-6EE1-484E-AADE-FE631E01463B}" dt="2025-11-21T05:55:22.370" v="35476"/>
          <ac:spMkLst>
            <pc:docMk/>
            <pc:sldMk cId="217569448" sldId="2147483088"/>
            <ac:spMk id="72" creationId="{0B56C074-6B4C-B1EC-D737-7C8FD4DC5873}"/>
          </ac:spMkLst>
        </pc:spChg>
        <pc:spChg chg="add del mod">
          <ac:chgData name="Yudi Zhu" userId="571e1a55-055f-4c28-8b35-fca6dd1c1369" providerId="ADAL" clId="{75A88773-6EE1-484E-AADE-FE631E01463B}" dt="2025-11-21T05:55:05.755" v="32337"/>
          <ac:spMkLst>
            <pc:docMk/>
            <pc:sldMk cId="217569448" sldId="2147483088"/>
            <ac:spMk id="73" creationId="{5C16878B-DD63-8295-E5BD-220B8C6FEF30}"/>
          </ac:spMkLst>
        </pc:spChg>
        <pc:spChg chg="add del mod">
          <ac:chgData name="Yudi Zhu" userId="571e1a55-055f-4c28-8b35-fca6dd1c1369" providerId="ADAL" clId="{75A88773-6EE1-484E-AADE-FE631E01463B}" dt="2025-11-21T05:55:05.768" v="32352"/>
          <ac:spMkLst>
            <pc:docMk/>
            <pc:sldMk cId="217569448" sldId="2147483088"/>
            <ac:spMk id="74" creationId="{5460833B-22D7-D3C4-6756-6323EBA943BE}"/>
          </ac:spMkLst>
        </pc:spChg>
        <pc:spChg chg="add del mod modVis">
          <ac:chgData name="Yudi Zhu" userId="571e1a55-055f-4c28-8b35-fca6dd1c1369" providerId="ADAL" clId="{75A88773-6EE1-484E-AADE-FE631E01463B}" dt="2025-11-21T03:55:49.660" v="19894"/>
          <ac:spMkLst>
            <pc:docMk/>
            <pc:sldMk cId="217569448" sldId="2147483088"/>
            <ac:spMk id="74" creationId="{89E0F121-8C29-77E0-6DFC-9E45CC2CCCF4}"/>
          </ac:spMkLst>
        </pc:spChg>
        <pc:spChg chg="add del mod">
          <ac:chgData name="Yudi Zhu" userId="571e1a55-055f-4c28-8b35-fca6dd1c1369" providerId="ADAL" clId="{75A88773-6EE1-484E-AADE-FE631E01463B}" dt="2025-11-21T05:55:22.358" v="35472"/>
          <ac:spMkLst>
            <pc:docMk/>
            <pc:sldMk cId="217569448" sldId="2147483088"/>
            <ac:spMk id="75" creationId="{37CE1409-893A-83AD-9A8E-5387A720DCAE}"/>
          </ac:spMkLst>
        </pc:spChg>
        <pc:spChg chg="add del mod">
          <ac:chgData name="Yudi Zhu" userId="571e1a55-055f-4c28-8b35-fca6dd1c1369" providerId="ADAL" clId="{75A88773-6EE1-484E-AADE-FE631E01463B}" dt="2025-11-21T05:55:05.768" v="32338"/>
          <ac:spMkLst>
            <pc:docMk/>
            <pc:sldMk cId="217569448" sldId="2147483088"/>
            <ac:spMk id="76" creationId="{27CF5B84-FE3E-AE10-F1E5-256CF6D7E815}"/>
          </ac:spMkLst>
        </pc:spChg>
        <pc:spChg chg="add del mod modVis">
          <ac:chgData name="Yudi Zhu" userId="571e1a55-055f-4c28-8b35-fca6dd1c1369" providerId="ADAL" clId="{75A88773-6EE1-484E-AADE-FE631E01463B}" dt="2025-11-21T03:56:05.336" v="20064"/>
          <ac:spMkLst>
            <pc:docMk/>
            <pc:sldMk cId="217569448" sldId="2147483088"/>
            <ac:spMk id="76" creationId="{6A363282-298D-3371-D575-00EB500919E0}"/>
          </ac:spMkLst>
        </pc:spChg>
        <pc:spChg chg="add del mod">
          <ac:chgData name="Yudi Zhu" userId="571e1a55-055f-4c28-8b35-fca6dd1c1369" providerId="ADAL" clId="{75A88773-6EE1-484E-AADE-FE631E01463B}" dt="2025-11-21T05:55:05.768" v="32353"/>
          <ac:spMkLst>
            <pc:docMk/>
            <pc:sldMk cId="217569448" sldId="2147483088"/>
            <ac:spMk id="77" creationId="{C583F382-621E-2B54-11D1-430A8C6E024F}"/>
          </ac:spMkLst>
        </pc:spChg>
        <pc:spChg chg="add del mod">
          <ac:chgData name="Yudi Zhu" userId="571e1a55-055f-4c28-8b35-fca6dd1c1369" providerId="ADAL" clId="{75A88773-6EE1-484E-AADE-FE631E01463B}" dt="2025-11-21T05:55:22.358" v="35468"/>
          <ac:spMkLst>
            <pc:docMk/>
            <pc:sldMk cId="217569448" sldId="2147483088"/>
            <ac:spMk id="78" creationId="{BE97ADB9-B683-F54F-1792-ED980C4B582A}"/>
          </ac:spMkLst>
        </pc:spChg>
        <pc:spChg chg="add del mod modVis">
          <ac:chgData name="Yudi Zhu" userId="571e1a55-055f-4c28-8b35-fca6dd1c1369" providerId="ADAL" clId="{75A88773-6EE1-484E-AADE-FE631E01463B}" dt="2025-11-21T03:56:11.938" v="20263"/>
          <ac:spMkLst>
            <pc:docMk/>
            <pc:sldMk cId="217569448" sldId="2147483088"/>
            <ac:spMk id="78" creationId="{FDBC8D24-096C-4050-3CFF-D60706E85B63}"/>
          </ac:spMkLst>
        </pc:spChg>
        <pc:spChg chg="add del mod">
          <ac:chgData name="Yudi Zhu" userId="571e1a55-055f-4c28-8b35-fca6dd1c1369" providerId="ADAL" clId="{75A88773-6EE1-484E-AADE-FE631E01463B}" dt="2025-11-21T03:56:37.704" v="20762"/>
          <ac:spMkLst>
            <pc:docMk/>
            <pc:sldMk cId="217569448" sldId="2147483088"/>
            <ac:spMk id="79" creationId="{3990336B-FADE-E8F7-55D3-56798B40158A}"/>
          </ac:spMkLst>
        </pc:spChg>
        <pc:spChg chg="add del mod ord">
          <ac:chgData name="Yudi Zhu" userId="571e1a55-055f-4c28-8b35-fca6dd1c1369" providerId="ADAL" clId="{75A88773-6EE1-484E-AADE-FE631E01463B}" dt="2025-11-21T05:55:05.768" v="32340"/>
          <ac:spMkLst>
            <pc:docMk/>
            <pc:sldMk cId="217569448" sldId="2147483088"/>
            <ac:spMk id="79" creationId="{40F39F28-CAA5-E9EE-F8EE-E6A0E30D547A}"/>
          </ac:spMkLst>
        </pc:spChg>
        <pc:spChg chg="add del mod ord">
          <ac:chgData name="Yudi Zhu" userId="571e1a55-055f-4c28-8b35-fca6dd1c1369" providerId="ADAL" clId="{75A88773-6EE1-484E-AADE-FE631E01463B}" dt="2025-11-21T05:55:05.768" v="32355"/>
          <ac:spMkLst>
            <pc:docMk/>
            <pc:sldMk cId="217569448" sldId="2147483088"/>
            <ac:spMk id="80" creationId="{80890138-01AE-2015-7D18-5ED064B4AF29}"/>
          </ac:spMkLst>
        </pc:spChg>
        <pc:spChg chg="add del mod">
          <ac:chgData name="Yudi Zhu" userId="571e1a55-055f-4c28-8b35-fca6dd1c1369" providerId="ADAL" clId="{75A88773-6EE1-484E-AADE-FE631E01463B}" dt="2025-11-21T03:56:37.704" v="20761"/>
          <ac:spMkLst>
            <pc:docMk/>
            <pc:sldMk cId="217569448" sldId="2147483088"/>
            <ac:spMk id="80" creationId="{AAD323D9-803B-DB7D-34FC-09160A984E8F}"/>
          </ac:spMkLst>
        </pc:spChg>
        <pc:spChg chg="add del mod">
          <ac:chgData name="Yudi Zhu" userId="571e1a55-055f-4c28-8b35-fca6dd1c1369" providerId="ADAL" clId="{75A88773-6EE1-484E-AADE-FE631E01463B}" dt="2025-11-21T05:55:22.358" v="35464"/>
          <ac:spMkLst>
            <pc:docMk/>
            <pc:sldMk cId="217569448" sldId="2147483088"/>
            <ac:spMk id="81" creationId="{B522BE34-09AC-7199-075C-91CF27EF7C10}"/>
          </ac:spMkLst>
        </pc:spChg>
        <pc:spChg chg="add del mod">
          <ac:chgData name="Yudi Zhu" userId="571e1a55-055f-4c28-8b35-fca6dd1c1369" providerId="ADAL" clId="{75A88773-6EE1-484E-AADE-FE631E01463B}" dt="2025-11-21T05:55:00.042" v="31426"/>
          <ac:spMkLst>
            <pc:docMk/>
            <pc:sldMk cId="217569448" sldId="2147483088"/>
            <ac:spMk id="82" creationId="{D8B748A8-893F-531E-6583-1EC2F1F6DFDB}"/>
          </ac:spMkLst>
        </pc:spChg>
        <pc:spChg chg="add del mod modVis">
          <ac:chgData name="Yudi Zhu" userId="571e1a55-055f-4c28-8b35-fca6dd1c1369" providerId="ADAL" clId="{75A88773-6EE1-484E-AADE-FE631E01463B}" dt="2025-11-21T03:56:21.555" v="20409"/>
          <ac:spMkLst>
            <pc:docMk/>
            <pc:sldMk cId="217569448" sldId="2147483088"/>
            <ac:spMk id="83" creationId="{37D45883-E5D6-AEBC-3791-BB39297F233E}"/>
          </ac:spMkLst>
        </pc:spChg>
        <pc:spChg chg="add del mod ord">
          <ac:chgData name="Yudi Zhu" userId="571e1a55-055f-4c28-8b35-fca6dd1c1369" providerId="ADAL" clId="{75A88773-6EE1-484E-AADE-FE631E01463B}" dt="2025-11-21T05:55:05.768" v="32357"/>
          <ac:spMkLst>
            <pc:docMk/>
            <pc:sldMk cId="217569448" sldId="2147483088"/>
            <ac:spMk id="83" creationId="{CDD9B8AA-81E3-1401-0728-E5A0C6E0603B}"/>
          </ac:spMkLst>
        </pc:spChg>
        <pc:spChg chg="add del mod">
          <ac:chgData name="Yudi Zhu" userId="571e1a55-055f-4c28-8b35-fca6dd1c1369" providerId="ADAL" clId="{75A88773-6EE1-484E-AADE-FE631E01463B}" dt="2025-11-21T05:55:22.358" v="35460"/>
          <ac:spMkLst>
            <pc:docMk/>
            <pc:sldMk cId="217569448" sldId="2147483088"/>
            <ac:spMk id="84" creationId="{C8916082-BAF7-2FF2-C9CA-FD2295763206}"/>
          </ac:spMkLst>
        </pc:spChg>
        <pc:spChg chg="add del mod ord">
          <ac:chgData name="Yudi Zhu" userId="571e1a55-055f-4c28-8b35-fca6dd1c1369" providerId="ADAL" clId="{75A88773-6EE1-484E-AADE-FE631E01463B}" dt="2025-11-21T05:55:05.768" v="32344"/>
          <ac:spMkLst>
            <pc:docMk/>
            <pc:sldMk cId="217569448" sldId="2147483088"/>
            <ac:spMk id="85" creationId="{3F07213E-F163-3A81-8D42-8144A4BB1278}"/>
          </ac:spMkLst>
        </pc:spChg>
        <pc:spChg chg="add del mod modVis">
          <ac:chgData name="Yudi Zhu" userId="571e1a55-055f-4c28-8b35-fca6dd1c1369" providerId="ADAL" clId="{75A88773-6EE1-484E-AADE-FE631E01463B}" dt="2025-11-21T03:56:26.775" v="20542"/>
          <ac:spMkLst>
            <pc:docMk/>
            <pc:sldMk cId="217569448" sldId="2147483088"/>
            <ac:spMk id="85" creationId="{577D1403-3D24-53EF-93BB-0340114D801A}"/>
          </ac:spMkLst>
        </pc:spChg>
        <pc:spChg chg="add del mod ord">
          <ac:chgData name="Yudi Zhu" userId="571e1a55-055f-4c28-8b35-fca6dd1c1369" providerId="ADAL" clId="{75A88773-6EE1-484E-AADE-FE631E01463B}" dt="2025-11-21T05:55:05.768" v="32359"/>
          <ac:spMkLst>
            <pc:docMk/>
            <pc:sldMk cId="217569448" sldId="2147483088"/>
            <ac:spMk id="86" creationId="{3D888E1B-F1D7-2F2F-651D-ED4964F90772}"/>
          </ac:spMkLst>
        </pc:spChg>
        <pc:spChg chg="add del mod ord">
          <ac:chgData name="Yudi Zhu" userId="571e1a55-055f-4c28-8b35-fca6dd1c1369" providerId="ADAL" clId="{75A88773-6EE1-484E-AADE-FE631E01463B}" dt="2025-11-21T05:55:05.768" v="32342"/>
          <ac:spMkLst>
            <pc:docMk/>
            <pc:sldMk cId="217569448" sldId="2147483088"/>
            <ac:spMk id="87" creationId="{250B7EFE-71F2-D901-4EE3-6C59AA0D6411}"/>
          </ac:spMkLst>
        </pc:spChg>
        <pc:spChg chg="add del mod modVis">
          <ac:chgData name="Yudi Zhu" userId="571e1a55-055f-4c28-8b35-fca6dd1c1369" providerId="ADAL" clId="{75A88773-6EE1-484E-AADE-FE631E01463B}" dt="2025-11-21T03:56:35.831" v="20758"/>
          <ac:spMkLst>
            <pc:docMk/>
            <pc:sldMk cId="217569448" sldId="2147483088"/>
            <ac:spMk id="87" creationId="{DA339C80-B41F-4E8D-7A56-89658095039D}"/>
          </ac:spMkLst>
        </pc:spChg>
        <pc:spChg chg="add del mod">
          <ac:chgData name="Yudi Zhu" userId="571e1a55-055f-4c28-8b35-fca6dd1c1369" providerId="ADAL" clId="{75A88773-6EE1-484E-AADE-FE631E01463B}" dt="2025-11-21T05:55:00.048" v="31428"/>
          <ac:spMkLst>
            <pc:docMk/>
            <pc:sldMk cId="217569448" sldId="2147483088"/>
            <ac:spMk id="88" creationId="{B8ED980C-4DB2-7C6D-BC41-C17045418698}"/>
          </ac:spMkLst>
        </pc:spChg>
        <pc:spChg chg="add del mod modVis">
          <ac:chgData name="Yudi Zhu" userId="571e1a55-055f-4c28-8b35-fca6dd1c1369" providerId="ADAL" clId="{75A88773-6EE1-484E-AADE-FE631E01463B}" dt="2025-11-21T03:56:37.974" v="20918"/>
          <ac:spMkLst>
            <pc:docMk/>
            <pc:sldMk cId="217569448" sldId="2147483088"/>
            <ac:spMk id="89" creationId="{4A8660E1-EC53-61ED-E75E-472509AC25A4}"/>
          </ac:spMkLst>
        </pc:spChg>
        <pc:spChg chg="add del mod ord">
          <ac:chgData name="Yudi Zhu" userId="571e1a55-055f-4c28-8b35-fca6dd1c1369" providerId="ADAL" clId="{75A88773-6EE1-484E-AADE-FE631E01463B}" dt="2025-11-21T05:55:00.048" v="31431"/>
          <ac:spMkLst>
            <pc:docMk/>
            <pc:sldMk cId="217569448" sldId="2147483088"/>
            <ac:spMk id="89" creationId="{F795EA12-2B11-B45B-E3C0-E2237AF73314}"/>
          </ac:spMkLst>
        </pc:spChg>
        <pc:spChg chg="add del mod">
          <ac:chgData name="Yudi Zhu" userId="571e1a55-055f-4c28-8b35-fca6dd1c1369" providerId="ADAL" clId="{75A88773-6EE1-484E-AADE-FE631E01463B}" dt="2025-11-21T05:55:22.375" v="35492"/>
          <ac:spMkLst>
            <pc:docMk/>
            <pc:sldMk cId="217569448" sldId="2147483088"/>
            <ac:spMk id="90" creationId="{F3503346-D4E3-1CEB-6FB1-75AA3D5CE7AC}"/>
          </ac:spMkLst>
        </pc:spChg>
        <pc:spChg chg="add del mod">
          <ac:chgData name="Yudi Zhu" userId="571e1a55-055f-4c28-8b35-fca6dd1c1369" providerId="ADAL" clId="{75A88773-6EE1-484E-AADE-FE631E01463B}" dt="2025-11-21T05:55:05.755" v="32333"/>
          <ac:spMkLst>
            <pc:docMk/>
            <pc:sldMk cId="217569448" sldId="2147483088"/>
            <ac:spMk id="91" creationId="{26B8679D-0F4A-275A-E47F-035FFCA70508}"/>
          </ac:spMkLst>
        </pc:spChg>
        <pc:spChg chg="add del mod modVis">
          <ac:chgData name="Yudi Zhu" userId="571e1a55-055f-4c28-8b35-fca6dd1c1369" providerId="ADAL" clId="{75A88773-6EE1-484E-AADE-FE631E01463B}" dt="2025-11-21T03:56:44.550" v="21020"/>
          <ac:spMkLst>
            <pc:docMk/>
            <pc:sldMk cId="217569448" sldId="2147483088"/>
            <ac:spMk id="91" creationId="{A315678C-52B7-0335-520C-93D7E6DFC20D}"/>
          </ac:spMkLst>
        </pc:spChg>
        <pc:spChg chg="add del mod">
          <ac:chgData name="Yudi Zhu" userId="571e1a55-055f-4c28-8b35-fca6dd1c1369" providerId="ADAL" clId="{75A88773-6EE1-484E-AADE-FE631E01463B}" dt="2025-11-21T05:55:22.358" v="35456"/>
          <ac:spMkLst>
            <pc:docMk/>
            <pc:sldMk cId="217569448" sldId="2147483088"/>
            <ac:spMk id="92" creationId="{9225B2FB-150C-560A-9CF4-35182847E8A6}"/>
          </ac:spMkLst>
        </pc:spChg>
        <pc:spChg chg="add del mod modVis">
          <ac:chgData name="Yudi Zhu" userId="571e1a55-055f-4c28-8b35-fca6dd1c1369" providerId="ADAL" clId="{75A88773-6EE1-484E-AADE-FE631E01463B}" dt="2025-11-21T03:57:18.247" v="21155"/>
          <ac:spMkLst>
            <pc:docMk/>
            <pc:sldMk cId="217569448" sldId="2147483088"/>
            <ac:spMk id="93" creationId="{54978583-DBE5-F1CA-55D4-85893C03A571}"/>
          </ac:spMkLst>
        </pc:spChg>
        <pc:spChg chg="add del mod">
          <ac:chgData name="Yudi Zhu" userId="571e1a55-055f-4c28-8b35-fca6dd1c1369" providerId="ADAL" clId="{75A88773-6EE1-484E-AADE-FE631E01463B}" dt="2025-11-21T05:55:05.768" v="32362"/>
          <ac:spMkLst>
            <pc:docMk/>
            <pc:sldMk cId="217569448" sldId="2147483088"/>
            <ac:spMk id="93" creationId="{C5562078-ABCF-FB6C-5E2B-F849829D7567}"/>
          </ac:spMkLst>
        </pc:spChg>
        <pc:spChg chg="add del mod">
          <ac:chgData name="Yudi Zhu" userId="571e1a55-055f-4c28-8b35-fca6dd1c1369" providerId="ADAL" clId="{75A88773-6EE1-484E-AADE-FE631E01463B}" dt="2025-11-21T05:55:05.768" v="32364"/>
          <ac:spMkLst>
            <pc:docMk/>
            <pc:sldMk cId="217569448" sldId="2147483088"/>
            <ac:spMk id="94" creationId="{928F72EB-9D99-8FB5-F054-EE7639332C16}"/>
          </ac:spMkLst>
        </pc:spChg>
        <pc:spChg chg="add del mod modVis">
          <ac:chgData name="Yudi Zhu" userId="571e1a55-055f-4c28-8b35-fca6dd1c1369" providerId="ADAL" clId="{75A88773-6EE1-484E-AADE-FE631E01463B}" dt="2025-11-21T03:57:23.002" v="21318"/>
          <ac:spMkLst>
            <pc:docMk/>
            <pc:sldMk cId="217569448" sldId="2147483088"/>
            <ac:spMk id="95" creationId="{27C3B0A8-3B37-1B53-D29A-A386A697865D}"/>
          </ac:spMkLst>
        </pc:spChg>
        <pc:spChg chg="add del mod">
          <ac:chgData name="Yudi Zhu" userId="571e1a55-055f-4c28-8b35-fca6dd1c1369" providerId="ADAL" clId="{75A88773-6EE1-484E-AADE-FE631E01463B}" dt="2025-11-21T05:55:05.768" v="32363"/>
          <ac:spMkLst>
            <pc:docMk/>
            <pc:sldMk cId="217569448" sldId="2147483088"/>
            <ac:spMk id="96" creationId="{57CB8B2D-78DE-D72E-DCC6-C1F46F7190D6}"/>
          </ac:spMkLst>
        </pc:spChg>
        <pc:spChg chg="add del mod modVis">
          <ac:chgData name="Yudi Zhu" userId="571e1a55-055f-4c28-8b35-fca6dd1c1369" providerId="ADAL" clId="{75A88773-6EE1-484E-AADE-FE631E01463B}" dt="2025-11-21T03:57:30.386" v="21755"/>
          <ac:spMkLst>
            <pc:docMk/>
            <pc:sldMk cId="217569448" sldId="2147483088"/>
            <ac:spMk id="97" creationId="{AEFB3581-45B7-F3E9-7CD0-2BB1E13BE996}"/>
          </ac:spMkLst>
        </pc:spChg>
        <pc:spChg chg="add del mod">
          <ac:chgData name="Yudi Zhu" userId="571e1a55-055f-4c28-8b35-fca6dd1c1369" providerId="ADAL" clId="{75A88773-6EE1-484E-AADE-FE631E01463B}" dt="2025-11-21T05:55:05.768" v="32365"/>
          <ac:spMkLst>
            <pc:docMk/>
            <pc:sldMk cId="217569448" sldId="2147483088"/>
            <ac:spMk id="97" creationId="{D628F74C-6146-92B8-63F4-7B449E0E9EC0}"/>
          </ac:spMkLst>
        </pc:spChg>
        <pc:spChg chg="add mod">
          <ac:chgData name="Yudi Zhu" userId="571e1a55-055f-4c28-8b35-fca6dd1c1369" providerId="ADAL" clId="{75A88773-6EE1-484E-AADE-FE631E01463B}" dt="2025-11-21T06:24:18.675" v="146073"/>
          <ac:spMkLst>
            <pc:docMk/>
            <pc:sldMk cId="217569448" sldId="2147483088"/>
            <ac:spMk id="98" creationId="{50F14754-77B2-38A0-651A-DD1A6101DE69}"/>
          </ac:spMkLst>
        </pc:spChg>
        <pc:spChg chg="add del mod">
          <ac:chgData name="Yudi Zhu" userId="571e1a55-055f-4c28-8b35-fca6dd1c1369" providerId="ADAL" clId="{75A88773-6EE1-484E-AADE-FE631E01463B}" dt="2025-11-21T06:21:47.360" v="128687"/>
          <ac:spMkLst>
            <pc:docMk/>
            <pc:sldMk cId="217569448" sldId="2147483088"/>
            <ac:spMk id="99" creationId="{B4BFC381-1031-68ED-0763-7C572D69B0EA}"/>
          </ac:spMkLst>
        </pc:spChg>
        <pc:spChg chg="add mod">
          <ac:chgData name="Yudi Zhu" userId="571e1a55-055f-4c28-8b35-fca6dd1c1369" providerId="ADAL" clId="{75A88773-6EE1-484E-AADE-FE631E01463B}" dt="2025-11-21T06:24:18.677" v="146075"/>
          <ac:spMkLst>
            <pc:docMk/>
            <pc:sldMk cId="217569448" sldId="2147483088"/>
            <ac:spMk id="100" creationId="{08531805-39FE-A1C6-E422-2847469537D2}"/>
          </ac:spMkLst>
        </pc:spChg>
        <pc:spChg chg="add del mod">
          <ac:chgData name="Yudi Zhu" userId="571e1a55-055f-4c28-8b35-fca6dd1c1369" providerId="ADAL" clId="{75A88773-6EE1-484E-AADE-FE631E01463B}" dt="2025-11-21T06:21:47.360" v="128686"/>
          <ac:spMkLst>
            <pc:docMk/>
            <pc:sldMk cId="217569448" sldId="2147483088"/>
            <ac:spMk id="101" creationId="{D0591390-7928-C7EA-BAA5-AE87B55E9DAC}"/>
          </ac:spMkLst>
        </pc:spChg>
        <pc:spChg chg="add mod">
          <ac:chgData name="Yudi Zhu" userId="571e1a55-055f-4c28-8b35-fca6dd1c1369" providerId="ADAL" clId="{75A88773-6EE1-484E-AADE-FE631E01463B}" dt="2025-11-21T06:24:18.678" v="146077"/>
          <ac:spMkLst>
            <pc:docMk/>
            <pc:sldMk cId="217569448" sldId="2147483088"/>
            <ac:spMk id="102" creationId="{AF23BA47-9500-2903-0050-ECC69A249003}"/>
          </ac:spMkLst>
        </pc:spChg>
        <pc:spChg chg="add del mod">
          <ac:chgData name="Yudi Zhu" userId="571e1a55-055f-4c28-8b35-fca6dd1c1369" providerId="ADAL" clId="{75A88773-6EE1-484E-AADE-FE631E01463B}" dt="2025-11-21T06:21:47.360" v="128685"/>
          <ac:spMkLst>
            <pc:docMk/>
            <pc:sldMk cId="217569448" sldId="2147483088"/>
            <ac:spMk id="103" creationId="{D5111AE5-8649-E40C-70CB-7C47E80DC32C}"/>
          </ac:spMkLst>
        </pc:spChg>
        <pc:spChg chg="add del mod">
          <ac:chgData name="Yudi Zhu" userId="571e1a55-055f-4c28-8b35-fca6dd1c1369" providerId="ADAL" clId="{75A88773-6EE1-484E-AADE-FE631E01463B}" dt="2025-11-21T05:55:05.784" v="32368"/>
          <ac:spMkLst>
            <pc:docMk/>
            <pc:sldMk cId="217569448" sldId="2147483088"/>
            <ac:spMk id="104" creationId="{AA52758F-5D3A-8084-63E3-5B7BD8DFFF87}"/>
          </ac:spMkLst>
        </pc:spChg>
        <pc:spChg chg="add del mod modVis">
          <ac:chgData name="Yudi Zhu" userId="571e1a55-055f-4c28-8b35-fca6dd1c1369" providerId="ADAL" clId="{75A88773-6EE1-484E-AADE-FE631E01463B}" dt="2025-11-21T05:54:44.984" v="31235"/>
          <ac:spMkLst>
            <pc:docMk/>
            <pc:sldMk cId="217569448" sldId="2147483088"/>
            <ac:spMk id="105" creationId="{00AA1082-CB78-49B8-A848-2D45BF3FFBA3}"/>
          </ac:spMkLst>
        </pc:spChg>
        <pc:spChg chg="add del mod modVis">
          <ac:chgData name="Yudi Zhu" userId="571e1a55-055f-4c28-8b35-fca6dd1c1369" providerId="ADAL" clId="{75A88773-6EE1-484E-AADE-FE631E01463B}" dt="2025-11-21T03:57:33.442" v="21953"/>
          <ac:spMkLst>
            <pc:docMk/>
            <pc:sldMk cId="217569448" sldId="2147483088"/>
            <ac:spMk id="105" creationId="{21FFC97E-EEA4-F044-7ED8-91DE2E0F7006}"/>
          </ac:spMkLst>
        </pc:spChg>
        <pc:spChg chg="add del mod modVis">
          <ac:chgData name="Yudi Zhu" userId="571e1a55-055f-4c28-8b35-fca6dd1c1369" providerId="ADAL" clId="{75A88773-6EE1-484E-AADE-FE631E01463B}" dt="2025-11-21T03:57:34.972" v="22026"/>
          <ac:spMkLst>
            <pc:docMk/>
            <pc:sldMk cId="217569448" sldId="2147483088"/>
            <ac:spMk id="107" creationId="{0F5BDBEC-387D-518B-BF87-A1627C81C369}"/>
          </ac:spMkLst>
        </pc:spChg>
        <pc:spChg chg="add del mod">
          <ac:chgData name="Yudi Zhu" userId="571e1a55-055f-4c28-8b35-fca6dd1c1369" providerId="ADAL" clId="{75A88773-6EE1-484E-AADE-FE631E01463B}" dt="2025-11-21T05:55:08.158" v="32898"/>
          <ac:spMkLst>
            <pc:docMk/>
            <pc:sldMk cId="217569448" sldId="2147483088"/>
            <ac:spMk id="107" creationId="{45B40971-841A-886F-FA62-8C8EB988B7F9}"/>
          </ac:spMkLst>
        </pc:spChg>
        <pc:spChg chg="add del mod ord">
          <ac:chgData name="Yudi Zhu" userId="571e1a55-055f-4c28-8b35-fca6dd1c1369" providerId="ADAL" clId="{75A88773-6EE1-484E-AADE-FE631E01463B}" dt="2025-11-21T05:55:05.768" v="32346"/>
          <ac:spMkLst>
            <pc:docMk/>
            <pc:sldMk cId="217569448" sldId="2147483088"/>
            <ac:spMk id="108" creationId="{AF86D46A-7F26-FA1D-E061-3AFEB7C4D65F}"/>
          </ac:spMkLst>
        </pc:spChg>
        <pc:spChg chg="add del mod ord">
          <ac:chgData name="Yudi Zhu" userId="571e1a55-055f-4c28-8b35-fca6dd1c1369" providerId="ADAL" clId="{75A88773-6EE1-484E-AADE-FE631E01463B}" dt="2025-11-21T05:55:05.768" v="32361"/>
          <ac:spMkLst>
            <pc:docMk/>
            <pc:sldMk cId="217569448" sldId="2147483088"/>
            <ac:spMk id="109" creationId="{0C7A72BD-34E5-F337-0762-34026B074C56}"/>
          </ac:spMkLst>
        </pc:spChg>
        <pc:spChg chg="add del mod modVis">
          <ac:chgData name="Yudi Zhu" userId="571e1a55-055f-4c28-8b35-fca6dd1c1369" providerId="ADAL" clId="{75A88773-6EE1-484E-AADE-FE631E01463B}" dt="2025-11-21T03:57:53.714" v="22256"/>
          <ac:spMkLst>
            <pc:docMk/>
            <pc:sldMk cId="217569448" sldId="2147483088"/>
            <ac:spMk id="109" creationId="{EF25F150-CB70-3286-55B7-A0B5270CE8B5}"/>
          </ac:spMkLst>
        </pc:spChg>
        <pc:spChg chg="add del mod modVis">
          <ac:chgData name="Yudi Zhu" userId="571e1a55-055f-4c28-8b35-fca6dd1c1369" providerId="ADAL" clId="{75A88773-6EE1-484E-AADE-FE631E01463B}" dt="2025-11-21T05:55:01.584" v="32330"/>
          <ac:spMkLst>
            <pc:docMk/>
            <pc:sldMk cId="217569448" sldId="2147483088"/>
            <ac:spMk id="110" creationId="{378784AC-5DED-B08B-339B-5E5DE67286A7}"/>
          </ac:spMkLst>
        </pc:spChg>
        <pc:spChg chg="add del mod ord">
          <ac:chgData name="Yudi Zhu" userId="571e1a55-055f-4c28-8b35-fca6dd1c1369" providerId="ADAL" clId="{75A88773-6EE1-484E-AADE-FE631E01463B}" dt="2025-11-21T03:58:44.029" v="24048"/>
          <ac:spMkLst>
            <pc:docMk/>
            <pc:sldMk cId="217569448" sldId="2147483088"/>
            <ac:spMk id="110" creationId="{7D34CD35-A6C5-69D2-6590-60A8F982E9EB}"/>
          </ac:spMkLst>
        </pc:spChg>
        <pc:spChg chg="add del mod">
          <ac:chgData name="Yudi Zhu" userId="571e1a55-055f-4c28-8b35-fca6dd1c1369" providerId="ADAL" clId="{75A88773-6EE1-484E-AADE-FE631E01463B}" dt="2025-11-21T05:55:05.857" v="32406"/>
          <ac:spMkLst>
            <pc:docMk/>
            <pc:sldMk cId="217569448" sldId="2147483088"/>
            <ac:spMk id="111" creationId="{ED20FA6B-EAC6-5010-6BE5-7E43F97B8BBA}"/>
          </ac:spMkLst>
        </pc:spChg>
        <pc:spChg chg="add del mod">
          <ac:chgData name="Yudi Zhu" userId="571e1a55-055f-4c28-8b35-fca6dd1c1369" providerId="ADAL" clId="{75A88773-6EE1-484E-AADE-FE631E01463B}" dt="2025-11-21T05:55:05.856" v="32405"/>
          <ac:spMkLst>
            <pc:docMk/>
            <pc:sldMk cId="217569448" sldId="2147483088"/>
            <ac:spMk id="112" creationId="{F3684896-88EC-76C1-BD12-10412AC99472}"/>
          </ac:spMkLst>
        </pc:spChg>
        <pc:spChg chg="add del mod">
          <ac:chgData name="Yudi Zhu" userId="571e1a55-055f-4c28-8b35-fca6dd1c1369" providerId="ADAL" clId="{75A88773-6EE1-484E-AADE-FE631E01463B}" dt="2025-11-21T05:55:05.856" v="32404"/>
          <ac:spMkLst>
            <pc:docMk/>
            <pc:sldMk cId="217569448" sldId="2147483088"/>
            <ac:spMk id="113" creationId="{9B9A873E-EF16-654E-2745-29FB571AE7BD}"/>
          </ac:spMkLst>
        </pc:spChg>
        <pc:spChg chg="add del mod">
          <ac:chgData name="Yudi Zhu" userId="571e1a55-055f-4c28-8b35-fca6dd1c1369" providerId="ADAL" clId="{75A88773-6EE1-484E-AADE-FE631E01463B}" dt="2025-11-21T05:55:05.856" v="32403"/>
          <ac:spMkLst>
            <pc:docMk/>
            <pc:sldMk cId="217569448" sldId="2147483088"/>
            <ac:spMk id="114" creationId="{21BF4B62-2DF2-B677-0E98-5866885D59BC}"/>
          </ac:spMkLst>
        </pc:spChg>
        <pc:spChg chg="add del mod modVis">
          <ac:chgData name="Yudi Zhu" userId="571e1a55-055f-4c28-8b35-fca6dd1c1369" providerId="ADAL" clId="{75A88773-6EE1-484E-AADE-FE631E01463B}" dt="2025-11-21T03:57:56.986" v="22337"/>
          <ac:spMkLst>
            <pc:docMk/>
            <pc:sldMk cId="217569448" sldId="2147483088"/>
            <ac:spMk id="115" creationId="{865EDE0E-CF8C-6671-7F5B-4D140B72C192}"/>
          </ac:spMkLst>
        </pc:spChg>
        <pc:spChg chg="add del mod modVis">
          <ac:chgData name="Yudi Zhu" userId="571e1a55-055f-4c28-8b35-fca6dd1c1369" providerId="ADAL" clId="{75A88773-6EE1-484E-AADE-FE631E01463B}" dt="2025-11-21T03:58:02.841" v="22650" actId="962"/>
          <ac:spMkLst>
            <pc:docMk/>
            <pc:sldMk cId="217569448" sldId="2147483088"/>
            <ac:spMk id="117" creationId="{ED12197B-3037-B3EC-1C4A-A3A1F1039F26}"/>
          </ac:spMkLst>
        </pc:spChg>
        <pc:spChg chg="add del mod modVis">
          <ac:chgData name="Yudi Zhu" userId="571e1a55-055f-4c28-8b35-fca6dd1c1369" providerId="ADAL" clId="{75A88773-6EE1-484E-AADE-FE631E01463B}" dt="2025-11-21T03:58:02.782" v="22594" actId="962"/>
          <ac:spMkLst>
            <pc:docMk/>
            <pc:sldMk cId="217569448" sldId="2147483088"/>
            <ac:spMk id="119" creationId="{43ACE81C-1970-9BEC-15AD-8477EDE20FD6}"/>
          </ac:spMkLst>
        </pc:spChg>
        <pc:spChg chg="add del mod modVis">
          <ac:chgData name="Yudi Zhu" userId="571e1a55-055f-4c28-8b35-fca6dd1c1369" providerId="ADAL" clId="{75A88773-6EE1-484E-AADE-FE631E01463B}" dt="2025-11-21T05:55:06.923" v="32895"/>
          <ac:spMkLst>
            <pc:docMk/>
            <pc:sldMk cId="217569448" sldId="2147483088"/>
            <ac:spMk id="120" creationId="{A78897FA-4857-C1A2-12DA-E9BAA36CC342}"/>
          </ac:spMkLst>
        </pc:spChg>
        <pc:spChg chg="add del mod">
          <ac:chgData name="Yudi Zhu" userId="571e1a55-055f-4c28-8b35-fca6dd1c1369" providerId="ADAL" clId="{75A88773-6EE1-484E-AADE-FE631E01463B}" dt="2025-11-21T05:55:12.887" v="33206"/>
          <ac:spMkLst>
            <pc:docMk/>
            <pc:sldMk cId="217569448" sldId="2147483088"/>
            <ac:spMk id="121" creationId="{2F8BDEC4-1B6B-A9AF-6CAF-BEF484196B5E}"/>
          </ac:spMkLst>
        </pc:spChg>
        <pc:spChg chg="add del mod modVis">
          <ac:chgData name="Yudi Zhu" userId="571e1a55-055f-4c28-8b35-fca6dd1c1369" providerId="ADAL" clId="{75A88773-6EE1-484E-AADE-FE631E01463B}" dt="2025-11-21T03:58:10.670" v="22994"/>
          <ac:spMkLst>
            <pc:docMk/>
            <pc:sldMk cId="217569448" sldId="2147483088"/>
            <ac:spMk id="121" creationId="{E6609C4B-4D44-B64C-DA04-B64B9CE32536}"/>
          </ac:spMkLst>
        </pc:spChg>
        <pc:spChg chg="add del mod">
          <ac:chgData name="Yudi Zhu" userId="571e1a55-055f-4c28-8b35-fca6dd1c1369" providerId="ADAL" clId="{75A88773-6EE1-484E-AADE-FE631E01463B}" dt="2025-11-21T03:58:12.392" v="23031"/>
          <ac:spMkLst>
            <pc:docMk/>
            <pc:sldMk cId="217569448" sldId="2147483088"/>
            <ac:spMk id="122" creationId="{3D697948-F505-17B1-A546-ACCBB0688031}"/>
          </ac:spMkLst>
        </pc:spChg>
        <pc:spChg chg="add del mod">
          <ac:chgData name="Yudi Zhu" userId="571e1a55-055f-4c28-8b35-fca6dd1c1369" providerId="ADAL" clId="{75A88773-6EE1-484E-AADE-FE631E01463B}" dt="2025-11-21T05:55:12.887" v="33205"/>
          <ac:spMkLst>
            <pc:docMk/>
            <pc:sldMk cId="217569448" sldId="2147483088"/>
            <ac:spMk id="122" creationId="{A78107AE-691D-E0F9-A82F-5C0C080420E5}"/>
          </ac:spMkLst>
        </pc:spChg>
        <pc:spChg chg="add del mod">
          <ac:chgData name="Yudi Zhu" userId="571e1a55-055f-4c28-8b35-fca6dd1c1369" providerId="ADAL" clId="{75A88773-6EE1-484E-AADE-FE631E01463B}" dt="2025-11-21T05:55:12.887" v="33204"/>
          <ac:spMkLst>
            <pc:docMk/>
            <pc:sldMk cId="217569448" sldId="2147483088"/>
            <ac:spMk id="123" creationId="{C8B0BDAB-C324-FA7E-B934-2C4CC4C10765}"/>
          </ac:spMkLst>
        </pc:spChg>
        <pc:spChg chg="add del mod modVis">
          <ac:chgData name="Yudi Zhu" userId="571e1a55-055f-4c28-8b35-fca6dd1c1369" providerId="ADAL" clId="{75A88773-6EE1-484E-AADE-FE631E01463B}" dt="2025-11-21T03:58:12.468" v="23076"/>
          <ac:spMkLst>
            <pc:docMk/>
            <pc:sldMk cId="217569448" sldId="2147483088"/>
            <ac:spMk id="124" creationId="{0483EE48-7CF1-45FA-84D1-202B41ED267A}"/>
          </ac:spMkLst>
        </pc:spChg>
        <pc:spChg chg="add del mod">
          <ac:chgData name="Yudi Zhu" userId="571e1a55-055f-4c28-8b35-fca6dd1c1369" providerId="ADAL" clId="{75A88773-6EE1-484E-AADE-FE631E01463B}" dt="2025-11-21T05:55:12.887" v="33203"/>
          <ac:spMkLst>
            <pc:docMk/>
            <pc:sldMk cId="217569448" sldId="2147483088"/>
            <ac:spMk id="124" creationId="{3359EC59-4B82-7076-5D37-0206C51F1B48}"/>
          </ac:spMkLst>
        </pc:spChg>
        <pc:spChg chg="add del mod">
          <ac:chgData name="Yudi Zhu" userId="571e1a55-055f-4c28-8b35-fca6dd1c1369" providerId="ADAL" clId="{75A88773-6EE1-484E-AADE-FE631E01463B}" dt="2025-11-21T05:55:12.887" v="33202"/>
          <ac:spMkLst>
            <pc:docMk/>
            <pc:sldMk cId="217569448" sldId="2147483088"/>
            <ac:spMk id="125" creationId="{ED1585BA-863E-D131-B240-00CB8B3AD95A}"/>
          </ac:spMkLst>
        </pc:spChg>
        <pc:spChg chg="add del mod modVis">
          <ac:chgData name="Yudi Zhu" userId="571e1a55-055f-4c28-8b35-fca6dd1c1369" providerId="ADAL" clId="{75A88773-6EE1-484E-AADE-FE631E01463B}" dt="2025-11-21T03:58:17.749" v="23157"/>
          <ac:spMkLst>
            <pc:docMk/>
            <pc:sldMk cId="217569448" sldId="2147483088"/>
            <ac:spMk id="126" creationId="{A7F9FC30-D488-0B9E-7B6B-C4C01B13E248}"/>
          </ac:spMkLst>
        </pc:spChg>
        <pc:spChg chg="add del mod modVis">
          <ac:chgData name="Yudi Zhu" userId="571e1a55-055f-4c28-8b35-fca6dd1c1369" providerId="ADAL" clId="{75A88773-6EE1-484E-AADE-FE631E01463B}" dt="2025-11-21T05:55:08.449" v="33022"/>
          <ac:spMkLst>
            <pc:docMk/>
            <pc:sldMk cId="217569448" sldId="2147483088"/>
            <ac:spMk id="127" creationId="{5F41669A-4E03-997F-6883-A8544683B2F4}"/>
          </ac:spMkLst>
        </pc:spChg>
        <pc:spChg chg="add del mod modVis">
          <ac:chgData name="Yudi Zhu" userId="571e1a55-055f-4c28-8b35-fca6dd1c1369" providerId="ADAL" clId="{75A88773-6EE1-484E-AADE-FE631E01463B}" dt="2025-11-21T03:58:19.654" v="23238"/>
          <ac:spMkLst>
            <pc:docMk/>
            <pc:sldMk cId="217569448" sldId="2147483088"/>
            <ac:spMk id="128" creationId="{25FD95FA-5442-2821-2871-FA307F5947AE}"/>
          </ac:spMkLst>
        </pc:spChg>
        <pc:spChg chg="add del mod">
          <ac:chgData name="Yudi Zhu" userId="571e1a55-055f-4c28-8b35-fca6dd1c1369" providerId="ADAL" clId="{75A88773-6EE1-484E-AADE-FE631E01463B}" dt="2025-11-21T05:55:22.375" v="35498"/>
          <ac:spMkLst>
            <pc:docMk/>
            <pc:sldMk cId="217569448" sldId="2147483088"/>
            <ac:spMk id="129" creationId="{36C711E9-2048-AF72-DCF4-BF80BFD4BFC7}"/>
          </ac:spMkLst>
        </pc:spChg>
        <pc:spChg chg="add del mod modVis">
          <ac:chgData name="Yudi Zhu" userId="571e1a55-055f-4c28-8b35-fca6dd1c1369" providerId="ADAL" clId="{75A88773-6EE1-484E-AADE-FE631E01463B}" dt="2025-11-21T05:55:17.373" v="35448"/>
          <ac:spMkLst>
            <pc:docMk/>
            <pc:sldMk cId="217569448" sldId="2147483088"/>
            <ac:spMk id="130" creationId="{39FC6F5C-A32F-5217-08FE-0A42A280582C}"/>
          </ac:spMkLst>
        </pc:spChg>
        <pc:spChg chg="add del mod modVis">
          <ac:chgData name="Yudi Zhu" userId="571e1a55-055f-4c28-8b35-fca6dd1c1369" providerId="ADAL" clId="{75A88773-6EE1-484E-AADE-FE631E01463B}" dt="2025-11-21T03:58:20.385" v="23319"/>
          <ac:spMkLst>
            <pc:docMk/>
            <pc:sldMk cId="217569448" sldId="2147483088"/>
            <ac:spMk id="130" creationId="{BBE6C1C7-E931-452A-F57A-2CB67FEF82E9}"/>
          </ac:spMkLst>
        </pc:spChg>
        <pc:spChg chg="add del mod">
          <ac:chgData name="Yudi Zhu" userId="571e1a55-055f-4c28-8b35-fca6dd1c1369" providerId="ADAL" clId="{75A88773-6EE1-484E-AADE-FE631E01463B}" dt="2025-11-21T05:55:22.375" v="35496"/>
          <ac:spMkLst>
            <pc:docMk/>
            <pc:sldMk cId="217569448" sldId="2147483088"/>
            <ac:spMk id="131" creationId="{EDD87996-1A05-F186-4D31-010B10BDFADA}"/>
          </ac:spMkLst>
        </pc:spChg>
        <pc:spChg chg="add del mod modVis">
          <ac:chgData name="Yudi Zhu" userId="571e1a55-055f-4c28-8b35-fca6dd1c1369" providerId="ADAL" clId="{75A88773-6EE1-484E-AADE-FE631E01463B}" dt="2025-11-21T03:58:20.592" v="23400"/>
          <ac:spMkLst>
            <pc:docMk/>
            <pc:sldMk cId="217569448" sldId="2147483088"/>
            <ac:spMk id="132" creationId="{002A6CD7-49DF-D806-16B5-D964296C67C5}"/>
          </ac:spMkLst>
        </pc:spChg>
        <pc:spChg chg="add del mod">
          <ac:chgData name="Yudi Zhu" userId="571e1a55-055f-4c28-8b35-fca6dd1c1369" providerId="ADAL" clId="{75A88773-6EE1-484E-AADE-FE631E01463B}" dt="2025-11-21T05:55:22.375" v="35494"/>
          <ac:spMkLst>
            <pc:docMk/>
            <pc:sldMk cId="217569448" sldId="2147483088"/>
            <ac:spMk id="132" creationId="{7778E709-DF23-DC33-CAD1-616D3A333DED}"/>
          </ac:spMkLst>
        </pc:spChg>
        <pc:spChg chg="add del mod">
          <ac:chgData name="Yudi Zhu" userId="571e1a55-055f-4c28-8b35-fca6dd1c1369" providerId="ADAL" clId="{75A88773-6EE1-484E-AADE-FE631E01463B}" dt="2025-11-21T05:55:22.375" v="35491"/>
          <ac:spMkLst>
            <pc:docMk/>
            <pc:sldMk cId="217569448" sldId="2147483088"/>
            <ac:spMk id="133" creationId="{E710F3D7-A959-FFD8-C72A-B796A15C4504}"/>
          </ac:spMkLst>
        </pc:spChg>
        <pc:spChg chg="add del mod modVis">
          <ac:chgData name="Yudi Zhu" userId="571e1a55-055f-4c28-8b35-fca6dd1c1369" providerId="ADAL" clId="{75A88773-6EE1-484E-AADE-FE631E01463B}" dt="2025-11-21T03:58:28.442" v="23689" actId="962"/>
          <ac:spMkLst>
            <pc:docMk/>
            <pc:sldMk cId="217569448" sldId="2147483088"/>
            <ac:spMk id="134" creationId="{3CB24872-52FF-1597-9C0C-FEABF78CCCFB}"/>
          </ac:spMkLst>
        </pc:spChg>
        <pc:spChg chg="add del mod">
          <ac:chgData name="Yudi Zhu" userId="571e1a55-055f-4c28-8b35-fca6dd1c1369" providerId="ADAL" clId="{75A88773-6EE1-484E-AADE-FE631E01463B}" dt="2025-11-21T05:55:22.375" v="35490"/>
          <ac:spMkLst>
            <pc:docMk/>
            <pc:sldMk cId="217569448" sldId="2147483088"/>
            <ac:spMk id="134" creationId="{BCBE9794-51E9-5A12-B152-C649772CF35B}"/>
          </ac:spMkLst>
        </pc:spChg>
        <pc:spChg chg="add del mod">
          <ac:chgData name="Yudi Zhu" userId="571e1a55-055f-4c28-8b35-fca6dd1c1369" providerId="ADAL" clId="{75A88773-6EE1-484E-AADE-FE631E01463B}" dt="2025-11-21T05:55:22.375" v="35489"/>
          <ac:spMkLst>
            <pc:docMk/>
            <pc:sldMk cId="217569448" sldId="2147483088"/>
            <ac:spMk id="135" creationId="{433A431F-B61E-2F09-29CD-877262E083D6}"/>
          </ac:spMkLst>
        </pc:spChg>
        <pc:spChg chg="add del mod">
          <ac:chgData name="Yudi Zhu" userId="571e1a55-055f-4c28-8b35-fca6dd1c1369" providerId="ADAL" clId="{75A88773-6EE1-484E-AADE-FE631E01463B}" dt="2025-11-21T05:55:22.375" v="35487"/>
          <ac:spMkLst>
            <pc:docMk/>
            <pc:sldMk cId="217569448" sldId="2147483088"/>
            <ac:spMk id="136" creationId="{7A00214E-00BB-2073-4808-6544B80970AF}"/>
          </ac:spMkLst>
        </pc:spChg>
        <pc:spChg chg="add del mod modVis">
          <ac:chgData name="Yudi Zhu" userId="571e1a55-055f-4c28-8b35-fca6dd1c1369" providerId="ADAL" clId="{75A88773-6EE1-484E-AADE-FE631E01463B}" dt="2025-11-21T03:58:28.393" v="23637" actId="962"/>
          <ac:spMkLst>
            <pc:docMk/>
            <pc:sldMk cId="217569448" sldId="2147483088"/>
            <ac:spMk id="136" creationId="{91B217B1-14E7-DD0A-2BCA-E95AC518A13E}"/>
          </ac:spMkLst>
        </pc:spChg>
        <pc:spChg chg="add del mod">
          <ac:chgData name="Yudi Zhu" userId="571e1a55-055f-4c28-8b35-fca6dd1c1369" providerId="ADAL" clId="{75A88773-6EE1-484E-AADE-FE631E01463B}" dt="2025-11-21T05:55:22.375" v="35486"/>
          <ac:spMkLst>
            <pc:docMk/>
            <pc:sldMk cId="217569448" sldId="2147483088"/>
            <ac:spMk id="137" creationId="{F3B71457-344C-E819-5072-A3B883336ACC}"/>
          </ac:spMkLst>
        </pc:spChg>
        <pc:spChg chg="add del mod">
          <ac:chgData name="Yudi Zhu" userId="571e1a55-055f-4c28-8b35-fca6dd1c1369" providerId="ADAL" clId="{75A88773-6EE1-484E-AADE-FE631E01463B}" dt="2025-11-21T05:55:22.375" v="35485"/>
          <ac:spMkLst>
            <pc:docMk/>
            <pc:sldMk cId="217569448" sldId="2147483088"/>
            <ac:spMk id="138" creationId="{1743D41F-5D0F-8CEF-9F54-9D4B44564214}"/>
          </ac:spMkLst>
        </pc:spChg>
        <pc:spChg chg="add del mod modVis">
          <ac:chgData name="Yudi Zhu" userId="571e1a55-055f-4c28-8b35-fca6dd1c1369" providerId="ADAL" clId="{75A88773-6EE1-484E-AADE-FE631E01463B}" dt="2025-11-21T03:58:36.132" v="23963"/>
          <ac:spMkLst>
            <pc:docMk/>
            <pc:sldMk cId="217569448" sldId="2147483088"/>
            <ac:spMk id="138" creationId="{60E4D4EC-F38E-7A68-2B6C-453F0880EED6}"/>
          </ac:spMkLst>
        </pc:spChg>
        <pc:spChg chg="add del mod">
          <ac:chgData name="Yudi Zhu" userId="571e1a55-055f-4c28-8b35-fca6dd1c1369" providerId="ADAL" clId="{75A88773-6EE1-484E-AADE-FE631E01463B}" dt="2025-11-21T05:55:22.375" v="35483"/>
          <ac:spMkLst>
            <pc:docMk/>
            <pc:sldMk cId="217569448" sldId="2147483088"/>
            <ac:spMk id="139" creationId="{E76461C7-3039-4306-7FB6-5166E73C20C1}"/>
          </ac:spMkLst>
        </pc:spChg>
        <pc:spChg chg="add del mod modVis">
          <ac:chgData name="Yudi Zhu" userId="571e1a55-055f-4c28-8b35-fca6dd1c1369" providerId="ADAL" clId="{75A88773-6EE1-484E-AADE-FE631E01463B}" dt="2025-11-21T03:58:37.191" v="24044"/>
          <ac:spMkLst>
            <pc:docMk/>
            <pc:sldMk cId="217569448" sldId="2147483088"/>
            <ac:spMk id="140" creationId="{8C8FA560-8E88-0249-706A-2884B7DA2833}"/>
          </ac:spMkLst>
        </pc:spChg>
        <pc:spChg chg="add del mod">
          <ac:chgData name="Yudi Zhu" userId="571e1a55-055f-4c28-8b35-fca6dd1c1369" providerId="ADAL" clId="{75A88773-6EE1-484E-AADE-FE631E01463B}" dt="2025-11-21T05:55:22.370" v="35482"/>
          <ac:spMkLst>
            <pc:docMk/>
            <pc:sldMk cId="217569448" sldId="2147483088"/>
            <ac:spMk id="140" creationId="{C892AECE-E952-E472-0E6E-655C7E30A3B9}"/>
          </ac:spMkLst>
        </pc:spChg>
        <pc:spChg chg="add del mod">
          <ac:chgData name="Yudi Zhu" userId="571e1a55-055f-4c28-8b35-fca6dd1c1369" providerId="ADAL" clId="{75A88773-6EE1-484E-AADE-FE631E01463B}" dt="2025-11-21T05:55:22.370" v="35481"/>
          <ac:spMkLst>
            <pc:docMk/>
            <pc:sldMk cId="217569448" sldId="2147483088"/>
            <ac:spMk id="141" creationId="{2D9B46CD-35E4-8717-DF43-EEC89BFE6B58}"/>
          </ac:spMkLst>
        </pc:spChg>
        <pc:spChg chg="add del mod modVis">
          <ac:chgData name="Yudi Zhu" userId="571e1a55-055f-4c28-8b35-fca6dd1c1369" providerId="ADAL" clId="{75A88773-6EE1-484E-AADE-FE631E01463B}" dt="2025-11-21T03:58:44.117" v="24135"/>
          <ac:spMkLst>
            <pc:docMk/>
            <pc:sldMk cId="217569448" sldId="2147483088"/>
            <ac:spMk id="142" creationId="{13E43F9A-95DE-0485-D445-5078E689B30B}"/>
          </ac:spMkLst>
        </pc:spChg>
        <pc:spChg chg="add del mod">
          <ac:chgData name="Yudi Zhu" userId="571e1a55-055f-4c28-8b35-fca6dd1c1369" providerId="ADAL" clId="{75A88773-6EE1-484E-AADE-FE631E01463B}" dt="2025-11-21T05:55:22.370" v="35479"/>
          <ac:spMkLst>
            <pc:docMk/>
            <pc:sldMk cId="217569448" sldId="2147483088"/>
            <ac:spMk id="142" creationId="{4BB11066-E039-18AC-6942-8D88390E12EA}"/>
          </ac:spMkLst>
        </pc:spChg>
        <pc:spChg chg="add del mod">
          <ac:chgData name="Yudi Zhu" userId="571e1a55-055f-4c28-8b35-fca6dd1c1369" providerId="ADAL" clId="{75A88773-6EE1-484E-AADE-FE631E01463B}" dt="2025-11-21T05:55:22.370" v="35478"/>
          <ac:spMkLst>
            <pc:docMk/>
            <pc:sldMk cId="217569448" sldId="2147483088"/>
            <ac:spMk id="143" creationId="{9A185947-0641-D317-95BE-5D2D8F34FBE3}"/>
          </ac:spMkLst>
        </pc:spChg>
        <pc:spChg chg="add del mod">
          <ac:chgData name="Yudi Zhu" userId="571e1a55-055f-4c28-8b35-fca6dd1c1369" providerId="ADAL" clId="{75A88773-6EE1-484E-AADE-FE631E01463B}" dt="2025-11-21T05:55:22.370" v="35477"/>
          <ac:spMkLst>
            <pc:docMk/>
            <pc:sldMk cId="217569448" sldId="2147483088"/>
            <ac:spMk id="144" creationId="{279BD8E6-0C73-F557-B8DD-D8E6053F22D2}"/>
          </ac:spMkLst>
        </pc:spChg>
        <pc:spChg chg="add del mod modVis">
          <ac:chgData name="Yudi Zhu" userId="571e1a55-055f-4c28-8b35-fca6dd1c1369" providerId="ADAL" clId="{75A88773-6EE1-484E-AADE-FE631E01463B}" dt="2025-11-21T03:58:45.683" v="24365"/>
          <ac:spMkLst>
            <pc:docMk/>
            <pc:sldMk cId="217569448" sldId="2147483088"/>
            <ac:spMk id="144" creationId="{70C83D70-9168-6BE9-53F1-098566492185}"/>
          </ac:spMkLst>
        </pc:spChg>
        <pc:spChg chg="add del mod">
          <ac:chgData name="Yudi Zhu" userId="571e1a55-055f-4c28-8b35-fca6dd1c1369" providerId="ADAL" clId="{75A88773-6EE1-484E-AADE-FE631E01463B}" dt="2025-11-21T05:55:22.370" v="35475"/>
          <ac:spMkLst>
            <pc:docMk/>
            <pc:sldMk cId="217569448" sldId="2147483088"/>
            <ac:spMk id="145" creationId="{7A53B2D5-9849-0ED1-DABE-5F63BC25D053}"/>
          </ac:spMkLst>
        </pc:spChg>
        <pc:spChg chg="add del mod ord">
          <ac:chgData name="Yudi Zhu" userId="571e1a55-055f-4c28-8b35-fca6dd1c1369" providerId="ADAL" clId="{75A88773-6EE1-484E-AADE-FE631E01463B}" dt="2025-11-21T03:59:19.813" v="24841"/>
          <ac:spMkLst>
            <pc:docMk/>
            <pc:sldMk cId="217569448" sldId="2147483088"/>
            <ac:spMk id="145" creationId="{B1707B45-FD86-0FA6-0371-1A2CDB57EC5B}"/>
          </ac:spMkLst>
        </pc:spChg>
        <pc:spChg chg="add del mod">
          <ac:chgData name="Yudi Zhu" userId="571e1a55-055f-4c28-8b35-fca6dd1c1369" providerId="ADAL" clId="{75A88773-6EE1-484E-AADE-FE631E01463B}" dt="2025-11-21T05:55:22.369" v="35474"/>
          <ac:spMkLst>
            <pc:docMk/>
            <pc:sldMk cId="217569448" sldId="2147483088"/>
            <ac:spMk id="146" creationId="{D28C82B5-9221-2006-E037-EE670C1051DF}"/>
          </ac:spMkLst>
        </pc:spChg>
        <pc:spChg chg="add del mod">
          <ac:chgData name="Yudi Zhu" userId="571e1a55-055f-4c28-8b35-fca6dd1c1369" providerId="ADAL" clId="{75A88773-6EE1-484E-AADE-FE631E01463B}" dt="2025-11-21T05:55:22.358" v="35473"/>
          <ac:spMkLst>
            <pc:docMk/>
            <pc:sldMk cId="217569448" sldId="2147483088"/>
            <ac:spMk id="147" creationId="{8C140F23-5FA7-3B86-703B-E744D3B0E30A}"/>
          </ac:spMkLst>
        </pc:spChg>
        <pc:spChg chg="add del mod">
          <ac:chgData name="Yudi Zhu" userId="571e1a55-055f-4c28-8b35-fca6dd1c1369" providerId="ADAL" clId="{75A88773-6EE1-484E-AADE-FE631E01463B}" dt="2025-11-21T05:55:22.358" v="35471"/>
          <ac:spMkLst>
            <pc:docMk/>
            <pc:sldMk cId="217569448" sldId="2147483088"/>
            <ac:spMk id="148" creationId="{D67F48F8-D6CF-9142-ADFE-BA0FE9FE7CAD}"/>
          </ac:spMkLst>
        </pc:spChg>
        <pc:spChg chg="add del mod">
          <ac:chgData name="Yudi Zhu" userId="571e1a55-055f-4c28-8b35-fca6dd1c1369" providerId="ADAL" clId="{75A88773-6EE1-484E-AADE-FE631E01463B}" dt="2025-11-21T05:55:22.358" v="35470"/>
          <ac:spMkLst>
            <pc:docMk/>
            <pc:sldMk cId="217569448" sldId="2147483088"/>
            <ac:spMk id="149" creationId="{046BD3BB-B797-1D14-4278-926E2752B9A4}"/>
          </ac:spMkLst>
        </pc:spChg>
        <pc:spChg chg="add del mod">
          <ac:chgData name="Yudi Zhu" userId="571e1a55-055f-4c28-8b35-fca6dd1c1369" providerId="ADAL" clId="{75A88773-6EE1-484E-AADE-FE631E01463B}" dt="2025-11-21T05:55:22.358" v="35469"/>
          <ac:spMkLst>
            <pc:docMk/>
            <pc:sldMk cId="217569448" sldId="2147483088"/>
            <ac:spMk id="150" creationId="{1F3DE193-ED22-9530-E917-99046810980B}"/>
          </ac:spMkLst>
        </pc:spChg>
        <pc:spChg chg="add del mod modVis">
          <ac:chgData name="Yudi Zhu" userId="571e1a55-055f-4c28-8b35-fca6dd1c1369" providerId="ADAL" clId="{75A88773-6EE1-484E-AADE-FE631E01463B}" dt="2025-11-21T03:58:50.778" v="24519"/>
          <ac:spMkLst>
            <pc:docMk/>
            <pc:sldMk cId="217569448" sldId="2147483088"/>
            <ac:spMk id="150" creationId="{C9B8991C-CD65-5460-61A9-5DE9119CB37C}"/>
          </ac:spMkLst>
        </pc:spChg>
        <pc:spChg chg="add del mod">
          <ac:chgData name="Yudi Zhu" userId="571e1a55-055f-4c28-8b35-fca6dd1c1369" providerId="ADAL" clId="{75A88773-6EE1-484E-AADE-FE631E01463B}" dt="2025-11-21T05:55:22.358" v="35467"/>
          <ac:spMkLst>
            <pc:docMk/>
            <pc:sldMk cId="217569448" sldId="2147483088"/>
            <ac:spMk id="151" creationId="{46EE017D-1207-7396-AFF0-BEF04A15AC0B}"/>
          </ac:spMkLst>
        </pc:spChg>
        <pc:spChg chg="add del mod">
          <ac:chgData name="Yudi Zhu" userId="571e1a55-055f-4c28-8b35-fca6dd1c1369" providerId="ADAL" clId="{75A88773-6EE1-484E-AADE-FE631E01463B}" dt="2025-11-21T03:58:52.695" v="24556"/>
          <ac:spMkLst>
            <pc:docMk/>
            <pc:sldMk cId="217569448" sldId="2147483088"/>
            <ac:spMk id="151" creationId="{8B3A4E9E-BBCE-AF4A-7167-CC3EB1A60065}"/>
          </ac:spMkLst>
        </pc:spChg>
        <pc:spChg chg="add del mod">
          <ac:chgData name="Yudi Zhu" userId="571e1a55-055f-4c28-8b35-fca6dd1c1369" providerId="ADAL" clId="{75A88773-6EE1-484E-AADE-FE631E01463B}" dt="2025-11-21T05:55:22.358" v="35466"/>
          <ac:spMkLst>
            <pc:docMk/>
            <pc:sldMk cId="217569448" sldId="2147483088"/>
            <ac:spMk id="152" creationId="{01DAF53D-0B77-790C-6D36-CD29330AC7D2}"/>
          </ac:spMkLst>
        </pc:spChg>
        <pc:spChg chg="add del mod">
          <ac:chgData name="Yudi Zhu" userId="571e1a55-055f-4c28-8b35-fca6dd1c1369" providerId="ADAL" clId="{75A88773-6EE1-484E-AADE-FE631E01463B}" dt="2025-11-21T05:55:22.358" v="35465"/>
          <ac:spMkLst>
            <pc:docMk/>
            <pc:sldMk cId="217569448" sldId="2147483088"/>
            <ac:spMk id="153" creationId="{565A2972-7E09-427F-31D8-3EEC537D3B90}"/>
          </ac:spMkLst>
        </pc:spChg>
        <pc:spChg chg="add del mod modVis">
          <ac:chgData name="Yudi Zhu" userId="571e1a55-055f-4c28-8b35-fca6dd1c1369" providerId="ADAL" clId="{75A88773-6EE1-484E-AADE-FE631E01463B}" dt="2025-11-21T03:58:52.751" v="24601"/>
          <ac:spMkLst>
            <pc:docMk/>
            <pc:sldMk cId="217569448" sldId="2147483088"/>
            <ac:spMk id="153" creationId="{A3C2C278-4CD1-D1A6-B43C-5862CB99BFC5}"/>
          </ac:spMkLst>
        </pc:spChg>
        <pc:spChg chg="add del mod">
          <ac:chgData name="Yudi Zhu" userId="571e1a55-055f-4c28-8b35-fca6dd1c1369" providerId="ADAL" clId="{75A88773-6EE1-484E-AADE-FE631E01463B}" dt="2025-11-21T05:55:22.358" v="35463"/>
          <ac:spMkLst>
            <pc:docMk/>
            <pc:sldMk cId="217569448" sldId="2147483088"/>
            <ac:spMk id="154" creationId="{CEA3A49E-A9DA-1C82-F93E-4341E7F30801}"/>
          </ac:spMkLst>
        </pc:spChg>
        <pc:spChg chg="add del mod modVis">
          <ac:chgData name="Yudi Zhu" userId="571e1a55-055f-4c28-8b35-fca6dd1c1369" providerId="ADAL" clId="{75A88773-6EE1-484E-AADE-FE631E01463B}" dt="2025-11-21T03:59:08.001" v="24755"/>
          <ac:spMkLst>
            <pc:docMk/>
            <pc:sldMk cId="217569448" sldId="2147483088"/>
            <ac:spMk id="155" creationId="{2703B5A9-BF6D-1D87-3616-059265F017A7}"/>
          </ac:spMkLst>
        </pc:spChg>
        <pc:spChg chg="add del mod">
          <ac:chgData name="Yudi Zhu" userId="571e1a55-055f-4c28-8b35-fca6dd1c1369" providerId="ADAL" clId="{75A88773-6EE1-484E-AADE-FE631E01463B}" dt="2025-11-21T05:55:22.358" v="35462"/>
          <ac:spMkLst>
            <pc:docMk/>
            <pc:sldMk cId="217569448" sldId="2147483088"/>
            <ac:spMk id="155" creationId="{75AD8472-AD06-C63F-1989-DB428860A242}"/>
          </ac:spMkLst>
        </pc:spChg>
        <pc:spChg chg="add del mod">
          <ac:chgData name="Yudi Zhu" userId="571e1a55-055f-4c28-8b35-fca6dd1c1369" providerId="ADAL" clId="{75A88773-6EE1-484E-AADE-FE631E01463B}" dt="2025-11-21T05:55:22.358" v="35461"/>
          <ac:spMkLst>
            <pc:docMk/>
            <pc:sldMk cId="217569448" sldId="2147483088"/>
            <ac:spMk id="156" creationId="{7580C899-7F15-E348-45D4-1E2755D691B1}"/>
          </ac:spMkLst>
        </pc:spChg>
        <pc:spChg chg="add del mod">
          <ac:chgData name="Yudi Zhu" userId="571e1a55-055f-4c28-8b35-fca6dd1c1369" providerId="ADAL" clId="{75A88773-6EE1-484E-AADE-FE631E01463B}" dt="2025-11-21T03:59:09.499" v="24792"/>
          <ac:spMkLst>
            <pc:docMk/>
            <pc:sldMk cId="217569448" sldId="2147483088"/>
            <ac:spMk id="156" creationId="{EA04E7A9-7A95-FFBA-7688-B7356585A5E0}"/>
          </ac:spMkLst>
        </pc:spChg>
        <pc:spChg chg="add del mod">
          <ac:chgData name="Yudi Zhu" userId="571e1a55-055f-4c28-8b35-fca6dd1c1369" providerId="ADAL" clId="{75A88773-6EE1-484E-AADE-FE631E01463B}" dt="2025-11-21T05:55:22.358" v="35459"/>
          <ac:spMkLst>
            <pc:docMk/>
            <pc:sldMk cId="217569448" sldId="2147483088"/>
            <ac:spMk id="157" creationId="{FBED4186-66A3-F0BE-D6DC-229F62D3C0C8}"/>
          </ac:spMkLst>
        </pc:spChg>
        <pc:spChg chg="add del mod">
          <ac:chgData name="Yudi Zhu" userId="571e1a55-055f-4c28-8b35-fca6dd1c1369" providerId="ADAL" clId="{75A88773-6EE1-484E-AADE-FE631E01463B}" dt="2025-11-21T05:55:22.358" v="35458"/>
          <ac:spMkLst>
            <pc:docMk/>
            <pc:sldMk cId="217569448" sldId="2147483088"/>
            <ac:spMk id="158" creationId="{58FC5AF1-EC78-457D-7344-7B0EC405DA77}"/>
          </ac:spMkLst>
        </pc:spChg>
        <pc:spChg chg="add del mod modVis">
          <ac:chgData name="Yudi Zhu" userId="571e1a55-055f-4c28-8b35-fca6dd1c1369" providerId="ADAL" clId="{75A88773-6EE1-484E-AADE-FE631E01463B}" dt="2025-11-21T03:59:09.544" v="24837"/>
          <ac:spMkLst>
            <pc:docMk/>
            <pc:sldMk cId="217569448" sldId="2147483088"/>
            <ac:spMk id="158" creationId="{E885482E-3B2B-6E27-0FEA-AF1A7B4ACF9E}"/>
          </ac:spMkLst>
        </pc:spChg>
        <pc:spChg chg="add del mod">
          <ac:chgData name="Yudi Zhu" userId="571e1a55-055f-4c28-8b35-fca6dd1c1369" providerId="ADAL" clId="{75A88773-6EE1-484E-AADE-FE631E01463B}" dt="2025-11-21T05:55:22.358" v="35457"/>
          <ac:spMkLst>
            <pc:docMk/>
            <pc:sldMk cId="217569448" sldId="2147483088"/>
            <ac:spMk id="159" creationId="{EF0D2D1C-313E-A69C-A197-73B4F028284D}"/>
          </ac:spMkLst>
        </pc:spChg>
        <pc:spChg chg="add del mod modVis">
          <ac:chgData name="Yudi Zhu" userId="571e1a55-055f-4c28-8b35-fca6dd1c1369" providerId="ADAL" clId="{75A88773-6EE1-484E-AADE-FE631E01463B}" dt="2025-11-21T03:59:19.917" v="24928"/>
          <ac:spMkLst>
            <pc:docMk/>
            <pc:sldMk cId="217569448" sldId="2147483088"/>
            <ac:spMk id="160" creationId="{5C404B30-DF7F-9C0B-A190-8A81A97E669A}"/>
          </ac:spMkLst>
        </pc:spChg>
        <pc:spChg chg="add del mod">
          <ac:chgData name="Yudi Zhu" userId="571e1a55-055f-4c28-8b35-fca6dd1c1369" providerId="ADAL" clId="{75A88773-6EE1-484E-AADE-FE631E01463B}" dt="2025-11-21T05:55:22.358" v="35455"/>
          <ac:spMkLst>
            <pc:docMk/>
            <pc:sldMk cId="217569448" sldId="2147483088"/>
            <ac:spMk id="160" creationId="{9B1E13D0-04AD-4B18-E8A3-98E59A6D14EA}"/>
          </ac:spMkLst>
        </pc:spChg>
        <pc:spChg chg="add del mod">
          <ac:chgData name="Yudi Zhu" userId="571e1a55-055f-4c28-8b35-fca6dd1c1369" providerId="ADAL" clId="{75A88773-6EE1-484E-AADE-FE631E01463B}" dt="2025-11-21T05:55:22.358" v="35454"/>
          <ac:spMkLst>
            <pc:docMk/>
            <pc:sldMk cId="217569448" sldId="2147483088"/>
            <ac:spMk id="161" creationId="{CDF724A9-5B13-E006-A8A1-FD6E48A54C90}"/>
          </ac:spMkLst>
        </pc:spChg>
        <pc:spChg chg="add del mod modVis">
          <ac:chgData name="Yudi Zhu" userId="571e1a55-055f-4c28-8b35-fca6dd1c1369" providerId="ADAL" clId="{75A88773-6EE1-484E-AADE-FE631E01463B}" dt="2025-11-21T03:59:23.340" v="26378"/>
          <ac:spMkLst>
            <pc:docMk/>
            <pc:sldMk cId="217569448" sldId="2147483088"/>
            <ac:spMk id="162" creationId="{54EF1641-934F-36EF-513F-7DD036980ACC}"/>
          </ac:spMkLst>
        </pc:spChg>
        <pc:spChg chg="add del mod">
          <ac:chgData name="Yudi Zhu" userId="571e1a55-055f-4c28-8b35-fca6dd1c1369" providerId="ADAL" clId="{75A88773-6EE1-484E-AADE-FE631E01463B}" dt="2025-11-21T05:55:22.358" v="35453"/>
          <ac:spMkLst>
            <pc:docMk/>
            <pc:sldMk cId="217569448" sldId="2147483088"/>
            <ac:spMk id="162" creationId="{800E06A4-9964-8314-E75D-DAEC9B7168A6}"/>
          </ac:spMkLst>
        </pc:spChg>
        <pc:spChg chg="add mod ord">
          <ac:chgData name="Yudi Zhu" userId="571e1a55-055f-4c28-8b35-fca6dd1c1369" providerId="ADAL" clId="{75A88773-6EE1-484E-AADE-FE631E01463B}" dt="2025-11-21T06:24:18.693" v="146106"/>
          <ac:spMkLst>
            <pc:docMk/>
            <pc:sldMk cId="217569448" sldId="2147483088"/>
            <ac:spMk id="163" creationId="{F36D1ECD-0E3A-3A62-9E2E-4074CE2BB56B}"/>
          </ac:spMkLst>
        </pc:spChg>
        <pc:spChg chg="add mod">
          <ac:chgData name="Yudi Zhu" userId="571e1a55-055f-4c28-8b35-fca6dd1c1369" providerId="ADAL" clId="{75A88773-6EE1-484E-AADE-FE631E01463B}" dt="2025-11-21T06:24:18.702" v="146120"/>
          <ac:spMkLst>
            <pc:docMk/>
            <pc:sldMk cId="217569448" sldId="2147483088"/>
            <ac:spMk id="164" creationId="{695A2C4E-C36F-4F7B-F48D-F2E530B4964B}"/>
          </ac:spMkLst>
        </pc:spChg>
        <pc:spChg chg="add del mod">
          <ac:chgData name="Yudi Zhu" userId="571e1a55-055f-4c28-8b35-fca6dd1c1369" providerId="ADAL" clId="{75A88773-6EE1-484E-AADE-FE631E01463B}" dt="2025-11-21T05:55:22.375" v="35502"/>
          <ac:spMkLst>
            <pc:docMk/>
            <pc:sldMk cId="217569448" sldId="2147483088"/>
            <ac:spMk id="165" creationId="{37D72995-48B3-540C-BDBB-81EF5BB9522F}"/>
          </ac:spMkLst>
        </pc:spChg>
        <pc:spChg chg="add del mod ord">
          <ac:chgData name="Yudi Zhu" userId="571e1a55-055f-4c28-8b35-fca6dd1c1369" providerId="ADAL" clId="{75A88773-6EE1-484E-AADE-FE631E01463B}" dt="2025-11-21T03:59:31.241" v="26382"/>
          <ac:spMkLst>
            <pc:docMk/>
            <pc:sldMk cId="217569448" sldId="2147483088"/>
            <ac:spMk id="165" creationId="{887520B3-1B81-A24A-290A-5075111DDCB6}"/>
          </ac:spMkLst>
        </pc:spChg>
        <pc:spChg chg="add mod">
          <ac:chgData name="Yudi Zhu" userId="571e1a55-055f-4c28-8b35-fca6dd1c1369" providerId="ADAL" clId="{75A88773-6EE1-484E-AADE-FE631E01463B}" dt="2025-11-21T06:24:18.704" v="146129"/>
          <ac:spMkLst>
            <pc:docMk/>
            <pc:sldMk cId="217569448" sldId="2147483088"/>
            <ac:spMk id="166" creationId="{E2BA3275-352C-66F8-84C8-6B5D6DC83684}"/>
          </ac:spMkLst>
        </pc:spChg>
        <pc:spChg chg="add mod">
          <ac:chgData name="Yudi Zhu" userId="571e1a55-055f-4c28-8b35-fca6dd1c1369" providerId="ADAL" clId="{75A88773-6EE1-484E-AADE-FE631E01463B}" dt="2025-11-21T06:24:18.704" v="146130"/>
          <ac:spMkLst>
            <pc:docMk/>
            <pc:sldMk cId="217569448" sldId="2147483088"/>
            <ac:spMk id="167" creationId="{2E82DE70-183D-4088-045B-3FD7262D36A0}"/>
          </ac:spMkLst>
        </pc:spChg>
        <pc:spChg chg="add mod">
          <ac:chgData name="Yudi Zhu" userId="571e1a55-055f-4c28-8b35-fca6dd1c1369" providerId="ADAL" clId="{75A88773-6EE1-484E-AADE-FE631E01463B}" dt="2025-11-21T06:24:18.683" v="146093"/>
          <ac:spMkLst>
            <pc:docMk/>
            <pc:sldMk cId="217569448" sldId="2147483088"/>
            <ac:spMk id="168" creationId="{403986F8-2AEB-1FDA-5D02-27D10F244A84}"/>
          </ac:spMkLst>
        </pc:spChg>
        <pc:spChg chg="add mod">
          <ac:chgData name="Yudi Zhu" userId="571e1a55-055f-4c28-8b35-fca6dd1c1369" providerId="ADAL" clId="{75A88773-6EE1-484E-AADE-FE631E01463B}" dt="2025-11-21T06:24:18.684" v="146094"/>
          <ac:spMkLst>
            <pc:docMk/>
            <pc:sldMk cId="217569448" sldId="2147483088"/>
            <ac:spMk id="169" creationId="{32C9DAF2-9953-73AB-0B60-CD1837D31889}"/>
          </ac:spMkLst>
        </pc:spChg>
        <pc:spChg chg="add mod">
          <ac:chgData name="Yudi Zhu" userId="571e1a55-055f-4c28-8b35-fca6dd1c1369" providerId="ADAL" clId="{75A88773-6EE1-484E-AADE-FE631E01463B}" dt="2025-11-21T06:24:18.686" v="146097"/>
          <ac:spMkLst>
            <pc:docMk/>
            <pc:sldMk cId="217569448" sldId="2147483088"/>
            <ac:spMk id="170" creationId="{5E255AAE-11AA-4A60-7CFE-35FE0F21DF48}"/>
          </ac:spMkLst>
        </pc:spChg>
        <pc:spChg chg="add mod">
          <ac:chgData name="Yudi Zhu" userId="571e1a55-055f-4c28-8b35-fca6dd1c1369" providerId="ADAL" clId="{75A88773-6EE1-484E-AADE-FE631E01463B}" dt="2025-11-21T06:24:18.688" v="146098"/>
          <ac:spMkLst>
            <pc:docMk/>
            <pc:sldMk cId="217569448" sldId="2147483088"/>
            <ac:spMk id="171" creationId="{CCA30B40-2EC6-B0BF-5151-E9885CB9688E}"/>
          </ac:spMkLst>
        </pc:spChg>
        <pc:spChg chg="add mod">
          <ac:chgData name="Yudi Zhu" userId="571e1a55-055f-4c28-8b35-fca6dd1c1369" providerId="ADAL" clId="{75A88773-6EE1-484E-AADE-FE631E01463B}" dt="2025-11-21T06:24:18.690" v="146101"/>
          <ac:spMkLst>
            <pc:docMk/>
            <pc:sldMk cId="217569448" sldId="2147483088"/>
            <ac:spMk id="172" creationId="{794EBD86-7EDC-C5F4-B1CC-D102E2714E57}"/>
          </ac:spMkLst>
        </pc:spChg>
        <pc:spChg chg="add mod">
          <ac:chgData name="Yudi Zhu" userId="571e1a55-055f-4c28-8b35-fca6dd1c1369" providerId="ADAL" clId="{75A88773-6EE1-484E-AADE-FE631E01463B}" dt="2025-11-21T06:24:18.690" v="146102"/>
          <ac:spMkLst>
            <pc:docMk/>
            <pc:sldMk cId="217569448" sldId="2147483088"/>
            <ac:spMk id="173" creationId="{BF08BF2D-3A9E-9F7E-44BE-2E01097D461C}"/>
          </ac:spMkLst>
        </pc:spChg>
        <pc:spChg chg="add mod">
          <ac:chgData name="Yudi Zhu" userId="571e1a55-055f-4c28-8b35-fca6dd1c1369" providerId="ADAL" clId="{75A88773-6EE1-484E-AADE-FE631E01463B}" dt="2025-11-21T06:24:18.692" v="146105"/>
          <ac:spMkLst>
            <pc:docMk/>
            <pc:sldMk cId="217569448" sldId="2147483088"/>
            <ac:spMk id="174" creationId="{DFE61B65-77E9-8483-68F0-74CC4338FC35}"/>
          </ac:spMkLst>
        </pc:spChg>
        <pc:spChg chg="add mod">
          <ac:chgData name="Yudi Zhu" userId="571e1a55-055f-4c28-8b35-fca6dd1c1369" providerId="ADAL" clId="{75A88773-6EE1-484E-AADE-FE631E01463B}" dt="2025-11-21T06:24:18.704" v="146127"/>
          <ac:spMkLst>
            <pc:docMk/>
            <pc:sldMk cId="217569448" sldId="2147483088"/>
            <ac:spMk id="175" creationId="{F77204EF-259F-3D6E-87B2-D77B6085F546}"/>
          </ac:spMkLst>
        </pc:spChg>
        <pc:spChg chg="add mod">
          <ac:chgData name="Yudi Zhu" userId="571e1a55-055f-4c28-8b35-fca6dd1c1369" providerId="ADAL" clId="{75A88773-6EE1-484E-AADE-FE631E01463B}" dt="2025-11-21T06:24:18.695" v="146109"/>
          <ac:spMkLst>
            <pc:docMk/>
            <pc:sldMk cId="217569448" sldId="2147483088"/>
            <ac:spMk id="176" creationId="{93E8DAE1-7F61-85B9-6CD4-964351EEADA8}"/>
          </ac:spMkLst>
        </pc:spChg>
        <pc:spChg chg="add mod">
          <ac:chgData name="Yudi Zhu" userId="571e1a55-055f-4c28-8b35-fca6dd1c1369" providerId="ADAL" clId="{75A88773-6EE1-484E-AADE-FE631E01463B}" dt="2025-11-21T06:24:18.695" v="146110"/>
          <ac:spMkLst>
            <pc:docMk/>
            <pc:sldMk cId="217569448" sldId="2147483088"/>
            <ac:spMk id="177" creationId="{6AAFE426-06CD-0080-7D50-018A154A6DE9}"/>
          </ac:spMkLst>
        </pc:spChg>
        <pc:spChg chg="add mod">
          <ac:chgData name="Yudi Zhu" userId="571e1a55-055f-4c28-8b35-fca6dd1c1369" providerId="ADAL" clId="{75A88773-6EE1-484E-AADE-FE631E01463B}" dt="2025-11-21T06:24:18.697" v="146113"/>
          <ac:spMkLst>
            <pc:docMk/>
            <pc:sldMk cId="217569448" sldId="2147483088"/>
            <ac:spMk id="178" creationId="{703B2A5D-8B41-601B-03F0-7C73888D42F4}"/>
          </ac:spMkLst>
        </pc:spChg>
        <pc:spChg chg="add mod">
          <ac:chgData name="Yudi Zhu" userId="571e1a55-055f-4c28-8b35-fca6dd1c1369" providerId="ADAL" clId="{75A88773-6EE1-484E-AADE-FE631E01463B}" dt="2025-11-21T06:24:18.698" v="146114"/>
          <ac:spMkLst>
            <pc:docMk/>
            <pc:sldMk cId="217569448" sldId="2147483088"/>
            <ac:spMk id="179" creationId="{68A93348-3244-3D6A-D3FF-EB396A7B6DDA}"/>
          </ac:spMkLst>
        </pc:spChg>
        <pc:spChg chg="add mod">
          <ac:chgData name="Yudi Zhu" userId="571e1a55-055f-4c28-8b35-fca6dd1c1369" providerId="ADAL" clId="{75A88773-6EE1-484E-AADE-FE631E01463B}" dt="2025-11-21T06:24:18.700" v="146117"/>
          <ac:spMkLst>
            <pc:docMk/>
            <pc:sldMk cId="217569448" sldId="2147483088"/>
            <ac:spMk id="180" creationId="{A49B5E1C-52D7-251D-DF23-ED3EE7CCBA5C}"/>
          </ac:spMkLst>
        </pc:spChg>
        <pc:spChg chg="add mod">
          <ac:chgData name="Yudi Zhu" userId="571e1a55-055f-4c28-8b35-fca6dd1c1369" providerId="ADAL" clId="{75A88773-6EE1-484E-AADE-FE631E01463B}" dt="2025-11-21T06:24:18.700" v="146118"/>
          <ac:spMkLst>
            <pc:docMk/>
            <pc:sldMk cId="217569448" sldId="2147483088"/>
            <ac:spMk id="181" creationId="{BFE27821-BCCF-CBE7-2D04-6311A61E50F2}"/>
          </ac:spMkLst>
        </pc:spChg>
        <pc:spChg chg="add mod">
          <ac:chgData name="Yudi Zhu" userId="571e1a55-055f-4c28-8b35-fca6dd1c1369" providerId="ADAL" clId="{75A88773-6EE1-484E-AADE-FE631E01463B}" dt="2025-11-21T06:24:18.702" v="146121"/>
          <ac:spMkLst>
            <pc:docMk/>
            <pc:sldMk cId="217569448" sldId="2147483088"/>
            <ac:spMk id="182" creationId="{DB490EE1-B609-85D9-FFBE-94ACD5221D78}"/>
          </ac:spMkLst>
        </pc:spChg>
        <pc:spChg chg="add mod">
          <ac:chgData name="Yudi Zhu" userId="571e1a55-055f-4c28-8b35-fca6dd1c1369" providerId="ADAL" clId="{75A88773-6EE1-484E-AADE-FE631E01463B}" dt="2025-11-21T06:24:18.703" v="146122"/>
          <ac:spMkLst>
            <pc:docMk/>
            <pc:sldMk cId="217569448" sldId="2147483088"/>
            <ac:spMk id="183" creationId="{1A721583-1502-9BCC-0BB2-A9496218A638}"/>
          </ac:spMkLst>
        </pc:spChg>
        <pc:spChg chg="add del mod">
          <ac:chgData name="Yudi Zhu" userId="571e1a55-055f-4c28-8b35-fca6dd1c1369" providerId="ADAL" clId="{75A88773-6EE1-484E-AADE-FE631E01463B}" dt="2025-11-21T05:55:22.375" v="35501"/>
          <ac:spMkLst>
            <pc:docMk/>
            <pc:sldMk cId="217569448" sldId="2147483088"/>
            <ac:spMk id="184" creationId="{EABB68CD-05B1-ACEF-DAE9-BF84AB6A080A}"/>
          </ac:spMkLst>
        </pc:spChg>
        <pc:spChg chg="add del mod">
          <ac:chgData name="Yudi Zhu" userId="571e1a55-055f-4c28-8b35-fca6dd1c1369" providerId="ADAL" clId="{75A88773-6EE1-484E-AADE-FE631E01463B}" dt="2025-11-21T05:55:22.375" v="35500"/>
          <ac:spMkLst>
            <pc:docMk/>
            <pc:sldMk cId="217569448" sldId="2147483088"/>
            <ac:spMk id="185" creationId="{DE497DB6-B4CA-3EE7-A67C-A2CB0AD604C1}"/>
          </ac:spMkLst>
        </pc:spChg>
        <pc:spChg chg="add del mod">
          <ac:chgData name="Yudi Zhu" userId="571e1a55-055f-4c28-8b35-fca6dd1c1369" providerId="ADAL" clId="{75A88773-6EE1-484E-AADE-FE631E01463B}" dt="2025-11-21T05:55:22.375" v="35499"/>
          <ac:spMkLst>
            <pc:docMk/>
            <pc:sldMk cId="217569448" sldId="2147483088"/>
            <ac:spMk id="187" creationId="{34819058-B012-FBD2-2CC2-D89C382B0059}"/>
          </ac:spMkLst>
        </pc:spChg>
        <pc:spChg chg="add del mod modVis">
          <ac:chgData name="Yudi Zhu" userId="571e1a55-055f-4c28-8b35-fca6dd1c1369" providerId="ADAL" clId="{75A88773-6EE1-484E-AADE-FE631E01463B}" dt="2025-11-21T03:59:31.374" v="26489"/>
          <ac:spMkLst>
            <pc:docMk/>
            <pc:sldMk cId="217569448" sldId="2147483088"/>
            <ac:spMk id="188" creationId="{F3D81E28-FA2B-3F51-D545-C55BCC446BD3}"/>
          </ac:spMkLst>
        </pc:spChg>
        <pc:spChg chg="add del mod">
          <ac:chgData name="Yudi Zhu" userId="571e1a55-055f-4c28-8b35-fca6dd1c1369" providerId="ADAL" clId="{75A88773-6EE1-484E-AADE-FE631E01463B}" dt="2025-11-21T05:55:22.375" v="35497"/>
          <ac:spMkLst>
            <pc:docMk/>
            <pc:sldMk cId="217569448" sldId="2147483088"/>
            <ac:spMk id="189" creationId="{EA876F4F-1FDD-D0C7-F286-EA6622C87BE4}"/>
          </ac:spMkLst>
        </pc:spChg>
        <pc:spChg chg="add del mod modVis">
          <ac:chgData name="Yudi Zhu" userId="571e1a55-055f-4c28-8b35-fca6dd1c1369" providerId="ADAL" clId="{75A88773-6EE1-484E-AADE-FE631E01463B}" dt="2025-11-21T03:59:33.143" v="26739"/>
          <ac:spMkLst>
            <pc:docMk/>
            <pc:sldMk cId="217569448" sldId="2147483088"/>
            <ac:spMk id="190" creationId="{091B72AD-33EC-AB7E-6CB1-CB70455667D1}"/>
          </ac:spMkLst>
        </pc:spChg>
        <pc:spChg chg="add del mod">
          <ac:chgData name="Yudi Zhu" userId="571e1a55-055f-4c28-8b35-fca6dd1c1369" providerId="ADAL" clId="{75A88773-6EE1-484E-AADE-FE631E01463B}" dt="2025-11-21T05:55:22.375" v="35495"/>
          <ac:spMkLst>
            <pc:docMk/>
            <pc:sldMk cId="217569448" sldId="2147483088"/>
            <ac:spMk id="190" creationId="{C81CC630-EC35-CD43-56AD-3AAC97BB04D3}"/>
          </ac:spMkLst>
        </pc:spChg>
        <pc:spChg chg="add mod ord">
          <ac:chgData name="Yudi Zhu" userId="571e1a55-055f-4c28-8b35-fca6dd1c1369" providerId="ADAL" clId="{75A88773-6EE1-484E-AADE-FE631E01463B}" dt="2025-11-21T06:24:18.704" v="146126"/>
          <ac:spMkLst>
            <pc:docMk/>
            <pc:sldMk cId="217569448" sldId="2147483088"/>
            <ac:spMk id="191" creationId="{2ABB4D18-CBE0-46E3-E451-0DAA4D135A18}"/>
          </ac:spMkLst>
        </pc:spChg>
        <pc:spChg chg="add del mod modVis">
          <ac:chgData name="Yudi Zhu" userId="571e1a55-055f-4c28-8b35-fca6dd1c1369" providerId="ADAL" clId="{75A88773-6EE1-484E-AADE-FE631E01463B}" dt="2025-11-21T03:59:45.196" v="26791"/>
          <ac:spMkLst>
            <pc:docMk/>
            <pc:sldMk cId="217569448" sldId="2147483088"/>
            <ac:spMk id="196" creationId="{3130454C-95CF-1207-8F8F-FC21C2C8212D}"/>
          </ac:spMkLst>
        </pc:spChg>
        <pc:spChg chg="add del mod">
          <ac:chgData name="Yudi Zhu" userId="571e1a55-055f-4c28-8b35-fca6dd1c1369" providerId="ADAL" clId="{75A88773-6EE1-484E-AADE-FE631E01463B}" dt="2025-11-21T05:55:22.375" v="35493"/>
          <ac:spMkLst>
            <pc:docMk/>
            <pc:sldMk cId="217569448" sldId="2147483088"/>
            <ac:spMk id="196" creationId="{691954E3-77E1-68AE-6F46-24812ECB9E13}"/>
          </ac:spMkLst>
        </pc:spChg>
        <pc:spChg chg="add del mod modVis">
          <ac:chgData name="Yudi Zhu" userId="571e1a55-055f-4c28-8b35-fca6dd1c1369" providerId="ADAL" clId="{75A88773-6EE1-484E-AADE-FE631E01463B}" dt="2025-11-21T03:59:46.601" v="26841"/>
          <ac:spMkLst>
            <pc:docMk/>
            <pc:sldMk cId="217569448" sldId="2147483088"/>
            <ac:spMk id="197" creationId="{11EDF2D1-493D-D2E5-2D2E-DE42A44CF6FD}"/>
          </ac:spMkLst>
        </pc:spChg>
        <pc:spChg chg="add del mod">
          <ac:chgData name="Yudi Zhu" userId="571e1a55-055f-4c28-8b35-fca6dd1c1369" providerId="ADAL" clId="{75A88773-6EE1-484E-AADE-FE631E01463B}" dt="2025-11-21T05:56:58.535" v="41435"/>
          <ac:spMkLst>
            <pc:docMk/>
            <pc:sldMk cId="217569448" sldId="2147483088"/>
            <ac:spMk id="198" creationId="{C777DC41-9314-11BC-67BC-0AA043036823}"/>
          </ac:spMkLst>
        </pc:spChg>
        <pc:spChg chg="add del mod modVis">
          <ac:chgData name="Yudi Zhu" userId="571e1a55-055f-4c28-8b35-fca6dd1c1369" providerId="ADAL" clId="{75A88773-6EE1-484E-AADE-FE631E01463B}" dt="2025-11-21T03:59:47.968" v="26891"/>
          <ac:spMkLst>
            <pc:docMk/>
            <pc:sldMk cId="217569448" sldId="2147483088"/>
            <ac:spMk id="198" creationId="{D62C29EA-3DC1-6EFE-DA47-E4659DEAEA6B}"/>
          </ac:spMkLst>
        </pc:spChg>
        <pc:spChg chg="add del mod">
          <ac:chgData name="Yudi Zhu" userId="571e1a55-055f-4c28-8b35-fca6dd1c1369" providerId="ADAL" clId="{75A88773-6EE1-484E-AADE-FE631E01463B}" dt="2025-11-21T05:56:11.184" v="38352"/>
          <ac:spMkLst>
            <pc:docMk/>
            <pc:sldMk cId="217569448" sldId="2147483088"/>
            <ac:spMk id="199" creationId="{5B6E66BE-EA67-D8F8-4520-BC2D3F556B79}"/>
          </ac:spMkLst>
        </pc:spChg>
        <pc:spChg chg="add del mod modVis">
          <ac:chgData name="Yudi Zhu" userId="571e1a55-055f-4c28-8b35-fca6dd1c1369" providerId="ADAL" clId="{75A88773-6EE1-484E-AADE-FE631E01463B}" dt="2025-11-21T03:59:48.863" v="26941"/>
          <ac:spMkLst>
            <pc:docMk/>
            <pc:sldMk cId="217569448" sldId="2147483088"/>
            <ac:spMk id="199" creationId="{DFD20814-020F-BBDF-4DD2-CC2B547C939D}"/>
          </ac:spMkLst>
        </pc:spChg>
        <pc:spChg chg="add del mod">
          <ac:chgData name="Yudi Zhu" userId="571e1a55-055f-4c28-8b35-fca6dd1c1369" providerId="ADAL" clId="{75A88773-6EE1-484E-AADE-FE631E01463B}" dt="2025-11-21T05:56:11.184" v="38351"/>
          <ac:spMkLst>
            <pc:docMk/>
            <pc:sldMk cId="217569448" sldId="2147483088"/>
            <ac:spMk id="200" creationId="{6C990929-1424-95DB-FAC2-3B1969CECEC3}"/>
          </ac:spMkLst>
        </pc:spChg>
        <pc:spChg chg="add del mod modVis">
          <ac:chgData name="Yudi Zhu" userId="571e1a55-055f-4c28-8b35-fca6dd1c1369" providerId="ADAL" clId="{75A88773-6EE1-484E-AADE-FE631E01463B}" dt="2025-11-21T03:59:53.378" v="27022"/>
          <ac:spMkLst>
            <pc:docMk/>
            <pc:sldMk cId="217569448" sldId="2147483088"/>
            <ac:spMk id="200" creationId="{7DD746C1-53DE-F6CB-82D6-4BF4982BFF0B}"/>
          </ac:spMkLst>
        </pc:spChg>
        <pc:spChg chg="add del mod modVis">
          <ac:chgData name="Yudi Zhu" userId="571e1a55-055f-4c28-8b35-fca6dd1c1369" providerId="ADAL" clId="{75A88773-6EE1-484E-AADE-FE631E01463B}" dt="2025-11-21T03:59:59.668" v="27129"/>
          <ac:spMkLst>
            <pc:docMk/>
            <pc:sldMk cId="217569448" sldId="2147483088"/>
            <ac:spMk id="201" creationId="{08202052-4F64-6E1D-624F-091262032D9D}"/>
          </ac:spMkLst>
        </pc:spChg>
        <pc:spChg chg="add del mod">
          <ac:chgData name="Yudi Zhu" userId="571e1a55-055f-4c28-8b35-fca6dd1c1369" providerId="ADAL" clId="{75A88773-6EE1-484E-AADE-FE631E01463B}" dt="2025-11-21T05:56:11.184" v="38350"/>
          <ac:spMkLst>
            <pc:docMk/>
            <pc:sldMk cId="217569448" sldId="2147483088"/>
            <ac:spMk id="201" creationId="{0C6DCF5C-AF07-8948-BC6A-8DAC75D294EA}"/>
          </ac:spMkLst>
        </pc:spChg>
        <pc:spChg chg="add del mod">
          <ac:chgData name="Yudi Zhu" userId="571e1a55-055f-4c28-8b35-fca6dd1c1369" providerId="ADAL" clId="{75A88773-6EE1-484E-AADE-FE631E01463B}" dt="2025-11-21T05:56:11.184" v="38349"/>
          <ac:spMkLst>
            <pc:docMk/>
            <pc:sldMk cId="217569448" sldId="2147483088"/>
            <ac:spMk id="202" creationId="{A5AEF8EC-8F1D-626E-98CE-73C7E416DB08}"/>
          </ac:spMkLst>
        </pc:spChg>
        <pc:spChg chg="add del mod">
          <ac:chgData name="Yudi Zhu" userId="571e1a55-055f-4c28-8b35-fca6dd1c1369" providerId="ADAL" clId="{75A88773-6EE1-484E-AADE-FE631E01463B}" dt="2025-11-21T05:56:11.184" v="38348"/>
          <ac:spMkLst>
            <pc:docMk/>
            <pc:sldMk cId="217569448" sldId="2147483088"/>
            <ac:spMk id="203" creationId="{9C55DEC3-A086-45E8-91BA-65DDFAD85E15}"/>
          </ac:spMkLst>
        </pc:spChg>
        <pc:spChg chg="add del mod">
          <ac:chgData name="Yudi Zhu" userId="571e1a55-055f-4c28-8b35-fca6dd1c1369" providerId="ADAL" clId="{75A88773-6EE1-484E-AADE-FE631E01463B}" dt="2025-11-21T05:56:58.527" v="41423"/>
          <ac:spMkLst>
            <pc:docMk/>
            <pc:sldMk cId="217569448" sldId="2147483088"/>
            <ac:spMk id="208" creationId="{9F84B4D4-AEEB-2F6C-6EFB-696D8ABF0DB0}"/>
          </ac:spMkLst>
        </pc:spChg>
        <pc:spChg chg="add del mod">
          <ac:chgData name="Yudi Zhu" userId="571e1a55-055f-4c28-8b35-fca6dd1c1369" providerId="ADAL" clId="{75A88773-6EE1-484E-AADE-FE631E01463B}" dt="2025-11-21T05:56:58.527" v="41425"/>
          <ac:spMkLst>
            <pc:docMk/>
            <pc:sldMk cId="217569448" sldId="2147483088"/>
            <ac:spMk id="209" creationId="{107005F5-1FD2-DD42-AFE1-08DE4A1F3CA1}"/>
          </ac:spMkLst>
        </pc:spChg>
        <pc:spChg chg="add del mod">
          <ac:chgData name="Yudi Zhu" userId="571e1a55-055f-4c28-8b35-fca6dd1c1369" providerId="ADAL" clId="{75A88773-6EE1-484E-AADE-FE631E01463B}" dt="2025-11-21T05:56:58.527" v="41421"/>
          <ac:spMkLst>
            <pc:docMk/>
            <pc:sldMk cId="217569448" sldId="2147483088"/>
            <ac:spMk id="210" creationId="{958B35F2-1AE0-A126-EAAC-ADD01FBF1661}"/>
          </ac:spMkLst>
        </pc:spChg>
        <pc:spChg chg="add del mod">
          <ac:chgData name="Yudi Zhu" userId="571e1a55-055f-4c28-8b35-fca6dd1c1369" providerId="ADAL" clId="{75A88773-6EE1-484E-AADE-FE631E01463B}" dt="2025-11-21T05:56:58.527" v="41420"/>
          <ac:spMkLst>
            <pc:docMk/>
            <pc:sldMk cId="217569448" sldId="2147483088"/>
            <ac:spMk id="211" creationId="{2F1BAA6A-FE8E-854B-F145-9D466241C7D8}"/>
          </ac:spMkLst>
        </pc:spChg>
        <pc:spChg chg="add del mod">
          <ac:chgData name="Yudi Zhu" userId="571e1a55-055f-4c28-8b35-fca6dd1c1369" providerId="ADAL" clId="{75A88773-6EE1-484E-AADE-FE631E01463B}" dt="2025-11-21T05:56:58.527" v="41422"/>
          <ac:spMkLst>
            <pc:docMk/>
            <pc:sldMk cId="217569448" sldId="2147483088"/>
            <ac:spMk id="212" creationId="{7B8E95D0-24F2-B52C-4B24-3B3860008F45}"/>
          </ac:spMkLst>
        </pc:spChg>
        <pc:spChg chg="add del mod">
          <ac:chgData name="Yudi Zhu" userId="571e1a55-055f-4c28-8b35-fca6dd1c1369" providerId="ADAL" clId="{75A88773-6EE1-484E-AADE-FE631E01463B}" dt="2025-11-21T05:56:58.511" v="41418"/>
          <ac:spMkLst>
            <pc:docMk/>
            <pc:sldMk cId="217569448" sldId="2147483088"/>
            <ac:spMk id="213" creationId="{77294E01-3233-179C-835D-730A231BB2B1}"/>
          </ac:spMkLst>
        </pc:spChg>
        <pc:spChg chg="add del mod">
          <ac:chgData name="Yudi Zhu" userId="571e1a55-055f-4c28-8b35-fca6dd1c1369" providerId="ADAL" clId="{75A88773-6EE1-484E-AADE-FE631E01463B}" dt="2025-11-21T05:56:58.511" v="41417"/>
          <ac:spMkLst>
            <pc:docMk/>
            <pc:sldMk cId="217569448" sldId="2147483088"/>
            <ac:spMk id="214" creationId="{EAFC7A0D-FFA8-C050-6259-707946949971}"/>
          </ac:spMkLst>
        </pc:spChg>
        <pc:spChg chg="add del mod">
          <ac:chgData name="Yudi Zhu" userId="571e1a55-055f-4c28-8b35-fca6dd1c1369" providerId="ADAL" clId="{75A88773-6EE1-484E-AADE-FE631E01463B}" dt="2025-11-21T05:56:58.527" v="41419"/>
          <ac:spMkLst>
            <pc:docMk/>
            <pc:sldMk cId="217569448" sldId="2147483088"/>
            <ac:spMk id="215" creationId="{055054E9-3237-E42A-E561-EF1C30833F90}"/>
          </ac:spMkLst>
        </pc:spChg>
        <pc:spChg chg="add del mod">
          <ac:chgData name="Yudi Zhu" userId="571e1a55-055f-4c28-8b35-fca6dd1c1369" providerId="ADAL" clId="{75A88773-6EE1-484E-AADE-FE631E01463B}" dt="2025-11-21T05:56:58.511" v="41415"/>
          <ac:spMkLst>
            <pc:docMk/>
            <pc:sldMk cId="217569448" sldId="2147483088"/>
            <ac:spMk id="216" creationId="{9B21F5DF-D002-4B5C-CE12-E12450C408AA}"/>
          </ac:spMkLst>
        </pc:spChg>
        <pc:spChg chg="add del mod">
          <ac:chgData name="Yudi Zhu" userId="571e1a55-055f-4c28-8b35-fca6dd1c1369" providerId="ADAL" clId="{75A88773-6EE1-484E-AADE-FE631E01463B}" dt="2025-11-21T05:56:58.511" v="41414"/>
          <ac:spMkLst>
            <pc:docMk/>
            <pc:sldMk cId="217569448" sldId="2147483088"/>
            <ac:spMk id="217" creationId="{73AC32DE-AEC5-0E26-04BD-68858459ACF0}"/>
          </ac:spMkLst>
        </pc:spChg>
        <pc:spChg chg="add del mod">
          <ac:chgData name="Yudi Zhu" userId="571e1a55-055f-4c28-8b35-fca6dd1c1369" providerId="ADAL" clId="{75A88773-6EE1-484E-AADE-FE631E01463B}" dt="2025-11-21T05:56:58.511" v="41416"/>
          <ac:spMkLst>
            <pc:docMk/>
            <pc:sldMk cId="217569448" sldId="2147483088"/>
            <ac:spMk id="218" creationId="{A4E904F4-6B8C-34F1-6286-B1BCDF474600}"/>
          </ac:spMkLst>
        </pc:spChg>
        <pc:spChg chg="add del mod">
          <ac:chgData name="Yudi Zhu" userId="571e1a55-055f-4c28-8b35-fca6dd1c1369" providerId="ADAL" clId="{75A88773-6EE1-484E-AADE-FE631E01463B}" dt="2025-11-21T05:56:58.511" v="41412"/>
          <ac:spMkLst>
            <pc:docMk/>
            <pc:sldMk cId="217569448" sldId="2147483088"/>
            <ac:spMk id="219" creationId="{F8443400-1BDF-B89A-1686-925CB8D691A2}"/>
          </ac:spMkLst>
        </pc:spChg>
        <pc:spChg chg="add del mod">
          <ac:chgData name="Yudi Zhu" userId="571e1a55-055f-4c28-8b35-fca6dd1c1369" providerId="ADAL" clId="{75A88773-6EE1-484E-AADE-FE631E01463B}" dt="2025-11-21T05:56:58.511" v="41411"/>
          <ac:spMkLst>
            <pc:docMk/>
            <pc:sldMk cId="217569448" sldId="2147483088"/>
            <ac:spMk id="220" creationId="{E7DBE50B-90F4-657D-659F-53F329440E24}"/>
          </ac:spMkLst>
        </pc:spChg>
        <pc:spChg chg="add del mod">
          <ac:chgData name="Yudi Zhu" userId="571e1a55-055f-4c28-8b35-fca6dd1c1369" providerId="ADAL" clId="{75A88773-6EE1-484E-AADE-FE631E01463B}" dt="2025-11-21T05:56:58.511" v="41413"/>
          <ac:spMkLst>
            <pc:docMk/>
            <pc:sldMk cId="217569448" sldId="2147483088"/>
            <ac:spMk id="221" creationId="{E6C06695-1D12-BD5B-EFCC-8C81006CDEFC}"/>
          </ac:spMkLst>
        </pc:spChg>
        <pc:spChg chg="add del mod ord">
          <ac:chgData name="Yudi Zhu" userId="571e1a55-055f-4c28-8b35-fca6dd1c1369" providerId="ADAL" clId="{75A88773-6EE1-484E-AADE-FE631E01463B}" dt="2025-11-21T05:56:58.511" v="41409"/>
          <ac:spMkLst>
            <pc:docMk/>
            <pc:sldMk cId="217569448" sldId="2147483088"/>
            <ac:spMk id="222" creationId="{7B2DD7B4-8301-C459-E4D4-967D5EA10DA3}"/>
          </ac:spMkLst>
        </pc:spChg>
        <pc:spChg chg="add del mod ord">
          <ac:chgData name="Yudi Zhu" userId="571e1a55-055f-4c28-8b35-fca6dd1c1369" providerId="ADAL" clId="{75A88773-6EE1-484E-AADE-FE631E01463B}" dt="2025-11-21T05:56:58.511" v="41407"/>
          <ac:spMkLst>
            <pc:docMk/>
            <pc:sldMk cId="217569448" sldId="2147483088"/>
            <ac:spMk id="223" creationId="{3FC11C43-A4AA-E5B5-82A4-EA96548D39A5}"/>
          </ac:spMkLst>
        </pc:spChg>
        <pc:spChg chg="add del mod">
          <ac:chgData name="Yudi Zhu" userId="571e1a55-055f-4c28-8b35-fca6dd1c1369" providerId="ADAL" clId="{75A88773-6EE1-484E-AADE-FE631E01463B}" dt="2025-11-21T05:56:58.511" v="41410"/>
          <ac:spMkLst>
            <pc:docMk/>
            <pc:sldMk cId="217569448" sldId="2147483088"/>
            <ac:spMk id="224" creationId="{5B6D66AD-75D7-CD22-B880-6148342F8496}"/>
          </ac:spMkLst>
        </pc:spChg>
        <pc:spChg chg="add del mod ord">
          <ac:chgData name="Yudi Zhu" userId="571e1a55-055f-4c28-8b35-fca6dd1c1369" providerId="ADAL" clId="{75A88773-6EE1-484E-AADE-FE631E01463B}" dt="2025-11-21T05:56:58.511" v="41404"/>
          <ac:spMkLst>
            <pc:docMk/>
            <pc:sldMk cId="217569448" sldId="2147483088"/>
            <ac:spMk id="225" creationId="{9BDE5268-99BE-9D5A-7D25-5CBAE46D6A23}"/>
          </ac:spMkLst>
        </pc:spChg>
        <pc:spChg chg="add del mod ord">
          <ac:chgData name="Yudi Zhu" userId="571e1a55-055f-4c28-8b35-fca6dd1c1369" providerId="ADAL" clId="{75A88773-6EE1-484E-AADE-FE631E01463B}" dt="2025-11-21T05:56:58.511" v="41402"/>
          <ac:spMkLst>
            <pc:docMk/>
            <pc:sldMk cId="217569448" sldId="2147483088"/>
            <ac:spMk id="226" creationId="{2A416751-A6D1-9C6C-375F-349687142E2B}"/>
          </ac:spMkLst>
        </pc:spChg>
        <pc:spChg chg="add del mod">
          <ac:chgData name="Yudi Zhu" userId="571e1a55-055f-4c28-8b35-fca6dd1c1369" providerId="ADAL" clId="{75A88773-6EE1-484E-AADE-FE631E01463B}" dt="2025-11-21T05:56:58.511" v="41405"/>
          <ac:spMkLst>
            <pc:docMk/>
            <pc:sldMk cId="217569448" sldId="2147483088"/>
            <ac:spMk id="227" creationId="{EB804DF8-CFFF-37BE-1210-08777E7669E1}"/>
          </ac:spMkLst>
        </pc:spChg>
        <pc:spChg chg="add del mod">
          <ac:chgData name="Yudi Zhu" userId="571e1a55-055f-4c28-8b35-fca6dd1c1369" providerId="ADAL" clId="{75A88773-6EE1-484E-AADE-FE631E01463B}" dt="2025-11-21T05:56:58.527" v="41429"/>
          <ac:spMkLst>
            <pc:docMk/>
            <pc:sldMk cId="217569448" sldId="2147483088"/>
            <ac:spMk id="228" creationId="{CB5C8D0B-8AA2-7EEE-0EB9-ED93DB935A98}"/>
          </ac:spMkLst>
        </pc:spChg>
        <pc:spChg chg="add del mod ord">
          <ac:chgData name="Yudi Zhu" userId="571e1a55-055f-4c28-8b35-fca6dd1c1369" providerId="ADAL" clId="{75A88773-6EE1-484E-AADE-FE631E01463B}" dt="2025-11-21T05:56:58.511" v="41397"/>
          <ac:spMkLst>
            <pc:docMk/>
            <pc:sldMk cId="217569448" sldId="2147483088"/>
            <ac:spMk id="229" creationId="{29F97D1B-373F-1835-CA68-8E6CB4E08FD8}"/>
          </ac:spMkLst>
        </pc:spChg>
        <pc:spChg chg="add del mod">
          <ac:chgData name="Yudi Zhu" userId="571e1a55-055f-4c28-8b35-fca6dd1c1369" providerId="ADAL" clId="{75A88773-6EE1-484E-AADE-FE631E01463B}" dt="2025-11-21T05:56:58.511" v="41400"/>
          <ac:spMkLst>
            <pc:docMk/>
            <pc:sldMk cId="217569448" sldId="2147483088"/>
            <ac:spMk id="230" creationId="{77891250-9540-5245-36B4-3220E9F1AE67}"/>
          </ac:spMkLst>
        </pc:spChg>
        <pc:spChg chg="add del mod ord">
          <ac:chgData name="Yudi Zhu" userId="571e1a55-055f-4c28-8b35-fca6dd1c1369" providerId="ADAL" clId="{75A88773-6EE1-484E-AADE-FE631E01463B}" dt="2025-11-21T05:56:58.511" v="41394"/>
          <ac:spMkLst>
            <pc:docMk/>
            <pc:sldMk cId="217569448" sldId="2147483088"/>
            <ac:spMk id="231" creationId="{A0113B4A-0B0D-BE83-CAEE-804239FE1F35}"/>
          </ac:spMkLst>
        </pc:spChg>
        <pc:spChg chg="add del mod ord">
          <ac:chgData name="Yudi Zhu" userId="571e1a55-055f-4c28-8b35-fca6dd1c1369" providerId="ADAL" clId="{75A88773-6EE1-484E-AADE-FE631E01463B}" dt="2025-11-21T05:56:58.511" v="41392"/>
          <ac:spMkLst>
            <pc:docMk/>
            <pc:sldMk cId="217569448" sldId="2147483088"/>
            <ac:spMk id="232" creationId="{1DDB52DD-BAE7-053A-1E42-AD738F534850}"/>
          </ac:spMkLst>
        </pc:spChg>
        <pc:spChg chg="add del mod ord">
          <ac:chgData name="Yudi Zhu" userId="571e1a55-055f-4c28-8b35-fca6dd1c1369" providerId="ADAL" clId="{75A88773-6EE1-484E-AADE-FE631E01463B}" dt="2025-11-21T05:56:58.511" v="41399"/>
          <ac:spMkLst>
            <pc:docMk/>
            <pc:sldMk cId="217569448" sldId="2147483088"/>
            <ac:spMk id="233" creationId="{DB496A72-CEEF-C2BF-DD56-A54D0388429E}"/>
          </ac:spMkLst>
        </pc:spChg>
        <pc:spChg chg="add del mod">
          <ac:chgData name="Yudi Zhu" userId="571e1a55-055f-4c28-8b35-fca6dd1c1369" providerId="ADAL" clId="{75A88773-6EE1-484E-AADE-FE631E01463B}" dt="2025-11-21T05:56:58.527" v="41428"/>
          <ac:spMkLst>
            <pc:docMk/>
            <pc:sldMk cId="217569448" sldId="2147483088"/>
            <ac:spMk id="234" creationId="{1B10D668-3B37-D094-6230-9A501AA8AB11}"/>
          </ac:spMkLst>
        </pc:spChg>
        <pc:spChg chg="add del mod ord">
          <ac:chgData name="Yudi Zhu" userId="571e1a55-055f-4c28-8b35-fca6dd1c1369" providerId="ADAL" clId="{75A88773-6EE1-484E-AADE-FE631E01463B}" dt="2025-11-21T05:56:11.718" v="38681"/>
          <ac:spMkLst>
            <pc:docMk/>
            <pc:sldMk cId="217569448" sldId="2147483088"/>
            <ac:spMk id="235" creationId="{C5E7A95B-FDBF-19AA-9116-DFF5993BF8DA}"/>
          </ac:spMkLst>
        </pc:spChg>
        <pc:spChg chg="add del mod">
          <ac:chgData name="Yudi Zhu" userId="571e1a55-055f-4c28-8b35-fca6dd1c1369" providerId="ADAL" clId="{75A88773-6EE1-484E-AADE-FE631E01463B}" dt="2025-11-21T05:56:58.527" v="41430"/>
          <ac:spMkLst>
            <pc:docMk/>
            <pc:sldMk cId="217569448" sldId="2147483088"/>
            <ac:spMk id="236" creationId="{350CE15A-A106-08ED-16A7-BCC27C4228ED}"/>
          </ac:spMkLst>
        </pc:spChg>
        <pc:spChg chg="add del mod">
          <ac:chgData name="Yudi Zhu" userId="571e1a55-055f-4c28-8b35-fca6dd1c1369" providerId="ADAL" clId="{75A88773-6EE1-484E-AADE-FE631E01463B}" dt="2025-11-21T05:56:58.527" v="41424"/>
          <ac:spMkLst>
            <pc:docMk/>
            <pc:sldMk cId="217569448" sldId="2147483088"/>
            <ac:spMk id="237" creationId="{0030C1A7-F736-D578-1E0A-ADBA3E9D986A}"/>
          </ac:spMkLst>
        </pc:spChg>
        <pc:spChg chg="add del mod">
          <ac:chgData name="Yudi Zhu" userId="571e1a55-055f-4c28-8b35-fca6dd1c1369" providerId="ADAL" clId="{75A88773-6EE1-484E-AADE-FE631E01463B}" dt="2025-11-21T05:56:58.511" v="41395"/>
          <ac:spMkLst>
            <pc:docMk/>
            <pc:sldMk cId="217569448" sldId="2147483088"/>
            <ac:spMk id="238" creationId="{82070B7D-6C9D-82BA-4F98-FA647C554243}"/>
          </ac:spMkLst>
        </pc:spChg>
        <pc:spChg chg="add del mod">
          <ac:chgData name="Yudi Zhu" userId="571e1a55-055f-4c28-8b35-fca6dd1c1369" providerId="ADAL" clId="{75A88773-6EE1-484E-AADE-FE631E01463B}" dt="2025-11-21T05:55:35.322" v="36931"/>
          <ac:spMkLst>
            <pc:docMk/>
            <pc:sldMk cId="217569448" sldId="2147483088"/>
            <ac:spMk id="239" creationId="{EF79D764-AF42-97A5-15AE-004E8E07D243}"/>
          </ac:spMkLst>
        </pc:spChg>
        <pc:spChg chg="add del mod">
          <ac:chgData name="Yudi Zhu" userId="571e1a55-055f-4c28-8b35-fca6dd1c1369" providerId="ADAL" clId="{75A88773-6EE1-484E-AADE-FE631E01463B}" dt="2025-11-21T05:55:35.322" v="36929"/>
          <ac:spMkLst>
            <pc:docMk/>
            <pc:sldMk cId="217569448" sldId="2147483088"/>
            <ac:spMk id="240" creationId="{84EC6A07-BEF2-DAC6-B40C-7CC6F7B3FB09}"/>
          </ac:spMkLst>
        </pc:spChg>
        <pc:spChg chg="add del mod">
          <ac:chgData name="Yudi Zhu" userId="571e1a55-055f-4c28-8b35-fca6dd1c1369" providerId="ADAL" clId="{75A88773-6EE1-484E-AADE-FE631E01463B}" dt="2025-11-21T05:55:35.322" v="36932"/>
          <ac:spMkLst>
            <pc:docMk/>
            <pc:sldMk cId="217569448" sldId="2147483088"/>
            <ac:spMk id="242" creationId="{96280F13-7D19-62C9-F22D-B31FB025A6FD}"/>
          </ac:spMkLst>
        </pc:spChg>
        <pc:spChg chg="add del mod">
          <ac:chgData name="Yudi Zhu" userId="571e1a55-055f-4c28-8b35-fca6dd1c1369" providerId="ADAL" clId="{75A88773-6EE1-484E-AADE-FE631E01463B}" dt="2025-11-21T05:55:35.322" v="36930"/>
          <ac:spMkLst>
            <pc:docMk/>
            <pc:sldMk cId="217569448" sldId="2147483088"/>
            <ac:spMk id="243" creationId="{F63C01E5-1840-CC95-A78E-4A7E1CB65B05}"/>
          </ac:spMkLst>
        </pc:spChg>
        <pc:spChg chg="add del mod">
          <ac:chgData name="Yudi Zhu" userId="571e1a55-055f-4c28-8b35-fca6dd1c1369" providerId="ADAL" clId="{75A88773-6EE1-484E-AADE-FE631E01463B}" dt="2025-11-21T05:55:35.322" v="36928"/>
          <ac:spMkLst>
            <pc:docMk/>
            <pc:sldMk cId="217569448" sldId="2147483088"/>
            <ac:spMk id="244" creationId="{9F461570-3205-4937-21C1-EFDEC7E30F79}"/>
          </ac:spMkLst>
        </pc:spChg>
        <pc:spChg chg="add del mod modVis">
          <ac:chgData name="Yudi Zhu" userId="571e1a55-055f-4c28-8b35-fca6dd1c1369" providerId="ADAL" clId="{75A88773-6EE1-484E-AADE-FE631E01463B}" dt="2025-11-21T05:55:28.972" v="36601"/>
          <ac:spMkLst>
            <pc:docMk/>
            <pc:sldMk cId="217569448" sldId="2147483088"/>
            <ac:spMk id="245" creationId="{3928978B-DFA8-3C0A-46C6-9FBE89D9563C}"/>
          </ac:spMkLst>
        </pc:spChg>
        <pc:spChg chg="add del mod modVis">
          <ac:chgData name="Yudi Zhu" userId="571e1a55-055f-4c28-8b35-fca6dd1c1369" providerId="ADAL" clId="{75A88773-6EE1-484E-AADE-FE631E01463B}" dt="2025-11-21T05:55:32.733" v="36923"/>
          <ac:spMkLst>
            <pc:docMk/>
            <pc:sldMk cId="217569448" sldId="2147483088"/>
            <ac:spMk id="247" creationId="{D7A474A6-5E59-703C-A884-EBDA78D74FB8}"/>
          </ac:spMkLst>
        </pc:spChg>
        <pc:spChg chg="add del mod modVis">
          <ac:chgData name="Yudi Zhu" userId="571e1a55-055f-4c28-8b35-fca6dd1c1369" providerId="ADAL" clId="{75A88773-6EE1-484E-AADE-FE631E01463B}" dt="2025-11-21T05:55:41.603" v="37044"/>
          <ac:spMkLst>
            <pc:docMk/>
            <pc:sldMk cId="217569448" sldId="2147483088"/>
            <ac:spMk id="250" creationId="{84D41F73-5F73-715F-A156-BC8EC91C315A}"/>
          </ac:spMkLst>
        </pc:spChg>
        <pc:spChg chg="add del mod modVis">
          <ac:chgData name="Yudi Zhu" userId="571e1a55-055f-4c28-8b35-fca6dd1c1369" providerId="ADAL" clId="{75A88773-6EE1-484E-AADE-FE631E01463B}" dt="2025-11-21T05:55:45.914" v="37309"/>
          <ac:spMkLst>
            <pc:docMk/>
            <pc:sldMk cId="217569448" sldId="2147483088"/>
            <ac:spMk id="251" creationId="{A860755F-6195-F374-5634-9D75D3B72E63}"/>
          </ac:spMkLst>
        </pc:spChg>
        <pc:spChg chg="add del mod">
          <ac:chgData name="Yudi Zhu" userId="571e1a55-055f-4c28-8b35-fca6dd1c1369" providerId="ADAL" clId="{75A88773-6EE1-484E-AADE-FE631E01463B}" dt="2025-11-21T05:55:47.586" v="37346"/>
          <ac:spMkLst>
            <pc:docMk/>
            <pc:sldMk cId="217569448" sldId="2147483088"/>
            <ac:spMk id="252" creationId="{EE3C8079-2197-8FEF-ECE2-B78BCA227A53}"/>
          </ac:spMkLst>
        </pc:spChg>
        <pc:spChg chg="add del mod modVis">
          <ac:chgData name="Yudi Zhu" userId="571e1a55-055f-4c28-8b35-fca6dd1c1369" providerId="ADAL" clId="{75A88773-6EE1-484E-AADE-FE631E01463B}" dt="2025-11-21T05:55:47.698" v="37458"/>
          <ac:spMkLst>
            <pc:docMk/>
            <pc:sldMk cId="217569448" sldId="2147483088"/>
            <ac:spMk id="254" creationId="{223C18B1-A5BD-172C-84FB-845A11A16223}"/>
          </ac:spMkLst>
        </pc:spChg>
        <pc:spChg chg="add del mod modVis">
          <ac:chgData name="Yudi Zhu" userId="571e1a55-055f-4c28-8b35-fca6dd1c1369" providerId="ADAL" clId="{75A88773-6EE1-484E-AADE-FE631E01463B}" dt="2025-11-21T05:55:50.671" v="37773"/>
          <ac:spMkLst>
            <pc:docMk/>
            <pc:sldMk cId="217569448" sldId="2147483088"/>
            <ac:spMk id="256" creationId="{C0E4D2ED-5AB9-08C0-2819-E4F53116367B}"/>
          </ac:spMkLst>
        </pc:spChg>
        <pc:spChg chg="add del mod modVis">
          <ac:chgData name="Yudi Zhu" userId="571e1a55-055f-4c28-8b35-fca6dd1c1369" providerId="ADAL" clId="{75A88773-6EE1-484E-AADE-FE631E01463B}" dt="2025-11-21T05:56:03.334" v="37965"/>
          <ac:spMkLst>
            <pc:docMk/>
            <pc:sldMk cId="217569448" sldId="2147483088"/>
            <ac:spMk id="259" creationId="{D3573B2A-8ECE-6321-86B0-078200789FD7}"/>
          </ac:spMkLst>
        </pc:spChg>
        <pc:spChg chg="add del mod modVis">
          <ac:chgData name="Yudi Zhu" userId="571e1a55-055f-4c28-8b35-fca6dd1c1369" providerId="ADAL" clId="{75A88773-6EE1-484E-AADE-FE631E01463B}" dt="2025-11-21T05:56:05.370" v="38113"/>
          <ac:spMkLst>
            <pc:docMk/>
            <pc:sldMk cId="217569448" sldId="2147483088"/>
            <ac:spMk id="261" creationId="{332F2280-B60F-5A38-48D3-BD3173FC1122}"/>
          </ac:spMkLst>
        </pc:spChg>
        <pc:spChg chg="add del mod modVis">
          <ac:chgData name="Yudi Zhu" userId="571e1a55-055f-4c28-8b35-fca6dd1c1369" providerId="ADAL" clId="{75A88773-6EE1-484E-AADE-FE631E01463B}" dt="2025-11-21T05:56:11.885" v="38890"/>
          <ac:spMkLst>
            <pc:docMk/>
            <pc:sldMk cId="217569448" sldId="2147483088"/>
            <ac:spMk id="263" creationId="{FD52B742-9C25-1BC2-72E8-FBE5895D8D54}"/>
          </ac:spMkLst>
        </pc:spChg>
        <pc:spChg chg="add del mod">
          <ac:chgData name="Yudi Zhu" userId="571e1a55-055f-4c28-8b35-fca6dd1c1369" providerId="ADAL" clId="{75A88773-6EE1-484E-AADE-FE631E01463B}" dt="2025-11-21T05:56:58.534" v="41434"/>
          <ac:spMkLst>
            <pc:docMk/>
            <pc:sldMk cId="217569448" sldId="2147483088"/>
            <ac:spMk id="264" creationId="{F639E2F5-B5C5-4997-46D5-D574D822523D}"/>
          </ac:spMkLst>
        </pc:spChg>
        <pc:spChg chg="add del mod">
          <ac:chgData name="Yudi Zhu" userId="571e1a55-055f-4c28-8b35-fca6dd1c1369" providerId="ADAL" clId="{75A88773-6EE1-484E-AADE-FE631E01463B}" dt="2025-11-21T05:56:58.534" v="41433"/>
          <ac:spMkLst>
            <pc:docMk/>
            <pc:sldMk cId="217569448" sldId="2147483088"/>
            <ac:spMk id="265" creationId="{83B65555-840C-86E1-641A-D5BDCF06BA9C}"/>
          </ac:spMkLst>
        </pc:spChg>
        <pc:spChg chg="add del mod">
          <ac:chgData name="Yudi Zhu" userId="571e1a55-055f-4c28-8b35-fca6dd1c1369" providerId="ADAL" clId="{75A88773-6EE1-484E-AADE-FE631E01463B}" dt="2025-11-21T05:56:58.527" v="41432"/>
          <ac:spMkLst>
            <pc:docMk/>
            <pc:sldMk cId="217569448" sldId="2147483088"/>
            <ac:spMk id="266" creationId="{BDA6226F-B09A-57AD-C4ED-EDD0D3CF2B99}"/>
          </ac:spMkLst>
        </pc:spChg>
        <pc:spChg chg="add del mod">
          <ac:chgData name="Yudi Zhu" userId="571e1a55-055f-4c28-8b35-fca6dd1c1369" providerId="ADAL" clId="{75A88773-6EE1-484E-AADE-FE631E01463B}" dt="2025-11-21T05:56:58.527" v="41431"/>
          <ac:spMkLst>
            <pc:docMk/>
            <pc:sldMk cId="217569448" sldId="2147483088"/>
            <ac:spMk id="267" creationId="{88958119-7D0D-210A-4AA6-BB38372BD59C}"/>
          </ac:spMkLst>
        </pc:spChg>
        <pc:spChg chg="add del mod modVis">
          <ac:chgData name="Yudi Zhu" userId="571e1a55-055f-4c28-8b35-fca6dd1c1369" providerId="ADAL" clId="{75A88773-6EE1-484E-AADE-FE631E01463B}" dt="2025-11-21T05:56:20.969" v="39161"/>
          <ac:spMkLst>
            <pc:docMk/>
            <pc:sldMk cId="217569448" sldId="2147483088"/>
            <ac:spMk id="270" creationId="{536AD2B6-DA15-712D-F520-AF13668554B7}"/>
          </ac:spMkLst>
        </pc:spChg>
        <pc:spChg chg="add del mod">
          <ac:chgData name="Yudi Zhu" userId="571e1a55-055f-4c28-8b35-fca6dd1c1369" providerId="ADAL" clId="{75A88773-6EE1-484E-AADE-FE631E01463B}" dt="2025-11-21T05:56:29.156" v="39698"/>
          <ac:spMkLst>
            <pc:docMk/>
            <pc:sldMk cId="217569448" sldId="2147483088"/>
            <ac:spMk id="276" creationId="{23C53074-01E7-B8FF-BDED-534FFB4D2ABA}"/>
          </ac:spMkLst>
        </pc:spChg>
        <pc:spChg chg="add del mod ord">
          <ac:chgData name="Yudi Zhu" userId="571e1a55-055f-4c28-8b35-fca6dd1c1369" providerId="ADAL" clId="{75A88773-6EE1-484E-AADE-FE631E01463B}" dt="2025-11-21T05:56:29.143" v="39675"/>
          <ac:spMkLst>
            <pc:docMk/>
            <pc:sldMk cId="217569448" sldId="2147483088"/>
            <ac:spMk id="277" creationId="{CF2F3862-A2A1-8740-E505-F5562B500A1A}"/>
          </ac:spMkLst>
        </pc:spChg>
        <pc:spChg chg="add del mod modVis">
          <ac:chgData name="Yudi Zhu" userId="571e1a55-055f-4c28-8b35-fca6dd1c1369" providerId="ADAL" clId="{75A88773-6EE1-484E-AADE-FE631E01463B}" dt="2025-11-21T05:56:26.534" v="39669"/>
          <ac:spMkLst>
            <pc:docMk/>
            <pc:sldMk cId="217569448" sldId="2147483088"/>
            <ac:spMk id="278" creationId="{CFCF2A9B-0205-A16E-0C59-403FAF61B4A0}"/>
          </ac:spMkLst>
        </pc:spChg>
        <pc:spChg chg="add del mod ord">
          <ac:chgData name="Yudi Zhu" userId="571e1a55-055f-4c28-8b35-fca6dd1c1369" providerId="ADAL" clId="{75A88773-6EE1-484E-AADE-FE631E01463B}" dt="2025-11-21T05:56:29.154" v="39695"/>
          <ac:spMkLst>
            <pc:docMk/>
            <pc:sldMk cId="217569448" sldId="2147483088"/>
            <ac:spMk id="292" creationId="{D15F7F63-3C3C-70C5-DBC9-C341926FC554}"/>
          </ac:spMkLst>
        </pc:spChg>
        <pc:spChg chg="add del mod modVis">
          <ac:chgData name="Yudi Zhu" userId="571e1a55-055f-4c28-8b35-fca6dd1c1369" providerId="ADAL" clId="{75A88773-6EE1-484E-AADE-FE631E01463B}" dt="2025-11-21T05:56:29.339" v="39891"/>
          <ac:spMkLst>
            <pc:docMk/>
            <pc:sldMk cId="217569448" sldId="2147483088"/>
            <ac:spMk id="293" creationId="{EE4445F0-CD2A-FFE8-00FC-716D95DF340B}"/>
          </ac:spMkLst>
        </pc:spChg>
        <pc:spChg chg="add del mod modVis">
          <ac:chgData name="Yudi Zhu" userId="571e1a55-055f-4c28-8b35-fca6dd1c1369" providerId="ADAL" clId="{75A88773-6EE1-484E-AADE-FE631E01463B}" dt="2025-11-21T05:56:30.324" v="40212"/>
          <ac:spMkLst>
            <pc:docMk/>
            <pc:sldMk cId="217569448" sldId="2147483088"/>
            <ac:spMk id="295" creationId="{205745E4-6296-6B7C-2A44-10CE5365A2B3}"/>
          </ac:spMkLst>
        </pc:spChg>
        <pc:spChg chg="add del mod modVis">
          <ac:chgData name="Yudi Zhu" userId="571e1a55-055f-4c28-8b35-fca6dd1c1369" providerId="ADAL" clId="{75A88773-6EE1-484E-AADE-FE631E01463B}" dt="2025-11-21T05:56:38.379" v="40417"/>
          <ac:spMkLst>
            <pc:docMk/>
            <pc:sldMk cId="217569448" sldId="2147483088"/>
            <ac:spMk id="301" creationId="{21867853-8DFE-DB41-E09A-52DFF150ADEF}"/>
          </ac:spMkLst>
        </pc:spChg>
        <pc:spChg chg="add del mod modVis">
          <ac:chgData name="Yudi Zhu" userId="571e1a55-055f-4c28-8b35-fca6dd1c1369" providerId="ADAL" clId="{75A88773-6EE1-484E-AADE-FE631E01463B}" dt="2025-11-21T05:56:39.987" v="40718"/>
          <ac:spMkLst>
            <pc:docMk/>
            <pc:sldMk cId="217569448" sldId="2147483088"/>
            <ac:spMk id="303" creationId="{00D232B5-ADCB-52C5-2047-DBB38496B125}"/>
          </ac:spMkLst>
        </pc:spChg>
        <pc:spChg chg="add del mod ord">
          <ac:chgData name="Yudi Zhu" userId="571e1a55-055f-4c28-8b35-fca6dd1c1369" providerId="ADAL" clId="{75A88773-6EE1-484E-AADE-FE631E01463B}" dt="2025-11-21T05:56:46.413" v="40965"/>
          <ac:spMkLst>
            <pc:docMk/>
            <pc:sldMk cId="217569448" sldId="2147483088"/>
            <ac:spMk id="304" creationId="{D343063C-055F-300A-4690-C647F70F22A8}"/>
          </ac:spMkLst>
        </pc:spChg>
        <pc:spChg chg="add del mod modVis">
          <ac:chgData name="Yudi Zhu" userId="571e1a55-055f-4c28-8b35-fca6dd1c1369" providerId="ADAL" clId="{75A88773-6EE1-484E-AADE-FE631E01463B}" dt="2025-11-21T05:56:42.986" v="40927"/>
          <ac:spMkLst>
            <pc:docMk/>
            <pc:sldMk cId="217569448" sldId="2147483088"/>
            <ac:spMk id="306" creationId="{24E94E00-1A7E-959E-20C1-531AE4792CCC}"/>
          </ac:spMkLst>
        </pc:spChg>
        <pc:spChg chg="add del mod modVis">
          <ac:chgData name="Yudi Zhu" userId="571e1a55-055f-4c28-8b35-fca6dd1c1369" providerId="ADAL" clId="{75A88773-6EE1-484E-AADE-FE631E01463B}" dt="2025-11-21T05:56:46.549" v="41167"/>
          <ac:spMkLst>
            <pc:docMk/>
            <pc:sldMk cId="217569448" sldId="2147483088"/>
            <ac:spMk id="308" creationId="{C541FE7F-A602-4684-39A3-244F618D51B1}"/>
          </ac:spMkLst>
        </pc:spChg>
        <pc:spChg chg="add del mod modVis">
          <ac:chgData name="Yudi Zhu" userId="571e1a55-055f-4c28-8b35-fca6dd1c1369" providerId="ADAL" clId="{75A88773-6EE1-484E-AADE-FE631E01463B}" dt="2025-11-21T05:56:48.650" v="41372"/>
          <ac:spMkLst>
            <pc:docMk/>
            <pc:sldMk cId="217569448" sldId="2147483088"/>
            <ac:spMk id="311" creationId="{FB8E6131-89FB-21EE-EF23-AD52842CE7B3}"/>
          </ac:spMkLst>
        </pc:spChg>
        <pc:spChg chg="add del mod modVis">
          <ac:chgData name="Yudi Zhu" userId="571e1a55-055f-4c28-8b35-fca6dd1c1369" providerId="ADAL" clId="{75A88773-6EE1-484E-AADE-FE631E01463B}" dt="2025-11-21T05:57:25.864" v="41619"/>
          <ac:spMkLst>
            <pc:docMk/>
            <pc:sldMk cId="217569448" sldId="2147483088"/>
            <ac:spMk id="313" creationId="{F2A59204-EB33-9426-E87E-87F1892AE322}"/>
          </ac:spMkLst>
        </pc:spChg>
        <pc:spChg chg="add del mod">
          <ac:chgData name="Yudi Zhu" userId="571e1a55-055f-4c28-8b35-fca6dd1c1369" providerId="ADAL" clId="{75A88773-6EE1-484E-AADE-FE631E01463B}" dt="2025-11-21T05:58:57.916" v="42311"/>
          <ac:spMkLst>
            <pc:docMk/>
            <pc:sldMk cId="217569448" sldId="2147483088"/>
            <ac:spMk id="314" creationId="{9FE00BC5-F1BF-9B8F-B94F-1C20DE8C53F5}"/>
          </ac:spMkLst>
        </pc:spChg>
        <pc:spChg chg="add del mod modVis">
          <ac:chgData name="Yudi Zhu" userId="571e1a55-055f-4c28-8b35-fca6dd1c1369" providerId="ADAL" clId="{75A88773-6EE1-484E-AADE-FE631E01463B}" dt="2025-11-21T05:58:27.595" v="41982"/>
          <ac:spMkLst>
            <pc:docMk/>
            <pc:sldMk cId="217569448" sldId="2147483088"/>
            <ac:spMk id="316" creationId="{B6CA3CB8-FB56-5C4D-6EF0-5745277B8CB8}"/>
          </ac:spMkLst>
        </pc:spChg>
        <pc:spChg chg="add del mod modVis">
          <ac:chgData name="Yudi Zhu" userId="571e1a55-055f-4c28-8b35-fca6dd1c1369" providerId="ADAL" clId="{75A88773-6EE1-484E-AADE-FE631E01463B}" dt="2025-11-21T05:58:27.595" v="41982"/>
          <ac:spMkLst>
            <pc:docMk/>
            <pc:sldMk cId="217569448" sldId="2147483088"/>
            <ac:spMk id="318" creationId="{C49ECE86-F158-09B1-0D74-6034F2D5C99B}"/>
          </ac:spMkLst>
        </pc:spChg>
        <pc:spChg chg="add del mod modVis">
          <ac:chgData name="Yudi Zhu" userId="571e1a55-055f-4c28-8b35-fca6dd1c1369" providerId="ADAL" clId="{75A88773-6EE1-484E-AADE-FE631E01463B}" dt="2025-11-21T05:58:57.979" v="42389"/>
          <ac:spMkLst>
            <pc:docMk/>
            <pc:sldMk cId="217569448" sldId="2147483088"/>
            <ac:spMk id="320" creationId="{23E475C8-23FD-3B2E-3900-FBEF556DAA78}"/>
          </ac:spMkLst>
        </pc:spChg>
        <pc:spChg chg="add del mod">
          <ac:chgData name="Yudi Zhu" userId="571e1a55-055f-4c28-8b35-fca6dd1c1369" providerId="ADAL" clId="{75A88773-6EE1-484E-AADE-FE631E01463B}" dt="2025-11-21T05:59:09.066" v="42536"/>
          <ac:spMkLst>
            <pc:docMk/>
            <pc:sldMk cId="217569448" sldId="2147483088"/>
            <ac:spMk id="321" creationId="{77E3251A-BB76-01EB-1F2B-A5C0E494DF43}"/>
          </ac:spMkLst>
        </pc:spChg>
        <pc:spChg chg="add del mod modVis">
          <ac:chgData name="Yudi Zhu" userId="571e1a55-055f-4c28-8b35-fca6dd1c1369" providerId="ADAL" clId="{75A88773-6EE1-484E-AADE-FE631E01463B}" dt="2025-11-21T05:59:04.476" v="42499"/>
          <ac:spMkLst>
            <pc:docMk/>
            <pc:sldMk cId="217569448" sldId="2147483088"/>
            <ac:spMk id="323" creationId="{B4C7B039-C631-C82C-F15E-3C033997395B}"/>
          </ac:spMkLst>
        </pc:spChg>
        <pc:spChg chg="add del mod modVis">
          <ac:chgData name="Yudi Zhu" userId="571e1a55-055f-4c28-8b35-fca6dd1c1369" providerId="ADAL" clId="{75A88773-6EE1-484E-AADE-FE631E01463B}" dt="2025-11-21T05:59:09.136" v="42609"/>
          <ac:spMkLst>
            <pc:docMk/>
            <pc:sldMk cId="217569448" sldId="2147483088"/>
            <ac:spMk id="325" creationId="{1C418BD8-528E-8B3D-4C89-B87279F46044}"/>
          </ac:spMkLst>
        </pc:spChg>
        <pc:spChg chg="add del mod modVis">
          <ac:chgData name="Yudi Zhu" userId="571e1a55-055f-4c28-8b35-fca6dd1c1369" providerId="ADAL" clId="{75A88773-6EE1-484E-AADE-FE631E01463B}" dt="2025-11-21T05:59:26.612" v="42736"/>
          <ac:spMkLst>
            <pc:docMk/>
            <pc:sldMk cId="217569448" sldId="2147483088"/>
            <ac:spMk id="327" creationId="{D11B4BCB-B0A9-C7E2-C470-E3E97098458F}"/>
          </ac:spMkLst>
        </pc:spChg>
        <pc:spChg chg="add del mod modVis">
          <ac:chgData name="Yudi Zhu" userId="571e1a55-055f-4c28-8b35-fca6dd1c1369" providerId="ADAL" clId="{75A88773-6EE1-484E-AADE-FE631E01463B}" dt="2025-11-21T05:59:27.833" v="42847"/>
          <ac:spMkLst>
            <pc:docMk/>
            <pc:sldMk cId="217569448" sldId="2147483088"/>
            <ac:spMk id="329" creationId="{8B84DC28-F1CB-EDE0-3E84-FED29BF2BDA2}"/>
          </ac:spMkLst>
        </pc:spChg>
        <pc:spChg chg="add del mod modVis">
          <ac:chgData name="Yudi Zhu" userId="571e1a55-055f-4c28-8b35-fca6dd1c1369" providerId="ADAL" clId="{75A88773-6EE1-484E-AADE-FE631E01463B}" dt="2025-11-21T05:59:53.622" v="43029"/>
          <ac:spMkLst>
            <pc:docMk/>
            <pc:sldMk cId="217569448" sldId="2147483088"/>
            <ac:spMk id="331" creationId="{15D060A5-722E-7304-AE39-31C2D90792CD}"/>
          </ac:spMkLst>
        </pc:spChg>
        <pc:spChg chg="add del mod">
          <ac:chgData name="Yudi Zhu" userId="571e1a55-055f-4c28-8b35-fca6dd1c1369" providerId="ADAL" clId="{75A88773-6EE1-484E-AADE-FE631E01463B}" dt="2025-11-21T05:59:55.257" v="43176"/>
          <ac:spMkLst>
            <pc:docMk/>
            <pc:sldMk cId="217569448" sldId="2147483088"/>
            <ac:spMk id="332" creationId="{891C2FC4-BD7E-79F6-4A6F-78370ABF074F}"/>
          </ac:spMkLst>
        </pc:spChg>
        <pc:spChg chg="add del mod modVis">
          <ac:chgData name="Yudi Zhu" userId="571e1a55-055f-4c28-8b35-fca6dd1c1369" providerId="ADAL" clId="{75A88773-6EE1-484E-AADE-FE631E01463B}" dt="2025-11-21T05:59:54.503" v="43139"/>
          <ac:spMkLst>
            <pc:docMk/>
            <pc:sldMk cId="217569448" sldId="2147483088"/>
            <ac:spMk id="334" creationId="{3DDA7FA9-F58D-E4FF-9F18-29B0EC98B9F5}"/>
          </ac:spMkLst>
        </pc:spChg>
        <pc:spChg chg="add del mod modVis">
          <ac:chgData name="Yudi Zhu" userId="571e1a55-055f-4c28-8b35-fca6dd1c1369" providerId="ADAL" clId="{75A88773-6EE1-484E-AADE-FE631E01463B}" dt="2025-11-21T05:59:55.359" v="43249"/>
          <ac:spMkLst>
            <pc:docMk/>
            <pc:sldMk cId="217569448" sldId="2147483088"/>
            <ac:spMk id="336" creationId="{61813F9A-D553-6DAD-7BFE-EC4ECD3E04B5}"/>
          </ac:spMkLst>
        </pc:spChg>
        <pc:spChg chg="add del mod modVis">
          <ac:chgData name="Yudi Zhu" userId="571e1a55-055f-4c28-8b35-fca6dd1c1369" providerId="ADAL" clId="{75A88773-6EE1-484E-AADE-FE631E01463B}" dt="2025-11-21T05:59:56.644" v="43431"/>
          <ac:spMkLst>
            <pc:docMk/>
            <pc:sldMk cId="217569448" sldId="2147483088"/>
            <ac:spMk id="338" creationId="{9DA3D0A2-6B5C-3F69-2F4F-A8FDC8DB2009}"/>
          </ac:spMkLst>
        </pc:spChg>
        <pc:spChg chg="add del mod">
          <ac:chgData name="Yudi Zhu" userId="571e1a55-055f-4c28-8b35-fca6dd1c1369" providerId="ADAL" clId="{75A88773-6EE1-484E-AADE-FE631E01463B}" dt="2025-11-21T05:59:58.107" v="43578"/>
          <ac:spMkLst>
            <pc:docMk/>
            <pc:sldMk cId="217569448" sldId="2147483088"/>
            <ac:spMk id="339" creationId="{8F702C8D-F1A7-9E88-41DD-E91C45D774EE}"/>
          </ac:spMkLst>
        </pc:spChg>
        <pc:spChg chg="add del mod modVis">
          <ac:chgData name="Yudi Zhu" userId="571e1a55-055f-4c28-8b35-fca6dd1c1369" providerId="ADAL" clId="{75A88773-6EE1-484E-AADE-FE631E01463B}" dt="2025-11-21T05:59:57.339" v="43541"/>
          <ac:spMkLst>
            <pc:docMk/>
            <pc:sldMk cId="217569448" sldId="2147483088"/>
            <ac:spMk id="341" creationId="{19D76FF9-8525-B085-6647-FDD6CC14485A}"/>
          </ac:spMkLst>
        </pc:spChg>
        <pc:spChg chg="add del mod modVis">
          <ac:chgData name="Yudi Zhu" userId="571e1a55-055f-4c28-8b35-fca6dd1c1369" providerId="ADAL" clId="{75A88773-6EE1-484E-AADE-FE631E01463B}" dt="2025-11-21T05:59:58.265" v="43651"/>
          <ac:spMkLst>
            <pc:docMk/>
            <pc:sldMk cId="217569448" sldId="2147483088"/>
            <ac:spMk id="343" creationId="{075912C1-9F37-CBBF-CACD-3806B2545A44}"/>
          </ac:spMkLst>
        </pc:spChg>
        <pc:spChg chg="add del mod modVis">
          <ac:chgData name="Yudi Zhu" userId="571e1a55-055f-4c28-8b35-fca6dd1c1369" providerId="ADAL" clId="{75A88773-6EE1-484E-AADE-FE631E01463B}" dt="2025-11-21T06:01:01.043" v="43937" actId="962"/>
          <ac:spMkLst>
            <pc:docMk/>
            <pc:sldMk cId="217569448" sldId="2147483088"/>
            <ac:spMk id="345" creationId="{2B41A47C-F464-8789-9142-61D76ED2B016}"/>
          </ac:spMkLst>
        </pc:spChg>
        <pc:spChg chg="add del mod modVis">
          <ac:chgData name="Yudi Zhu" userId="571e1a55-055f-4c28-8b35-fca6dd1c1369" providerId="ADAL" clId="{75A88773-6EE1-484E-AADE-FE631E01463B}" dt="2025-11-21T06:02:24.684" v="70136" actId="478"/>
          <ac:spMkLst>
            <pc:docMk/>
            <pc:sldMk cId="217569448" sldId="2147483088"/>
            <ac:spMk id="347" creationId="{887627FB-0838-2033-465C-95329698A52F}"/>
          </ac:spMkLst>
        </pc:spChg>
        <pc:spChg chg="add del mod modVis">
          <ac:chgData name="Yudi Zhu" userId="571e1a55-055f-4c28-8b35-fca6dd1c1369" providerId="ADAL" clId="{75A88773-6EE1-484E-AADE-FE631E01463B}" dt="2025-11-21T06:03:53.336" v="73023"/>
          <ac:spMkLst>
            <pc:docMk/>
            <pc:sldMk cId="217569448" sldId="2147483088"/>
            <ac:spMk id="349" creationId="{7FCB374A-5F3B-3E73-EA4F-C9FE1CF17E54}"/>
          </ac:spMkLst>
        </pc:spChg>
        <pc:spChg chg="add mod">
          <ac:chgData name="Yudi Zhu" userId="571e1a55-055f-4c28-8b35-fca6dd1c1369" providerId="ADAL" clId="{75A88773-6EE1-484E-AADE-FE631E01463B}" dt="2025-11-21T06:24:18.684" v="146095"/>
          <ac:spMkLst>
            <pc:docMk/>
            <pc:sldMk cId="217569448" sldId="2147483088"/>
            <ac:spMk id="350" creationId="{F455A57D-40B2-48F1-682A-50D80E4AE948}"/>
          </ac:spMkLst>
        </pc:spChg>
        <pc:spChg chg="add del mod modVis">
          <ac:chgData name="Yudi Zhu" userId="571e1a55-055f-4c28-8b35-fca6dd1c1369" providerId="ADAL" clId="{75A88773-6EE1-484E-AADE-FE631E01463B}" dt="2025-11-21T06:03:58.274" v="73133"/>
          <ac:spMkLst>
            <pc:docMk/>
            <pc:sldMk cId="217569448" sldId="2147483088"/>
            <ac:spMk id="352" creationId="{2EA483F7-78A7-483B-3EE4-C89D080E2680}"/>
          </ac:spMkLst>
        </pc:spChg>
        <pc:spChg chg="add del mod modVis">
          <ac:chgData name="Yudi Zhu" userId="571e1a55-055f-4c28-8b35-fca6dd1c1369" providerId="ADAL" clId="{75A88773-6EE1-484E-AADE-FE631E01463B}" dt="2025-11-21T06:04:04.036" v="73287"/>
          <ac:spMkLst>
            <pc:docMk/>
            <pc:sldMk cId="217569448" sldId="2147483088"/>
            <ac:spMk id="354" creationId="{FD2376FC-6A0E-4947-646E-A7B03744B039}"/>
          </ac:spMkLst>
        </pc:spChg>
        <pc:spChg chg="add del mod modVis">
          <ac:chgData name="Yudi Zhu" userId="571e1a55-055f-4c28-8b35-fca6dd1c1369" providerId="ADAL" clId="{75A88773-6EE1-484E-AADE-FE631E01463B}" dt="2025-11-21T06:04:08.732" v="73397"/>
          <ac:spMkLst>
            <pc:docMk/>
            <pc:sldMk cId="217569448" sldId="2147483088"/>
            <ac:spMk id="356" creationId="{CE839B3A-3E3E-2941-FA3A-1A14314B02FB}"/>
          </ac:spMkLst>
        </pc:spChg>
        <pc:spChg chg="add del mod modVis">
          <ac:chgData name="Yudi Zhu" userId="571e1a55-055f-4c28-8b35-fca6dd1c1369" providerId="ADAL" clId="{75A88773-6EE1-484E-AADE-FE631E01463B}" dt="2025-11-21T06:04:11.265" v="73507"/>
          <ac:spMkLst>
            <pc:docMk/>
            <pc:sldMk cId="217569448" sldId="2147483088"/>
            <ac:spMk id="358" creationId="{DD1D5B6C-2589-E6A6-B822-B233D82646C2}"/>
          </ac:spMkLst>
        </pc:spChg>
        <pc:spChg chg="add del mod modVis">
          <ac:chgData name="Yudi Zhu" userId="571e1a55-055f-4c28-8b35-fca6dd1c1369" providerId="ADAL" clId="{75A88773-6EE1-484E-AADE-FE631E01463B}" dt="2025-11-21T06:04:12.426" v="73617"/>
          <ac:spMkLst>
            <pc:docMk/>
            <pc:sldMk cId="217569448" sldId="2147483088"/>
            <ac:spMk id="360" creationId="{710827CB-B7A2-44A6-E2A4-F2C26E18E0EE}"/>
          </ac:spMkLst>
        </pc:spChg>
        <pc:spChg chg="add del mod modVis">
          <ac:chgData name="Yudi Zhu" userId="571e1a55-055f-4c28-8b35-fca6dd1c1369" providerId="ADAL" clId="{75A88773-6EE1-484E-AADE-FE631E01463B}" dt="2025-11-21T06:04:22.669" v="74319"/>
          <ac:spMkLst>
            <pc:docMk/>
            <pc:sldMk cId="217569448" sldId="2147483088"/>
            <ac:spMk id="362" creationId="{8CB2B396-EC0F-7D74-62BA-6C6490F2243E}"/>
          </ac:spMkLst>
        </pc:spChg>
        <pc:spChg chg="add mod">
          <ac:chgData name="Yudi Zhu" userId="571e1a55-055f-4c28-8b35-fca6dd1c1369" providerId="ADAL" clId="{75A88773-6EE1-484E-AADE-FE631E01463B}" dt="2025-11-21T06:24:18.704" v="146131"/>
          <ac:spMkLst>
            <pc:docMk/>
            <pc:sldMk cId="217569448" sldId="2147483088"/>
            <ac:spMk id="363" creationId="{028E38EC-F2D5-4816-3561-FA80BEB9CF28}"/>
          </ac:spMkLst>
        </pc:spChg>
        <pc:spChg chg="add mod">
          <ac:chgData name="Yudi Zhu" userId="571e1a55-055f-4c28-8b35-fca6dd1c1369" providerId="ADAL" clId="{75A88773-6EE1-484E-AADE-FE631E01463B}" dt="2025-11-21T06:24:18.689" v="146099"/>
          <ac:spMkLst>
            <pc:docMk/>
            <pc:sldMk cId="217569448" sldId="2147483088"/>
            <ac:spMk id="364" creationId="{3D0A38C0-1DEE-FB2B-B09D-E5E7296FBB3C}"/>
          </ac:spMkLst>
        </pc:spChg>
        <pc:spChg chg="add mod">
          <ac:chgData name="Yudi Zhu" userId="571e1a55-055f-4c28-8b35-fca6dd1c1369" providerId="ADAL" clId="{75A88773-6EE1-484E-AADE-FE631E01463B}" dt="2025-11-21T06:24:18.691" v="146103"/>
          <ac:spMkLst>
            <pc:docMk/>
            <pc:sldMk cId="217569448" sldId="2147483088"/>
            <ac:spMk id="365" creationId="{39C5E205-F5ED-CE6C-991F-F3E0C8CDA66C}"/>
          </ac:spMkLst>
        </pc:spChg>
        <pc:spChg chg="add mod">
          <ac:chgData name="Yudi Zhu" userId="571e1a55-055f-4c28-8b35-fca6dd1c1369" providerId="ADAL" clId="{75A88773-6EE1-484E-AADE-FE631E01463B}" dt="2025-11-21T06:24:18.694" v="146107"/>
          <ac:spMkLst>
            <pc:docMk/>
            <pc:sldMk cId="217569448" sldId="2147483088"/>
            <ac:spMk id="366" creationId="{79E6F29D-42F8-7AB3-2977-06638433F20F}"/>
          </ac:spMkLst>
        </pc:spChg>
        <pc:spChg chg="add mod">
          <ac:chgData name="Yudi Zhu" userId="571e1a55-055f-4c28-8b35-fca6dd1c1369" providerId="ADAL" clId="{75A88773-6EE1-484E-AADE-FE631E01463B}" dt="2025-11-21T06:24:18.696" v="146111"/>
          <ac:spMkLst>
            <pc:docMk/>
            <pc:sldMk cId="217569448" sldId="2147483088"/>
            <ac:spMk id="367" creationId="{44685DB6-5EC2-BF6C-AC63-29953DF04904}"/>
          </ac:spMkLst>
        </pc:spChg>
        <pc:spChg chg="add mod">
          <ac:chgData name="Yudi Zhu" userId="571e1a55-055f-4c28-8b35-fca6dd1c1369" providerId="ADAL" clId="{75A88773-6EE1-484E-AADE-FE631E01463B}" dt="2025-11-21T06:24:18.699" v="146115"/>
          <ac:spMkLst>
            <pc:docMk/>
            <pc:sldMk cId="217569448" sldId="2147483088"/>
            <ac:spMk id="368" creationId="{B524F5EF-66D5-64F4-F250-9AF0627661B4}"/>
          </ac:spMkLst>
        </pc:spChg>
        <pc:spChg chg="add mod">
          <ac:chgData name="Yudi Zhu" userId="571e1a55-055f-4c28-8b35-fca6dd1c1369" providerId="ADAL" clId="{75A88773-6EE1-484E-AADE-FE631E01463B}" dt="2025-11-21T06:24:18.701" v="146119"/>
          <ac:spMkLst>
            <pc:docMk/>
            <pc:sldMk cId="217569448" sldId="2147483088"/>
            <ac:spMk id="369" creationId="{82B14B05-AC59-7BE0-9750-9DDA460DD381}"/>
          </ac:spMkLst>
        </pc:spChg>
        <pc:spChg chg="add mod">
          <ac:chgData name="Yudi Zhu" userId="571e1a55-055f-4c28-8b35-fca6dd1c1369" providerId="ADAL" clId="{75A88773-6EE1-484E-AADE-FE631E01463B}" dt="2025-11-21T06:24:18.704" v="146123"/>
          <ac:spMkLst>
            <pc:docMk/>
            <pc:sldMk cId="217569448" sldId="2147483088"/>
            <ac:spMk id="370" creationId="{84C0A725-7931-32BB-013D-297376D4AACA}"/>
          </ac:spMkLst>
        </pc:spChg>
        <pc:spChg chg="add del mod modVis">
          <ac:chgData name="Yudi Zhu" userId="571e1a55-055f-4c28-8b35-fca6dd1c1369" providerId="ADAL" clId="{75A88773-6EE1-484E-AADE-FE631E01463B}" dt="2025-11-21T06:05:08.281" v="91451"/>
          <ac:spMkLst>
            <pc:docMk/>
            <pc:sldMk cId="217569448" sldId="2147483088"/>
            <ac:spMk id="372" creationId="{7CEC782A-F0C3-1480-3EE9-F0D3C1446E8C}"/>
          </ac:spMkLst>
        </pc:spChg>
        <pc:spChg chg="add del mod modVis">
          <ac:chgData name="Yudi Zhu" userId="571e1a55-055f-4c28-8b35-fca6dd1c1369" providerId="ADAL" clId="{75A88773-6EE1-484E-AADE-FE631E01463B}" dt="2025-11-21T06:05:18.802" v="93080"/>
          <ac:spMkLst>
            <pc:docMk/>
            <pc:sldMk cId="217569448" sldId="2147483088"/>
            <ac:spMk id="374" creationId="{A1416B9F-DADA-B9DB-92C9-C447C4575554}"/>
          </ac:spMkLst>
        </pc:spChg>
        <pc:spChg chg="add del mod modVis">
          <ac:chgData name="Yudi Zhu" userId="571e1a55-055f-4c28-8b35-fca6dd1c1369" providerId="ADAL" clId="{75A88773-6EE1-484E-AADE-FE631E01463B}" dt="2025-11-21T06:05:20.468" v="93198"/>
          <ac:spMkLst>
            <pc:docMk/>
            <pc:sldMk cId="217569448" sldId="2147483088"/>
            <ac:spMk id="376" creationId="{938AB63B-101F-A222-16B4-BA01A19EB2D6}"/>
          </ac:spMkLst>
        </pc:spChg>
        <pc:spChg chg="add del mod modVis">
          <ac:chgData name="Yudi Zhu" userId="571e1a55-055f-4c28-8b35-fca6dd1c1369" providerId="ADAL" clId="{75A88773-6EE1-484E-AADE-FE631E01463B}" dt="2025-11-21T06:05:29.396" v="93316"/>
          <ac:spMkLst>
            <pc:docMk/>
            <pc:sldMk cId="217569448" sldId="2147483088"/>
            <ac:spMk id="378" creationId="{79AED317-67E8-F5BC-EE25-852ACF4D5F3B}"/>
          </ac:spMkLst>
        </pc:spChg>
        <pc:spChg chg="add del mod modVis">
          <ac:chgData name="Yudi Zhu" userId="571e1a55-055f-4c28-8b35-fca6dd1c1369" providerId="ADAL" clId="{75A88773-6EE1-484E-AADE-FE631E01463B}" dt="2025-11-21T06:05:29.795" v="93434"/>
          <ac:spMkLst>
            <pc:docMk/>
            <pc:sldMk cId="217569448" sldId="2147483088"/>
            <ac:spMk id="380" creationId="{0EB73E53-AB6F-A195-F329-EAA63CFF084E}"/>
          </ac:spMkLst>
        </pc:spChg>
        <pc:spChg chg="add del mod modVis">
          <ac:chgData name="Yudi Zhu" userId="571e1a55-055f-4c28-8b35-fca6dd1c1369" providerId="ADAL" clId="{75A88773-6EE1-484E-AADE-FE631E01463B}" dt="2025-11-21T06:05:31.452" v="93552"/>
          <ac:spMkLst>
            <pc:docMk/>
            <pc:sldMk cId="217569448" sldId="2147483088"/>
            <ac:spMk id="382" creationId="{A82D98C6-6BD7-456E-8E85-75C67E28E9F3}"/>
          </ac:spMkLst>
        </pc:spChg>
        <pc:spChg chg="add del mod modVis">
          <ac:chgData name="Yudi Zhu" userId="571e1a55-055f-4c28-8b35-fca6dd1c1369" providerId="ADAL" clId="{75A88773-6EE1-484E-AADE-FE631E01463B}" dt="2025-11-21T06:05:32.866" v="93670"/>
          <ac:spMkLst>
            <pc:docMk/>
            <pc:sldMk cId="217569448" sldId="2147483088"/>
            <ac:spMk id="384" creationId="{C35C38D6-8CAD-F547-615E-11A28B9743E2}"/>
          </ac:spMkLst>
        </pc:spChg>
        <pc:spChg chg="add del mod modVis">
          <ac:chgData name="Yudi Zhu" userId="571e1a55-055f-4c28-8b35-fca6dd1c1369" providerId="ADAL" clId="{75A88773-6EE1-484E-AADE-FE631E01463B}" dt="2025-11-21T06:06:00.709" v="93893"/>
          <ac:spMkLst>
            <pc:docMk/>
            <pc:sldMk cId="217569448" sldId="2147483088"/>
            <ac:spMk id="386" creationId="{36569129-FE4E-AAB1-A398-294E44C98B28}"/>
          </ac:spMkLst>
        </pc:spChg>
        <pc:spChg chg="add del mod ord">
          <ac:chgData name="Yudi Zhu" userId="571e1a55-055f-4c28-8b35-fca6dd1c1369" providerId="ADAL" clId="{75A88773-6EE1-484E-AADE-FE631E01463B}" dt="2025-11-21T06:06:09.260" v="94252"/>
          <ac:spMkLst>
            <pc:docMk/>
            <pc:sldMk cId="217569448" sldId="2147483088"/>
            <ac:spMk id="389" creationId="{25319AEA-5F4D-464A-EE62-8A9B7BFFC820}"/>
          </ac:spMkLst>
        </pc:spChg>
        <pc:spChg chg="add del mod modVis">
          <ac:chgData name="Yudi Zhu" userId="571e1a55-055f-4c28-8b35-fca6dd1c1369" providerId="ADAL" clId="{75A88773-6EE1-484E-AADE-FE631E01463B}" dt="2025-11-21T06:06:06.125" v="94099"/>
          <ac:spMkLst>
            <pc:docMk/>
            <pc:sldMk cId="217569448" sldId="2147483088"/>
            <ac:spMk id="390" creationId="{54FA3C9E-D2AE-653D-8028-442A4F71891A}"/>
          </ac:spMkLst>
        </pc:spChg>
        <pc:spChg chg="add del mod modVis">
          <ac:chgData name="Yudi Zhu" userId="571e1a55-055f-4c28-8b35-fca6dd1c1369" providerId="ADAL" clId="{75A88773-6EE1-484E-AADE-FE631E01463B}" dt="2025-11-21T06:06:09.301" v="94329"/>
          <ac:spMkLst>
            <pc:docMk/>
            <pc:sldMk cId="217569448" sldId="2147483088"/>
            <ac:spMk id="393" creationId="{819DB75D-B6B4-12E8-FE24-A098B3D55A4F}"/>
          </ac:spMkLst>
        </pc:spChg>
        <pc:spChg chg="add del mod">
          <ac:chgData name="Yudi Zhu" userId="571e1a55-055f-4c28-8b35-fca6dd1c1369" providerId="ADAL" clId="{75A88773-6EE1-484E-AADE-FE631E01463B}" dt="2025-11-21T06:07:51.187" v="100541"/>
          <ac:spMkLst>
            <pc:docMk/>
            <pc:sldMk cId="217569448" sldId="2147483088"/>
            <ac:spMk id="398" creationId="{CAE8F987-0F50-767D-1C47-AC4FBF823800}"/>
          </ac:spMkLst>
        </pc:spChg>
        <pc:spChg chg="add del mod modVis">
          <ac:chgData name="Yudi Zhu" userId="571e1a55-055f-4c28-8b35-fca6dd1c1369" providerId="ADAL" clId="{75A88773-6EE1-484E-AADE-FE631E01463B}" dt="2025-11-21T06:06:51.903" v="94780"/>
          <ac:spMkLst>
            <pc:docMk/>
            <pc:sldMk cId="217569448" sldId="2147483088"/>
            <ac:spMk id="399" creationId="{E7D854EC-179D-CE1B-5B2E-1849F2E7CC6F}"/>
          </ac:spMkLst>
        </pc:spChg>
        <pc:spChg chg="add del mod">
          <ac:chgData name="Yudi Zhu" userId="571e1a55-055f-4c28-8b35-fca6dd1c1369" providerId="ADAL" clId="{75A88773-6EE1-484E-AADE-FE631E01463B}" dt="2025-11-21T06:07:51.187" v="100543"/>
          <ac:spMkLst>
            <pc:docMk/>
            <pc:sldMk cId="217569448" sldId="2147483088"/>
            <ac:spMk id="400" creationId="{BB7778FC-EC98-041B-B168-77F317D52E4A}"/>
          </ac:spMkLst>
        </pc:spChg>
        <pc:spChg chg="add mod">
          <ac:chgData name="Yudi Zhu" userId="571e1a55-055f-4c28-8b35-fca6dd1c1369" providerId="ADAL" clId="{75A88773-6EE1-484E-AADE-FE631E01463B}" dt="2025-11-21T06:24:18.751" v="146226"/>
          <ac:spMkLst>
            <pc:docMk/>
            <pc:sldMk cId="217569448" sldId="2147483088"/>
            <ac:spMk id="401" creationId="{78A8C0C8-EBE1-EF32-32AC-92F66EC3B80E}"/>
          </ac:spMkLst>
        </pc:spChg>
        <pc:spChg chg="add mod">
          <ac:chgData name="Yudi Zhu" userId="571e1a55-055f-4c28-8b35-fca6dd1c1369" providerId="ADAL" clId="{75A88773-6EE1-484E-AADE-FE631E01463B}" dt="2025-11-21T06:24:18.751" v="146231"/>
          <ac:spMkLst>
            <pc:docMk/>
            <pc:sldMk cId="217569448" sldId="2147483088"/>
            <ac:spMk id="402" creationId="{636A5374-1154-A833-D743-1F439E72AE6E}"/>
          </ac:spMkLst>
        </pc:spChg>
        <pc:spChg chg="add mod">
          <ac:chgData name="Yudi Zhu" userId="571e1a55-055f-4c28-8b35-fca6dd1c1369" providerId="ADAL" clId="{75A88773-6EE1-484E-AADE-FE631E01463B}" dt="2025-11-21T06:24:18.751" v="146238"/>
          <ac:spMkLst>
            <pc:docMk/>
            <pc:sldMk cId="217569448" sldId="2147483088"/>
            <ac:spMk id="403" creationId="{7AA5D109-5743-E872-0DA5-803E4818BB4A}"/>
          </ac:spMkLst>
        </pc:spChg>
        <pc:spChg chg="add del mod">
          <ac:chgData name="Yudi Zhu" userId="571e1a55-055f-4c28-8b35-fca6dd1c1369" providerId="ADAL" clId="{75A88773-6EE1-484E-AADE-FE631E01463B}" dt="2025-11-21T06:07:51.187" v="100540"/>
          <ac:spMkLst>
            <pc:docMk/>
            <pc:sldMk cId="217569448" sldId="2147483088"/>
            <ac:spMk id="405" creationId="{75BD52E4-9D3B-923D-0848-E7BE7A916BC1}"/>
          </ac:spMkLst>
        </pc:spChg>
        <pc:spChg chg="add del mod">
          <ac:chgData name="Yudi Zhu" userId="571e1a55-055f-4c28-8b35-fca6dd1c1369" providerId="ADAL" clId="{75A88773-6EE1-484E-AADE-FE631E01463B}" dt="2025-11-21T06:07:51.187" v="100542"/>
          <ac:spMkLst>
            <pc:docMk/>
            <pc:sldMk cId="217569448" sldId="2147483088"/>
            <ac:spMk id="406" creationId="{D2C43A8B-3E56-FA00-477F-D9CA7DD7CB51}"/>
          </ac:spMkLst>
        </pc:spChg>
        <pc:spChg chg="add del mod modVis">
          <ac:chgData name="Yudi Zhu" userId="571e1a55-055f-4c28-8b35-fca6dd1c1369" providerId="ADAL" clId="{75A88773-6EE1-484E-AADE-FE631E01463B}" dt="2025-11-21T06:06:58.054" v="95283"/>
          <ac:spMkLst>
            <pc:docMk/>
            <pc:sldMk cId="217569448" sldId="2147483088"/>
            <ac:spMk id="409" creationId="{C95219D1-EFE3-BAC1-41D2-F3296DBE4D2B}"/>
          </ac:spMkLst>
        </pc:spChg>
        <pc:spChg chg="add del mod">
          <ac:chgData name="Yudi Zhu" userId="571e1a55-055f-4c28-8b35-fca6dd1c1369" providerId="ADAL" clId="{75A88773-6EE1-484E-AADE-FE631E01463B}" dt="2025-11-21T06:07:51.187" v="100550"/>
          <ac:spMkLst>
            <pc:docMk/>
            <pc:sldMk cId="217569448" sldId="2147483088"/>
            <ac:spMk id="410" creationId="{FA16AB11-3D6C-9178-30D7-972319038F18}"/>
          </ac:spMkLst>
        </pc:spChg>
        <pc:spChg chg="add del mod">
          <ac:chgData name="Yudi Zhu" userId="571e1a55-055f-4c28-8b35-fca6dd1c1369" providerId="ADAL" clId="{75A88773-6EE1-484E-AADE-FE631E01463B}" dt="2025-11-21T06:07:51.187" v="100551"/>
          <ac:spMkLst>
            <pc:docMk/>
            <pc:sldMk cId="217569448" sldId="2147483088"/>
            <ac:spMk id="411" creationId="{4AFB34A5-C674-76F2-6927-1CDA21A4C102}"/>
          </ac:spMkLst>
        </pc:spChg>
        <pc:spChg chg="add del mod">
          <ac:chgData name="Yudi Zhu" userId="571e1a55-055f-4c28-8b35-fca6dd1c1369" providerId="ADAL" clId="{75A88773-6EE1-484E-AADE-FE631E01463B}" dt="2025-11-21T06:07:51.187" v="100552"/>
          <ac:spMkLst>
            <pc:docMk/>
            <pc:sldMk cId="217569448" sldId="2147483088"/>
            <ac:spMk id="412" creationId="{6C351E65-FB7B-6C95-FD03-294679DED682}"/>
          </ac:spMkLst>
        </pc:spChg>
        <pc:spChg chg="add del mod">
          <ac:chgData name="Yudi Zhu" userId="571e1a55-055f-4c28-8b35-fca6dd1c1369" providerId="ADAL" clId="{75A88773-6EE1-484E-AADE-FE631E01463B}" dt="2025-11-21T06:07:51.115" v="100453"/>
          <ac:spMkLst>
            <pc:docMk/>
            <pc:sldMk cId="217569448" sldId="2147483088"/>
            <ac:spMk id="414" creationId="{FBE3420D-6C46-9586-395F-F83E22F92D8C}"/>
          </ac:spMkLst>
        </pc:spChg>
        <pc:spChg chg="add del mod modVis">
          <ac:chgData name="Yudi Zhu" userId="571e1a55-055f-4c28-8b35-fca6dd1c1369" providerId="ADAL" clId="{75A88773-6EE1-484E-AADE-FE631E01463B}" dt="2025-11-21T06:06:59.786" v="95754"/>
          <ac:spMkLst>
            <pc:docMk/>
            <pc:sldMk cId="217569448" sldId="2147483088"/>
            <ac:spMk id="415" creationId="{ECFEA450-C773-DB20-0A38-042F50252D6A}"/>
          </ac:spMkLst>
        </pc:spChg>
        <pc:spChg chg="add del mod ord">
          <ac:chgData name="Yudi Zhu" userId="571e1a55-055f-4c28-8b35-fca6dd1c1369" providerId="ADAL" clId="{75A88773-6EE1-484E-AADE-FE631E01463B}" dt="2025-11-21T06:07:51.130" v="100464"/>
          <ac:spMkLst>
            <pc:docMk/>
            <pc:sldMk cId="217569448" sldId="2147483088"/>
            <ac:spMk id="416" creationId="{94884EB9-F955-6C02-5180-8985D1D3B673}"/>
          </ac:spMkLst>
        </pc:spChg>
        <pc:spChg chg="add del mod">
          <ac:chgData name="Yudi Zhu" userId="571e1a55-055f-4c28-8b35-fca6dd1c1369" providerId="ADAL" clId="{75A88773-6EE1-484E-AADE-FE631E01463B}" dt="2025-11-21T06:07:51.115" v="100454"/>
          <ac:spMkLst>
            <pc:docMk/>
            <pc:sldMk cId="217569448" sldId="2147483088"/>
            <ac:spMk id="417" creationId="{AFC44F13-991C-0A26-A1A2-FEF41DC05B47}"/>
          </ac:spMkLst>
        </pc:spChg>
        <pc:spChg chg="add del mod ord">
          <ac:chgData name="Yudi Zhu" userId="571e1a55-055f-4c28-8b35-fca6dd1c1369" providerId="ADAL" clId="{75A88773-6EE1-484E-AADE-FE631E01463B}" dt="2025-11-21T06:07:51.131" v="100466"/>
          <ac:spMkLst>
            <pc:docMk/>
            <pc:sldMk cId="217569448" sldId="2147483088"/>
            <ac:spMk id="418" creationId="{E9F6B33E-97A7-F770-911C-516DA7F3EFE3}"/>
          </ac:spMkLst>
        </pc:spChg>
        <pc:spChg chg="add del mod">
          <ac:chgData name="Yudi Zhu" userId="571e1a55-055f-4c28-8b35-fca6dd1c1369" providerId="ADAL" clId="{75A88773-6EE1-484E-AADE-FE631E01463B}" dt="2025-11-21T06:07:51.115" v="100455"/>
          <ac:spMkLst>
            <pc:docMk/>
            <pc:sldMk cId="217569448" sldId="2147483088"/>
            <ac:spMk id="419" creationId="{DBA780A5-756B-79D4-5C65-DC16B5AFAA47}"/>
          </ac:spMkLst>
        </pc:spChg>
        <pc:spChg chg="add del mod">
          <ac:chgData name="Yudi Zhu" userId="571e1a55-055f-4c28-8b35-fca6dd1c1369" providerId="ADAL" clId="{75A88773-6EE1-484E-AADE-FE631E01463B}" dt="2025-11-21T06:07:51.132" v="100467"/>
          <ac:spMkLst>
            <pc:docMk/>
            <pc:sldMk cId="217569448" sldId="2147483088"/>
            <ac:spMk id="420" creationId="{67B55E29-3577-B33E-E9C0-0885BC19A53A}"/>
          </ac:spMkLst>
        </pc:spChg>
        <pc:spChg chg="add mod">
          <ac:chgData name="Yudi Zhu" userId="571e1a55-055f-4c28-8b35-fca6dd1c1369" providerId="ADAL" clId="{75A88773-6EE1-484E-AADE-FE631E01463B}" dt="2025-11-21T06:24:18.751" v="146244"/>
          <ac:spMkLst>
            <pc:docMk/>
            <pc:sldMk cId="217569448" sldId="2147483088"/>
            <ac:spMk id="422" creationId="{F4D8B1F1-4362-6E60-5A02-4151EAF2B079}"/>
          </ac:spMkLst>
        </pc:spChg>
        <pc:spChg chg="add mod">
          <ac:chgData name="Yudi Zhu" userId="571e1a55-055f-4c28-8b35-fca6dd1c1369" providerId="ADAL" clId="{75A88773-6EE1-484E-AADE-FE631E01463B}" dt="2025-11-21T06:24:18.720" v="146194"/>
          <ac:spMkLst>
            <pc:docMk/>
            <pc:sldMk cId="217569448" sldId="2147483088"/>
            <ac:spMk id="423" creationId="{51C18DA4-7625-5FFC-3063-BA7CD2DD3C75}"/>
          </ac:spMkLst>
        </pc:spChg>
        <pc:spChg chg="add mod">
          <ac:chgData name="Yudi Zhu" userId="571e1a55-055f-4c28-8b35-fca6dd1c1369" providerId="ADAL" clId="{75A88773-6EE1-484E-AADE-FE631E01463B}" dt="2025-11-21T06:24:18.735" v="146200"/>
          <ac:spMkLst>
            <pc:docMk/>
            <pc:sldMk cId="217569448" sldId="2147483088"/>
            <ac:spMk id="424" creationId="{57374BBA-BA16-93CC-D18E-4BCBD9E36DA4}"/>
          </ac:spMkLst>
        </pc:spChg>
        <pc:spChg chg="add mod">
          <ac:chgData name="Yudi Zhu" userId="571e1a55-055f-4c28-8b35-fca6dd1c1369" providerId="ADAL" clId="{75A88773-6EE1-484E-AADE-FE631E01463B}" dt="2025-11-21T06:24:18.739" v="146206"/>
          <ac:spMkLst>
            <pc:docMk/>
            <pc:sldMk cId="217569448" sldId="2147483088"/>
            <ac:spMk id="425" creationId="{A399287E-C47F-FE34-B9F4-22A0A7497FA0}"/>
          </ac:spMkLst>
        </pc:spChg>
        <pc:spChg chg="add mod">
          <ac:chgData name="Yudi Zhu" userId="571e1a55-055f-4c28-8b35-fca6dd1c1369" providerId="ADAL" clId="{75A88773-6EE1-484E-AADE-FE631E01463B}" dt="2025-11-21T06:24:18.739" v="146212"/>
          <ac:spMkLst>
            <pc:docMk/>
            <pc:sldMk cId="217569448" sldId="2147483088"/>
            <ac:spMk id="426" creationId="{21499E7E-D763-E887-A40A-1C276BD80FCC}"/>
          </ac:spMkLst>
        </pc:spChg>
        <pc:spChg chg="add mod">
          <ac:chgData name="Yudi Zhu" userId="571e1a55-055f-4c28-8b35-fca6dd1c1369" providerId="ADAL" clId="{75A88773-6EE1-484E-AADE-FE631E01463B}" dt="2025-11-21T06:24:18.739" v="146218"/>
          <ac:spMkLst>
            <pc:docMk/>
            <pc:sldMk cId="217569448" sldId="2147483088"/>
            <ac:spMk id="427" creationId="{322E7C7B-B6AC-BEA9-6E93-ADD8643271A4}"/>
          </ac:spMkLst>
        </pc:spChg>
        <pc:spChg chg="add mod">
          <ac:chgData name="Yudi Zhu" userId="571e1a55-055f-4c28-8b35-fca6dd1c1369" providerId="ADAL" clId="{75A88773-6EE1-484E-AADE-FE631E01463B}" dt="2025-11-21T06:24:18.739" v="146224"/>
          <ac:spMkLst>
            <pc:docMk/>
            <pc:sldMk cId="217569448" sldId="2147483088"/>
            <ac:spMk id="428" creationId="{D86C3DF7-4FBB-2207-9E09-B31C72125ED8}"/>
          </ac:spMkLst>
        </pc:spChg>
        <pc:spChg chg="add del mod modVis">
          <ac:chgData name="Yudi Zhu" userId="571e1a55-055f-4c28-8b35-fca6dd1c1369" providerId="ADAL" clId="{75A88773-6EE1-484E-AADE-FE631E01463B}" dt="2025-11-21T06:07:21.254" v="96086"/>
          <ac:spMkLst>
            <pc:docMk/>
            <pc:sldMk cId="217569448" sldId="2147483088"/>
            <ac:spMk id="429" creationId="{DAED2A16-EDBD-8696-1D1F-0DC06B4D9314}"/>
          </ac:spMkLst>
        </pc:spChg>
        <pc:spChg chg="add del mod modVis">
          <ac:chgData name="Yudi Zhu" userId="571e1a55-055f-4c28-8b35-fca6dd1c1369" providerId="ADAL" clId="{75A88773-6EE1-484E-AADE-FE631E01463B}" dt="2025-11-21T06:07:29.502" v="96248"/>
          <ac:spMkLst>
            <pc:docMk/>
            <pc:sldMk cId="217569448" sldId="2147483088"/>
            <ac:spMk id="431" creationId="{3A32A92A-DE75-6692-03E3-561288B6A841}"/>
          </ac:spMkLst>
        </pc:spChg>
        <pc:spChg chg="add del mod">
          <ac:chgData name="Yudi Zhu" userId="571e1a55-055f-4c28-8b35-fca6dd1c1369" providerId="ADAL" clId="{75A88773-6EE1-484E-AADE-FE631E01463B}" dt="2025-11-21T06:07:51.187" v="100545"/>
          <ac:spMkLst>
            <pc:docMk/>
            <pc:sldMk cId="217569448" sldId="2147483088"/>
            <ac:spMk id="433" creationId="{A9BADA0A-2BDD-D885-B5CD-F497A876D095}"/>
          </ac:spMkLst>
        </pc:spChg>
        <pc:spChg chg="add del mod">
          <ac:chgData name="Yudi Zhu" userId="571e1a55-055f-4c28-8b35-fca6dd1c1369" providerId="ADAL" clId="{75A88773-6EE1-484E-AADE-FE631E01463B}" dt="2025-11-21T06:07:51.187" v="100547"/>
          <ac:spMkLst>
            <pc:docMk/>
            <pc:sldMk cId="217569448" sldId="2147483088"/>
            <ac:spMk id="434" creationId="{394FFF61-A0F3-11F8-1DF0-CC7F1000C90F}"/>
          </ac:spMkLst>
        </pc:spChg>
        <pc:spChg chg="add del mod">
          <ac:chgData name="Yudi Zhu" userId="571e1a55-055f-4c28-8b35-fca6dd1c1369" providerId="ADAL" clId="{75A88773-6EE1-484E-AADE-FE631E01463B}" dt="2025-11-21T06:07:51.187" v="100549"/>
          <ac:spMkLst>
            <pc:docMk/>
            <pc:sldMk cId="217569448" sldId="2147483088"/>
            <ac:spMk id="435" creationId="{88BE4823-7B11-6262-9598-12F08179126A}"/>
          </ac:spMkLst>
        </pc:spChg>
        <pc:spChg chg="add del mod">
          <ac:chgData name="Yudi Zhu" userId="571e1a55-055f-4c28-8b35-fca6dd1c1369" providerId="ADAL" clId="{75A88773-6EE1-484E-AADE-FE631E01463B}" dt="2025-11-21T06:07:48.466" v="99068"/>
          <ac:spMkLst>
            <pc:docMk/>
            <pc:sldMk cId="217569448" sldId="2147483088"/>
            <ac:spMk id="436" creationId="{059434A4-0433-6AC0-3515-BEFB1948B29D}"/>
          </ac:spMkLst>
        </pc:spChg>
        <pc:spChg chg="add del mod">
          <ac:chgData name="Yudi Zhu" userId="571e1a55-055f-4c28-8b35-fca6dd1c1369" providerId="ADAL" clId="{75A88773-6EE1-484E-AADE-FE631E01463B}" dt="2025-11-21T06:07:48.466" v="99070"/>
          <ac:spMkLst>
            <pc:docMk/>
            <pc:sldMk cId="217569448" sldId="2147483088"/>
            <ac:spMk id="437" creationId="{97F72F79-2A93-9DDD-9BEC-84C6658DEBC3}"/>
          </ac:spMkLst>
        </pc:spChg>
        <pc:spChg chg="add del mod ord">
          <ac:chgData name="Yudi Zhu" userId="571e1a55-055f-4c28-8b35-fca6dd1c1369" providerId="ADAL" clId="{75A88773-6EE1-484E-AADE-FE631E01463B}" dt="2025-11-21T06:07:48.451" v="99048"/>
          <ac:spMkLst>
            <pc:docMk/>
            <pc:sldMk cId="217569448" sldId="2147483088"/>
            <ac:spMk id="438" creationId="{7E07DD49-8F8D-5B16-3AA6-B18260D3C75D}"/>
          </ac:spMkLst>
        </pc:spChg>
        <pc:spChg chg="add del mod ord">
          <ac:chgData name="Yudi Zhu" userId="571e1a55-055f-4c28-8b35-fca6dd1c1369" providerId="ADAL" clId="{75A88773-6EE1-484E-AADE-FE631E01463B}" dt="2025-11-21T06:07:48.447" v="99028"/>
          <ac:spMkLst>
            <pc:docMk/>
            <pc:sldMk cId="217569448" sldId="2147483088"/>
            <ac:spMk id="439" creationId="{BAEEF745-BF84-4DCD-ACC6-BB314B1BE5AF}"/>
          </ac:spMkLst>
        </pc:spChg>
        <pc:spChg chg="add del mod ord">
          <ac:chgData name="Yudi Zhu" userId="571e1a55-055f-4c28-8b35-fca6dd1c1369" providerId="ADAL" clId="{75A88773-6EE1-484E-AADE-FE631E01463B}" dt="2025-11-21T06:07:51.171" v="100522"/>
          <ac:spMkLst>
            <pc:docMk/>
            <pc:sldMk cId="217569448" sldId="2147483088"/>
            <ac:spMk id="440" creationId="{EE8AF1CB-4BE0-2655-F23F-2FF3563A3A28}"/>
          </ac:spMkLst>
        </pc:spChg>
        <pc:spChg chg="add del mod ord">
          <ac:chgData name="Yudi Zhu" userId="571e1a55-055f-4c28-8b35-fca6dd1c1369" providerId="ADAL" clId="{75A88773-6EE1-484E-AADE-FE631E01463B}" dt="2025-11-21T06:07:51.155" v="100502"/>
          <ac:spMkLst>
            <pc:docMk/>
            <pc:sldMk cId="217569448" sldId="2147483088"/>
            <ac:spMk id="441" creationId="{BA01B5E3-2ABF-04A3-C8ED-C04A5569E9A2}"/>
          </ac:spMkLst>
        </pc:spChg>
        <pc:spChg chg="add del mod ord">
          <ac:chgData name="Yudi Zhu" userId="571e1a55-055f-4c28-8b35-fca6dd1c1369" providerId="ADAL" clId="{75A88773-6EE1-484E-AADE-FE631E01463B}" dt="2025-11-21T06:07:51.145" v="100482"/>
          <ac:spMkLst>
            <pc:docMk/>
            <pc:sldMk cId="217569448" sldId="2147483088"/>
            <ac:spMk id="442" creationId="{5E1860E0-8B6F-135D-B986-3EAFB188121D}"/>
          </ac:spMkLst>
        </pc:spChg>
        <pc:spChg chg="add del mod ord">
          <ac:chgData name="Yudi Zhu" userId="571e1a55-055f-4c28-8b35-fca6dd1c1369" providerId="ADAL" clId="{75A88773-6EE1-484E-AADE-FE631E01463B}" dt="2025-11-21T06:07:48.466" v="99050"/>
          <ac:spMkLst>
            <pc:docMk/>
            <pc:sldMk cId="217569448" sldId="2147483088"/>
            <ac:spMk id="443" creationId="{ACDEE513-EF9D-1FF9-B4DE-C1260F0AEACB}"/>
          </ac:spMkLst>
        </pc:spChg>
        <pc:spChg chg="add del mod ord">
          <ac:chgData name="Yudi Zhu" userId="571e1a55-055f-4c28-8b35-fca6dd1c1369" providerId="ADAL" clId="{75A88773-6EE1-484E-AADE-FE631E01463B}" dt="2025-11-21T06:07:48.451" v="99030"/>
          <ac:spMkLst>
            <pc:docMk/>
            <pc:sldMk cId="217569448" sldId="2147483088"/>
            <ac:spMk id="444" creationId="{E22F3A20-86FC-E39E-E4E7-B920825AA062}"/>
          </ac:spMkLst>
        </pc:spChg>
        <pc:spChg chg="add del mod ord">
          <ac:chgData name="Yudi Zhu" userId="571e1a55-055f-4c28-8b35-fca6dd1c1369" providerId="ADAL" clId="{75A88773-6EE1-484E-AADE-FE631E01463B}" dt="2025-11-21T06:07:51.171" v="100524"/>
          <ac:spMkLst>
            <pc:docMk/>
            <pc:sldMk cId="217569448" sldId="2147483088"/>
            <ac:spMk id="445" creationId="{FB915D69-9339-775F-5A91-DF3C34F2186D}"/>
          </ac:spMkLst>
        </pc:spChg>
        <pc:spChg chg="add del mod ord">
          <ac:chgData name="Yudi Zhu" userId="571e1a55-055f-4c28-8b35-fca6dd1c1369" providerId="ADAL" clId="{75A88773-6EE1-484E-AADE-FE631E01463B}" dt="2025-11-21T06:07:51.155" v="100504"/>
          <ac:spMkLst>
            <pc:docMk/>
            <pc:sldMk cId="217569448" sldId="2147483088"/>
            <ac:spMk id="446" creationId="{8B61AB79-D611-6416-F867-1C3656E7BBB9}"/>
          </ac:spMkLst>
        </pc:spChg>
        <pc:spChg chg="add del mod ord">
          <ac:chgData name="Yudi Zhu" userId="571e1a55-055f-4c28-8b35-fca6dd1c1369" providerId="ADAL" clId="{75A88773-6EE1-484E-AADE-FE631E01463B}" dt="2025-11-21T06:07:51.146" v="100484"/>
          <ac:spMkLst>
            <pc:docMk/>
            <pc:sldMk cId="217569448" sldId="2147483088"/>
            <ac:spMk id="447" creationId="{4238F8C3-269E-F902-373D-0E86720D9348}"/>
          </ac:spMkLst>
        </pc:spChg>
        <pc:spChg chg="add del mod ord">
          <ac:chgData name="Yudi Zhu" userId="571e1a55-055f-4c28-8b35-fca6dd1c1369" providerId="ADAL" clId="{75A88773-6EE1-484E-AADE-FE631E01463B}" dt="2025-11-21T06:07:48.466" v="99052"/>
          <ac:spMkLst>
            <pc:docMk/>
            <pc:sldMk cId="217569448" sldId="2147483088"/>
            <ac:spMk id="448" creationId="{B881A9D2-F3F7-0463-292D-37E9CA1BCCB1}"/>
          </ac:spMkLst>
        </pc:spChg>
        <pc:spChg chg="add del mod ord">
          <ac:chgData name="Yudi Zhu" userId="571e1a55-055f-4c28-8b35-fca6dd1c1369" providerId="ADAL" clId="{75A88773-6EE1-484E-AADE-FE631E01463B}" dt="2025-11-21T06:07:48.451" v="99032"/>
          <ac:spMkLst>
            <pc:docMk/>
            <pc:sldMk cId="217569448" sldId="2147483088"/>
            <ac:spMk id="449" creationId="{23023044-C695-9A9C-199D-FC5E17E8276A}"/>
          </ac:spMkLst>
        </pc:spChg>
        <pc:spChg chg="add del mod ord">
          <ac:chgData name="Yudi Zhu" userId="571e1a55-055f-4c28-8b35-fca6dd1c1369" providerId="ADAL" clId="{75A88773-6EE1-484E-AADE-FE631E01463B}" dt="2025-11-21T06:07:51.171" v="100526"/>
          <ac:spMkLst>
            <pc:docMk/>
            <pc:sldMk cId="217569448" sldId="2147483088"/>
            <ac:spMk id="450" creationId="{CE078B96-0B8A-8990-F515-39056CF09720}"/>
          </ac:spMkLst>
        </pc:spChg>
        <pc:spChg chg="add del mod ord">
          <ac:chgData name="Yudi Zhu" userId="571e1a55-055f-4c28-8b35-fca6dd1c1369" providerId="ADAL" clId="{75A88773-6EE1-484E-AADE-FE631E01463B}" dt="2025-11-21T06:07:51.155" v="100506"/>
          <ac:spMkLst>
            <pc:docMk/>
            <pc:sldMk cId="217569448" sldId="2147483088"/>
            <ac:spMk id="451" creationId="{2C3F3132-616B-74AF-0CD5-4682E745680C}"/>
          </ac:spMkLst>
        </pc:spChg>
        <pc:spChg chg="add del mod ord">
          <ac:chgData name="Yudi Zhu" userId="571e1a55-055f-4c28-8b35-fca6dd1c1369" providerId="ADAL" clId="{75A88773-6EE1-484E-AADE-FE631E01463B}" dt="2025-11-21T06:07:51.148" v="100486"/>
          <ac:spMkLst>
            <pc:docMk/>
            <pc:sldMk cId="217569448" sldId="2147483088"/>
            <ac:spMk id="452" creationId="{1BB4BFCE-1ABA-27FB-55D2-09A03CE87CE7}"/>
          </ac:spMkLst>
        </pc:spChg>
        <pc:spChg chg="add del mod">
          <ac:chgData name="Yudi Zhu" userId="571e1a55-055f-4c28-8b35-fca6dd1c1369" providerId="ADAL" clId="{75A88773-6EE1-484E-AADE-FE631E01463B}" dt="2025-11-21T06:07:51.187" v="100553"/>
          <ac:spMkLst>
            <pc:docMk/>
            <pc:sldMk cId="217569448" sldId="2147483088"/>
            <ac:spMk id="453" creationId="{4035B2C5-FCB9-47B6-4A27-8DFE6D6EC909}"/>
          </ac:spMkLst>
        </pc:spChg>
        <pc:spChg chg="add del mod ord">
          <ac:chgData name="Yudi Zhu" userId="571e1a55-055f-4c28-8b35-fca6dd1c1369" providerId="ADAL" clId="{75A88773-6EE1-484E-AADE-FE631E01463B}" dt="2025-11-21T06:07:48.466" v="99054"/>
          <ac:spMkLst>
            <pc:docMk/>
            <pc:sldMk cId="217569448" sldId="2147483088"/>
            <ac:spMk id="454" creationId="{279083C1-ED79-047D-A714-6B9A0A6D39DE}"/>
          </ac:spMkLst>
        </pc:spChg>
        <pc:spChg chg="add del mod ord">
          <ac:chgData name="Yudi Zhu" userId="571e1a55-055f-4c28-8b35-fca6dd1c1369" providerId="ADAL" clId="{75A88773-6EE1-484E-AADE-FE631E01463B}" dt="2025-11-21T06:07:48.451" v="99034"/>
          <ac:spMkLst>
            <pc:docMk/>
            <pc:sldMk cId="217569448" sldId="2147483088"/>
            <ac:spMk id="455" creationId="{29106298-C308-9ADC-E97A-837D67E6984C}"/>
          </ac:spMkLst>
        </pc:spChg>
        <pc:spChg chg="add del mod ord">
          <ac:chgData name="Yudi Zhu" userId="571e1a55-055f-4c28-8b35-fca6dd1c1369" providerId="ADAL" clId="{75A88773-6EE1-484E-AADE-FE631E01463B}" dt="2025-11-21T06:07:51.171" v="100528"/>
          <ac:spMkLst>
            <pc:docMk/>
            <pc:sldMk cId="217569448" sldId="2147483088"/>
            <ac:spMk id="456" creationId="{CF2C238C-BC9F-14FC-5E56-BA8F16C3EBA9}"/>
          </ac:spMkLst>
        </pc:spChg>
        <pc:spChg chg="add del mod ord">
          <ac:chgData name="Yudi Zhu" userId="571e1a55-055f-4c28-8b35-fca6dd1c1369" providerId="ADAL" clId="{75A88773-6EE1-484E-AADE-FE631E01463B}" dt="2025-11-21T06:07:51.155" v="100508"/>
          <ac:spMkLst>
            <pc:docMk/>
            <pc:sldMk cId="217569448" sldId="2147483088"/>
            <ac:spMk id="457" creationId="{3DBFD078-08E5-F9EC-DF63-8DEB471B38C6}"/>
          </ac:spMkLst>
        </pc:spChg>
        <pc:spChg chg="add del mod ord">
          <ac:chgData name="Yudi Zhu" userId="571e1a55-055f-4c28-8b35-fca6dd1c1369" providerId="ADAL" clId="{75A88773-6EE1-484E-AADE-FE631E01463B}" dt="2025-11-21T06:07:51.149" v="100488"/>
          <ac:spMkLst>
            <pc:docMk/>
            <pc:sldMk cId="217569448" sldId="2147483088"/>
            <ac:spMk id="458" creationId="{04DFD542-3EAB-CD42-A343-344F36C1FCB5}"/>
          </ac:spMkLst>
        </pc:spChg>
        <pc:spChg chg="add del mod ord">
          <ac:chgData name="Yudi Zhu" userId="571e1a55-055f-4c28-8b35-fca6dd1c1369" providerId="ADAL" clId="{75A88773-6EE1-484E-AADE-FE631E01463B}" dt="2025-11-21T06:07:51.133" v="100469"/>
          <ac:spMkLst>
            <pc:docMk/>
            <pc:sldMk cId="217569448" sldId="2147483088"/>
            <ac:spMk id="459" creationId="{5F789700-AC0C-466B-A64F-1F2283D77653}"/>
          </ac:spMkLst>
        </pc:spChg>
        <pc:spChg chg="add del mod">
          <ac:chgData name="Yudi Zhu" userId="571e1a55-055f-4c28-8b35-fca6dd1c1369" providerId="ADAL" clId="{75A88773-6EE1-484E-AADE-FE631E01463B}" dt="2025-11-21T06:07:51.123" v="100456"/>
          <ac:spMkLst>
            <pc:docMk/>
            <pc:sldMk cId="217569448" sldId="2147483088"/>
            <ac:spMk id="460" creationId="{54404363-87B7-50CC-94CF-7296F7A88BD0}"/>
          </ac:spMkLst>
        </pc:spChg>
        <pc:spChg chg="add del mod">
          <ac:chgData name="Yudi Zhu" userId="571e1a55-055f-4c28-8b35-fca6dd1c1369" providerId="ADAL" clId="{75A88773-6EE1-484E-AADE-FE631E01463B}" dt="2025-11-21T06:07:51.187" v="100554"/>
          <ac:spMkLst>
            <pc:docMk/>
            <pc:sldMk cId="217569448" sldId="2147483088"/>
            <ac:spMk id="461" creationId="{96E06184-7711-0211-6CEC-9ED846EF6D56}"/>
          </ac:spMkLst>
        </pc:spChg>
        <pc:spChg chg="add del mod ord">
          <ac:chgData name="Yudi Zhu" userId="571e1a55-055f-4c28-8b35-fca6dd1c1369" providerId="ADAL" clId="{75A88773-6EE1-484E-AADE-FE631E01463B}" dt="2025-11-21T06:07:48.466" v="99056"/>
          <ac:spMkLst>
            <pc:docMk/>
            <pc:sldMk cId="217569448" sldId="2147483088"/>
            <ac:spMk id="462" creationId="{E4752FDC-F50A-D3BC-EFAB-15FF7B7A411D}"/>
          </ac:spMkLst>
        </pc:spChg>
        <pc:spChg chg="add del mod ord">
          <ac:chgData name="Yudi Zhu" userId="571e1a55-055f-4c28-8b35-fca6dd1c1369" providerId="ADAL" clId="{75A88773-6EE1-484E-AADE-FE631E01463B}" dt="2025-11-21T06:07:48.451" v="99036"/>
          <ac:spMkLst>
            <pc:docMk/>
            <pc:sldMk cId="217569448" sldId="2147483088"/>
            <ac:spMk id="463" creationId="{A37E957E-F2DA-5CB1-46DE-0FF45F055D58}"/>
          </ac:spMkLst>
        </pc:spChg>
        <pc:spChg chg="add del mod ord">
          <ac:chgData name="Yudi Zhu" userId="571e1a55-055f-4c28-8b35-fca6dd1c1369" providerId="ADAL" clId="{75A88773-6EE1-484E-AADE-FE631E01463B}" dt="2025-11-21T06:07:51.171" v="100530"/>
          <ac:spMkLst>
            <pc:docMk/>
            <pc:sldMk cId="217569448" sldId="2147483088"/>
            <ac:spMk id="464" creationId="{A2C26565-0832-91B7-1004-F033B823B2B4}"/>
          </ac:spMkLst>
        </pc:spChg>
        <pc:spChg chg="add del mod ord">
          <ac:chgData name="Yudi Zhu" userId="571e1a55-055f-4c28-8b35-fca6dd1c1369" providerId="ADAL" clId="{75A88773-6EE1-484E-AADE-FE631E01463B}" dt="2025-11-21T06:07:51.155" v="100510"/>
          <ac:spMkLst>
            <pc:docMk/>
            <pc:sldMk cId="217569448" sldId="2147483088"/>
            <ac:spMk id="465" creationId="{DCBC2C2D-F451-0523-A50B-086D0CC87398}"/>
          </ac:spMkLst>
        </pc:spChg>
        <pc:spChg chg="add del mod ord">
          <ac:chgData name="Yudi Zhu" userId="571e1a55-055f-4c28-8b35-fca6dd1c1369" providerId="ADAL" clId="{75A88773-6EE1-484E-AADE-FE631E01463B}" dt="2025-11-21T06:07:51.151" v="100490"/>
          <ac:spMkLst>
            <pc:docMk/>
            <pc:sldMk cId="217569448" sldId="2147483088"/>
            <ac:spMk id="466" creationId="{06CFB2D6-826C-2D2E-81E3-2DA6B90FEE60}"/>
          </ac:spMkLst>
        </pc:spChg>
        <pc:spChg chg="add del mod ord">
          <ac:chgData name="Yudi Zhu" userId="571e1a55-055f-4c28-8b35-fca6dd1c1369" providerId="ADAL" clId="{75A88773-6EE1-484E-AADE-FE631E01463B}" dt="2025-11-21T06:07:51.135" v="100471"/>
          <ac:spMkLst>
            <pc:docMk/>
            <pc:sldMk cId="217569448" sldId="2147483088"/>
            <ac:spMk id="467" creationId="{08EA49D0-1FD7-69BA-27EE-D6181586C459}"/>
          </ac:spMkLst>
        </pc:spChg>
        <pc:spChg chg="add del mod">
          <ac:chgData name="Yudi Zhu" userId="571e1a55-055f-4c28-8b35-fca6dd1c1369" providerId="ADAL" clId="{75A88773-6EE1-484E-AADE-FE631E01463B}" dt="2025-11-21T06:07:51.124" v="100457"/>
          <ac:spMkLst>
            <pc:docMk/>
            <pc:sldMk cId="217569448" sldId="2147483088"/>
            <ac:spMk id="468" creationId="{A898F3A1-EB8E-11C8-3760-9C60AC43DCE7}"/>
          </ac:spMkLst>
        </pc:spChg>
        <pc:spChg chg="add del mod">
          <ac:chgData name="Yudi Zhu" userId="571e1a55-055f-4c28-8b35-fca6dd1c1369" providerId="ADAL" clId="{75A88773-6EE1-484E-AADE-FE631E01463B}" dt="2025-11-21T06:07:51.187" v="100555"/>
          <ac:spMkLst>
            <pc:docMk/>
            <pc:sldMk cId="217569448" sldId="2147483088"/>
            <ac:spMk id="469" creationId="{85ED6DB3-4D49-293D-02CA-711B54C2E887}"/>
          </ac:spMkLst>
        </pc:spChg>
        <pc:spChg chg="add del mod ord">
          <ac:chgData name="Yudi Zhu" userId="571e1a55-055f-4c28-8b35-fca6dd1c1369" providerId="ADAL" clId="{75A88773-6EE1-484E-AADE-FE631E01463B}" dt="2025-11-21T06:07:48.466" v="99058"/>
          <ac:spMkLst>
            <pc:docMk/>
            <pc:sldMk cId="217569448" sldId="2147483088"/>
            <ac:spMk id="470" creationId="{2C65BDE6-ED45-7C9D-A532-C1C958BA8198}"/>
          </ac:spMkLst>
        </pc:spChg>
        <pc:spChg chg="add del mod ord">
          <ac:chgData name="Yudi Zhu" userId="571e1a55-055f-4c28-8b35-fca6dd1c1369" providerId="ADAL" clId="{75A88773-6EE1-484E-AADE-FE631E01463B}" dt="2025-11-21T06:07:48.451" v="99038"/>
          <ac:spMkLst>
            <pc:docMk/>
            <pc:sldMk cId="217569448" sldId="2147483088"/>
            <ac:spMk id="471" creationId="{3ABEC6CB-4F65-A083-A23C-44BDEC1E6F53}"/>
          </ac:spMkLst>
        </pc:spChg>
        <pc:spChg chg="add del mod ord">
          <ac:chgData name="Yudi Zhu" userId="571e1a55-055f-4c28-8b35-fca6dd1c1369" providerId="ADAL" clId="{75A88773-6EE1-484E-AADE-FE631E01463B}" dt="2025-11-21T06:07:51.171" v="100532"/>
          <ac:spMkLst>
            <pc:docMk/>
            <pc:sldMk cId="217569448" sldId="2147483088"/>
            <ac:spMk id="472" creationId="{DF170FE0-529B-23A8-1497-BBDE1FBA72E3}"/>
          </ac:spMkLst>
        </pc:spChg>
        <pc:spChg chg="add del mod ord">
          <ac:chgData name="Yudi Zhu" userId="571e1a55-055f-4c28-8b35-fca6dd1c1369" providerId="ADAL" clId="{75A88773-6EE1-484E-AADE-FE631E01463B}" dt="2025-11-21T06:07:51.155" v="100512"/>
          <ac:spMkLst>
            <pc:docMk/>
            <pc:sldMk cId="217569448" sldId="2147483088"/>
            <ac:spMk id="473" creationId="{6039EB69-6C17-D941-50ED-6846FF925505}"/>
          </ac:spMkLst>
        </pc:spChg>
        <pc:spChg chg="add del mod ord">
          <ac:chgData name="Yudi Zhu" userId="571e1a55-055f-4c28-8b35-fca6dd1c1369" providerId="ADAL" clId="{75A88773-6EE1-484E-AADE-FE631E01463B}" dt="2025-11-21T06:07:51.152" v="100492"/>
          <ac:spMkLst>
            <pc:docMk/>
            <pc:sldMk cId="217569448" sldId="2147483088"/>
            <ac:spMk id="474" creationId="{5A94AEB6-F711-012F-2D8A-C5552D8E9FCF}"/>
          </ac:spMkLst>
        </pc:spChg>
        <pc:spChg chg="add del mod ord">
          <ac:chgData name="Yudi Zhu" userId="571e1a55-055f-4c28-8b35-fca6dd1c1369" providerId="ADAL" clId="{75A88773-6EE1-484E-AADE-FE631E01463B}" dt="2025-11-21T06:07:51.137" v="100473"/>
          <ac:spMkLst>
            <pc:docMk/>
            <pc:sldMk cId="217569448" sldId="2147483088"/>
            <ac:spMk id="475" creationId="{319C6C87-FBD9-8086-DFDF-D6CE79BBE938}"/>
          </ac:spMkLst>
        </pc:spChg>
        <pc:spChg chg="add del mod">
          <ac:chgData name="Yudi Zhu" userId="571e1a55-055f-4c28-8b35-fca6dd1c1369" providerId="ADAL" clId="{75A88773-6EE1-484E-AADE-FE631E01463B}" dt="2025-11-21T06:07:51.125" v="100458"/>
          <ac:spMkLst>
            <pc:docMk/>
            <pc:sldMk cId="217569448" sldId="2147483088"/>
            <ac:spMk id="476" creationId="{CEB2DCFE-1DD4-88DC-B507-167A0ABB83CC}"/>
          </ac:spMkLst>
        </pc:spChg>
        <pc:spChg chg="add del mod">
          <ac:chgData name="Yudi Zhu" userId="571e1a55-055f-4c28-8b35-fca6dd1c1369" providerId="ADAL" clId="{75A88773-6EE1-484E-AADE-FE631E01463B}" dt="2025-11-21T06:07:51.187" v="100556"/>
          <ac:spMkLst>
            <pc:docMk/>
            <pc:sldMk cId="217569448" sldId="2147483088"/>
            <ac:spMk id="477" creationId="{51864407-438E-9299-31E7-F918848133AC}"/>
          </ac:spMkLst>
        </pc:spChg>
        <pc:spChg chg="add del mod ord">
          <ac:chgData name="Yudi Zhu" userId="571e1a55-055f-4c28-8b35-fca6dd1c1369" providerId="ADAL" clId="{75A88773-6EE1-484E-AADE-FE631E01463B}" dt="2025-11-21T06:07:48.466" v="99060"/>
          <ac:spMkLst>
            <pc:docMk/>
            <pc:sldMk cId="217569448" sldId="2147483088"/>
            <ac:spMk id="478" creationId="{66A66EC7-2287-8F58-9F6F-D4488CE8B2C0}"/>
          </ac:spMkLst>
        </pc:spChg>
        <pc:spChg chg="add del mod ord">
          <ac:chgData name="Yudi Zhu" userId="571e1a55-055f-4c28-8b35-fca6dd1c1369" providerId="ADAL" clId="{75A88773-6EE1-484E-AADE-FE631E01463B}" dt="2025-11-21T06:07:48.451" v="99040"/>
          <ac:spMkLst>
            <pc:docMk/>
            <pc:sldMk cId="217569448" sldId="2147483088"/>
            <ac:spMk id="479" creationId="{D81F6DBF-137B-922F-B2E9-DF759B64F8D8}"/>
          </ac:spMkLst>
        </pc:spChg>
        <pc:spChg chg="add del mod ord">
          <ac:chgData name="Yudi Zhu" userId="571e1a55-055f-4c28-8b35-fca6dd1c1369" providerId="ADAL" clId="{75A88773-6EE1-484E-AADE-FE631E01463B}" dt="2025-11-21T06:07:51.171" v="100534"/>
          <ac:spMkLst>
            <pc:docMk/>
            <pc:sldMk cId="217569448" sldId="2147483088"/>
            <ac:spMk id="480" creationId="{B134312E-F85F-151F-CD1A-62E87A3283A2}"/>
          </ac:spMkLst>
        </pc:spChg>
        <pc:spChg chg="add del mod ord">
          <ac:chgData name="Yudi Zhu" userId="571e1a55-055f-4c28-8b35-fca6dd1c1369" providerId="ADAL" clId="{75A88773-6EE1-484E-AADE-FE631E01463B}" dt="2025-11-21T06:07:51.155" v="100514"/>
          <ac:spMkLst>
            <pc:docMk/>
            <pc:sldMk cId="217569448" sldId="2147483088"/>
            <ac:spMk id="481" creationId="{7EC08B74-BCDA-559A-5FCF-91B291439F20}"/>
          </ac:spMkLst>
        </pc:spChg>
        <pc:spChg chg="add del mod ord">
          <ac:chgData name="Yudi Zhu" userId="571e1a55-055f-4c28-8b35-fca6dd1c1369" providerId="ADAL" clId="{75A88773-6EE1-484E-AADE-FE631E01463B}" dt="2025-11-21T06:07:51.154" v="100494"/>
          <ac:spMkLst>
            <pc:docMk/>
            <pc:sldMk cId="217569448" sldId="2147483088"/>
            <ac:spMk id="482" creationId="{3D5EAAC5-E0FD-A80B-C1FC-174716115CBB}"/>
          </ac:spMkLst>
        </pc:spChg>
        <pc:spChg chg="add del mod ord">
          <ac:chgData name="Yudi Zhu" userId="571e1a55-055f-4c28-8b35-fca6dd1c1369" providerId="ADAL" clId="{75A88773-6EE1-484E-AADE-FE631E01463B}" dt="2025-11-21T06:07:51.138" v="100475"/>
          <ac:spMkLst>
            <pc:docMk/>
            <pc:sldMk cId="217569448" sldId="2147483088"/>
            <ac:spMk id="483" creationId="{F2799AC4-1D73-6283-3894-8FAAE909F266}"/>
          </ac:spMkLst>
        </pc:spChg>
        <pc:spChg chg="add del mod">
          <ac:chgData name="Yudi Zhu" userId="571e1a55-055f-4c28-8b35-fca6dd1c1369" providerId="ADAL" clId="{75A88773-6EE1-484E-AADE-FE631E01463B}" dt="2025-11-21T06:07:51.126" v="100459"/>
          <ac:spMkLst>
            <pc:docMk/>
            <pc:sldMk cId="217569448" sldId="2147483088"/>
            <ac:spMk id="484" creationId="{96C6E834-0474-7046-0772-BAA5B58A01EE}"/>
          </ac:spMkLst>
        </pc:spChg>
        <pc:spChg chg="add del mod">
          <ac:chgData name="Yudi Zhu" userId="571e1a55-055f-4c28-8b35-fca6dd1c1369" providerId="ADAL" clId="{75A88773-6EE1-484E-AADE-FE631E01463B}" dt="2025-11-21T06:07:51.187" v="100557"/>
          <ac:spMkLst>
            <pc:docMk/>
            <pc:sldMk cId="217569448" sldId="2147483088"/>
            <ac:spMk id="485" creationId="{A506A467-8F86-8FC5-AC45-E55C24997BAE}"/>
          </ac:spMkLst>
        </pc:spChg>
        <pc:spChg chg="add del mod ord">
          <ac:chgData name="Yudi Zhu" userId="571e1a55-055f-4c28-8b35-fca6dd1c1369" providerId="ADAL" clId="{75A88773-6EE1-484E-AADE-FE631E01463B}" dt="2025-11-21T06:07:48.466" v="99062"/>
          <ac:spMkLst>
            <pc:docMk/>
            <pc:sldMk cId="217569448" sldId="2147483088"/>
            <ac:spMk id="486" creationId="{19044831-870D-71A7-344A-6D92F4DDC93D}"/>
          </ac:spMkLst>
        </pc:spChg>
        <pc:spChg chg="add del mod ord">
          <ac:chgData name="Yudi Zhu" userId="571e1a55-055f-4c28-8b35-fca6dd1c1369" providerId="ADAL" clId="{75A88773-6EE1-484E-AADE-FE631E01463B}" dt="2025-11-21T06:07:48.451" v="99042"/>
          <ac:spMkLst>
            <pc:docMk/>
            <pc:sldMk cId="217569448" sldId="2147483088"/>
            <ac:spMk id="487" creationId="{3539E755-EA11-3650-E24F-2098806C2D51}"/>
          </ac:spMkLst>
        </pc:spChg>
        <pc:spChg chg="add del mod ord">
          <ac:chgData name="Yudi Zhu" userId="571e1a55-055f-4c28-8b35-fca6dd1c1369" providerId="ADAL" clId="{75A88773-6EE1-484E-AADE-FE631E01463B}" dt="2025-11-21T06:07:51.171" v="100536"/>
          <ac:spMkLst>
            <pc:docMk/>
            <pc:sldMk cId="217569448" sldId="2147483088"/>
            <ac:spMk id="488" creationId="{F246EE2A-0CCA-CE92-1457-BD9EDD57EEAA}"/>
          </ac:spMkLst>
        </pc:spChg>
        <pc:spChg chg="add del mod ord">
          <ac:chgData name="Yudi Zhu" userId="571e1a55-055f-4c28-8b35-fca6dd1c1369" providerId="ADAL" clId="{75A88773-6EE1-484E-AADE-FE631E01463B}" dt="2025-11-21T06:07:51.171" v="100516"/>
          <ac:spMkLst>
            <pc:docMk/>
            <pc:sldMk cId="217569448" sldId="2147483088"/>
            <ac:spMk id="489" creationId="{8CD3BCA5-5D3A-EE46-153A-C2391A798DCD}"/>
          </ac:spMkLst>
        </pc:spChg>
        <pc:spChg chg="add del mod ord">
          <ac:chgData name="Yudi Zhu" userId="571e1a55-055f-4c28-8b35-fca6dd1c1369" providerId="ADAL" clId="{75A88773-6EE1-484E-AADE-FE631E01463B}" dt="2025-11-21T06:07:51.155" v="100496"/>
          <ac:spMkLst>
            <pc:docMk/>
            <pc:sldMk cId="217569448" sldId="2147483088"/>
            <ac:spMk id="490" creationId="{5D039509-89A7-3163-C54A-CBF68B1FB689}"/>
          </ac:spMkLst>
        </pc:spChg>
        <pc:spChg chg="add del mod ord">
          <ac:chgData name="Yudi Zhu" userId="571e1a55-055f-4c28-8b35-fca6dd1c1369" providerId="ADAL" clId="{75A88773-6EE1-484E-AADE-FE631E01463B}" dt="2025-11-21T06:07:51.141" v="100477"/>
          <ac:spMkLst>
            <pc:docMk/>
            <pc:sldMk cId="217569448" sldId="2147483088"/>
            <ac:spMk id="491" creationId="{E4768660-56EA-BE4C-3C9E-BC0C458F34DC}"/>
          </ac:spMkLst>
        </pc:spChg>
        <pc:spChg chg="add del mod">
          <ac:chgData name="Yudi Zhu" userId="571e1a55-055f-4c28-8b35-fca6dd1c1369" providerId="ADAL" clId="{75A88773-6EE1-484E-AADE-FE631E01463B}" dt="2025-11-21T06:07:51.127" v="100460"/>
          <ac:spMkLst>
            <pc:docMk/>
            <pc:sldMk cId="217569448" sldId="2147483088"/>
            <ac:spMk id="492" creationId="{8FF91D08-6865-66D9-64E4-3655E1C7C837}"/>
          </ac:spMkLst>
        </pc:spChg>
        <pc:spChg chg="add del mod">
          <ac:chgData name="Yudi Zhu" userId="571e1a55-055f-4c28-8b35-fca6dd1c1369" providerId="ADAL" clId="{75A88773-6EE1-484E-AADE-FE631E01463B}" dt="2025-11-21T06:07:51.187" v="100558"/>
          <ac:spMkLst>
            <pc:docMk/>
            <pc:sldMk cId="217569448" sldId="2147483088"/>
            <ac:spMk id="493" creationId="{4E4A7324-125C-F233-5011-673E2B333FB1}"/>
          </ac:spMkLst>
        </pc:spChg>
        <pc:spChg chg="add del mod ord">
          <ac:chgData name="Yudi Zhu" userId="571e1a55-055f-4c28-8b35-fca6dd1c1369" providerId="ADAL" clId="{75A88773-6EE1-484E-AADE-FE631E01463B}" dt="2025-11-21T06:07:48.466" v="99064"/>
          <ac:spMkLst>
            <pc:docMk/>
            <pc:sldMk cId="217569448" sldId="2147483088"/>
            <ac:spMk id="494" creationId="{143ED39F-AC21-91EC-4305-602A3B8E3B1F}"/>
          </ac:spMkLst>
        </pc:spChg>
        <pc:spChg chg="add del mod ord">
          <ac:chgData name="Yudi Zhu" userId="571e1a55-055f-4c28-8b35-fca6dd1c1369" providerId="ADAL" clId="{75A88773-6EE1-484E-AADE-FE631E01463B}" dt="2025-11-21T06:07:48.451" v="99044"/>
          <ac:spMkLst>
            <pc:docMk/>
            <pc:sldMk cId="217569448" sldId="2147483088"/>
            <ac:spMk id="495" creationId="{5DF598FA-9662-453F-9CD1-CDCBD9A710FF}"/>
          </ac:spMkLst>
        </pc:spChg>
        <pc:spChg chg="add del mod ord">
          <ac:chgData name="Yudi Zhu" userId="571e1a55-055f-4c28-8b35-fca6dd1c1369" providerId="ADAL" clId="{75A88773-6EE1-484E-AADE-FE631E01463B}" dt="2025-11-21T06:07:51.171" v="100537"/>
          <ac:spMkLst>
            <pc:docMk/>
            <pc:sldMk cId="217569448" sldId="2147483088"/>
            <ac:spMk id="496" creationId="{73286D73-793F-31D7-D6ED-AA896CC571D2}"/>
          </ac:spMkLst>
        </pc:spChg>
        <pc:spChg chg="add del mod ord">
          <ac:chgData name="Yudi Zhu" userId="571e1a55-055f-4c28-8b35-fca6dd1c1369" providerId="ADAL" clId="{75A88773-6EE1-484E-AADE-FE631E01463B}" dt="2025-11-21T06:07:51.171" v="100518"/>
          <ac:spMkLst>
            <pc:docMk/>
            <pc:sldMk cId="217569448" sldId="2147483088"/>
            <ac:spMk id="497" creationId="{CA0BE907-FEB0-E2F2-0D35-4FE621148D27}"/>
          </ac:spMkLst>
        </pc:spChg>
        <pc:spChg chg="add del mod ord">
          <ac:chgData name="Yudi Zhu" userId="571e1a55-055f-4c28-8b35-fca6dd1c1369" providerId="ADAL" clId="{75A88773-6EE1-484E-AADE-FE631E01463B}" dt="2025-11-21T06:07:51.155" v="100498"/>
          <ac:spMkLst>
            <pc:docMk/>
            <pc:sldMk cId="217569448" sldId="2147483088"/>
            <ac:spMk id="498" creationId="{A2A36A12-7706-0800-9C5A-0D4A659A62FE}"/>
          </ac:spMkLst>
        </pc:spChg>
        <pc:spChg chg="add del mod ord">
          <ac:chgData name="Yudi Zhu" userId="571e1a55-055f-4c28-8b35-fca6dd1c1369" providerId="ADAL" clId="{75A88773-6EE1-484E-AADE-FE631E01463B}" dt="2025-11-21T06:07:51.142" v="100479"/>
          <ac:spMkLst>
            <pc:docMk/>
            <pc:sldMk cId="217569448" sldId="2147483088"/>
            <ac:spMk id="499" creationId="{22E3B7A6-3A29-57B7-5EDC-7399924008DA}"/>
          </ac:spMkLst>
        </pc:spChg>
        <pc:spChg chg="add del mod">
          <ac:chgData name="Yudi Zhu" userId="571e1a55-055f-4c28-8b35-fca6dd1c1369" providerId="ADAL" clId="{75A88773-6EE1-484E-AADE-FE631E01463B}" dt="2025-11-21T06:07:51.127" v="100461"/>
          <ac:spMkLst>
            <pc:docMk/>
            <pc:sldMk cId="217569448" sldId="2147483088"/>
            <ac:spMk id="500" creationId="{60AB1C3A-44BF-0FD8-2516-BD89DA4A2DFD}"/>
          </ac:spMkLst>
        </pc:spChg>
        <pc:spChg chg="add del mod">
          <ac:chgData name="Yudi Zhu" userId="571e1a55-055f-4c28-8b35-fca6dd1c1369" providerId="ADAL" clId="{75A88773-6EE1-484E-AADE-FE631E01463B}" dt="2025-11-21T06:07:51.187" v="100559"/>
          <ac:spMkLst>
            <pc:docMk/>
            <pc:sldMk cId="217569448" sldId="2147483088"/>
            <ac:spMk id="501" creationId="{94311DE3-6677-6C49-68D7-FEA3D6276888}"/>
          </ac:spMkLst>
        </pc:spChg>
        <pc:spChg chg="add del mod ord">
          <ac:chgData name="Yudi Zhu" userId="571e1a55-055f-4c28-8b35-fca6dd1c1369" providerId="ADAL" clId="{75A88773-6EE1-484E-AADE-FE631E01463B}" dt="2025-11-21T06:07:48.466" v="99066"/>
          <ac:spMkLst>
            <pc:docMk/>
            <pc:sldMk cId="217569448" sldId="2147483088"/>
            <ac:spMk id="502" creationId="{F863436F-D483-BA7A-C13F-2F15BD8BDE8A}"/>
          </ac:spMkLst>
        </pc:spChg>
        <pc:spChg chg="add del mod ord">
          <ac:chgData name="Yudi Zhu" userId="571e1a55-055f-4c28-8b35-fca6dd1c1369" providerId="ADAL" clId="{75A88773-6EE1-484E-AADE-FE631E01463B}" dt="2025-11-21T06:07:48.451" v="99046"/>
          <ac:spMkLst>
            <pc:docMk/>
            <pc:sldMk cId="217569448" sldId="2147483088"/>
            <ac:spMk id="503" creationId="{C6C5E073-0FC9-DD85-4E5D-EA598A533171}"/>
          </ac:spMkLst>
        </pc:spChg>
        <pc:spChg chg="add del mod ord">
          <ac:chgData name="Yudi Zhu" userId="571e1a55-055f-4c28-8b35-fca6dd1c1369" providerId="ADAL" clId="{75A88773-6EE1-484E-AADE-FE631E01463B}" dt="2025-11-21T06:07:51.171" v="100539"/>
          <ac:spMkLst>
            <pc:docMk/>
            <pc:sldMk cId="217569448" sldId="2147483088"/>
            <ac:spMk id="504" creationId="{7B6260DA-4EE2-CB48-BEE3-9900FBB0B6EC}"/>
          </ac:spMkLst>
        </pc:spChg>
        <pc:spChg chg="add del mod ord">
          <ac:chgData name="Yudi Zhu" userId="571e1a55-055f-4c28-8b35-fca6dd1c1369" providerId="ADAL" clId="{75A88773-6EE1-484E-AADE-FE631E01463B}" dt="2025-11-21T06:07:51.171" v="100520"/>
          <ac:spMkLst>
            <pc:docMk/>
            <pc:sldMk cId="217569448" sldId="2147483088"/>
            <ac:spMk id="505" creationId="{890EC17C-837A-0FD6-C5AC-0E5C8FF14B07}"/>
          </ac:spMkLst>
        </pc:spChg>
        <pc:spChg chg="add del mod ord">
          <ac:chgData name="Yudi Zhu" userId="571e1a55-055f-4c28-8b35-fca6dd1c1369" providerId="ADAL" clId="{75A88773-6EE1-484E-AADE-FE631E01463B}" dt="2025-11-21T06:07:51.155" v="100500"/>
          <ac:spMkLst>
            <pc:docMk/>
            <pc:sldMk cId="217569448" sldId="2147483088"/>
            <ac:spMk id="506" creationId="{1E627924-EB0B-9681-24F6-B681D1D874AE}"/>
          </ac:spMkLst>
        </pc:spChg>
        <pc:spChg chg="add del mod ord">
          <ac:chgData name="Yudi Zhu" userId="571e1a55-055f-4c28-8b35-fca6dd1c1369" providerId="ADAL" clId="{75A88773-6EE1-484E-AADE-FE631E01463B}" dt="2025-11-21T06:07:51.144" v="100481"/>
          <ac:spMkLst>
            <pc:docMk/>
            <pc:sldMk cId="217569448" sldId="2147483088"/>
            <ac:spMk id="507" creationId="{134373D7-8390-C788-4CEF-C9F04CF90C14}"/>
          </ac:spMkLst>
        </pc:spChg>
        <pc:spChg chg="add del mod">
          <ac:chgData name="Yudi Zhu" userId="571e1a55-055f-4c28-8b35-fca6dd1c1369" providerId="ADAL" clId="{75A88773-6EE1-484E-AADE-FE631E01463B}" dt="2025-11-21T06:07:51.128" v="100462"/>
          <ac:spMkLst>
            <pc:docMk/>
            <pc:sldMk cId="217569448" sldId="2147483088"/>
            <ac:spMk id="508" creationId="{EE3CA83A-34BF-F31C-037F-081A5CF2884A}"/>
          </ac:spMkLst>
        </pc:spChg>
        <pc:spChg chg="add del mod modVis">
          <ac:chgData name="Yudi Zhu" userId="571e1a55-055f-4c28-8b35-fca6dd1c1369" providerId="ADAL" clId="{75A88773-6EE1-484E-AADE-FE631E01463B}" dt="2025-11-21T06:07:46.621" v="99024"/>
          <ac:spMkLst>
            <pc:docMk/>
            <pc:sldMk cId="217569448" sldId="2147483088"/>
            <ac:spMk id="509" creationId="{F4DA6921-2739-6F64-5A59-6B1959DC4A0A}"/>
          </ac:spMkLst>
        </pc:spChg>
        <pc:spChg chg="add del mod">
          <ac:chgData name="Yudi Zhu" userId="571e1a55-055f-4c28-8b35-fca6dd1c1369" providerId="ADAL" clId="{75A88773-6EE1-484E-AADE-FE631E01463B}" dt="2025-11-21T06:07:51.187" v="100544"/>
          <ac:spMkLst>
            <pc:docMk/>
            <pc:sldMk cId="217569448" sldId="2147483088"/>
            <ac:spMk id="511" creationId="{E35B364B-B5F6-60B4-655F-C668B519156F}"/>
          </ac:spMkLst>
        </pc:spChg>
        <pc:spChg chg="add del mod">
          <ac:chgData name="Yudi Zhu" userId="571e1a55-055f-4c28-8b35-fca6dd1c1369" providerId="ADAL" clId="{75A88773-6EE1-484E-AADE-FE631E01463B}" dt="2025-11-21T06:07:51.187" v="100546"/>
          <ac:spMkLst>
            <pc:docMk/>
            <pc:sldMk cId="217569448" sldId="2147483088"/>
            <ac:spMk id="512" creationId="{5646DCFC-DC49-DFAD-F5BF-55111F0EAAFC}"/>
          </ac:spMkLst>
        </pc:spChg>
        <pc:spChg chg="add del mod">
          <ac:chgData name="Yudi Zhu" userId="571e1a55-055f-4c28-8b35-fca6dd1c1369" providerId="ADAL" clId="{75A88773-6EE1-484E-AADE-FE631E01463B}" dt="2025-11-21T06:07:51.187" v="100548"/>
          <ac:spMkLst>
            <pc:docMk/>
            <pc:sldMk cId="217569448" sldId="2147483088"/>
            <ac:spMk id="513" creationId="{2A05F406-3783-132F-5FC0-7196E0DE82EF}"/>
          </ac:spMkLst>
        </pc:spChg>
        <pc:spChg chg="add del mod">
          <ac:chgData name="Yudi Zhu" userId="571e1a55-055f-4c28-8b35-fca6dd1c1369" providerId="ADAL" clId="{75A88773-6EE1-484E-AADE-FE631E01463B}" dt="2025-11-21T06:07:48.466" v="99067"/>
          <ac:spMkLst>
            <pc:docMk/>
            <pc:sldMk cId="217569448" sldId="2147483088"/>
            <ac:spMk id="514" creationId="{F0F2FDA3-3204-6FDB-F785-468BD67CED2D}"/>
          </ac:spMkLst>
        </pc:spChg>
        <pc:spChg chg="add del mod">
          <ac:chgData name="Yudi Zhu" userId="571e1a55-055f-4c28-8b35-fca6dd1c1369" providerId="ADAL" clId="{75A88773-6EE1-484E-AADE-FE631E01463B}" dt="2025-11-21T06:07:48.466" v="99069"/>
          <ac:spMkLst>
            <pc:docMk/>
            <pc:sldMk cId="217569448" sldId="2147483088"/>
            <ac:spMk id="515" creationId="{5191CE24-1D53-3A6E-D454-6B3FA3E99A71}"/>
          </ac:spMkLst>
        </pc:spChg>
        <pc:spChg chg="add del mod modVis">
          <ac:chgData name="Yudi Zhu" userId="571e1a55-055f-4c28-8b35-fca6dd1c1369" providerId="ADAL" clId="{75A88773-6EE1-484E-AADE-FE631E01463B}" dt="2025-11-21T06:07:51.073" v="100450"/>
          <ac:spMkLst>
            <pc:docMk/>
            <pc:sldMk cId="217569448" sldId="2147483088"/>
            <ac:spMk id="516" creationId="{208844E2-0270-9B2D-F050-37FEE3A87925}"/>
          </ac:spMkLst>
        </pc:spChg>
        <pc:spChg chg="add del mod">
          <ac:chgData name="Yudi Zhu" userId="571e1a55-055f-4c28-8b35-fca6dd1c1369" providerId="ADAL" clId="{75A88773-6EE1-484E-AADE-FE631E01463B}" dt="2025-11-21T06:08:24.270" v="105405"/>
          <ac:spMkLst>
            <pc:docMk/>
            <pc:sldMk cId="217569448" sldId="2147483088"/>
            <ac:spMk id="519" creationId="{5A0945E2-5A76-4763-4789-959C8E6D3545}"/>
          </ac:spMkLst>
        </pc:spChg>
        <pc:spChg chg="add del mod">
          <ac:chgData name="Yudi Zhu" userId="571e1a55-055f-4c28-8b35-fca6dd1c1369" providerId="ADAL" clId="{75A88773-6EE1-484E-AADE-FE631E01463B}" dt="2025-11-21T06:08:24.270" v="105406"/>
          <ac:spMkLst>
            <pc:docMk/>
            <pc:sldMk cId="217569448" sldId="2147483088"/>
            <ac:spMk id="520" creationId="{E997B28C-C0F6-CC5D-FC7A-CE507309B24A}"/>
          </ac:spMkLst>
        </pc:spChg>
        <pc:spChg chg="add del mod modVis">
          <ac:chgData name="Yudi Zhu" userId="571e1a55-055f-4c28-8b35-fca6dd1c1369" providerId="ADAL" clId="{75A88773-6EE1-484E-AADE-FE631E01463B}" dt="2025-11-21T06:08:00.636" v="103183"/>
          <ac:spMkLst>
            <pc:docMk/>
            <pc:sldMk cId="217569448" sldId="2147483088"/>
            <ac:spMk id="521" creationId="{F6B5C129-0D02-AA5C-F77F-C8681937F779}"/>
          </ac:spMkLst>
        </pc:spChg>
        <pc:spChg chg="add del mod">
          <ac:chgData name="Yudi Zhu" userId="571e1a55-055f-4c28-8b35-fca6dd1c1369" providerId="ADAL" clId="{75A88773-6EE1-484E-AADE-FE631E01463B}" dt="2025-11-21T06:08:53.583" v="106722"/>
          <ac:spMkLst>
            <pc:docMk/>
            <pc:sldMk cId="217569448" sldId="2147483088"/>
            <ac:spMk id="522" creationId="{B2355F79-5E77-88DC-C7A7-98F3A2B6FBFA}"/>
          </ac:spMkLst>
        </pc:spChg>
        <pc:spChg chg="add del mod">
          <ac:chgData name="Yudi Zhu" userId="571e1a55-055f-4c28-8b35-fca6dd1c1369" providerId="ADAL" clId="{75A88773-6EE1-484E-AADE-FE631E01463B}" dt="2025-11-21T06:24:44.865" v="146267"/>
          <ac:spMkLst>
            <pc:docMk/>
            <pc:sldMk cId="217569448" sldId="2147483088"/>
            <ac:spMk id="523" creationId="{313B5C1B-D646-3602-A719-3A6092D8C61A}"/>
          </ac:spMkLst>
        </pc:spChg>
        <pc:spChg chg="add del mod">
          <ac:chgData name="Yudi Zhu" userId="571e1a55-055f-4c28-8b35-fca6dd1c1369" providerId="ADAL" clId="{75A88773-6EE1-484E-AADE-FE631E01463B}" dt="2025-11-21T06:24:44.865" v="146276"/>
          <ac:spMkLst>
            <pc:docMk/>
            <pc:sldMk cId="217569448" sldId="2147483088"/>
            <ac:spMk id="524" creationId="{42BFA129-4694-610C-9A35-0FAF3C76E875}"/>
          </ac:spMkLst>
        </pc:spChg>
        <pc:spChg chg="add del mod">
          <ac:chgData name="Yudi Zhu" userId="571e1a55-055f-4c28-8b35-fca6dd1c1369" providerId="ADAL" clId="{75A88773-6EE1-484E-AADE-FE631E01463B}" dt="2025-11-21T06:24:44.881" v="146285"/>
          <ac:spMkLst>
            <pc:docMk/>
            <pc:sldMk cId="217569448" sldId="2147483088"/>
            <ac:spMk id="525" creationId="{A9BDD2E9-4735-5BE1-5179-0B1E5F589D24}"/>
          </ac:spMkLst>
        </pc:spChg>
        <pc:spChg chg="add del mod">
          <ac:chgData name="Yudi Zhu" userId="571e1a55-055f-4c28-8b35-fca6dd1c1369" providerId="ADAL" clId="{75A88773-6EE1-484E-AADE-FE631E01463B}" dt="2025-11-21T06:08:07.492" v="104571"/>
          <ac:spMkLst>
            <pc:docMk/>
            <pc:sldMk cId="217569448" sldId="2147483088"/>
            <ac:spMk id="526" creationId="{0E07E1DD-4EA9-2513-40A7-0A7B967C0334}"/>
          </ac:spMkLst>
        </pc:spChg>
        <pc:spChg chg="add del mod ord">
          <ac:chgData name="Yudi Zhu" userId="571e1a55-055f-4c28-8b35-fca6dd1c1369" providerId="ADAL" clId="{75A88773-6EE1-484E-AADE-FE631E01463B}" dt="2025-11-21T06:08:01.418" v="103629"/>
          <ac:spMkLst>
            <pc:docMk/>
            <pc:sldMk cId="217569448" sldId="2147483088"/>
            <ac:spMk id="527" creationId="{711B18E4-1DC6-6452-6C81-0CA0D3138336}"/>
          </ac:spMkLst>
        </pc:spChg>
        <pc:spChg chg="add del mod">
          <ac:chgData name="Yudi Zhu" userId="571e1a55-055f-4c28-8b35-fca6dd1c1369" providerId="ADAL" clId="{75A88773-6EE1-484E-AADE-FE631E01463B}" dt="2025-11-21T06:08:07.501" v="104572"/>
          <ac:spMkLst>
            <pc:docMk/>
            <pc:sldMk cId="217569448" sldId="2147483088"/>
            <ac:spMk id="528" creationId="{ED7CE034-9E45-101C-0EC1-3F70074A704D}"/>
          </ac:spMkLst>
        </pc:spChg>
        <pc:spChg chg="add del mod ord">
          <ac:chgData name="Yudi Zhu" userId="571e1a55-055f-4c28-8b35-fca6dd1c1369" providerId="ADAL" clId="{75A88773-6EE1-484E-AADE-FE631E01463B}" dt="2025-11-21T06:08:01.464" v="103691"/>
          <ac:spMkLst>
            <pc:docMk/>
            <pc:sldMk cId="217569448" sldId="2147483088"/>
            <ac:spMk id="529" creationId="{C6EF548B-17A3-A820-5B03-79F63AF53372}"/>
          </ac:spMkLst>
        </pc:spChg>
        <pc:spChg chg="add del mod ord">
          <ac:chgData name="Yudi Zhu" userId="571e1a55-055f-4c28-8b35-fca6dd1c1369" providerId="ADAL" clId="{75A88773-6EE1-484E-AADE-FE631E01463B}" dt="2025-11-21T06:08:09.419" v="104989"/>
          <ac:spMkLst>
            <pc:docMk/>
            <pc:sldMk cId="217569448" sldId="2147483088"/>
            <ac:spMk id="530" creationId="{E335D18A-7DD9-D3B8-5E06-268DC395F827}"/>
          </ac:spMkLst>
        </pc:spChg>
        <pc:spChg chg="add del mod">
          <ac:chgData name="Yudi Zhu" userId="571e1a55-055f-4c28-8b35-fca6dd1c1369" providerId="ADAL" clId="{75A88773-6EE1-484E-AADE-FE631E01463B}" dt="2025-11-21T06:08:07.501" v="104574"/>
          <ac:spMkLst>
            <pc:docMk/>
            <pc:sldMk cId="217569448" sldId="2147483088"/>
            <ac:spMk id="531" creationId="{13639500-BEC0-55C7-974D-296FE0239E5A}"/>
          </ac:spMkLst>
        </pc:spChg>
        <pc:spChg chg="add del mod">
          <ac:chgData name="Yudi Zhu" userId="571e1a55-055f-4c28-8b35-fca6dd1c1369" providerId="ADAL" clId="{75A88773-6EE1-484E-AADE-FE631E01463B}" dt="2025-11-21T06:08:07.501" v="104573"/>
          <ac:spMkLst>
            <pc:docMk/>
            <pc:sldMk cId="217569448" sldId="2147483088"/>
            <ac:spMk id="532" creationId="{3413A106-4E88-062E-2C8D-A4CA11A1F0B6}"/>
          </ac:spMkLst>
        </pc:spChg>
        <pc:spChg chg="add del mod">
          <ac:chgData name="Yudi Zhu" userId="571e1a55-055f-4c28-8b35-fca6dd1c1369" providerId="ADAL" clId="{75A88773-6EE1-484E-AADE-FE631E01463B}" dt="2025-11-21T06:08:07.501" v="104577"/>
          <ac:spMkLst>
            <pc:docMk/>
            <pc:sldMk cId="217569448" sldId="2147483088"/>
            <ac:spMk id="533" creationId="{B44344CC-3973-32F2-AA8D-BB5759DF7D65}"/>
          </ac:spMkLst>
        </pc:spChg>
        <pc:spChg chg="add del mod ord">
          <ac:chgData name="Yudi Zhu" userId="571e1a55-055f-4c28-8b35-fca6dd1c1369" providerId="ADAL" clId="{75A88773-6EE1-484E-AADE-FE631E01463B}" dt="2025-11-21T06:08:01.632" v="103957"/>
          <ac:spMkLst>
            <pc:docMk/>
            <pc:sldMk cId="217569448" sldId="2147483088"/>
            <ac:spMk id="534" creationId="{8EEB0E2F-FBE8-9C44-1B77-8873DC9CB266}"/>
          </ac:spMkLst>
        </pc:spChg>
        <pc:spChg chg="add del mod">
          <ac:chgData name="Yudi Zhu" userId="571e1a55-055f-4c28-8b35-fca6dd1c1369" providerId="ADAL" clId="{75A88773-6EE1-484E-AADE-FE631E01463B}" dt="2025-11-21T06:08:07.501" v="104576"/>
          <ac:spMkLst>
            <pc:docMk/>
            <pc:sldMk cId="217569448" sldId="2147483088"/>
            <ac:spMk id="535" creationId="{9AE6990F-A77D-7F4B-CCCA-F95A0443E191}"/>
          </ac:spMkLst>
        </pc:spChg>
        <pc:spChg chg="add del mod">
          <ac:chgData name="Yudi Zhu" userId="571e1a55-055f-4c28-8b35-fca6dd1c1369" providerId="ADAL" clId="{75A88773-6EE1-484E-AADE-FE631E01463B}" dt="2025-11-21T06:08:07.501" v="104578"/>
          <ac:spMkLst>
            <pc:docMk/>
            <pc:sldMk cId="217569448" sldId="2147483088"/>
            <ac:spMk id="536" creationId="{68CEAE02-70E6-526F-2865-94E4C63A6781}"/>
          </ac:spMkLst>
        </pc:spChg>
        <pc:spChg chg="add del mod ord">
          <ac:chgData name="Yudi Zhu" userId="571e1a55-055f-4c28-8b35-fca6dd1c1369" providerId="ADAL" clId="{75A88773-6EE1-484E-AADE-FE631E01463B}" dt="2025-11-21T06:08:01.734" v="104117"/>
          <ac:spMkLst>
            <pc:docMk/>
            <pc:sldMk cId="217569448" sldId="2147483088"/>
            <ac:spMk id="537" creationId="{E9DE3C30-931A-A225-B1FD-69A561617749}"/>
          </ac:spMkLst>
        </pc:spChg>
        <pc:spChg chg="add del mod">
          <ac:chgData name="Yudi Zhu" userId="571e1a55-055f-4c28-8b35-fca6dd1c1369" providerId="ADAL" clId="{75A88773-6EE1-484E-AADE-FE631E01463B}" dt="2025-11-21T06:08:07.501" v="104575"/>
          <ac:spMkLst>
            <pc:docMk/>
            <pc:sldMk cId="217569448" sldId="2147483088"/>
            <ac:spMk id="538" creationId="{999EE148-7273-A862-7299-F5D2132C2C3B}"/>
          </ac:spMkLst>
        </pc:spChg>
        <pc:spChg chg="add del mod ord">
          <ac:chgData name="Yudi Zhu" userId="571e1a55-055f-4c28-8b35-fca6dd1c1369" providerId="ADAL" clId="{75A88773-6EE1-484E-AADE-FE631E01463B}" dt="2025-11-21T06:08:01.783" v="104183"/>
          <ac:spMkLst>
            <pc:docMk/>
            <pc:sldMk cId="217569448" sldId="2147483088"/>
            <ac:spMk id="539" creationId="{D17504E6-7AF9-0FEF-41EB-2D3120EC5AA6}"/>
          </ac:spMkLst>
        </pc:spChg>
        <pc:spChg chg="add del mod">
          <ac:chgData name="Yudi Zhu" userId="571e1a55-055f-4c28-8b35-fca6dd1c1369" providerId="ADAL" clId="{75A88773-6EE1-484E-AADE-FE631E01463B}" dt="2025-11-21T06:08:07.501" v="104579"/>
          <ac:spMkLst>
            <pc:docMk/>
            <pc:sldMk cId="217569448" sldId="2147483088"/>
            <ac:spMk id="540" creationId="{557171B9-22FC-5986-0F38-9FA9D3E71F0D}"/>
          </ac:spMkLst>
        </pc:spChg>
        <pc:spChg chg="add del mod ord">
          <ac:chgData name="Yudi Zhu" userId="571e1a55-055f-4c28-8b35-fca6dd1c1369" providerId="ADAL" clId="{75A88773-6EE1-484E-AADE-FE631E01463B}" dt="2025-11-21T06:08:09.451" v="105055"/>
          <ac:spMkLst>
            <pc:docMk/>
            <pc:sldMk cId="217569448" sldId="2147483088"/>
            <ac:spMk id="541" creationId="{AEE86867-85BC-BBD7-CC47-5039A27B6EC5}"/>
          </ac:spMkLst>
        </pc:spChg>
        <pc:spChg chg="add del mod ord">
          <ac:chgData name="Yudi Zhu" userId="571e1a55-055f-4c28-8b35-fca6dd1c1369" providerId="ADAL" clId="{75A88773-6EE1-484E-AADE-FE631E01463B}" dt="2025-11-21T06:08:09.512" v="105142"/>
          <ac:spMkLst>
            <pc:docMk/>
            <pc:sldMk cId="217569448" sldId="2147483088"/>
            <ac:spMk id="542" creationId="{3DEC9FF4-B4D3-9493-B92D-D5439477CF7B}"/>
          </ac:spMkLst>
        </pc:spChg>
        <pc:spChg chg="add del mod">
          <ac:chgData name="Yudi Zhu" userId="571e1a55-055f-4c28-8b35-fca6dd1c1369" providerId="ADAL" clId="{75A88773-6EE1-484E-AADE-FE631E01463B}" dt="2025-11-21T06:08:07.501" v="104580"/>
          <ac:spMkLst>
            <pc:docMk/>
            <pc:sldMk cId="217569448" sldId="2147483088"/>
            <ac:spMk id="543" creationId="{8A3AD13C-C038-7585-73EE-2F79CD08C663}"/>
          </ac:spMkLst>
        </pc:spChg>
        <pc:spChg chg="add del mod">
          <ac:chgData name="Yudi Zhu" userId="571e1a55-055f-4c28-8b35-fca6dd1c1369" providerId="ADAL" clId="{75A88773-6EE1-484E-AADE-FE631E01463B}" dt="2025-11-21T06:24:44.888" v="146294"/>
          <ac:spMkLst>
            <pc:docMk/>
            <pc:sldMk cId="217569448" sldId="2147483088"/>
            <ac:spMk id="601" creationId="{CEAB341E-F5F8-A717-DA92-217156C94A24}"/>
          </ac:spMkLst>
        </pc:spChg>
        <pc:spChg chg="add del mod modVis">
          <ac:chgData name="Yudi Zhu" userId="571e1a55-055f-4c28-8b35-fca6dd1c1369" providerId="ADAL" clId="{75A88773-6EE1-484E-AADE-FE631E01463B}" dt="2025-11-21T06:08:02.006" v="104568"/>
          <ac:spMkLst>
            <pc:docMk/>
            <pc:sldMk cId="217569448" sldId="2147483088"/>
            <ac:spMk id="602" creationId="{ED336938-2A5C-10BD-F97B-98BF6FAE3E9F}"/>
          </ac:spMkLst>
        </pc:spChg>
        <pc:spChg chg="add del mod">
          <ac:chgData name="Yudi Zhu" userId="571e1a55-055f-4c28-8b35-fca6dd1c1369" providerId="ADAL" clId="{75A88773-6EE1-484E-AADE-FE631E01463B}" dt="2025-11-21T06:08:09.469" v="105068"/>
          <ac:spMkLst>
            <pc:docMk/>
            <pc:sldMk cId="217569448" sldId="2147483088"/>
            <ac:spMk id="603" creationId="{F62204A6-5C0F-2B48-DCBD-273AEB9D3352}"/>
          </ac:spMkLst>
        </pc:spChg>
        <pc:spChg chg="add del mod modVis">
          <ac:chgData name="Yudi Zhu" userId="571e1a55-055f-4c28-8b35-fca6dd1c1369" providerId="ADAL" clId="{75A88773-6EE1-484E-AADE-FE631E01463B}" dt="2025-11-21T06:08:31.619" v="105953"/>
          <ac:spMkLst>
            <pc:docMk/>
            <pc:sldMk cId="217569448" sldId="2147483088"/>
            <ac:spMk id="635" creationId="{5B4A0857-79D2-3235-8352-23B5351B314F}"/>
          </ac:spMkLst>
        </pc:spChg>
        <pc:spChg chg="add del mod">
          <ac:chgData name="Yudi Zhu" userId="571e1a55-055f-4c28-8b35-fca6dd1c1369" providerId="ADAL" clId="{75A88773-6EE1-484E-AADE-FE631E01463B}" dt="2025-11-21T06:08:53.583" v="106721"/>
          <ac:spMkLst>
            <pc:docMk/>
            <pc:sldMk cId="217569448" sldId="2147483088"/>
            <ac:spMk id="637" creationId="{0536BB64-D30E-8638-C7B3-19A4FDF1C155}"/>
          </ac:spMkLst>
        </pc:spChg>
        <pc:spChg chg="add del mod ord">
          <ac:chgData name="Yudi Zhu" userId="571e1a55-055f-4c28-8b35-fca6dd1c1369" providerId="ADAL" clId="{75A88773-6EE1-484E-AADE-FE631E01463B}" dt="2025-11-21T06:20:27.840" v="120309"/>
          <ac:spMkLst>
            <pc:docMk/>
            <pc:sldMk cId="217569448" sldId="2147483088"/>
            <ac:spMk id="638" creationId="{FEA8EB07-9279-27F6-4D35-AFA9DF0A096D}"/>
          </ac:spMkLst>
        </pc:spChg>
        <pc:spChg chg="add del mod ord">
          <ac:chgData name="Yudi Zhu" userId="571e1a55-055f-4c28-8b35-fca6dd1c1369" providerId="ADAL" clId="{75A88773-6EE1-484E-AADE-FE631E01463B}" dt="2025-11-21T06:20:27.854" v="120316"/>
          <ac:spMkLst>
            <pc:docMk/>
            <pc:sldMk cId="217569448" sldId="2147483088"/>
            <ac:spMk id="639" creationId="{BB028E16-5C4C-F58C-7DDB-25AC555A4815}"/>
          </ac:spMkLst>
        </pc:spChg>
        <pc:spChg chg="add del mod ord">
          <ac:chgData name="Yudi Zhu" userId="571e1a55-055f-4c28-8b35-fca6dd1c1369" providerId="ADAL" clId="{75A88773-6EE1-484E-AADE-FE631E01463B}" dt="2025-11-21T06:20:27.840" v="120306"/>
          <ac:spMkLst>
            <pc:docMk/>
            <pc:sldMk cId="217569448" sldId="2147483088"/>
            <ac:spMk id="640" creationId="{8C509B6F-025A-9F2C-F3DE-D6E7D0CC2843}"/>
          </ac:spMkLst>
        </pc:spChg>
        <pc:spChg chg="add del mod ord">
          <ac:chgData name="Yudi Zhu" userId="571e1a55-055f-4c28-8b35-fca6dd1c1369" providerId="ADAL" clId="{75A88773-6EE1-484E-AADE-FE631E01463B}" dt="2025-11-21T06:20:27.860" v="120323"/>
          <ac:spMkLst>
            <pc:docMk/>
            <pc:sldMk cId="217569448" sldId="2147483088"/>
            <ac:spMk id="641" creationId="{8B1BE16A-1208-EF29-50FE-771BA61A6469}"/>
          </ac:spMkLst>
        </pc:spChg>
        <pc:spChg chg="add del mod modVis">
          <ac:chgData name="Yudi Zhu" userId="571e1a55-055f-4c28-8b35-fca6dd1c1369" providerId="ADAL" clId="{75A88773-6EE1-484E-AADE-FE631E01463B}" dt="2025-11-21T06:08:37.721" v="106148"/>
          <ac:spMkLst>
            <pc:docMk/>
            <pc:sldMk cId="217569448" sldId="2147483088"/>
            <ac:spMk id="642" creationId="{AA0C8227-BA29-2357-73A2-046155C97AEE}"/>
          </ac:spMkLst>
        </pc:spChg>
        <pc:spChg chg="add del mod modVis">
          <ac:chgData name="Yudi Zhu" userId="571e1a55-055f-4c28-8b35-fca6dd1c1369" providerId="ADAL" clId="{75A88773-6EE1-484E-AADE-FE631E01463B}" dt="2025-11-21T06:08:42.334" v="106716"/>
          <ac:spMkLst>
            <pc:docMk/>
            <pc:sldMk cId="217569448" sldId="2147483088"/>
            <ac:spMk id="644" creationId="{77FEBBB9-9743-137E-272B-0CABBE9BB4F1}"/>
          </ac:spMkLst>
        </pc:spChg>
        <pc:spChg chg="add mod">
          <ac:chgData name="Yudi Zhu" userId="571e1a55-055f-4c28-8b35-fca6dd1c1369" providerId="ADAL" clId="{75A88773-6EE1-484E-AADE-FE631E01463B}" dt="2025-11-21T06:24:18.704" v="146142"/>
          <ac:spMkLst>
            <pc:docMk/>
            <pc:sldMk cId="217569448" sldId="2147483088"/>
            <ac:spMk id="645" creationId="{B1EBA94C-EE1B-92A0-72AB-F7C2755F8B00}"/>
          </ac:spMkLst>
        </pc:spChg>
        <pc:spChg chg="add mod">
          <ac:chgData name="Yudi Zhu" userId="571e1a55-055f-4c28-8b35-fca6dd1c1369" providerId="ADAL" clId="{75A88773-6EE1-484E-AADE-FE631E01463B}" dt="2025-11-21T06:24:18.704" v="146143"/>
          <ac:spMkLst>
            <pc:docMk/>
            <pc:sldMk cId="217569448" sldId="2147483088"/>
            <ac:spMk id="646" creationId="{EEF58019-4A6A-BC91-F3D1-9D91BFD0119E}"/>
          </ac:spMkLst>
        </pc:spChg>
        <pc:spChg chg="add mod">
          <ac:chgData name="Yudi Zhu" userId="571e1a55-055f-4c28-8b35-fca6dd1c1369" providerId="ADAL" clId="{75A88773-6EE1-484E-AADE-FE631E01463B}" dt="2025-11-21T06:24:18.704" v="146144"/>
          <ac:spMkLst>
            <pc:docMk/>
            <pc:sldMk cId="217569448" sldId="2147483088"/>
            <ac:spMk id="647" creationId="{C6E73721-AE3B-5A29-1635-AC6B6C3BCCA6}"/>
          </ac:spMkLst>
        </pc:spChg>
        <pc:spChg chg="add mod">
          <ac:chgData name="Yudi Zhu" userId="571e1a55-055f-4c28-8b35-fca6dd1c1369" providerId="ADAL" clId="{75A88773-6EE1-484E-AADE-FE631E01463B}" dt="2025-11-21T06:24:18.704" v="146145"/>
          <ac:spMkLst>
            <pc:docMk/>
            <pc:sldMk cId="217569448" sldId="2147483088"/>
            <ac:spMk id="648" creationId="{13E711F9-9284-755A-911A-F8F346D8B6EF}"/>
          </ac:spMkLst>
        </pc:spChg>
        <pc:spChg chg="add del mod">
          <ac:chgData name="Yudi Zhu" userId="571e1a55-055f-4c28-8b35-fca6dd1c1369" providerId="ADAL" clId="{75A88773-6EE1-484E-AADE-FE631E01463B}" dt="2025-11-21T06:08:53.639" v="106759"/>
          <ac:spMkLst>
            <pc:docMk/>
            <pc:sldMk cId="217569448" sldId="2147483088"/>
            <ac:spMk id="649" creationId="{C5E0BF22-65CA-E2AE-93C2-0C9D263DE05A}"/>
          </ac:spMkLst>
        </pc:spChg>
        <pc:spChg chg="add del mod">
          <ac:chgData name="Yudi Zhu" userId="571e1a55-055f-4c28-8b35-fca6dd1c1369" providerId="ADAL" clId="{75A88773-6EE1-484E-AADE-FE631E01463B}" dt="2025-11-21T06:08:53.639" v="106758"/>
          <ac:spMkLst>
            <pc:docMk/>
            <pc:sldMk cId="217569448" sldId="2147483088"/>
            <ac:spMk id="650" creationId="{2BA3980C-997A-BBFA-A4BB-DE85016B0277}"/>
          </ac:spMkLst>
        </pc:spChg>
        <pc:spChg chg="add del mod">
          <ac:chgData name="Yudi Zhu" userId="571e1a55-055f-4c28-8b35-fca6dd1c1369" providerId="ADAL" clId="{75A88773-6EE1-484E-AADE-FE631E01463B}" dt="2025-11-21T06:08:53.639" v="106757"/>
          <ac:spMkLst>
            <pc:docMk/>
            <pc:sldMk cId="217569448" sldId="2147483088"/>
            <ac:spMk id="651" creationId="{0CC1D173-DF77-4481-4F35-ED10EAB308A3}"/>
          </ac:spMkLst>
        </pc:spChg>
        <pc:spChg chg="add del mod modVis">
          <ac:chgData name="Yudi Zhu" userId="571e1a55-055f-4c28-8b35-fca6dd1c1369" providerId="ADAL" clId="{75A88773-6EE1-484E-AADE-FE631E01463B}" dt="2025-11-21T06:08:53.734" v="106886"/>
          <ac:spMkLst>
            <pc:docMk/>
            <pc:sldMk cId="217569448" sldId="2147483088"/>
            <ac:spMk id="653" creationId="{F5BC494D-B55C-951E-8C5D-21545CA28BB4}"/>
          </ac:spMkLst>
        </pc:spChg>
        <pc:spChg chg="add del mod modVis">
          <ac:chgData name="Yudi Zhu" userId="571e1a55-055f-4c28-8b35-fca6dd1c1369" providerId="ADAL" clId="{75A88773-6EE1-484E-AADE-FE631E01463B}" dt="2025-11-21T06:08:56.301" v="107039"/>
          <ac:spMkLst>
            <pc:docMk/>
            <pc:sldMk cId="217569448" sldId="2147483088"/>
            <ac:spMk id="655" creationId="{EBF54A92-FB16-3416-9DB2-388950D9F697}"/>
          </ac:spMkLst>
        </pc:spChg>
        <pc:spChg chg="add del mod modVis">
          <ac:chgData name="Yudi Zhu" userId="571e1a55-055f-4c28-8b35-fca6dd1c1369" providerId="ADAL" clId="{75A88773-6EE1-484E-AADE-FE631E01463B}" dt="2025-11-21T06:09:02.905" v="107253"/>
          <ac:spMkLst>
            <pc:docMk/>
            <pc:sldMk cId="217569448" sldId="2147483088"/>
            <ac:spMk id="657" creationId="{32A333E1-3CCA-5CCF-93CB-C32E344F4730}"/>
          </ac:spMkLst>
        </pc:spChg>
        <pc:spChg chg="add del mod">
          <ac:chgData name="Yudi Zhu" userId="571e1a55-055f-4c28-8b35-fca6dd1c1369" providerId="ADAL" clId="{75A88773-6EE1-484E-AADE-FE631E01463B}" dt="2025-11-21T06:21:55.720" v="129740"/>
          <ac:spMkLst>
            <pc:docMk/>
            <pc:sldMk cId="217569448" sldId="2147483088"/>
            <ac:spMk id="658" creationId="{D830C7D0-DE76-E48C-9AA8-B9267BEBEC1D}"/>
          </ac:spMkLst>
        </pc:spChg>
        <pc:spChg chg="add del mod modVis">
          <ac:chgData name="Yudi Zhu" userId="571e1a55-055f-4c28-8b35-fca6dd1c1369" providerId="ADAL" clId="{75A88773-6EE1-484E-AADE-FE631E01463B}" dt="2025-11-21T06:09:05.389" v="107470"/>
          <ac:spMkLst>
            <pc:docMk/>
            <pc:sldMk cId="217569448" sldId="2147483088"/>
            <ac:spMk id="660" creationId="{01C59FCA-858E-4C13-EA88-173BF7397DF9}"/>
          </ac:spMkLst>
        </pc:spChg>
        <pc:spChg chg="add del mod">
          <ac:chgData name="Yudi Zhu" userId="571e1a55-055f-4c28-8b35-fca6dd1c1369" providerId="ADAL" clId="{75A88773-6EE1-484E-AADE-FE631E01463B}" dt="2025-11-21T06:21:58.262" v="130156"/>
          <ac:spMkLst>
            <pc:docMk/>
            <pc:sldMk cId="217569448" sldId="2147483088"/>
            <ac:spMk id="661" creationId="{B0D6B3A9-5A26-E447-8F67-9E47F60E7B34}"/>
          </ac:spMkLst>
        </pc:spChg>
        <pc:spChg chg="add del mod modVis">
          <ac:chgData name="Yudi Zhu" userId="571e1a55-055f-4c28-8b35-fca6dd1c1369" providerId="ADAL" clId="{75A88773-6EE1-484E-AADE-FE631E01463B}" dt="2025-11-21T06:09:10.684" v="107647"/>
          <ac:spMkLst>
            <pc:docMk/>
            <pc:sldMk cId="217569448" sldId="2147483088"/>
            <ac:spMk id="663" creationId="{65ED1046-0479-A839-FDE6-836EF454D263}"/>
          </ac:spMkLst>
        </pc:spChg>
        <pc:spChg chg="add del mod modVis">
          <ac:chgData name="Yudi Zhu" userId="571e1a55-055f-4c28-8b35-fca6dd1c1369" providerId="ADAL" clId="{75A88773-6EE1-484E-AADE-FE631E01463B}" dt="2025-11-21T06:09:12.464" v="107822"/>
          <ac:spMkLst>
            <pc:docMk/>
            <pc:sldMk cId="217569448" sldId="2147483088"/>
            <ac:spMk id="665" creationId="{FA907C68-B67C-6EE5-C491-69F95B944A29}"/>
          </ac:spMkLst>
        </pc:spChg>
        <pc:spChg chg="add del mod modVis">
          <ac:chgData name="Yudi Zhu" userId="571e1a55-055f-4c28-8b35-fca6dd1c1369" providerId="ADAL" clId="{75A88773-6EE1-484E-AADE-FE631E01463B}" dt="2025-11-21T06:09:13.785" v="107997"/>
          <ac:spMkLst>
            <pc:docMk/>
            <pc:sldMk cId="217569448" sldId="2147483088"/>
            <ac:spMk id="667" creationId="{4742635B-C05B-03C5-6785-1841502B9E55}"/>
          </ac:spMkLst>
        </pc:spChg>
        <pc:spChg chg="add del mod modVis">
          <ac:chgData name="Yudi Zhu" userId="571e1a55-055f-4c28-8b35-fca6dd1c1369" providerId="ADAL" clId="{75A88773-6EE1-484E-AADE-FE631E01463B}" dt="2025-11-21T06:09:45.323" v="108150"/>
          <ac:spMkLst>
            <pc:docMk/>
            <pc:sldMk cId="217569448" sldId="2147483088"/>
            <ac:spMk id="669" creationId="{026D65D0-12DE-DF9F-9FB8-C93CC17FDB5E}"/>
          </ac:spMkLst>
        </pc:spChg>
        <pc:spChg chg="add del mod modVis">
          <ac:chgData name="Yudi Zhu" userId="571e1a55-055f-4c28-8b35-fca6dd1c1369" providerId="ADAL" clId="{75A88773-6EE1-484E-AADE-FE631E01463B}" dt="2025-11-21T06:10:25.536" v="111069"/>
          <ac:spMkLst>
            <pc:docMk/>
            <pc:sldMk cId="217569448" sldId="2147483088"/>
            <ac:spMk id="671" creationId="{C670FA1E-744D-4A2B-F225-66D08A02FE7F}"/>
          </ac:spMkLst>
        </pc:spChg>
        <pc:spChg chg="add mod ord">
          <ac:chgData name="Yudi Zhu" userId="571e1a55-055f-4c28-8b35-fca6dd1c1369" providerId="ADAL" clId="{75A88773-6EE1-484E-AADE-FE631E01463B}" dt="2025-11-21T06:24:18.739" v="146205"/>
          <ac:spMkLst>
            <pc:docMk/>
            <pc:sldMk cId="217569448" sldId="2147483088"/>
            <ac:spMk id="672" creationId="{5310818E-6CFE-5B98-7924-080086736AA1}"/>
          </ac:spMkLst>
        </pc:spChg>
        <pc:spChg chg="add mod ord">
          <ac:chgData name="Yudi Zhu" userId="571e1a55-055f-4c28-8b35-fca6dd1c1369" providerId="ADAL" clId="{75A88773-6EE1-484E-AADE-FE631E01463B}" dt="2025-11-21T06:24:18.739" v="146211"/>
          <ac:spMkLst>
            <pc:docMk/>
            <pc:sldMk cId="217569448" sldId="2147483088"/>
            <ac:spMk id="673" creationId="{60A3DA41-7B87-3FBC-B569-8392CF2A7B45}"/>
          </ac:spMkLst>
        </pc:spChg>
        <pc:spChg chg="add mod ord">
          <ac:chgData name="Yudi Zhu" userId="571e1a55-055f-4c28-8b35-fca6dd1c1369" providerId="ADAL" clId="{75A88773-6EE1-484E-AADE-FE631E01463B}" dt="2025-11-21T06:24:18.739" v="146217"/>
          <ac:spMkLst>
            <pc:docMk/>
            <pc:sldMk cId="217569448" sldId="2147483088"/>
            <ac:spMk id="674" creationId="{F9AAE61B-5CC9-F375-8086-0397C3805257}"/>
          </ac:spMkLst>
        </pc:spChg>
        <pc:spChg chg="add mod ord">
          <ac:chgData name="Yudi Zhu" userId="571e1a55-055f-4c28-8b35-fca6dd1c1369" providerId="ADAL" clId="{75A88773-6EE1-484E-AADE-FE631E01463B}" dt="2025-11-21T06:24:18.751" v="146225"/>
          <ac:spMkLst>
            <pc:docMk/>
            <pc:sldMk cId="217569448" sldId="2147483088"/>
            <ac:spMk id="675" creationId="{EC9EAF6E-63F0-8725-EC01-66AADEED2124}"/>
          </ac:spMkLst>
        </pc:spChg>
        <pc:spChg chg="add mod ord">
          <ac:chgData name="Yudi Zhu" userId="571e1a55-055f-4c28-8b35-fca6dd1c1369" providerId="ADAL" clId="{75A88773-6EE1-484E-AADE-FE631E01463B}" dt="2025-11-21T06:24:18.739" v="146204"/>
          <ac:spMkLst>
            <pc:docMk/>
            <pc:sldMk cId="217569448" sldId="2147483088"/>
            <ac:spMk id="676" creationId="{96981F61-2B98-7EBE-1AF1-1DFB1F68B15E}"/>
          </ac:spMkLst>
        </pc:spChg>
        <pc:spChg chg="add mod ord">
          <ac:chgData name="Yudi Zhu" userId="571e1a55-055f-4c28-8b35-fca6dd1c1369" providerId="ADAL" clId="{75A88773-6EE1-484E-AADE-FE631E01463B}" dt="2025-11-21T06:24:18.751" v="146228"/>
          <ac:spMkLst>
            <pc:docMk/>
            <pc:sldMk cId="217569448" sldId="2147483088"/>
            <ac:spMk id="677" creationId="{B9FC4806-A434-B2D0-F442-4653C36E7361}"/>
          </ac:spMkLst>
        </pc:spChg>
        <pc:spChg chg="add mod ord">
          <ac:chgData name="Yudi Zhu" userId="571e1a55-055f-4c28-8b35-fca6dd1c1369" providerId="ADAL" clId="{75A88773-6EE1-484E-AADE-FE631E01463B}" dt="2025-11-21T06:24:18.751" v="146229"/>
          <ac:spMkLst>
            <pc:docMk/>
            <pc:sldMk cId="217569448" sldId="2147483088"/>
            <ac:spMk id="678" creationId="{919089AF-157D-2CF0-94C6-39E7FA0CD73C}"/>
          </ac:spMkLst>
        </pc:spChg>
        <pc:spChg chg="add mod ord">
          <ac:chgData name="Yudi Zhu" userId="571e1a55-055f-4c28-8b35-fca6dd1c1369" providerId="ADAL" clId="{75A88773-6EE1-484E-AADE-FE631E01463B}" dt="2025-11-21T06:24:18.751" v="146230"/>
          <ac:spMkLst>
            <pc:docMk/>
            <pc:sldMk cId="217569448" sldId="2147483088"/>
            <ac:spMk id="679" creationId="{B1F237CB-C59D-947B-6C11-51CC88071D82}"/>
          </ac:spMkLst>
        </pc:spChg>
        <pc:spChg chg="add mod ord">
          <ac:chgData name="Yudi Zhu" userId="571e1a55-055f-4c28-8b35-fca6dd1c1369" providerId="ADAL" clId="{75A88773-6EE1-484E-AADE-FE631E01463B}" dt="2025-11-21T06:24:18.751" v="146232"/>
          <ac:spMkLst>
            <pc:docMk/>
            <pc:sldMk cId="217569448" sldId="2147483088"/>
            <ac:spMk id="680" creationId="{705B6921-46AA-4A06-6FDC-188D478F29CA}"/>
          </ac:spMkLst>
        </pc:spChg>
        <pc:spChg chg="add mod ord">
          <ac:chgData name="Yudi Zhu" userId="571e1a55-055f-4c28-8b35-fca6dd1c1369" providerId="ADAL" clId="{75A88773-6EE1-484E-AADE-FE631E01463B}" dt="2025-11-21T06:24:18.751" v="146233"/>
          <ac:spMkLst>
            <pc:docMk/>
            <pc:sldMk cId="217569448" sldId="2147483088"/>
            <ac:spMk id="681" creationId="{18BE7F64-1082-2EBC-FB08-F9EF8878A080}"/>
          </ac:spMkLst>
        </pc:spChg>
        <pc:spChg chg="add mod ord">
          <ac:chgData name="Yudi Zhu" userId="571e1a55-055f-4c28-8b35-fca6dd1c1369" providerId="ADAL" clId="{75A88773-6EE1-484E-AADE-FE631E01463B}" dt="2025-11-21T06:24:18.751" v="146234"/>
          <ac:spMkLst>
            <pc:docMk/>
            <pc:sldMk cId="217569448" sldId="2147483088"/>
            <ac:spMk id="682" creationId="{2493BD97-49DE-A9D5-9A1B-31F6EA6A786A}"/>
          </ac:spMkLst>
        </pc:spChg>
        <pc:spChg chg="add mod ord">
          <ac:chgData name="Yudi Zhu" userId="571e1a55-055f-4c28-8b35-fca6dd1c1369" providerId="ADAL" clId="{75A88773-6EE1-484E-AADE-FE631E01463B}" dt="2025-11-21T06:24:18.751" v="146237"/>
          <ac:spMkLst>
            <pc:docMk/>
            <pc:sldMk cId="217569448" sldId="2147483088"/>
            <ac:spMk id="683" creationId="{09E87391-3176-A6A3-E698-018228290BFB}"/>
          </ac:spMkLst>
        </pc:spChg>
        <pc:spChg chg="add mod ord">
          <ac:chgData name="Yudi Zhu" userId="571e1a55-055f-4c28-8b35-fca6dd1c1369" providerId="ADAL" clId="{75A88773-6EE1-484E-AADE-FE631E01463B}" dt="2025-11-21T06:24:18.751" v="146240"/>
          <ac:spMkLst>
            <pc:docMk/>
            <pc:sldMk cId="217569448" sldId="2147483088"/>
            <ac:spMk id="684" creationId="{A3CB091C-A8C5-5BAF-69B7-D7B7986F7DA2}"/>
          </ac:spMkLst>
        </pc:spChg>
        <pc:spChg chg="add mod ord">
          <ac:chgData name="Yudi Zhu" userId="571e1a55-055f-4c28-8b35-fca6dd1c1369" providerId="ADAL" clId="{75A88773-6EE1-484E-AADE-FE631E01463B}" dt="2025-11-21T06:24:18.751" v="146241"/>
          <ac:spMkLst>
            <pc:docMk/>
            <pc:sldMk cId="217569448" sldId="2147483088"/>
            <ac:spMk id="685" creationId="{E7E59190-A0AA-0187-63DE-5F6371689CBA}"/>
          </ac:spMkLst>
        </pc:spChg>
        <pc:spChg chg="add mod ord">
          <ac:chgData name="Yudi Zhu" userId="571e1a55-055f-4c28-8b35-fca6dd1c1369" providerId="ADAL" clId="{75A88773-6EE1-484E-AADE-FE631E01463B}" dt="2025-11-21T06:24:18.751" v="146242"/>
          <ac:spMkLst>
            <pc:docMk/>
            <pc:sldMk cId="217569448" sldId="2147483088"/>
            <ac:spMk id="686" creationId="{DF345541-BCB9-A8CE-86AC-23330DC1367C}"/>
          </ac:spMkLst>
        </pc:spChg>
        <pc:spChg chg="add mod ord">
          <ac:chgData name="Yudi Zhu" userId="571e1a55-055f-4c28-8b35-fca6dd1c1369" providerId="ADAL" clId="{75A88773-6EE1-484E-AADE-FE631E01463B}" dt="2025-11-21T06:24:18.751" v="146243"/>
          <ac:spMkLst>
            <pc:docMk/>
            <pc:sldMk cId="217569448" sldId="2147483088"/>
            <ac:spMk id="687" creationId="{7D118C5E-5214-1AA1-530F-6C2D9DBAC344}"/>
          </ac:spMkLst>
        </pc:spChg>
        <pc:spChg chg="add mod ord">
          <ac:chgData name="Yudi Zhu" userId="571e1a55-055f-4c28-8b35-fca6dd1c1369" providerId="ADAL" clId="{75A88773-6EE1-484E-AADE-FE631E01463B}" dt="2025-11-21T06:24:18.751" v="146245"/>
          <ac:spMkLst>
            <pc:docMk/>
            <pc:sldMk cId="217569448" sldId="2147483088"/>
            <ac:spMk id="688" creationId="{37325419-731B-C0E5-8C52-468882DE9BFD}"/>
          </ac:spMkLst>
        </pc:spChg>
        <pc:spChg chg="add mod ord">
          <ac:chgData name="Yudi Zhu" userId="571e1a55-055f-4c28-8b35-fca6dd1c1369" providerId="ADAL" clId="{75A88773-6EE1-484E-AADE-FE631E01463B}" dt="2025-11-21T06:24:18.751" v="146246"/>
          <ac:spMkLst>
            <pc:docMk/>
            <pc:sldMk cId="217569448" sldId="2147483088"/>
            <ac:spMk id="689" creationId="{97DD763B-DB5F-950A-7814-D76963E659A4}"/>
          </ac:spMkLst>
        </pc:spChg>
        <pc:spChg chg="add mod ord">
          <ac:chgData name="Yudi Zhu" userId="571e1a55-055f-4c28-8b35-fca6dd1c1369" providerId="ADAL" clId="{75A88773-6EE1-484E-AADE-FE631E01463B}" dt="2025-11-21T06:24:18.720" v="146192"/>
          <ac:spMkLst>
            <pc:docMk/>
            <pc:sldMk cId="217569448" sldId="2147483088"/>
            <ac:spMk id="690" creationId="{DC84C305-CC54-FF45-DC2D-1BF9D84396DB}"/>
          </ac:spMkLst>
        </pc:spChg>
        <pc:spChg chg="add mod">
          <ac:chgData name="Yudi Zhu" userId="571e1a55-055f-4c28-8b35-fca6dd1c1369" providerId="ADAL" clId="{75A88773-6EE1-484E-AADE-FE631E01463B}" dt="2025-11-21T06:24:18.720" v="146193"/>
          <ac:spMkLst>
            <pc:docMk/>
            <pc:sldMk cId="217569448" sldId="2147483088"/>
            <ac:spMk id="691" creationId="{2CC30D8E-AFA5-BD32-0CAE-5DBEB7D6EF82}"/>
          </ac:spMkLst>
        </pc:spChg>
        <pc:spChg chg="add mod ord">
          <ac:chgData name="Yudi Zhu" userId="571e1a55-055f-4c28-8b35-fca6dd1c1369" providerId="ADAL" clId="{75A88773-6EE1-484E-AADE-FE631E01463B}" dt="2025-11-21T06:24:18.720" v="146195"/>
          <ac:spMkLst>
            <pc:docMk/>
            <pc:sldMk cId="217569448" sldId="2147483088"/>
            <ac:spMk id="692" creationId="{99A3E3A9-9381-F1FC-2E6E-560554AD2560}"/>
          </ac:spMkLst>
        </pc:spChg>
        <pc:spChg chg="add mod ord">
          <ac:chgData name="Yudi Zhu" userId="571e1a55-055f-4c28-8b35-fca6dd1c1369" providerId="ADAL" clId="{75A88773-6EE1-484E-AADE-FE631E01463B}" dt="2025-11-21T06:24:18.720" v="146196"/>
          <ac:spMkLst>
            <pc:docMk/>
            <pc:sldMk cId="217569448" sldId="2147483088"/>
            <ac:spMk id="693" creationId="{FC57C755-44A1-3CB5-8CDF-A00A65BCC47D}"/>
          </ac:spMkLst>
        </pc:spChg>
        <pc:spChg chg="add mod ord">
          <ac:chgData name="Yudi Zhu" userId="571e1a55-055f-4c28-8b35-fca6dd1c1369" providerId="ADAL" clId="{75A88773-6EE1-484E-AADE-FE631E01463B}" dt="2025-11-21T06:24:18.720" v="146198"/>
          <ac:spMkLst>
            <pc:docMk/>
            <pc:sldMk cId="217569448" sldId="2147483088"/>
            <ac:spMk id="694" creationId="{38361DBA-A7DC-8428-6447-76394F69853C}"/>
          </ac:spMkLst>
        </pc:spChg>
        <pc:spChg chg="add mod ord">
          <ac:chgData name="Yudi Zhu" userId="571e1a55-055f-4c28-8b35-fca6dd1c1369" providerId="ADAL" clId="{75A88773-6EE1-484E-AADE-FE631E01463B}" dt="2025-11-21T06:24:18.735" v="146199"/>
          <ac:spMkLst>
            <pc:docMk/>
            <pc:sldMk cId="217569448" sldId="2147483088"/>
            <ac:spMk id="695" creationId="{E5CBD3E7-F837-38A6-9EFB-5B82E0C5B178}"/>
          </ac:spMkLst>
        </pc:spChg>
        <pc:spChg chg="add mod ord">
          <ac:chgData name="Yudi Zhu" userId="571e1a55-055f-4c28-8b35-fca6dd1c1369" providerId="ADAL" clId="{75A88773-6EE1-484E-AADE-FE631E01463B}" dt="2025-11-21T06:24:18.735" v="146201"/>
          <ac:spMkLst>
            <pc:docMk/>
            <pc:sldMk cId="217569448" sldId="2147483088"/>
            <ac:spMk id="696" creationId="{1E330385-3426-271E-0AA0-69A4ABF588F1}"/>
          </ac:spMkLst>
        </pc:spChg>
        <pc:spChg chg="add mod ord">
          <ac:chgData name="Yudi Zhu" userId="571e1a55-055f-4c28-8b35-fca6dd1c1369" providerId="ADAL" clId="{75A88773-6EE1-484E-AADE-FE631E01463B}" dt="2025-11-21T06:24:18.735" v="146202"/>
          <ac:spMkLst>
            <pc:docMk/>
            <pc:sldMk cId="217569448" sldId="2147483088"/>
            <ac:spMk id="697" creationId="{A8D9744E-9CCD-16F3-F595-BCE15801631C}"/>
          </ac:spMkLst>
        </pc:spChg>
        <pc:spChg chg="add mod ord">
          <ac:chgData name="Yudi Zhu" userId="571e1a55-055f-4c28-8b35-fca6dd1c1369" providerId="ADAL" clId="{75A88773-6EE1-484E-AADE-FE631E01463B}" dt="2025-11-21T06:24:18.735" v="146203"/>
          <ac:spMkLst>
            <pc:docMk/>
            <pc:sldMk cId="217569448" sldId="2147483088"/>
            <ac:spMk id="698" creationId="{CF8249E2-A619-B089-56F9-1750552D6CFC}"/>
          </ac:spMkLst>
        </pc:spChg>
        <pc:spChg chg="add mod ord">
          <ac:chgData name="Yudi Zhu" userId="571e1a55-055f-4c28-8b35-fca6dd1c1369" providerId="ADAL" clId="{75A88773-6EE1-484E-AADE-FE631E01463B}" dt="2025-11-21T06:24:18.751" v="146235"/>
          <ac:spMkLst>
            <pc:docMk/>
            <pc:sldMk cId="217569448" sldId="2147483088"/>
            <ac:spMk id="699" creationId="{E2083B8F-F5B7-62B3-35FB-D58C8976E603}"/>
          </ac:spMkLst>
        </pc:spChg>
        <pc:spChg chg="add mod ord">
          <ac:chgData name="Yudi Zhu" userId="571e1a55-055f-4c28-8b35-fca6dd1c1369" providerId="ADAL" clId="{75A88773-6EE1-484E-AADE-FE631E01463B}" dt="2025-11-21T06:24:18.739" v="146207"/>
          <ac:spMkLst>
            <pc:docMk/>
            <pc:sldMk cId="217569448" sldId="2147483088"/>
            <ac:spMk id="700" creationId="{68CD7E7F-3F7D-84B8-7F3F-7303A4CAFE0A}"/>
          </ac:spMkLst>
        </pc:spChg>
        <pc:spChg chg="add mod ord">
          <ac:chgData name="Yudi Zhu" userId="571e1a55-055f-4c28-8b35-fca6dd1c1369" providerId="ADAL" clId="{75A88773-6EE1-484E-AADE-FE631E01463B}" dt="2025-11-21T06:24:18.739" v="146208"/>
          <ac:spMkLst>
            <pc:docMk/>
            <pc:sldMk cId="217569448" sldId="2147483088"/>
            <ac:spMk id="701" creationId="{7CB54666-86A5-0B88-84AD-B865B355360F}"/>
          </ac:spMkLst>
        </pc:spChg>
        <pc:spChg chg="add mod ord">
          <ac:chgData name="Yudi Zhu" userId="571e1a55-055f-4c28-8b35-fca6dd1c1369" providerId="ADAL" clId="{75A88773-6EE1-484E-AADE-FE631E01463B}" dt="2025-11-21T06:24:18.739" v="146209"/>
          <ac:spMkLst>
            <pc:docMk/>
            <pc:sldMk cId="217569448" sldId="2147483088"/>
            <ac:spMk id="702" creationId="{89612B0C-6B3F-C219-927D-02AB7BF0F95F}"/>
          </ac:spMkLst>
        </pc:spChg>
        <pc:spChg chg="add mod">
          <ac:chgData name="Yudi Zhu" userId="571e1a55-055f-4c28-8b35-fca6dd1c1369" providerId="ADAL" clId="{75A88773-6EE1-484E-AADE-FE631E01463B}" dt="2025-11-21T06:24:18.739" v="146210"/>
          <ac:spMkLst>
            <pc:docMk/>
            <pc:sldMk cId="217569448" sldId="2147483088"/>
            <ac:spMk id="703" creationId="{0ECF9215-2765-9642-C462-9CC17398BB02}"/>
          </ac:spMkLst>
        </pc:spChg>
        <pc:spChg chg="add mod ord">
          <ac:chgData name="Yudi Zhu" userId="571e1a55-055f-4c28-8b35-fca6dd1c1369" providerId="ADAL" clId="{75A88773-6EE1-484E-AADE-FE631E01463B}" dt="2025-11-21T06:24:18.739" v="146213"/>
          <ac:spMkLst>
            <pc:docMk/>
            <pc:sldMk cId="217569448" sldId="2147483088"/>
            <ac:spMk id="704" creationId="{60494DB9-CABE-CE3A-DFE2-557CE6D87B4C}"/>
          </ac:spMkLst>
        </pc:spChg>
        <pc:spChg chg="add mod ord">
          <ac:chgData name="Yudi Zhu" userId="571e1a55-055f-4c28-8b35-fca6dd1c1369" providerId="ADAL" clId="{75A88773-6EE1-484E-AADE-FE631E01463B}" dt="2025-11-21T06:24:18.739" v="146214"/>
          <ac:spMkLst>
            <pc:docMk/>
            <pc:sldMk cId="217569448" sldId="2147483088"/>
            <ac:spMk id="705" creationId="{F3C698F7-2589-B615-FE89-60585A7B3493}"/>
          </ac:spMkLst>
        </pc:spChg>
        <pc:spChg chg="add mod ord">
          <ac:chgData name="Yudi Zhu" userId="571e1a55-055f-4c28-8b35-fca6dd1c1369" providerId="ADAL" clId="{75A88773-6EE1-484E-AADE-FE631E01463B}" dt="2025-11-21T06:24:18.739" v="146215"/>
          <ac:spMkLst>
            <pc:docMk/>
            <pc:sldMk cId="217569448" sldId="2147483088"/>
            <ac:spMk id="706" creationId="{CE73BAF9-288C-DA22-E44D-BCCD589BC752}"/>
          </ac:spMkLst>
        </pc:spChg>
        <pc:spChg chg="add mod ord">
          <ac:chgData name="Yudi Zhu" userId="571e1a55-055f-4c28-8b35-fca6dd1c1369" providerId="ADAL" clId="{75A88773-6EE1-484E-AADE-FE631E01463B}" dt="2025-11-21T06:24:18.739" v="146216"/>
          <ac:spMkLst>
            <pc:docMk/>
            <pc:sldMk cId="217569448" sldId="2147483088"/>
            <ac:spMk id="707" creationId="{61BBF744-62EC-AD5E-8771-701564FEEB74}"/>
          </ac:spMkLst>
        </pc:spChg>
        <pc:spChg chg="add mod ord">
          <ac:chgData name="Yudi Zhu" userId="571e1a55-055f-4c28-8b35-fca6dd1c1369" providerId="ADAL" clId="{75A88773-6EE1-484E-AADE-FE631E01463B}" dt="2025-11-21T06:24:18.739" v="146219"/>
          <ac:spMkLst>
            <pc:docMk/>
            <pc:sldMk cId="217569448" sldId="2147483088"/>
            <ac:spMk id="708" creationId="{F9B2CB9C-49E4-268A-022E-889203BDB018}"/>
          </ac:spMkLst>
        </pc:spChg>
        <pc:spChg chg="add mod ord">
          <ac:chgData name="Yudi Zhu" userId="571e1a55-055f-4c28-8b35-fca6dd1c1369" providerId="ADAL" clId="{75A88773-6EE1-484E-AADE-FE631E01463B}" dt="2025-11-21T06:24:18.739" v="146221"/>
          <ac:spMkLst>
            <pc:docMk/>
            <pc:sldMk cId="217569448" sldId="2147483088"/>
            <ac:spMk id="709" creationId="{A0684497-63BB-400D-C761-DBB47B66344B}"/>
          </ac:spMkLst>
        </pc:spChg>
        <pc:spChg chg="add mod ord">
          <ac:chgData name="Yudi Zhu" userId="571e1a55-055f-4c28-8b35-fca6dd1c1369" providerId="ADAL" clId="{75A88773-6EE1-484E-AADE-FE631E01463B}" dt="2025-11-21T06:24:18.739" v="146222"/>
          <ac:spMkLst>
            <pc:docMk/>
            <pc:sldMk cId="217569448" sldId="2147483088"/>
            <ac:spMk id="710" creationId="{3997C9B3-7A3B-78E4-3012-3E830DB7FDED}"/>
          </ac:spMkLst>
        </pc:spChg>
        <pc:spChg chg="add mod ord">
          <ac:chgData name="Yudi Zhu" userId="571e1a55-055f-4c28-8b35-fca6dd1c1369" providerId="ADAL" clId="{75A88773-6EE1-484E-AADE-FE631E01463B}" dt="2025-11-21T06:24:18.739" v="146223"/>
          <ac:spMkLst>
            <pc:docMk/>
            <pc:sldMk cId="217569448" sldId="2147483088"/>
            <ac:spMk id="711" creationId="{84A65325-A270-DDA5-E7EB-D433E727CD56}"/>
          </ac:spMkLst>
        </pc:spChg>
        <pc:spChg chg="add del mod modVis">
          <ac:chgData name="Yudi Zhu" userId="571e1a55-055f-4c28-8b35-fca6dd1c1369" providerId="ADAL" clId="{75A88773-6EE1-484E-AADE-FE631E01463B}" dt="2025-11-21T06:10:31.136" v="111309"/>
          <ac:spMkLst>
            <pc:docMk/>
            <pc:sldMk cId="217569448" sldId="2147483088"/>
            <ac:spMk id="732" creationId="{CA118D89-C429-1AE6-2CCE-6892C33FAB8F}"/>
          </ac:spMkLst>
        </pc:spChg>
        <pc:spChg chg="add del mod modVis">
          <ac:chgData name="Yudi Zhu" userId="571e1a55-055f-4c28-8b35-fca6dd1c1369" providerId="ADAL" clId="{75A88773-6EE1-484E-AADE-FE631E01463B}" dt="2025-11-21T06:10:38.762" v="112026"/>
          <ac:spMkLst>
            <pc:docMk/>
            <pc:sldMk cId="217569448" sldId="2147483088"/>
            <ac:spMk id="734" creationId="{34F9D3D4-CA66-7A47-4F32-FC1F5C10BE7D}"/>
          </ac:spMkLst>
        </pc:spChg>
        <pc:spChg chg="add del mod modVis">
          <ac:chgData name="Yudi Zhu" userId="571e1a55-055f-4c28-8b35-fca6dd1c1369" providerId="ADAL" clId="{75A88773-6EE1-484E-AADE-FE631E01463B}" dt="2025-11-21T06:10:38.762" v="112026"/>
          <ac:spMkLst>
            <pc:docMk/>
            <pc:sldMk cId="217569448" sldId="2147483088"/>
            <ac:spMk id="737" creationId="{EA8E6E3C-1B78-07BA-D369-5358DCD20D99}"/>
          </ac:spMkLst>
        </pc:spChg>
        <pc:spChg chg="add del mod modVis">
          <ac:chgData name="Yudi Zhu" userId="571e1a55-055f-4c28-8b35-fca6dd1c1369" providerId="ADAL" clId="{75A88773-6EE1-484E-AADE-FE631E01463B}" dt="2025-11-21T06:10:42.917" v="112450"/>
          <ac:spMkLst>
            <pc:docMk/>
            <pc:sldMk cId="217569448" sldId="2147483088"/>
            <ac:spMk id="739" creationId="{FCDD1A6A-F5C2-E77E-6C39-C1EDF25C35AD}"/>
          </ac:spMkLst>
        </pc:spChg>
        <pc:spChg chg="add del mod modVis">
          <ac:chgData name="Yudi Zhu" userId="571e1a55-055f-4c28-8b35-fca6dd1c1369" providerId="ADAL" clId="{75A88773-6EE1-484E-AADE-FE631E01463B}" dt="2025-11-21T06:10:44.342" v="112690"/>
          <ac:spMkLst>
            <pc:docMk/>
            <pc:sldMk cId="217569448" sldId="2147483088"/>
            <ac:spMk id="741" creationId="{54AE42A0-D25B-7643-AC07-81873E8FC02B}"/>
          </ac:spMkLst>
        </pc:spChg>
        <pc:spChg chg="add del mod modVis">
          <ac:chgData name="Yudi Zhu" userId="571e1a55-055f-4c28-8b35-fca6dd1c1369" providerId="ADAL" clId="{75A88773-6EE1-484E-AADE-FE631E01463B}" dt="2025-11-21T06:10:47.567" v="112930"/>
          <ac:spMkLst>
            <pc:docMk/>
            <pc:sldMk cId="217569448" sldId="2147483088"/>
            <ac:spMk id="743" creationId="{34ABDB94-CEFC-6467-DD1D-C4C63CB5E5B8}"/>
          </ac:spMkLst>
        </pc:spChg>
        <pc:spChg chg="add del mod modVis">
          <ac:chgData name="Yudi Zhu" userId="571e1a55-055f-4c28-8b35-fca6dd1c1369" providerId="ADAL" clId="{75A88773-6EE1-484E-AADE-FE631E01463B}" dt="2025-11-21T06:10:50.599" v="113170"/>
          <ac:spMkLst>
            <pc:docMk/>
            <pc:sldMk cId="217569448" sldId="2147483088"/>
            <ac:spMk id="745" creationId="{DD57A065-FE5C-B768-C606-87D705CE707A}"/>
          </ac:spMkLst>
        </pc:spChg>
        <pc:spChg chg="add del mod modVis">
          <ac:chgData name="Yudi Zhu" userId="571e1a55-055f-4c28-8b35-fca6dd1c1369" providerId="ADAL" clId="{75A88773-6EE1-484E-AADE-FE631E01463B}" dt="2025-11-21T06:10:51.696" v="113410"/>
          <ac:spMkLst>
            <pc:docMk/>
            <pc:sldMk cId="217569448" sldId="2147483088"/>
            <ac:spMk id="747" creationId="{5EAEC2F3-4261-7A69-0C09-BE037A6B1F0F}"/>
          </ac:spMkLst>
        </pc:spChg>
        <pc:spChg chg="add del mod modVis">
          <ac:chgData name="Yudi Zhu" userId="571e1a55-055f-4c28-8b35-fca6dd1c1369" providerId="ADAL" clId="{75A88773-6EE1-484E-AADE-FE631E01463B}" dt="2025-11-21T06:11:36.251" v="113650"/>
          <ac:spMkLst>
            <pc:docMk/>
            <pc:sldMk cId="217569448" sldId="2147483088"/>
            <ac:spMk id="749" creationId="{CBB8B049-D056-F8F7-1A6C-748DFCB5D1F4}"/>
          </ac:spMkLst>
        </pc:spChg>
        <pc:spChg chg="add del mod modVis">
          <ac:chgData name="Yudi Zhu" userId="571e1a55-055f-4c28-8b35-fca6dd1c1369" providerId="ADAL" clId="{75A88773-6EE1-484E-AADE-FE631E01463B}" dt="2025-11-21T06:11:37.984" v="113890"/>
          <ac:spMkLst>
            <pc:docMk/>
            <pc:sldMk cId="217569448" sldId="2147483088"/>
            <ac:spMk id="751" creationId="{9D7060F3-B30C-30F4-89FD-AAD87447DB41}"/>
          </ac:spMkLst>
        </pc:spChg>
        <pc:spChg chg="add del mod modVis">
          <ac:chgData name="Yudi Zhu" userId="571e1a55-055f-4c28-8b35-fca6dd1c1369" providerId="ADAL" clId="{75A88773-6EE1-484E-AADE-FE631E01463B}" dt="2025-11-21T06:11:39.740" v="114130"/>
          <ac:spMkLst>
            <pc:docMk/>
            <pc:sldMk cId="217569448" sldId="2147483088"/>
            <ac:spMk id="753" creationId="{5C14C993-0379-9DF2-7469-2F3F695EF3AF}"/>
          </ac:spMkLst>
        </pc:spChg>
        <pc:spChg chg="add del mod modVis">
          <ac:chgData name="Yudi Zhu" userId="571e1a55-055f-4c28-8b35-fca6dd1c1369" providerId="ADAL" clId="{75A88773-6EE1-484E-AADE-FE631E01463B}" dt="2025-11-21T06:12:13.236" v="114370"/>
          <ac:spMkLst>
            <pc:docMk/>
            <pc:sldMk cId="217569448" sldId="2147483088"/>
            <ac:spMk id="755" creationId="{697AB088-A453-BFDC-F2A7-BBE01CE762F8}"/>
          </ac:spMkLst>
        </pc:spChg>
        <pc:spChg chg="add del mod modVis">
          <ac:chgData name="Yudi Zhu" userId="571e1a55-055f-4c28-8b35-fca6dd1c1369" providerId="ADAL" clId="{75A88773-6EE1-484E-AADE-FE631E01463B}" dt="2025-11-21T06:12:25.713" v="114610"/>
          <ac:spMkLst>
            <pc:docMk/>
            <pc:sldMk cId="217569448" sldId="2147483088"/>
            <ac:spMk id="757" creationId="{2E92AEFA-EE35-954D-F94A-5EB8D52D802B}"/>
          </ac:spMkLst>
        </pc:spChg>
        <pc:spChg chg="add del mod modVis">
          <ac:chgData name="Yudi Zhu" userId="571e1a55-055f-4c28-8b35-fca6dd1c1369" providerId="ADAL" clId="{75A88773-6EE1-484E-AADE-FE631E01463B}" dt="2025-11-21T06:12:29.807" v="115464"/>
          <ac:spMkLst>
            <pc:docMk/>
            <pc:sldMk cId="217569448" sldId="2147483088"/>
            <ac:spMk id="759" creationId="{218DEF87-3F70-18F7-D1AD-437F724FECA8}"/>
          </ac:spMkLst>
        </pc:spChg>
        <pc:spChg chg="add del mod">
          <ac:chgData name="Yudi Zhu" userId="571e1a55-055f-4c28-8b35-fca6dd1c1369" providerId="ADAL" clId="{75A88773-6EE1-484E-AADE-FE631E01463B}" dt="2025-11-21T06:12:36.847" v="116217"/>
          <ac:spMkLst>
            <pc:docMk/>
            <pc:sldMk cId="217569448" sldId="2147483088"/>
            <ac:spMk id="760" creationId="{D67CE0AF-83C9-A206-BA8B-0AB1E1D5E5E7}"/>
          </ac:spMkLst>
        </pc:spChg>
        <pc:spChg chg="add del mod">
          <ac:chgData name="Yudi Zhu" userId="571e1a55-055f-4c28-8b35-fca6dd1c1369" providerId="ADAL" clId="{75A88773-6EE1-484E-AADE-FE631E01463B}" dt="2025-11-21T06:12:36.847" v="116219"/>
          <ac:spMkLst>
            <pc:docMk/>
            <pc:sldMk cId="217569448" sldId="2147483088"/>
            <ac:spMk id="761" creationId="{20A95D4F-606B-42F7-98B6-AE7DD7B64FBE}"/>
          </ac:spMkLst>
        </pc:spChg>
        <pc:spChg chg="add del mod">
          <ac:chgData name="Yudi Zhu" userId="571e1a55-055f-4c28-8b35-fca6dd1c1369" providerId="ADAL" clId="{75A88773-6EE1-484E-AADE-FE631E01463B}" dt="2025-11-21T06:12:36.847" v="116221"/>
          <ac:spMkLst>
            <pc:docMk/>
            <pc:sldMk cId="217569448" sldId="2147483088"/>
            <ac:spMk id="762" creationId="{A1C78870-1D93-4211-5DF3-BDE2BC1EE4B1}"/>
          </ac:spMkLst>
        </pc:spChg>
        <pc:spChg chg="add del mod">
          <ac:chgData name="Yudi Zhu" userId="571e1a55-055f-4c28-8b35-fca6dd1c1369" providerId="ADAL" clId="{75A88773-6EE1-484E-AADE-FE631E01463B}" dt="2025-11-21T06:12:36.847" v="116222"/>
          <ac:spMkLst>
            <pc:docMk/>
            <pc:sldMk cId="217569448" sldId="2147483088"/>
            <ac:spMk id="763" creationId="{53C17C8D-4B94-4675-5DCD-413A821CE5FF}"/>
          </ac:spMkLst>
        </pc:spChg>
        <pc:spChg chg="add del mod">
          <ac:chgData name="Yudi Zhu" userId="571e1a55-055f-4c28-8b35-fca6dd1c1369" providerId="ADAL" clId="{75A88773-6EE1-484E-AADE-FE631E01463B}" dt="2025-11-21T06:12:36.847" v="116223"/>
          <ac:spMkLst>
            <pc:docMk/>
            <pc:sldMk cId="217569448" sldId="2147483088"/>
            <ac:spMk id="764" creationId="{25CA9EB6-7B21-0651-78C8-39690FC784CE}"/>
          </ac:spMkLst>
        </pc:spChg>
        <pc:spChg chg="add del mod">
          <ac:chgData name="Yudi Zhu" userId="571e1a55-055f-4c28-8b35-fca6dd1c1369" providerId="ADAL" clId="{75A88773-6EE1-484E-AADE-FE631E01463B}" dt="2025-11-21T06:12:36.847" v="116225"/>
          <ac:spMkLst>
            <pc:docMk/>
            <pc:sldMk cId="217569448" sldId="2147483088"/>
            <ac:spMk id="765" creationId="{83047559-7A59-C4BB-16AD-6FD4521E69B6}"/>
          </ac:spMkLst>
        </pc:spChg>
        <pc:spChg chg="add del mod">
          <ac:chgData name="Yudi Zhu" userId="571e1a55-055f-4c28-8b35-fca6dd1c1369" providerId="ADAL" clId="{75A88773-6EE1-484E-AADE-FE631E01463B}" dt="2025-11-21T06:12:36.847" v="116224"/>
          <ac:spMkLst>
            <pc:docMk/>
            <pc:sldMk cId="217569448" sldId="2147483088"/>
            <ac:spMk id="766" creationId="{CD2CCC3D-0BB0-CDBA-8329-73D43F2A1909}"/>
          </ac:spMkLst>
        </pc:spChg>
        <pc:spChg chg="add del mod">
          <ac:chgData name="Yudi Zhu" userId="571e1a55-055f-4c28-8b35-fca6dd1c1369" providerId="ADAL" clId="{75A88773-6EE1-484E-AADE-FE631E01463B}" dt="2025-11-21T06:12:36.847" v="116218"/>
          <ac:spMkLst>
            <pc:docMk/>
            <pc:sldMk cId="217569448" sldId="2147483088"/>
            <ac:spMk id="767" creationId="{F22181F6-8091-EEE2-DD90-188CC5B65B5A}"/>
          </ac:spMkLst>
        </pc:spChg>
        <pc:spChg chg="add del mod">
          <ac:chgData name="Yudi Zhu" userId="571e1a55-055f-4c28-8b35-fca6dd1c1369" providerId="ADAL" clId="{75A88773-6EE1-484E-AADE-FE631E01463B}" dt="2025-11-21T06:12:36.847" v="116226"/>
          <ac:spMkLst>
            <pc:docMk/>
            <pc:sldMk cId="217569448" sldId="2147483088"/>
            <ac:spMk id="768" creationId="{3283CB1C-2FC4-72B4-8D2A-81D9C381FAB5}"/>
          </ac:spMkLst>
        </pc:spChg>
        <pc:spChg chg="add del mod">
          <ac:chgData name="Yudi Zhu" userId="571e1a55-055f-4c28-8b35-fca6dd1c1369" providerId="ADAL" clId="{75A88773-6EE1-484E-AADE-FE631E01463B}" dt="2025-11-21T06:12:36.847" v="116220"/>
          <ac:spMkLst>
            <pc:docMk/>
            <pc:sldMk cId="217569448" sldId="2147483088"/>
            <ac:spMk id="769" creationId="{3ECB592D-0219-28FB-951A-0A9802E85D54}"/>
          </ac:spMkLst>
        </pc:spChg>
        <pc:spChg chg="add del mod modVis">
          <ac:chgData name="Yudi Zhu" userId="571e1a55-055f-4c28-8b35-fca6dd1c1369" providerId="ADAL" clId="{75A88773-6EE1-484E-AADE-FE631E01463B}" dt="2025-11-21T06:12:32.303" v="115714"/>
          <ac:spMkLst>
            <pc:docMk/>
            <pc:sldMk cId="217569448" sldId="2147483088"/>
            <ac:spMk id="771" creationId="{AC21BFA2-0AEE-B6F2-F559-43E2CD7A23D2}"/>
          </ac:spMkLst>
        </pc:spChg>
        <pc:spChg chg="add del mod modVis">
          <ac:chgData name="Yudi Zhu" userId="571e1a55-055f-4c28-8b35-fca6dd1c1369" providerId="ADAL" clId="{75A88773-6EE1-484E-AADE-FE631E01463B}" dt="2025-11-21T06:12:35.429" v="115964"/>
          <ac:spMkLst>
            <pc:docMk/>
            <pc:sldMk cId="217569448" sldId="2147483088"/>
            <ac:spMk id="773" creationId="{758400FE-17BD-4475-AC04-681F64EF2CBA}"/>
          </ac:spMkLst>
        </pc:spChg>
        <pc:spChg chg="add del mod modVis">
          <ac:chgData name="Yudi Zhu" userId="571e1a55-055f-4c28-8b35-fca6dd1c1369" providerId="ADAL" clId="{75A88773-6EE1-484E-AADE-FE631E01463B}" dt="2025-11-21T06:12:36.519" v="116214"/>
          <ac:spMkLst>
            <pc:docMk/>
            <pc:sldMk cId="217569448" sldId="2147483088"/>
            <ac:spMk id="775" creationId="{B0476B1B-A5D2-D505-2E17-34FA24EC9B58}"/>
          </ac:spMkLst>
        </pc:spChg>
        <pc:spChg chg="add del mod modVis">
          <ac:chgData name="Yudi Zhu" userId="571e1a55-055f-4c28-8b35-fca6dd1c1369" providerId="ADAL" clId="{75A88773-6EE1-484E-AADE-FE631E01463B}" dt="2025-11-21T06:12:37.205" v="116464"/>
          <ac:spMkLst>
            <pc:docMk/>
            <pc:sldMk cId="217569448" sldId="2147483088"/>
            <ac:spMk id="777" creationId="{F7265DAD-EF6E-4A33-6731-3C3E3D6A7F89}"/>
          </ac:spMkLst>
        </pc:spChg>
        <pc:spChg chg="add del mod modVis">
          <ac:chgData name="Yudi Zhu" userId="571e1a55-055f-4c28-8b35-fca6dd1c1369" providerId="ADAL" clId="{75A88773-6EE1-484E-AADE-FE631E01463B}" dt="2025-11-21T06:12:48.062" v="116704"/>
          <ac:spMkLst>
            <pc:docMk/>
            <pc:sldMk cId="217569448" sldId="2147483088"/>
            <ac:spMk id="779" creationId="{88CA43F2-ABA8-AAB2-C8A6-407A4CE22D64}"/>
          </ac:spMkLst>
        </pc:spChg>
        <pc:spChg chg="add del mod modVis">
          <ac:chgData name="Yudi Zhu" userId="571e1a55-055f-4c28-8b35-fca6dd1c1369" providerId="ADAL" clId="{75A88773-6EE1-484E-AADE-FE631E01463B}" dt="2025-11-21T06:12:51.483" v="116944"/>
          <ac:spMkLst>
            <pc:docMk/>
            <pc:sldMk cId="217569448" sldId="2147483088"/>
            <ac:spMk id="781" creationId="{498BC5AA-069E-B5BD-D48A-511752C27313}"/>
          </ac:spMkLst>
        </pc:spChg>
        <pc:spChg chg="add del mod modVis">
          <ac:chgData name="Yudi Zhu" userId="571e1a55-055f-4c28-8b35-fca6dd1c1369" providerId="ADAL" clId="{75A88773-6EE1-484E-AADE-FE631E01463B}" dt="2025-11-21T06:13:11.345" v="117184"/>
          <ac:spMkLst>
            <pc:docMk/>
            <pc:sldMk cId="217569448" sldId="2147483088"/>
            <ac:spMk id="783" creationId="{B2F74E9E-F4A5-F205-AE00-6F3F165EAFEA}"/>
          </ac:spMkLst>
        </pc:spChg>
        <pc:spChg chg="add del mod modVis">
          <ac:chgData name="Yudi Zhu" userId="571e1a55-055f-4c28-8b35-fca6dd1c1369" providerId="ADAL" clId="{75A88773-6EE1-484E-AADE-FE631E01463B}" dt="2025-11-21T06:16:48.568" v="117426"/>
          <ac:spMkLst>
            <pc:docMk/>
            <pc:sldMk cId="217569448" sldId="2147483088"/>
            <ac:spMk id="785" creationId="{3485B235-4A77-0319-C95F-C68F79CE35CE}"/>
          </ac:spMkLst>
        </pc:spChg>
        <pc:spChg chg="add del mod modVis">
          <ac:chgData name="Yudi Zhu" userId="571e1a55-055f-4c28-8b35-fca6dd1c1369" providerId="ADAL" clId="{75A88773-6EE1-484E-AADE-FE631E01463B}" dt="2025-11-21T06:17:36.457" v="117872"/>
          <ac:spMkLst>
            <pc:docMk/>
            <pc:sldMk cId="217569448" sldId="2147483088"/>
            <ac:spMk id="787" creationId="{C7056A84-7DEC-9C98-1B76-1B53696EEC86}"/>
          </ac:spMkLst>
        </pc:spChg>
        <pc:spChg chg="add del mod modVis">
          <ac:chgData name="Yudi Zhu" userId="571e1a55-055f-4c28-8b35-fca6dd1c1369" providerId="ADAL" clId="{75A88773-6EE1-484E-AADE-FE631E01463B}" dt="2025-11-21T06:19:22.514" v="118112"/>
          <ac:spMkLst>
            <pc:docMk/>
            <pc:sldMk cId="217569448" sldId="2147483088"/>
            <ac:spMk id="789" creationId="{0AA3A08F-8986-10AA-F666-25F6757B667D}"/>
          </ac:spMkLst>
        </pc:spChg>
        <pc:spChg chg="add del mod modVis">
          <ac:chgData name="Yudi Zhu" userId="571e1a55-055f-4c28-8b35-fca6dd1c1369" providerId="ADAL" clId="{75A88773-6EE1-484E-AADE-FE631E01463B}" dt="2025-11-21T06:20:16.427" v="120302"/>
          <ac:spMkLst>
            <pc:docMk/>
            <pc:sldMk cId="217569448" sldId="2147483088"/>
            <ac:spMk id="791" creationId="{3CDD4680-6A7A-BF38-72E9-CA0F53BBB913}"/>
          </ac:spMkLst>
        </pc:spChg>
        <pc:spChg chg="add del mod modVis">
          <ac:chgData name="Yudi Zhu" userId="571e1a55-055f-4c28-8b35-fca6dd1c1369" providerId="ADAL" clId="{75A88773-6EE1-484E-AADE-FE631E01463B}" dt="2025-11-21T06:20:14.432" v="120221"/>
          <ac:spMkLst>
            <pc:docMk/>
            <pc:sldMk cId="217569448" sldId="2147483088"/>
            <ac:spMk id="793" creationId="{87742FF8-B064-1A58-0D2A-B509EF7F5E4D}"/>
          </ac:spMkLst>
        </pc:spChg>
        <pc:spChg chg="add del mod modVis">
          <ac:chgData name="Yudi Zhu" userId="571e1a55-055f-4c28-8b35-fca6dd1c1369" providerId="ADAL" clId="{75A88773-6EE1-484E-AADE-FE631E01463B}" dt="2025-11-21T06:20:13.478" v="120027" actId="962"/>
          <ac:spMkLst>
            <pc:docMk/>
            <pc:sldMk cId="217569448" sldId="2147483088"/>
            <ac:spMk id="795" creationId="{9AD90BB0-EBB0-C524-5A14-D96BD6520D2D}"/>
          </ac:spMkLst>
        </pc:spChg>
        <pc:spChg chg="add del mod modVis">
          <ac:chgData name="Yudi Zhu" userId="571e1a55-055f-4c28-8b35-fca6dd1c1369" providerId="ADAL" clId="{75A88773-6EE1-484E-AADE-FE631E01463B}" dt="2025-11-21T06:20:28.341" v="120826"/>
          <ac:spMkLst>
            <pc:docMk/>
            <pc:sldMk cId="217569448" sldId="2147483088"/>
            <ac:spMk id="805" creationId="{66DB8FF6-6113-F27D-61B2-A93493080D9A}"/>
          </ac:spMkLst>
        </pc:spChg>
        <pc:spChg chg="add del mod modVis">
          <ac:chgData name="Yudi Zhu" userId="571e1a55-055f-4c28-8b35-fca6dd1c1369" providerId="ADAL" clId="{75A88773-6EE1-484E-AADE-FE631E01463B}" dt="2025-11-21T06:20:33.027" v="121164"/>
          <ac:spMkLst>
            <pc:docMk/>
            <pc:sldMk cId="217569448" sldId="2147483088"/>
            <ac:spMk id="811" creationId="{4711C540-BF44-F9A1-6B8D-110AE1C70A84}"/>
          </ac:spMkLst>
        </pc:spChg>
        <pc:spChg chg="add mod">
          <ac:chgData name="Yudi Zhu" userId="571e1a55-055f-4c28-8b35-fca6dd1c1369" providerId="ADAL" clId="{75A88773-6EE1-484E-AADE-FE631E01463B}" dt="2025-11-21T06:24:44.865" v="146262"/>
          <ac:spMkLst>
            <pc:docMk/>
            <pc:sldMk cId="217569448" sldId="2147483088"/>
            <ac:spMk id="813" creationId="{066CA97C-3F2F-7D12-765D-ED0469225FF8}"/>
          </ac:spMkLst>
        </pc:spChg>
        <pc:spChg chg="add mod">
          <ac:chgData name="Yudi Zhu" userId="571e1a55-055f-4c28-8b35-fca6dd1c1369" providerId="ADAL" clId="{75A88773-6EE1-484E-AADE-FE631E01463B}" dt="2025-11-21T06:24:44.865" v="146271"/>
          <ac:spMkLst>
            <pc:docMk/>
            <pc:sldMk cId="217569448" sldId="2147483088"/>
            <ac:spMk id="814" creationId="{439CC438-374B-BE7E-D787-C6F3B3253EBD}"/>
          </ac:spMkLst>
        </pc:spChg>
        <pc:spChg chg="add mod">
          <ac:chgData name="Yudi Zhu" userId="571e1a55-055f-4c28-8b35-fca6dd1c1369" providerId="ADAL" clId="{75A88773-6EE1-484E-AADE-FE631E01463B}" dt="2025-11-21T06:24:44.865" v="146280"/>
          <ac:spMkLst>
            <pc:docMk/>
            <pc:sldMk cId="217569448" sldId="2147483088"/>
            <ac:spMk id="815" creationId="{0C995237-270D-AB95-9505-A65177E9D0B2}"/>
          </ac:spMkLst>
        </pc:spChg>
        <pc:spChg chg="add mod">
          <ac:chgData name="Yudi Zhu" userId="571e1a55-055f-4c28-8b35-fca6dd1c1369" providerId="ADAL" clId="{75A88773-6EE1-484E-AADE-FE631E01463B}" dt="2025-11-21T06:24:44.886" v="146289"/>
          <ac:spMkLst>
            <pc:docMk/>
            <pc:sldMk cId="217569448" sldId="2147483088"/>
            <ac:spMk id="816" creationId="{88B4D459-13D8-A337-DAF8-C51F1D7FD8DD}"/>
          </ac:spMkLst>
        </pc:spChg>
        <pc:spChg chg="add del mod modVis">
          <ac:chgData name="Yudi Zhu" userId="571e1a55-055f-4c28-8b35-fca6dd1c1369" providerId="ADAL" clId="{75A88773-6EE1-484E-AADE-FE631E01463B}" dt="2025-11-21T06:20:35.613" v="121400"/>
          <ac:spMkLst>
            <pc:docMk/>
            <pc:sldMk cId="217569448" sldId="2147483088"/>
            <ac:spMk id="817" creationId="{D938549C-58D8-D68D-08ED-B1276D0CFD55}"/>
          </ac:spMkLst>
        </pc:spChg>
        <pc:spChg chg="add del mod modVis">
          <ac:chgData name="Yudi Zhu" userId="571e1a55-055f-4c28-8b35-fca6dd1c1369" providerId="ADAL" clId="{75A88773-6EE1-484E-AADE-FE631E01463B}" dt="2025-11-21T06:20:37.127" v="121636"/>
          <ac:spMkLst>
            <pc:docMk/>
            <pc:sldMk cId="217569448" sldId="2147483088"/>
            <ac:spMk id="819" creationId="{D1017C2C-DBB2-19A4-749D-CA836D0DB8A2}"/>
          </ac:spMkLst>
        </pc:spChg>
        <pc:spChg chg="add del mod modVis">
          <ac:chgData name="Yudi Zhu" userId="571e1a55-055f-4c28-8b35-fca6dd1c1369" providerId="ADAL" clId="{75A88773-6EE1-484E-AADE-FE631E01463B}" dt="2025-11-21T06:20:38.063" v="121872"/>
          <ac:spMkLst>
            <pc:docMk/>
            <pc:sldMk cId="217569448" sldId="2147483088"/>
            <ac:spMk id="821" creationId="{52041F7A-1A13-8FCD-00DF-7E5ED149EF84}"/>
          </ac:spMkLst>
        </pc:spChg>
        <pc:spChg chg="add del mod modVis">
          <ac:chgData name="Yudi Zhu" userId="571e1a55-055f-4c28-8b35-fca6dd1c1369" providerId="ADAL" clId="{75A88773-6EE1-484E-AADE-FE631E01463B}" dt="2025-11-21T06:20:39.511" v="122108"/>
          <ac:spMkLst>
            <pc:docMk/>
            <pc:sldMk cId="217569448" sldId="2147483088"/>
            <ac:spMk id="823" creationId="{851EA2AC-ADB8-9AE0-E904-7BF107B761EE}"/>
          </ac:spMkLst>
        </pc:spChg>
        <pc:spChg chg="add del mod modVis">
          <ac:chgData name="Yudi Zhu" userId="571e1a55-055f-4c28-8b35-fca6dd1c1369" providerId="ADAL" clId="{75A88773-6EE1-484E-AADE-FE631E01463B}" dt="2025-11-21T06:20:43.711" v="122344"/>
          <ac:spMkLst>
            <pc:docMk/>
            <pc:sldMk cId="217569448" sldId="2147483088"/>
            <ac:spMk id="825" creationId="{68DDF18D-22E9-F1A8-318B-99DFFD8AAFDF}"/>
          </ac:spMkLst>
        </pc:spChg>
        <pc:spChg chg="add del mod modVis">
          <ac:chgData name="Yudi Zhu" userId="571e1a55-055f-4c28-8b35-fca6dd1c1369" providerId="ADAL" clId="{75A88773-6EE1-484E-AADE-FE631E01463B}" dt="2025-11-21T06:20:45.324" v="122580"/>
          <ac:spMkLst>
            <pc:docMk/>
            <pc:sldMk cId="217569448" sldId="2147483088"/>
            <ac:spMk id="827" creationId="{4C2DED56-391B-F5C0-FA08-5560E3E44F97}"/>
          </ac:spMkLst>
        </pc:spChg>
        <pc:spChg chg="add del mod modVis">
          <ac:chgData name="Yudi Zhu" userId="571e1a55-055f-4c28-8b35-fca6dd1c1369" providerId="ADAL" clId="{75A88773-6EE1-484E-AADE-FE631E01463B}" dt="2025-11-21T06:20:45.945" v="122816"/>
          <ac:spMkLst>
            <pc:docMk/>
            <pc:sldMk cId="217569448" sldId="2147483088"/>
            <ac:spMk id="829" creationId="{4DA27E22-4B0F-5A58-D89D-629538D1C2AB}"/>
          </ac:spMkLst>
        </pc:spChg>
        <pc:spChg chg="add del mod modVis">
          <ac:chgData name="Yudi Zhu" userId="571e1a55-055f-4c28-8b35-fca6dd1c1369" providerId="ADAL" clId="{75A88773-6EE1-484E-AADE-FE631E01463B}" dt="2025-11-21T06:20:48.166" v="123052"/>
          <ac:spMkLst>
            <pc:docMk/>
            <pc:sldMk cId="217569448" sldId="2147483088"/>
            <ac:spMk id="831" creationId="{72903CE9-9E73-91D0-6B75-F0628F0FD94A}"/>
          </ac:spMkLst>
        </pc:spChg>
        <pc:spChg chg="add del mod modVis">
          <ac:chgData name="Yudi Zhu" userId="571e1a55-055f-4c28-8b35-fca6dd1c1369" providerId="ADAL" clId="{75A88773-6EE1-484E-AADE-FE631E01463B}" dt="2025-11-21T06:20:48.777" v="123288"/>
          <ac:spMkLst>
            <pc:docMk/>
            <pc:sldMk cId="217569448" sldId="2147483088"/>
            <ac:spMk id="833" creationId="{6AED3CA9-8511-B9DC-1A3D-607162F29BAB}"/>
          </ac:spMkLst>
        </pc:spChg>
        <pc:spChg chg="add del mod modVis">
          <ac:chgData name="Yudi Zhu" userId="571e1a55-055f-4c28-8b35-fca6dd1c1369" providerId="ADAL" clId="{75A88773-6EE1-484E-AADE-FE631E01463B}" dt="2025-11-21T06:20:52.642" v="123524"/>
          <ac:spMkLst>
            <pc:docMk/>
            <pc:sldMk cId="217569448" sldId="2147483088"/>
            <ac:spMk id="835" creationId="{2A8537F4-69AF-73BD-65B8-9E5E046EF6C4}"/>
          </ac:spMkLst>
        </pc:spChg>
        <pc:spChg chg="add del mod modVis">
          <ac:chgData name="Yudi Zhu" userId="571e1a55-055f-4c28-8b35-fca6dd1c1369" providerId="ADAL" clId="{75A88773-6EE1-484E-AADE-FE631E01463B}" dt="2025-11-21T06:20:56.747" v="123760"/>
          <ac:spMkLst>
            <pc:docMk/>
            <pc:sldMk cId="217569448" sldId="2147483088"/>
            <ac:spMk id="837" creationId="{7C64B3B2-EA09-C10A-36BA-D99C8A500C86}"/>
          </ac:spMkLst>
        </pc:spChg>
        <pc:spChg chg="add del mod modVis">
          <ac:chgData name="Yudi Zhu" userId="571e1a55-055f-4c28-8b35-fca6dd1c1369" providerId="ADAL" clId="{75A88773-6EE1-484E-AADE-FE631E01463B}" dt="2025-11-21T06:20:58.989" v="123996"/>
          <ac:spMkLst>
            <pc:docMk/>
            <pc:sldMk cId="217569448" sldId="2147483088"/>
            <ac:spMk id="839" creationId="{4E82A60E-CF2F-E4E5-944E-798D4FB6E474}"/>
          </ac:spMkLst>
        </pc:spChg>
        <pc:spChg chg="add del mod modVis">
          <ac:chgData name="Yudi Zhu" userId="571e1a55-055f-4c28-8b35-fca6dd1c1369" providerId="ADAL" clId="{75A88773-6EE1-484E-AADE-FE631E01463B}" dt="2025-11-21T06:21:00.675" v="124232"/>
          <ac:spMkLst>
            <pc:docMk/>
            <pc:sldMk cId="217569448" sldId="2147483088"/>
            <ac:spMk id="841" creationId="{2A90668F-5BE8-9818-C5D1-0C218F266BD8}"/>
          </ac:spMkLst>
        </pc:spChg>
        <pc:spChg chg="add del mod modVis">
          <ac:chgData name="Yudi Zhu" userId="571e1a55-055f-4c28-8b35-fca6dd1c1369" providerId="ADAL" clId="{75A88773-6EE1-484E-AADE-FE631E01463B}" dt="2025-11-21T06:21:09.012" v="124468"/>
          <ac:spMkLst>
            <pc:docMk/>
            <pc:sldMk cId="217569448" sldId="2147483088"/>
            <ac:spMk id="843" creationId="{DBB461F4-5FFD-FD09-D297-F73FBCFA62B7}"/>
          </ac:spMkLst>
        </pc:spChg>
        <pc:spChg chg="add del mod modVis">
          <ac:chgData name="Yudi Zhu" userId="571e1a55-055f-4c28-8b35-fca6dd1c1369" providerId="ADAL" clId="{75A88773-6EE1-484E-AADE-FE631E01463B}" dt="2025-11-21T06:21:17.574" v="124704"/>
          <ac:spMkLst>
            <pc:docMk/>
            <pc:sldMk cId="217569448" sldId="2147483088"/>
            <ac:spMk id="845" creationId="{67B3904B-FE53-C59B-D978-0ADFC2117B12}"/>
          </ac:spMkLst>
        </pc:spChg>
        <pc:spChg chg="add del mod modVis">
          <ac:chgData name="Yudi Zhu" userId="571e1a55-055f-4c28-8b35-fca6dd1c1369" providerId="ADAL" clId="{75A88773-6EE1-484E-AADE-FE631E01463B}" dt="2025-11-21T06:21:21.324" v="124940"/>
          <ac:spMkLst>
            <pc:docMk/>
            <pc:sldMk cId="217569448" sldId="2147483088"/>
            <ac:spMk id="847" creationId="{0BFD21C3-5789-612C-1FDE-15813BF9E3B4}"/>
          </ac:spMkLst>
        </pc:spChg>
        <pc:spChg chg="add del mod modVis">
          <ac:chgData name="Yudi Zhu" userId="571e1a55-055f-4c28-8b35-fca6dd1c1369" providerId="ADAL" clId="{75A88773-6EE1-484E-AADE-FE631E01463B}" dt="2025-11-21T06:21:38.712" v="127806" actId="962"/>
          <ac:spMkLst>
            <pc:docMk/>
            <pc:sldMk cId="217569448" sldId="2147483088"/>
            <ac:spMk id="849" creationId="{819E7ABC-A4F8-E5B2-7729-FA187E2089EA}"/>
          </ac:spMkLst>
        </pc:spChg>
        <pc:spChg chg="add del mod modVis">
          <ac:chgData name="Yudi Zhu" userId="571e1a55-055f-4c28-8b35-fca6dd1c1369" providerId="ADAL" clId="{75A88773-6EE1-484E-AADE-FE631E01463B}" dt="2025-11-21T06:21:44.393" v="128652"/>
          <ac:spMkLst>
            <pc:docMk/>
            <pc:sldMk cId="217569448" sldId="2147483088"/>
            <ac:spMk id="890" creationId="{22FDEC7D-E1D0-BCDC-3F28-0EA348076529}"/>
          </ac:spMkLst>
        </pc:spChg>
        <pc:spChg chg="add del mod modVis">
          <ac:chgData name="Yudi Zhu" userId="571e1a55-055f-4c28-8b35-fca6dd1c1369" providerId="ADAL" clId="{75A88773-6EE1-484E-AADE-FE631E01463B}" dt="2025-11-21T06:21:48.028" v="129269"/>
          <ac:spMkLst>
            <pc:docMk/>
            <pc:sldMk cId="217569448" sldId="2147483088"/>
            <ac:spMk id="892" creationId="{5CD3A187-33C0-B2AC-B8C3-6372AB4ABB52}"/>
          </ac:spMkLst>
        </pc:spChg>
        <pc:spChg chg="add del mod">
          <ac:chgData name="Yudi Zhu" userId="571e1a55-055f-4c28-8b35-fca6dd1c1369" providerId="ADAL" clId="{75A88773-6EE1-484E-AADE-FE631E01463B}" dt="2025-11-21T06:22:04.912" v="130987"/>
          <ac:spMkLst>
            <pc:docMk/>
            <pc:sldMk cId="217569448" sldId="2147483088"/>
            <ac:spMk id="893" creationId="{C0D0A7CE-1C7A-8BC2-6238-5BEC7C4696A9}"/>
          </ac:spMkLst>
        </pc:spChg>
        <pc:spChg chg="add del mod modVis">
          <ac:chgData name="Yudi Zhu" userId="571e1a55-055f-4c28-8b35-fca6dd1c1369" providerId="ADAL" clId="{75A88773-6EE1-484E-AADE-FE631E01463B}" dt="2025-11-21T06:21:51.339" v="129701"/>
          <ac:spMkLst>
            <pc:docMk/>
            <pc:sldMk cId="217569448" sldId="2147483088"/>
            <ac:spMk id="896" creationId="{EEB7E223-C5CD-A8D2-583F-B5FF72F4499F}"/>
          </ac:spMkLst>
        </pc:spChg>
        <pc:spChg chg="add del mod modVis">
          <ac:chgData name="Yudi Zhu" userId="571e1a55-055f-4c28-8b35-fca6dd1c1369" providerId="ADAL" clId="{75A88773-6EE1-484E-AADE-FE631E01463B}" dt="2025-11-21T06:21:55.942" v="130119"/>
          <ac:spMkLst>
            <pc:docMk/>
            <pc:sldMk cId="217569448" sldId="2147483088"/>
            <ac:spMk id="898" creationId="{697B8862-4DCD-8E67-5D9C-8335A12DC0B1}"/>
          </ac:spMkLst>
        </pc:spChg>
        <pc:spChg chg="add del mod modVis">
          <ac:chgData name="Yudi Zhu" userId="571e1a55-055f-4c28-8b35-fca6dd1c1369" providerId="ADAL" clId="{75A88773-6EE1-484E-AADE-FE631E01463B}" dt="2025-11-21T06:21:58.528" v="130549"/>
          <ac:spMkLst>
            <pc:docMk/>
            <pc:sldMk cId="217569448" sldId="2147483088"/>
            <ac:spMk id="900" creationId="{8EB1328B-0143-4BE6-4E60-47417B1127A0}"/>
          </ac:spMkLst>
        </pc:spChg>
        <pc:spChg chg="add del mod modVis">
          <ac:chgData name="Yudi Zhu" userId="571e1a55-055f-4c28-8b35-fca6dd1c1369" providerId="ADAL" clId="{75A88773-6EE1-484E-AADE-FE631E01463B}" dt="2025-11-21T06:22:02.518" v="130950"/>
          <ac:spMkLst>
            <pc:docMk/>
            <pc:sldMk cId="217569448" sldId="2147483088"/>
            <ac:spMk id="902" creationId="{FF6A7D59-664B-CA7B-DE49-3CFBE5F8C386}"/>
          </ac:spMkLst>
        </pc:spChg>
        <pc:spChg chg="add del mod modVis">
          <ac:chgData name="Yudi Zhu" userId="571e1a55-055f-4c28-8b35-fca6dd1c1369" providerId="ADAL" clId="{75A88773-6EE1-484E-AADE-FE631E01463B}" dt="2025-11-21T06:22:05.500" v="131528"/>
          <ac:spMkLst>
            <pc:docMk/>
            <pc:sldMk cId="217569448" sldId="2147483088"/>
            <ac:spMk id="905" creationId="{0CD6CC5B-7D4B-8BA4-A05C-D7ACDF7DADEF}"/>
          </ac:spMkLst>
        </pc:spChg>
        <pc:spChg chg="add mod">
          <ac:chgData name="Yudi Zhu" userId="571e1a55-055f-4c28-8b35-fca6dd1c1369" providerId="ADAL" clId="{75A88773-6EE1-484E-AADE-FE631E01463B}" dt="2025-11-21T06:24:18.676" v="146074"/>
          <ac:spMkLst>
            <pc:docMk/>
            <pc:sldMk cId="217569448" sldId="2147483088"/>
            <ac:spMk id="906" creationId="{ABC64E78-6A8A-0579-3AA1-E59917FAA729}"/>
          </ac:spMkLst>
        </pc:spChg>
        <pc:spChg chg="add mod">
          <ac:chgData name="Yudi Zhu" userId="571e1a55-055f-4c28-8b35-fca6dd1c1369" providerId="ADAL" clId="{75A88773-6EE1-484E-AADE-FE631E01463B}" dt="2025-11-21T06:24:18.677" v="146076"/>
          <ac:spMkLst>
            <pc:docMk/>
            <pc:sldMk cId="217569448" sldId="2147483088"/>
            <ac:spMk id="907" creationId="{EFCD7040-6C26-8BE1-780B-83DE8C50151F}"/>
          </ac:spMkLst>
        </pc:spChg>
        <pc:spChg chg="add mod">
          <ac:chgData name="Yudi Zhu" userId="571e1a55-055f-4c28-8b35-fca6dd1c1369" providerId="ADAL" clId="{75A88773-6EE1-484E-AADE-FE631E01463B}" dt="2025-11-21T06:24:18.679" v="146078"/>
          <ac:spMkLst>
            <pc:docMk/>
            <pc:sldMk cId="217569448" sldId="2147483088"/>
            <ac:spMk id="908" creationId="{E149D4F2-809F-C3A7-A083-FBABD8C87A6F}"/>
          </ac:spMkLst>
        </pc:spChg>
        <pc:spChg chg="add del mod modVis">
          <ac:chgData name="Yudi Zhu" userId="571e1a55-055f-4c28-8b35-fca6dd1c1369" providerId="ADAL" clId="{75A88773-6EE1-484E-AADE-FE631E01463B}" dt="2025-11-21T06:22:07.046" v="131859"/>
          <ac:spMkLst>
            <pc:docMk/>
            <pc:sldMk cId="217569448" sldId="2147483088"/>
            <ac:spMk id="913" creationId="{5DDFE30C-0502-DDFB-F391-5D177DE5734F}"/>
          </ac:spMkLst>
        </pc:spChg>
        <pc:spChg chg="add del mod modVis">
          <ac:chgData name="Yudi Zhu" userId="571e1a55-055f-4c28-8b35-fca6dd1c1369" providerId="ADAL" clId="{75A88773-6EE1-484E-AADE-FE631E01463B}" dt="2025-11-21T06:22:10.625" v="132066"/>
          <ac:spMkLst>
            <pc:docMk/>
            <pc:sldMk cId="217569448" sldId="2147483088"/>
            <ac:spMk id="915" creationId="{28BA3E71-A5CF-DCC0-3F13-BC039A8EE750}"/>
          </ac:spMkLst>
        </pc:spChg>
        <pc:spChg chg="add del mod modVis">
          <ac:chgData name="Yudi Zhu" userId="571e1a55-055f-4c28-8b35-fca6dd1c1369" providerId="ADAL" clId="{75A88773-6EE1-484E-AADE-FE631E01463B}" dt="2025-11-21T06:22:14.195" v="132273"/>
          <ac:spMkLst>
            <pc:docMk/>
            <pc:sldMk cId="217569448" sldId="2147483088"/>
            <ac:spMk id="917" creationId="{226A45E2-6371-8E71-E610-710953107E6D}"/>
          </ac:spMkLst>
        </pc:spChg>
        <pc:spChg chg="add del mod modVis">
          <ac:chgData name="Yudi Zhu" userId="571e1a55-055f-4c28-8b35-fca6dd1c1369" providerId="ADAL" clId="{75A88773-6EE1-484E-AADE-FE631E01463B}" dt="2025-11-21T06:22:18.435" v="133789"/>
          <ac:spMkLst>
            <pc:docMk/>
            <pc:sldMk cId="217569448" sldId="2147483088"/>
            <ac:spMk id="919" creationId="{06BC4292-60ED-119C-F0FE-C405BFC49053}"/>
          </ac:spMkLst>
        </pc:spChg>
        <pc:spChg chg="add del mod modVis">
          <ac:chgData name="Yudi Zhu" userId="571e1a55-055f-4c28-8b35-fca6dd1c1369" providerId="ADAL" clId="{75A88773-6EE1-484E-AADE-FE631E01463B}" dt="2025-11-21T06:22:28.053" v="134744"/>
          <ac:spMkLst>
            <pc:docMk/>
            <pc:sldMk cId="217569448" sldId="2147483088"/>
            <ac:spMk id="951" creationId="{68F9E155-0FD8-0625-8C37-92EF822F8F28}"/>
          </ac:spMkLst>
        </pc:spChg>
        <pc:spChg chg="add del mod modVis">
          <ac:chgData name="Yudi Zhu" userId="571e1a55-055f-4c28-8b35-fca6dd1c1369" providerId="ADAL" clId="{75A88773-6EE1-484E-AADE-FE631E01463B}" dt="2025-11-21T06:22:36.890" v="134970"/>
          <ac:spMkLst>
            <pc:docMk/>
            <pc:sldMk cId="217569448" sldId="2147483088"/>
            <ac:spMk id="954" creationId="{8FFD313A-0BC0-AD4E-B6BE-7E80AAAA5ABD}"/>
          </ac:spMkLst>
        </pc:spChg>
        <pc:spChg chg="add del mod modVis">
          <ac:chgData name="Yudi Zhu" userId="571e1a55-055f-4c28-8b35-fca6dd1c1369" providerId="ADAL" clId="{75A88773-6EE1-484E-AADE-FE631E01463B}" dt="2025-11-21T06:22:39.570" v="135196"/>
          <ac:spMkLst>
            <pc:docMk/>
            <pc:sldMk cId="217569448" sldId="2147483088"/>
            <ac:spMk id="956" creationId="{D0BD3EC9-50DD-C39A-EB62-8D1966C4BF24}"/>
          </ac:spMkLst>
        </pc:spChg>
        <pc:spChg chg="add del mod modVis">
          <ac:chgData name="Yudi Zhu" userId="571e1a55-055f-4c28-8b35-fca6dd1c1369" providerId="ADAL" clId="{75A88773-6EE1-484E-AADE-FE631E01463B}" dt="2025-11-21T06:22:42.246" v="135718"/>
          <ac:spMkLst>
            <pc:docMk/>
            <pc:sldMk cId="217569448" sldId="2147483088"/>
            <ac:spMk id="958" creationId="{513AFE54-6C58-2FF8-149C-0E3E69BF332F}"/>
          </ac:spMkLst>
        </pc:spChg>
        <pc:spChg chg="add del mod modVis">
          <ac:chgData name="Yudi Zhu" userId="571e1a55-055f-4c28-8b35-fca6dd1c1369" providerId="ADAL" clId="{75A88773-6EE1-484E-AADE-FE631E01463B}" dt="2025-11-21T06:23:04.523" v="135948"/>
          <ac:spMkLst>
            <pc:docMk/>
            <pc:sldMk cId="217569448" sldId="2147483088"/>
            <ac:spMk id="963" creationId="{9296B485-665F-CDBE-4698-3E2FA0E207FD}"/>
          </ac:spMkLst>
        </pc:spChg>
        <pc:spChg chg="add del mod modVis">
          <ac:chgData name="Yudi Zhu" userId="571e1a55-055f-4c28-8b35-fca6dd1c1369" providerId="ADAL" clId="{75A88773-6EE1-484E-AADE-FE631E01463B}" dt="2025-11-21T06:23:26.954" v="136178"/>
          <ac:spMkLst>
            <pc:docMk/>
            <pc:sldMk cId="217569448" sldId="2147483088"/>
            <ac:spMk id="965" creationId="{5CB64D3E-2F27-4AD3-0622-192D6C6FB291}"/>
          </ac:spMkLst>
        </pc:spChg>
        <pc:spChg chg="add del mod modVis">
          <ac:chgData name="Yudi Zhu" userId="571e1a55-055f-4c28-8b35-fca6dd1c1369" providerId="ADAL" clId="{75A88773-6EE1-484E-AADE-FE631E01463B}" dt="2025-11-21T06:23:32.188" v="137113"/>
          <ac:spMkLst>
            <pc:docMk/>
            <pc:sldMk cId="217569448" sldId="2147483088"/>
            <ac:spMk id="967" creationId="{2EC5E8D7-1A61-3E6A-2CE5-229BAEE981D3}"/>
          </ac:spMkLst>
        </pc:spChg>
        <pc:spChg chg="add del mod modVis">
          <ac:chgData name="Yudi Zhu" userId="571e1a55-055f-4c28-8b35-fca6dd1c1369" providerId="ADAL" clId="{75A88773-6EE1-484E-AADE-FE631E01463B}" dt="2025-11-21T06:23:54.968" v="140019"/>
          <ac:spMkLst>
            <pc:docMk/>
            <pc:sldMk cId="217569448" sldId="2147483088"/>
            <ac:spMk id="969" creationId="{0819809B-F308-442A-FB84-2095FD792F17}"/>
          </ac:spMkLst>
        </pc:spChg>
        <pc:spChg chg="add del mod modVis">
          <ac:chgData name="Yudi Zhu" userId="571e1a55-055f-4c28-8b35-fca6dd1c1369" providerId="ADAL" clId="{75A88773-6EE1-484E-AADE-FE631E01463B}" dt="2025-11-21T06:23:57.844" v="140536"/>
          <ac:spMkLst>
            <pc:docMk/>
            <pc:sldMk cId="217569448" sldId="2147483088"/>
            <ac:spMk id="989" creationId="{E8323D75-F548-0402-9324-D38CCF5A403B}"/>
          </ac:spMkLst>
        </pc:spChg>
        <pc:spChg chg="add del mod modVis">
          <ac:chgData name="Yudi Zhu" userId="571e1a55-055f-4c28-8b35-fca6dd1c1369" providerId="ADAL" clId="{75A88773-6EE1-484E-AADE-FE631E01463B}" dt="2025-11-21T06:24:00.808" v="140737"/>
          <ac:spMkLst>
            <pc:docMk/>
            <pc:sldMk cId="217569448" sldId="2147483088"/>
            <ac:spMk id="991" creationId="{0AD2AAED-662F-334F-2518-22DA735FA929}"/>
          </ac:spMkLst>
        </pc:spChg>
        <pc:spChg chg="add del mod modVis">
          <ac:chgData name="Yudi Zhu" userId="571e1a55-055f-4c28-8b35-fca6dd1c1369" providerId="ADAL" clId="{75A88773-6EE1-484E-AADE-FE631E01463B}" dt="2025-11-21T06:24:07.921" v="142903"/>
          <ac:spMkLst>
            <pc:docMk/>
            <pc:sldMk cId="217569448" sldId="2147483088"/>
            <ac:spMk id="993" creationId="{F49B8C73-2089-E43E-6A8F-63A156C8D09C}"/>
          </ac:spMkLst>
        </pc:spChg>
        <pc:spChg chg="add del mod modVis">
          <ac:chgData name="Yudi Zhu" userId="571e1a55-055f-4c28-8b35-fca6dd1c1369" providerId="ADAL" clId="{75A88773-6EE1-484E-AADE-FE631E01463B}" dt="2025-11-21T06:24:12.926" v="144790"/>
          <ac:spMkLst>
            <pc:docMk/>
            <pc:sldMk cId="217569448" sldId="2147483088"/>
            <ac:spMk id="1013" creationId="{9DDA4D01-C193-E9D4-2956-69F13645B28A}"/>
          </ac:spMkLst>
        </pc:spChg>
        <pc:spChg chg="add del mod modVis">
          <ac:chgData name="Yudi Zhu" userId="571e1a55-055f-4c28-8b35-fca6dd1c1369" providerId="ADAL" clId="{75A88773-6EE1-484E-AADE-FE631E01463B}" dt="2025-11-21T06:24:18.767" v="146256"/>
          <ac:spMkLst>
            <pc:docMk/>
            <pc:sldMk cId="217569448" sldId="2147483088"/>
            <ac:spMk id="1046" creationId="{07A85512-C71D-1226-F91F-73435B895CCF}"/>
          </ac:spMkLst>
        </pc:spChg>
        <pc:graphicFrameChg chg="add del mod">
          <ac:chgData name="Yudi Zhu" userId="571e1a55-055f-4c28-8b35-fca6dd1c1369" providerId="ADAL" clId="{75A88773-6EE1-484E-AADE-FE631E01463B}" dt="2025-11-21T03:47:17.261" v="17699"/>
          <ac:graphicFrameMkLst>
            <pc:docMk/>
            <pc:sldMk cId="217569448" sldId="2147483088"/>
            <ac:graphicFrameMk id="10" creationId="{DA4864CB-CAE3-27CE-F8A2-180CF498A4ED}"/>
          </ac:graphicFrameMkLst>
        </pc:graphicFrameChg>
        <pc:graphicFrameChg chg="add mod ord modVis">
          <ac:chgData name="Yudi Zhu" userId="571e1a55-055f-4c28-8b35-fca6dd1c1369" providerId="ADAL" clId="{75A88773-6EE1-484E-AADE-FE631E01463B}" dt="2025-11-21T06:24:44.888" v="146296"/>
          <ac:graphicFrameMkLst>
            <pc:docMk/>
            <pc:sldMk cId="217569448" sldId="2147483088"/>
            <ac:graphicFrameMk id="13" creationId="{D26880F5-8B90-2F2A-7027-5123AE5CA98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18.789" v="17730"/>
          <ac:graphicFrameMkLst>
            <pc:docMk/>
            <pc:sldMk cId="217569448" sldId="2147483088"/>
            <ac:graphicFrameMk id="14" creationId="{A2B3E497-3ED1-6E5B-B1F4-99CFF45282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25.825" v="17781"/>
          <ac:graphicFrameMkLst>
            <pc:docMk/>
            <pc:sldMk cId="217569448" sldId="2147483088"/>
            <ac:graphicFrameMk id="15" creationId="{CF3F628E-0097-43BA-4CD4-9C6BB31A882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28.574" v="17836"/>
          <ac:graphicFrameMkLst>
            <pc:docMk/>
            <pc:sldMk cId="217569448" sldId="2147483088"/>
            <ac:graphicFrameMk id="17" creationId="{1615373E-3826-D871-D162-D9ED0F9D122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37.343" v="18065"/>
          <ac:graphicFrameMkLst>
            <pc:docMk/>
            <pc:sldMk cId="217569448" sldId="2147483088"/>
            <ac:graphicFrameMk id="19" creationId="{4607F68C-ECFD-4B0D-2542-31BC10456D2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41.186" v="18309"/>
          <ac:graphicFrameMkLst>
            <pc:docMk/>
            <pc:sldMk cId="217569448" sldId="2147483088"/>
            <ac:graphicFrameMk id="28" creationId="{6E6604AF-CAFB-1133-5DD0-EEC3879631D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7:44.805" v="18740"/>
          <ac:graphicFrameMkLst>
            <pc:docMk/>
            <pc:sldMk cId="217569448" sldId="2147483088"/>
            <ac:graphicFrameMk id="33" creationId="{D7AB37ED-92C3-1594-EC95-7207891F88C2}"/>
          </ac:graphicFrameMkLst>
        </pc:graphicFrameChg>
        <pc:graphicFrameChg chg="add mod">
          <ac:chgData name="Yudi Zhu" userId="571e1a55-055f-4c28-8b35-fca6dd1c1369" providerId="ADAL" clId="{75A88773-6EE1-484E-AADE-FE631E01463B}" dt="2025-11-21T05:53:45.755" v="29162"/>
          <ac:graphicFrameMkLst>
            <pc:docMk/>
            <pc:sldMk cId="217569448" sldId="2147483088"/>
            <ac:graphicFrameMk id="40" creationId="{75AE1F44-97EF-A226-03AB-7C3E1F2C673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4:35.884" v="29855"/>
          <ac:graphicFrameMkLst>
            <pc:docMk/>
            <pc:sldMk cId="217569448" sldId="2147483088"/>
            <ac:graphicFrameMk id="44" creationId="{E3DAC78D-EC8D-FDBA-9FBC-F9F7DF25AA3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8:01.586" v="18790"/>
          <ac:graphicFrameMkLst>
            <pc:docMk/>
            <pc:sldMk cId="217569448" sldId="2147483088"/>
            <ac:graphicFrameMk id="45" creationId="{6CDD3BF7-1069-55C8-394B-9CE1043FC7D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8:03.791" v="18836"/>
          <ac:graphicFrameMkLst>
            <pc:docMk/>
            <pc:sldMk cId="217569448" sldId="2147483088"/>
            <ac:graphicFrameMk id="46" creationId="{B0B6FC5D-C017-6063-1E0A-CCC4FD13A65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4:39.018" v="30076"/>
          <ac:graphicFrameMkLst>
            <pc:docMk/>
            <pc:sldMk cId="217569448" sldId="2147483088"/>
            <ac:graphicFrameMk id="46" creationId="{F12A796E-7613-76D1-DB1A-300DFFEF89C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8:05.368" v="18882"/>
          <ac:graphicFrameMkLst>
            <pc:docMk/>
            <pc:sldMk cId="217569448" sldId="2147483088"/>
            <ac:graphicFrameMk id="47" creationId="{8070858D-3218-7EA2-FB06-427D7FF150E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48:06.671" v="18948"/>
          <ac:graphicFrameMkLst>
            <pc:docMk/>
            <pc:sldMk cId="217569448" sldId="2147483088"/>
            <ac:graphicFrameMk id="48" creationId="{2A589914-404F-BE4B-9525-5CBC0BF548F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32.503" v="36719"/>
          <ac:graphicFrameMkLst>
            <pc:docMk/>
            <pc:sldMk cId="217569448" sldId="2147483088"/>
            <ac:graphicFrameMk id="48" creationId="{4D82A23A-826B-E3A9-5389-943ABB552F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0:03.774" v="19277"/>
          <ac:graphicFrameMkLst>
            <pc:docMk/>
            <pc:sldMk cId="217569448" sldId="2147483088"/>
            <ac:graphicFrameMk id="49" creationId="{849CD302-B8D8-2E4A-74CF-5B77A4B125F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4:44.860" v="31072"/>
          <ac:graphicFrameMkLst>
            <pc:docMk/>
            <pc:sldMk cId="217569448" sldId="2147483088"/>
            <ac:graphicFrameMk id="49" creationId="{D7B950A3-BC7E-268E-DB2C-BAEF322079DD}"/>
          </ac:graphicFrameMkLst>
        </pc:graphicFrameChg>
        <pc:graphicFrameChg chg="add mod">
          <ac:chgData name="Yudi Zhu" userId="571e1a55-055f-4c28-8b35-fca6dd1c1369" providerId="ADAL" clId="{75A88773-6EE1-484E-AADE-FE631E01463B}" dt="2025-11-21T03:49:44.237" v="19101"/>
          <ac:graphicFrameMkLst>
            <pc:docMk/>
            <pc:sldMk cId="217569448" sldId="2147483088"/>
            <ac:graphicFrameMk id="50" creationId="{EC02345C-CDE9-11B9-1155-BE5F74FF57B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0:07.968" v="19363"/>
          <ac:graphicFrameMkLst>
            <pc:docMk/>
            <pc:sldMk cId="217569448" sldId="2147483088"/>
            <ac:graphicFrameMk id="58" creationId="{D8F7B3D1-3B5B-C572-C9D1-C3B489B92A6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0:11.602" v="19413"/>
          <ac:graphicFrameMkLst>
            <pc:docMk/>
            <pc:sldMk cId="217569448" sldId="2147483088"/>
            <ac:graphicFrameMk id="60" creationId="{EE561E80-D07D-88B5-2C06-A03279224C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0:31.397" v="19451"/>
          <ac:graphicFrameMkLst>
            <pc:docMk/>
            <pc:sldMk cId="217569448" sldId="2147483088"/>
            <ac:graphicFrameMk id="61" creationId="{74C29065-8E2B-2D2A-3F57-24E3AF658B9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5:03.840" v="19531"/>
          <ac:graphicFrameMkLst>
            <pc:docMk/>
            <pc:sldMk cId="217569448" sldId="2147483088"/>
            <ac:graphicFrameMk id="62" creationId="{9BBC3D0E-DE2E-185A-C2F2-C93E64CD5E1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5:11.859" v="19618"/>
          <ac:graphicFrameMkLst>
            <pc:docMk/>
            <pc:sldMk cId="217569448" sldId="2147483088"/>
            <ac:graphicFrameMk id="65" creationId="{5E4D35AA-54D4-A8C2-6387-FCC6479DF29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5:22.739" v="19650"/>
          <ac:graphicFrameMkLst>
            <pc:docMk/>
            <pc:sldMk cId="217569448" sldId="2147483088"/>
            <ac:graphicFrameMk id="68" creationId="{4A0AF4D4-8D54-03D9-CF91-242881E5D46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5:29.723" v="19749"/>
          <ac:graphicFrameMkLst>
            <pc:docMk/>
            <pc:sldMk cId="217569448" sldId="2147483088"/>
            <ac:graphicFrameMk id="69" creationId="{F8C2B51F-1DE8-197E-7FDF-5BFFF00B1DD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5:33.455" v="19794"/>
          <ac:graphicFrameMkLst>
            <pc:docMk/>
            <pc:sldMk cId="217569448" sldId="2147483088"/>
            <ac:graphicFrameMk id="72" creationId="{AD34EC50-4CBC-65B8-8A5B-68E4D9121B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05.288" v="20013"/>
          <ac:graphicFrameMkLst>
            <pc:docMk/>
            <pc:sldMk cId="217569448" sldId="2147483088"/>
            <ac:graphicFrameMk id="73" creationId="{C915ADD3-4642-37A0-FD4D-E36ECD789E97}"/>
          </ac:graphicFrameMkLst>
        </pc:graphicFrameChg>
        <pc:graphicFrameChg chg="add mod">
          <ac:chgData name="Yudi Zhu" userId="571e1a55-055f-4c28-8b35-fca6dd1c1369" providerId="ADAL" clId="{75A88773-6EE1-484E-AADE-FE631E01463B}" dt="2025-11-21T03:55:49.660" v="19894"/>
          <ac:graphicFrameMkLst>
            <pc:docMk/>
            <pc:sldMk cId="217569448" sldId="2147483088"/>
            <ac:graphicFrameMk id="75" creationId="{6FCCEFEF-ECBE-16D6-CE41-F87672D620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11.875" v="20202"/>
          <ac:graphicFrameMkLst>
            <pc:docMk/>
            <pc:sldMk cId="217569448" sldId="2147483088"/>
            <ac:graphicFrameMk id="77" creationId="{4C1809F8-9587-1AC0-FB7B-D7AFC23C5C1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21.505" v="20348"/>
          <ac:graphicFrameMkLst>
            <pc:docMk/>
            <pc:sldMk cId="217569448" sldId="2147483088"/>
            <ac:graphicFrameMk id="82" creationId="{A5506AA2-3BD6-6AA8-575E-6E64AFDF02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26.701" v="20481"/>
          <ac:graphicFrameMkLst>
            <pc:docMk/>
            <pc:sldMk cId="217569448" sldId="2147483088"/>
            <ac:graphicFrameMk id="84" creationId="{CA0C7B8D-1EFD-9B66-11B3-62523A40095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37.916" v="20879"/>
          <ac:graphicFrameMkLst>
            <pc:docMk/>
            <pc:sldMk cId="217569448" sldId="2147483088"/>
            <ac:graphicFrameMk id="86" creationId="{065C5DEC-3F69-D866-E3CD-FEA3155CAEFF}"/>
          </ac:graphicFrameMkLst>
        </pc:graphicFrameChg>
        <pc:graphicFrameChg chg="add mod">
          <ac:chgData name="Yudi Zhu" userId="571e1a55-055f-4c28-8b35-fca6dd1c1369" providerId="ADAL" clId="{75A88773-6EE1-484E-AADE-FE631E01463B}" dt="2025-11-21T03:56:35.831" v="20758"/>
          <ac:graphicFrameMkLst>
            <pc:docMk/>
            <pc:sldMk cId="217569448" sldId="2147483088"/>
            <ac:graphicFrameMk id="88" creationId="{56059006-2D7A-6175-EFB8-5D4BDEDA501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6:44.425" v="20958"/>
          <ac:graphicFrameMkLst>
            <pc:docMk/>
            <pc:sldMk cId="217569448" sldId="2147483088"/>
            <ac:graphicFrameMk id="90" creationId="{0A1E69D3-0BC7-B35E-24D4-D6CD2D2290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22.963" v="21281"/>
          <ac:graphicFrameMkLst>
            <pc:docMk/>
            <pc:sldMk cId="217569448" sldId="2147483088"/>
            <ac:graphicFrameMk id="92" creationId="{14506320-428D-0FAE-807D-4C386AA72082}"/>
          </ac:graphicFrameMkLst>
        </pc:graphicFrameChg>
        <pc:graphicFrameChg chg="add mod">
          <ac:chgData name="Yudi Zhu" userId="571e1a55-055f-4c28-8b35-fca6dd1c1369" providerId="ADAL" clId="{75A88773-6EE1-484E-AADE-FE631E01463B}" dt="2025-11-21T03:57:18.247" v="21155"/>
          <ac:graphicFrameMkLst>
            <pc:docMk/>
            <pc:sldMk cId="217569448" sldId="2147483088"/>
            <ac:graphicFrameMk id="94" creationId="{BA28C7D5-2CE1-4B7A-8D0B-BF4C551B442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30.344" v="21710"/>
          <ac:graphicFrameMkLst>
            <pc:docMk/>
            <pc:sldMk cId="217569448" sldId="2147483088"/>
            <ac:graphicFrameMk id="96" creationId="{3E56F870-4CD8-E406-05F4-02FAE4A9462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33.384" v="21891"/>
          <ac:graphicFrameMkLst>
            <pc:docMk/>
            <pc:sldMk cId="217569448" sldId="2147483088"/>
            <ac:graphicFrameMk id="104" creationId="{153EF022-6478-63F1-1D67-D9DB424847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34.942" v="21991"/>
          <ac:graphicFrameMkLst>
            <pc:docMk/>
            <pc:sldMk cId="217569448" sldId="2147483088"/>
            <ac:graphicFrameMk id="106" creationId="{0B35FD2D-B6D6-BBD9-FF5C-C151DCA832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01.439" v="32176"/>
          <ac:graphicFrameMkLst>
            <pc:docMk/>
            <pc:sldMk cId="217569448" sldId="2147483088"/>
            <ac:graphicFrameMk id="106" creationId="{7E9F11BB-5F67-26BE-03A4-8F2361168A6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53.661" v="22203"/>
          <ac:graphicFrameMkLst>
            <pc:docMk/>
            <pc:sldMk cId="217569448" sldId="2147483088"/>
            <ac:graphicFrameMk id="108" creationId="{67363DCE-F111-8D2E-1D84-F3B1044C75F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7:56.955" v="22294"/>
          <ac:graphicFrameMkLst>
            <pc:docMk/>
            <pc:sldMk cId="217569448" sldId="2147483088"/>
            <ac:graphicFrameMk id="114" creationId="{1637F901-F201-AC73-C77E-953C0846713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10.629" v="22946"/>
          <ac:graphicFrameMkLst>
            <pc:docMk/>
            <pc:sldMk cId="217569448" sldId="2147483088"/>
            <ac:graphicFrameMk id="116" creationId="{1AA40874-C2CC-9B9C-3CAC-7BE54579367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02.788" v="22605" actId="1076"/>
          <ac:graphicFrameMkLst>
            <pc:docMk/>
            <pc:sldMk cId="217569448" sldId="2147483088"/>
            <ac:graphicFrameMk id="118" creationId="{9C307E6C-6893-00EC-3530-083D9EED619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06.788" v="32804"/>
          <ac:graphicFrameMkLst>
            <pc:docMk/>
            <pc:sldMk cId="217569448" sldId="2147483088"/>
            <ac:graphicFrameMk id="119" creationId="{D662E493-F129-3937-75F7-0C2F672AEBF4}"/>
          </ac:graphicFrameMkLst>
        </pc:graphicFrameChg>
        <pc:graphicFrameChg chg="add mod">
          <ac:chgData name="Yudi Zhu" userId="571e1a55-055f-4c28-8b35-fca6dd1c1369" providerId="ADAL" clId="{75A88773-6EE1-484E-AADE-FE631E01463B}" dt="2025-11-21T03:58:02.755" v="22570" actId="1076"/>
          <ac:graphicFrameMkLst>
            <pc:docMk/>
            <pc:sldMk cId="217569448" sldId="2147483088"/>
            <ac:graphicFrameMk id="120" creationId="{759E2628-BBD7-3C8D-406F-8B7E4925368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12.431" v="23033"/>
          <ac:graphicFrameMkLst>
            <pc:docMk/>
            <pc:sldMk cId="217569448" sldId="2147483088"/>
            <ac:graphicFrameMk id="123" creationId="{D196DC90-0B9E-6E61-0809-AAA767908D6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17.711" v="23114"/>
          <ac:graphicFrameMkLst>
            <pc:docMk/>
            <pc:sldMk cId="217569448" sldId="2147483088"/>
            <ac:graphicFrameMk id="125" creationId="{7AD053E1-83C5-8F43-2FF6-EA0F63A1A41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08.282" v="32940"/>
          <ac:graphicFrameMkLst>
            <pc:docMk/>
            <pc:sldMk cId="217569448" sldId="2147483088"/>
            <ac:graphicFrameMk id="126" creationId="{A019FAE4-FF5B-178A-9DC5-B7E4FAE48CF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19.621" v="23195"/>
          <ac:graphicFrameMkLst>
            <pc:docMk/>
            <pc:sldMk cId="217569448" sldId="2147483088"/>
            <ac:graphicFrameMk id="127" creationId="{B5887990-EF53-C23E-E190-589DF2EA07E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17.197" v="35260"/>
          <ac:graphicFrameMkLst>
            <pc:docMk/>
            <pc:sldMk cId="217569448" sldId="2147483088"/>
            <ac:graphicFrameMk id="128" creationId="{EA5BCBCB-A167-04AC-EDB5-AF52C8A2853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20.347" v="23276"/>
          <ac:graphicFrameMkLst>
            <pc:docMk/>
            <pc:sldMk cId="217569448" sldId="2147483088"/>
            <ac:graphicFrameMk id="129" creationId="{B6697B51-7800-ABE9-E57B-93B72E8070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20.557" v="23357"/>
          <ac:graphicFrameMkLst>
            <pc:docMk/>
            <pc:sldMk cId="217569448" sldId="2147483088"/>
            <ac:graphicFrameMk id="131" creationId="{93A67BEB-2AD5-FA1D-6563-16965C2462B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36.093" v="23916"/>
          <ac:graphicFrameMkLst>
            <pc:docMk/>
            <pc:sldMk cId="217569448" sldId="2147483088"/>
            <ac:graphicFrameMk id="133" creationId="{2FBFED26-F4CB-AB81-52F2-A08F6C20C55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28.399" v="23648" actId="1076"/>
          <ac:graphicFrameMkLst>
            <pc:docMk/>
            <pc:sldMk cId="217569448" sldId="2147483088"/>
            <ac:graphicFrameMk id="135" creationId="{CB77DB2C-FB55-EC4F-4AFD-0A5FDF12E48E}"/>
          </ac:graphicFrameMkLst>
        </pc:graphicFrameChg>
        <pc:graphicFrameChg chg="add mod">
          <ac:chgData name="Yudi Zhu" userId="571e1a55-055f-4c28-8b35-fca6dd1c1369" providerId="ADAL" clId="{75A88773-6EE1-484E-AADE-FE631E01463B}" dt="2025-11-21T03:58:28.371" v="23613" actId="1076"/>
          <ac:graphicFrameMkLst>
            <pc:docMk/>
            <pc:sldMk cId="217569448" sldId="2147483088"/>
            <ac:graphicFrameMk id="137" creationId="{6F06DAD5-390F-6EB9-C6F9-006563A1F76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37.158" v="24001"/>
          <ac:graphicFrameMkLst>
            <pc:docMk/>
            <pc:sldMk cId="217569448" sldId="2147483088"/>
            <ac:graphicFrameMk id="139" creationId="{5AF2682F-4C96-97A0-733E-4885A6B644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44.089" v="24100"/>
          <ac:graphicFrameMkLst>
            <pc:docMk/>
            <pc:sldMk cId="217569448" sldId="2147483088"/>
            <ac:graphicFrameMk id="141" creationId="{76EB6FC7-80FC-AE29-0650-4306EAB7E4B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45.639" v="24312"/>
          <ac:graphicFrameMkLst>
            <pc:docMk/>
            <pc:sldMk cId="217569448" sldId="2147483088"/>
            <ac:graphicFrameMk id="143" creationId="{2A85AFC7-BB82-E9FA-A187-4BF41191335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50.729" v="24465"/>
          <ac:graphicFrameMkLst>
            <pc:docMk/>
            <pc:sldMk cId="217569448" sldId="2147483088"/>
            <ac:graphicFrameMk id="149" creationId="{A90F5F56-C893-6558-6340-EE6901B5635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8:52.699" v="24558"/>
          <ac:graphicFrameMkLst>
            <pc:docMk/>
            <pc:sldMk cId="217569448" sldId="2147483088"/>
            <ac:graphicFrameMk id="152" creationId="{071EAAE2-BCCC-F859-6670-4EFAC7936D2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07.955" v="24701"/>
          <ac:graphicFrameMkLst>
            <pc:docMk/>
            <pc:sldMk cId="217569448" sldId="2147483088"/>
            <ac:graphicFrameMk id="154" creationId="{DA0EB466-21D3-F193-48FF-708355796A1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09.503" v="24794"/>
          <ac:graphicFrameMkLst>
            <pc:docMk/>
            <pc:sldMk cId="217569448" sldId="2147483088"/>
            <ac:graphicFrameMk id="157" creationId="{02B83C74-B3BF-427B-5D20-3C954723BC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19.885" v="24893"/>
          <ac:graphicFrameMkLst>
            <pc:docMk/>
            <pc:sldMk cId="217569448" sldId="2147483088"/>
            <ac:graphicFrameMk id="159" creationId="{0CF29DB3-E25C-CD70-5F51-93D81C5E26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23.277" v="26305"/>
          <ac:graphicFrameMkLst>
            <pc:docMk/>
            <pc:sldMk cId="217569448" sldId="2147483088"/>
            <ac:graphicFrameMk id="161" creationId="{05C0C4A5-F74D-CF5D-4C08-9BF78D441E0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31.316" v="26434"/>
          <ac:graphicFrameMkLst>
            <pc:docMk/>
            <pc:sldMk cId="217569448" sldId="2147483088"/>
            <ac:graphicFrameMk id="187" creationId="{F7034C62-6E15-0935-A084-62D1A9584C5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22.385" v="35505"/>
          <ac:graphicFrameMkLst>
            <pc:docMk/>
            <pc:sldMk cId="217569448" sldId="2147483088"/>
            <ac:graphicFrameMk id="188" creationId="{BC3C3DD9-8DC4-298B-EFA4-1F2B47F27BB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3:59:33.081" v="26666"/>
          <ac:graphicFrameMkLst>
            <pc:docMk/>
            <pc:sldMk cId="217569448" sldId="2147483088"/>
            <ac:graphicFrameMk id="189" creationId="{33E9C67A-8960-DA1A-9F5E-5C17993BD2C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4:30.286" v="29625"/>
          <ac:graphicFrameMkLst>
            <pc:docMk/>
            <pc:sldMk cId="217569448" sldId="2147483088"/>
            <ac:graphicFrameMk id="195" creationId="{B1EC487D-340D-D9F1-1B49-6F3985BEDC3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28.836" v="36438"/>
          <ac:graphicFrameMkLst>
            <pc:docMk/>
            <pc:sldMk cId="217569448" sldId="2147483088"/>
            <ac:graphicFrameMk id="197" creationId="{C4F891AB-61C5-BC22-8A3F-04549CA085F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32.630" v="36806"/>
          <ac:graphicFrameMkLst>
            <pc:docMk/>
            <pc:sldMk cId="217569448" sldId="2147483088"/>
            <ac:graphicFrameMk id="246" creationId="{0E8D4B58-B668-152C-D8B6-AE04A11BA7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45.771" v="37188"/>
          <ac:graphicFrameMkLst>
            <pc:docMk/>
            <pc:sldMk cId="217569448" sldId="2147483088"/>
            <ac:graphicFrameMk id="248" creationId="{FD0B5176-7A43-0552-620B-E4EFAEF2287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50.583" v="37663"/>
          <ac:graphicFrameMkLst>
            <pc:docMk/>
            <pc:sldMk cId="217569448" sldId="2147483088"/>
            <ac:graphicFrameMk id="249" creationId="{40E88DE0-F923-EF15-C3B9-59C627C99B5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47.586" v="37348"/>
          <ac:graphicFrameMkLst>
            <pc:docMk/>
            <pc:sldMk cId="217569448" sldId="2147483088"/>
            <ac:graphicFrameMk id="253" creationId="{ECA5966C-34D8-DAD6-0560-62418312D6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5:50.501" v="37576"/>
          <ac:graphicFrameMkLst>
            <pc:docMk/>
            <pc:sldMk cId="217569448" sldId="2147483088"/>
            <ac:graphicFrameMk id="255" creationId="{CA64CFB4-EE54-3E2A-E3CC-7CFF340F924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26.331" v="39439"/>
          <ac:graphicFrameMkLst>
            <pc:docMk/>
            <pc:sldMk cId="217569448" sldId="2147483088"/>
            <ac:graphicFrameMk id="257" creationId="{094012C2-D831-AEDB-EE18-6CA8387A42C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03.261" v="37855"/>
          <ac:graphicFrameMkLst>
            <pc:docMk/>
            <pc:sldMk cId="217569448" sldId="2147483088"/>
            <ac:graphicFrameMk id="258" creationId="{C3128693-353E-43AA-DF31-7724DA568A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05.285" v="38003"/>
          <ac:graphicFrameMkLst>
            <pc:docMk/>
            <pc:sldMk cId="217569448" sldId="2147483088"/>
            <ac:graphicFrameMk id="260" creationId="{FA2A2EB7-91BF-8D80-EDE6-40F8378144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11.781" v="38763"/>
          <ac:graphicFrameMkLst>
            <pc:docMk/>
            <pc:sldMk cId="217569448" sldId="2147483088"/>
            <ac:graphicFrameMk id="262" creationId="{4765F47D-1D88-0949-77F7-37FB5604CB0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20.801" v="39036"/>
          <ac:graphicFrameMkLst>
            <pc:docMk/>
            <pc:sldMk cId="217569448" sldId="2147483088"/>
            <ac:graphicFrameMk id="269" creationId="{89BC62B0-FF3D-22F9-99FB-0638314EC8B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38.269" v="40284"/>
          <ac:graphicFrameMkLst>
            <pc:docMk/>
            <pc:sldMk cId="217569448" sldId="2147483088"/>
            <ac:graphicFrameMk id="275" creationId="{9D7658AE-9204-62CD-F833-4A39420D13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29.216" v="39738"/>
          <ac:graphicFrameMkLst>
            <pc:docMk/>
            <pc:sldMk cId="217569448" sldId="2147483088"/>
            <ac:graphicFrameMk id="290" creationId="{2AB270BB-80E8-DAC1-BF7C-653276D9A2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30.214" v="40061"/>
          <ac:graphicFrameMkLst>
            <pc:docMk/>
            <pc:sldMk cId="217569448" sldId="2147483088"/>
            <ac:graphicFrameMk id="294" creationId="{0914D4A0-43F9-0F3D-9744-411B7FD573D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42.884" v="40794"/>
          <ac:graphicFrameMkLst>
            <pc:docMk/>
            <pc:sldMk cId="217569448" sldId="2147483088"/>
            <ac:graphicFrameMk id="300" creationId="{9B9CADF9-A759-06C6-2645-A41C0F4B6AA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39.891" v="40579"/>
          <ac:graphicFrameMkLst>
            <pc:docMk/>
            <pc:sldMk cId="217569448" sldId="2147483088"/>
            <ac:graphicFrameMk id="302" creationId="{4A39466D-4736-E588-6DF7-B817EC30492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46.463" v="41034"/>
          <ac:graphicFrameMkLst>
            <pc:docMk/>
            <pc:sldMk cId="217569448" sldId="2147483088"/>
            <ac:graphicFrameMk id="305" creationId="{78E3ED13-5F97-8652-8376-FFB9887713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7:25.801" v="41537"/>
          <ac:graphicFrameMkLst>
            <pc:docMk/>
            <pc:sldMk cId="217569448" sldId="2147483088"/>
            <ac:graphicFrameMk id="307" creationId="{249F0CAC-03D9-F978-B1BA-DEACD6B96A5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48.553" v="41239"/>
          <ac:graphicFrameMkLst>
            <pc:docMk/>
            <pc:sldMk cId="217569448" sldId="2147483088"/>
            <ac:graphicFrameMk id="310" creationId="{7B7A9026-0A5F-A019-4A5D-6B411D76185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6:58.536" v="41437"/>
          <ac:graphicFrameMkLst>
            <pc:docMk/>
            <pc:sldMk cId="217569448" sldId="2147483088"/>
            <ac:graphicFrameMk id="312" creationId="{CE64E827-20A9-085C-235D-2A172540527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8:57.919" v="42313"/>
          <ac:graphicFrameMkLst>
            <pc:docMk/>
            <pc:sldMk cId="217569448" sldId="2147483088"/>
            <ac:graphicFrameMk id="315" creationId="{0E0AFCCD-F2CE-4032-2B4C-E7BC6A680B7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8:27.595" v="41982"/>
          <ac:graphicFrameMkLst>
            <pc:docMk/>
            <pc:sldMk cId="217569448" sldId="2147483088"/>
            <ac:graphicFrameMk id="317" creationId="{1F3D2603-11AC-9911-A4D1-39B8371FC418}"/>
          </ac:graphicFrameMkLst>
        </pc:graphicFrameChg>
        <pc:graphicFrameChg chg="add mod">
          <ac:chgData name="Yudi Zhu" userId="571e1a55-055f-4c28-8b35-fca6dd1c1369" providerId="ADAL" clId="{75A88773-6EE1-484E-AADE-FE631E01463B}" dt="2025-11-21T05:58:27.595" v="41982"/>
          <ac:graphicFrameMkLst>
            <pc:docMk/>
            <pc:sldMk cId="217569448" sldId="2147483088"/>
            <ac:graphicFrameMk id="319" creationId="{7F86CAFE-19AD-6A06-A2E7-6115B6A0426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04.418" v="42427"/>
          <ac:graphicFrameMkLst>
            <pc:docMk/>
            <pc:sldMk cId="217569448" sldId="2147483088"/>
            <ac:graphicFrameMk id="322" creationId="{B40D0821-DA81-C13A-6F96-56D09BC5C21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09.070" v="42538"/>
          <ac:graphicFrameMkLst>
            <pc:docMk/>
            <pc:sldMk cId="217569448" sldId="2147483088"/>
            <ac:graphicFrameMk id="324" creationId="{0EF0DDE5-0459-347E-F9F4-01EE18009D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26.516" v="42654"/>
          <ac:graphicFrameMkLst>
            <pc:docMk/>
            <pc:sldMk cId="217569448" sldId="2147483088"/>
            <ac:graphicFrameMk id="326" creationId="{0E724FAB-E9EA-A3D8-BD7A-84D67703A9F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27.775" v="42776"/>
          <ac:graphicFrameMkLst>
            <pc:docMk/>
            <pc:sldMk cId="217569448" sldId="2147483088"/>
            <ac:graphicFrameMk id="328" creationId="{B7A65761-3A08-14FE-6F88-FAAD1172C2E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3.554" v="42947"/>
          <ac:graphicFrameMkLst>
            <pc:docMk/>
            <pc:sldMk cId="217569448" sldId="2147483088"/>
            <ac:graphicFrameMk id="330" creationId="{DB4E712C-6F89-67E7-C9A7-35516AAA661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4.370" v="43067"/>
          <ac:graphicFrameMkLst>
            <pc:docMk/>
            <pc:sldMk cId="217569448" sldId="2147483088"/>
            <ac:graphicFrameMk id="333" creationId="{FE4C8AA4-D693-A399-A62B-2A55FE71DEA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5.260" v="43178"/>
          <ac:graphicFrameMkLst>
            <pc:docMk/>
            <pc:sldMk cId="217569448" sldId="2147483088"/>
            <ac:graphicFrameMk id="335" creationId="{5A2CEC33-0AD1-48EB-1C6B-2E76B9F5474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6.582" v="43349"/>
          <ac:graphicFrameMkLst>
            <pc:docMk/>
            <pc:sldMk cId="217569448" sldId="2147483088"/>
            <ac:graphicFrameMk id="337" creationId="{38B4D745-4AA6-F97C-6497-72B0A43EE4D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7.284" v="43469"/>
          <ac:graphicFrameMkLst>
            <pc:docMk/>
            <pc:sldMk cId="217569448" sldId="2147483088"/>
            <ac:graphicFrameMk id="340" creationId="{54DEAB4D-7A3E-2429-B280-FC361B11D00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5:59:58.111" v="43580"/>
          <ac:graphicFrameMkLst>
            <pc:docMk/>
            <pc:sldMk cId="217569448" sldId="2147483088"/>
            <ac:graphicFrameMk id="342" creationId="{37DF0DB0-C2A2-BDFC-94C0-B84BC55D338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1:59.865" v="59465"/>
          <ac:graphicFrameMkLst>
            <pc:docMk/>
            <pc:sldMk cId="217569448" sldId="2147483088"/>
            <ac:graphicFrameMk id="344" creationId="{57B4993B-2A4D-2829-F7B1-8FEF6115090F}"/>
          </ac:graphicFrameMkLst>
        </pc:graphicFrameChg>
        <pc:graphicFrameChg chg="add mod">
          <ac:chgData name="Yudi Zhu" userId="571e1a55-055f-4c28-8b35-fca6dd1c1369" providerId="ADAL" clId="{75A88773-6EE1-484E-AADE-FE631E01463B}" dt="2025-11-21T06:01:00.990" v="43859" actId="1076"/>
          <ac:graphicFrameMkLst>
            <pc:docMk/>
            <pc:sldMk cId="217569448" sldId="2147483088"/>
            <ac:graphicFrameMk id="346" creationId="{00F5024B-20EB-9574-2F09-9BE10C82FF7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3:53.274" v="72941"/>
          <ac:graphicFrameMkLst>
            <pc:docMk/>
            <pc:sldMk cId="217569448" sldId="2147483088"/>
            <ac:graphicFrameMk id="348" creationId="{FF008804-3E1C-A991-385B-536200C56A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3:58.221" v="73061"/>
          <ac:graphicFrameMkLst>
            <pc:docMk/>
            <pc:sldMk cId="217569448" sldId="2147483088"/>
            <ac:graphicFrameMk id="351" creationId="{7F296CA1-1FD7-2DCC-B229-BB66C5C5CB9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03.958" v="73203"/>
          <ac:graphicFrameMkLst>
            <pc:docMk/>
            <pc:sldMk cId="217569448" sldId="2147483088"/>
            <ac:graphicFrameMk id="353" creationId="{8C61ECA5-EFD9-A997-F2D6-1E0993030D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08.676" v="73325"/>
          <ac:graphicFrameMkLst>
            <pc:docMk/>
            <pc:sldMk cId="217569448" sldId="2147483088"/>
            <ac:graphicFrameMk id="355" creationId="{BF1BDFE7-E50E-4FF0-2FAE-BE69075A0A9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11.215" v="73435"/>
          <ac:graphicFrameMkLst>
            <pc:docMk/>
            <pc:sldMk cId="217569448" sldId="2147483088"/>
            <ac:graphicFrameMk id="357" creationId="{A06DEEF9-1B58-12DB-CB75-7F45ADF82DC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12.377" v="73545"/>
          <ac:graphicFrameMkLst>
            <pc:docMk/>
            <pc:sldMk cId="217569448" sldId="2147483088"/>
            <ac:graphicFrameMk id="359" creationId="{7AACF46E-BBAC-5FAB-2516-6C4441CEB25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22.601" v="74227"/>
          <ac:graphicFrameMkLst>
            <pc:docMk/>
            <pc:sldMk cId="217569448" sldId="2147483088"/>
            <ac:graphicFrameMk id="361" creationId="{788CC201-B58D-A959-9B02-3B48DE8CEA6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4:51.376" v="84908"/>
          <ac:graphicFrameMkLst>
            <pc:docMk/>
            <pc:sldMk cId="217569448" sldId="2147483088"/>
            <ac:graphicFrameMk id="371" creationId="{6A931AA1-55B6-17AC-64E3-EB1DD5CB91C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18.735" v="93000"/>
          <ac:graphicFrameMkLst>
            <pc:docMk/>
            <pc:sldMk cId="217569448" sldId="2147483088"/>
            <ac:graphicFrameMk id="373" creationId="{EF960B2E-8B1F-FD69-6D7C-84B51CC78C7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20.333" v="93118"/>
          <ac:graphicFrameMkLst>
            <pc:docMk/>
            <pc:sldMk cId="217569448" sldId="2147483088"/>
            <ac:graphicFrameMk id="375" creationId="{449AC50E-D2C6-55DB-3ADA-2F225A706E3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29.336" v="93236"/>
          <ac:graphicFrameMkLst>
            <pc:docMk/>
            <pc:sldMk cId="217569448" sldId="2147483088"/>
            <ac:graphicFrameMk id="377" creationId="{46A654CC-0874-1846-6AE0-87B354A1E34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29.732" v="93354"/>
          <ac:graphicFrameMkLst>
            <pc:docMk/>
            <pc:sldMk cId="217569448" sldId="2147483088"/>
            <ac:graphicFrameMk id="379" creationId="{5BBE3864-C78B-1B64-258B-B9BF09C781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31.396" v="93472"/>
          <ac:graphicFrameMkLst>
            <pc:docMk/>
            <pc:sldMk cId="217569448" sldId="2147483088"/>
            <ac:graphicFrameMk id="381" creationId="{BC3DA5B6-35D7-6148-DF42-527B4B94A2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5:32.809" v="93590"/>
          <ac:graphicFrameMkLst>
            <pc:docMk/>
            <pc:sldMk cId="217569448" sldId="2147483088"/>
            <ac:graphicFrameMk id="383" creationId="{81379EC4-4E55-9A82-8BBB-0FAED43DA40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00.627" v="93773"/>
          <ac:graphicFrameMkLst>
            <pc:docMk/>
            <pc:sldMk cId="217569448" sldId="2147483088"/>
            <ac:graphicFrameMk id="385" creationId="{0A34A9BF-92BF-61BC-6161-61FECA4DB3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06.044" v="93984"/>
          <ac:graphicFrameMkLst>
            <pc:docMk/>
            <pc:sldMk cId="217569448" sldId="2147483088"/>
            <ac:graphicFrameMk id="388" creationId="{7812EF27-1B46-1618-4833-7D216E0F7C0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09.220" v="94219"/>
          <ac:graphicFrameMkLst>
            <pc:docMk/>
            <pc:sldMk cId="217569448" sldId="2147483088"/>
            <ac:graphicFrameMk id="392" creationId="{74FDF11C-129C-FCD5-A79E-82A06F85229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47.908" v="129085"/>
          <ac:graphicFrameMkLst>
            <pc:docMk/>
            <pc:sldMk cId="217569448" sldId="2147483088"/>
            <ac:graphicFrameMk id="397" creationId="{D0976BA3-4982-712B-50C8-E0B57D060A1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53.875" v="94790"/>
          <ac:graphicFrameMkLst>
            <pc:docMk/>
            <pc:sldMk cId="217569448" sldId="2147483088"/>
            <ac:graphicFrameMk id="404" creationId="{79794AF0-6861-3807-C539-5FFD77396F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55.436" v="94886"/>
          <ac:graphicFrameMkLst>
            <pc:docMk/>
            <pc:sldMk cId="217569448" sldId="2147483088"/>
            <ac:graphicFrameMk id="407" creationId="{6124774B-B77F-4F2A-DEAD-B93F439778F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57.989" v="95192"/>
          <ac:graphicFrameMkLst>
            <pc:docMk/>
            <pc:sldMk cId="217569448" sldId="2147483088"/>
            <ac:graphicFrameMk id="408" creationId="{878AF778-BB1D-2D9F-7831-38B8402012D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6:59.723" v="95657"/>
          <ac:graphicFrameMkLst>
            <pc:docMk/>
            <pc:sldMk cId="217569448" sldId="2147483088"/>
            <ac:graphicFrameMk id="413" creationId="{2758852D-EFAF-75D1-0EDD-E2BE0395A2F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7:21.126" v="95982"/>
          <ac:graphicFrameMkLst>
            <pc:docMk/>
            <pc:sldMk cId="217569448" sldId="2147483088"/>
            <ac:graphicFrameMk id="421" creationId="{E25DC1E2-22CF-4C7A-C7DE-BA186A917BB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7:29.383" v="96136"/>
          <ac:graphicFrameMkLst>
            <pc:docMk/>
            <pc:sldMk cId="217569448" sldId="2147483088"/>
            <ac:graphicFrameMk id="430" creationId="{3D9D91B0-07DA-D91F-E9BA-F730466C5F7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7:46.381" v="98697"/>
          <ac:graphicFrameMkLst>
            <pc:docMk/>
            <pc:sldMk cId="217569448" sldId="2147483088"/>
            <ac:graphicFrameMk id="432" creationId="{A75551CC-B147-64B9-C182-6C89779419C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7:50.780" v="100232"/>
          <ac:graphicFrameMkLst>
            <pc:docMk/>
            <pc:sldMk cId="217569448" sldId="2147483088"/>
            <ac:graphicFrameMk id="510" creationId="{55F43D17-9286-DDF7-BFBC-3B8E540B17F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7:51.205" v="100561"/>
          <ac:graphicFrameMkLst>
            <pc:docMk/>
            <pc:sldMk cId="217569448" sldId="2147483088"/>
            <ac:graphicFrameMk id="517" creationId="{BAE19AB8-8881-B79B-CA70-5A458C1D193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00.433" v="102948"/>
          <ac:graphicFrameMkLst>
            <pc:docMk/>
            <pc:sldMk cId="217569448" sldId="2147483088"/>
            <ac:graphicFrameMk id="518" creationId="{38B9187E-2C2F-6F0B-F3EE-93E5E76D39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01.839" v="104291"/>
          <ac:graphicFrameMkLst>
            <pc:docMk/>
            <pc:sldMk cId="217569448" sldId="2147483088"/>
            <ac:graphicFrameMk id="600" creationId="{3997995E-4A3B-80D7-3781-5DBC8E60D4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07.620" v="104716"/>
          <ac:graphicFrameMkLst>
            <pc:docMk/>
            <pc:sldMk cId="217569448" sldId="2147483088"/>
            <ac:graphicFrameMk id="629" creationId="{23BD0746-9427-647C-DC82-FDEE9E1CF2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09.539" v="105168"/>
          <ac:graphicFrameMkLst>
            <pc:docMk/>
            <pc:sldMk cId="217569448" sldId="2147483088"/>
            <ac:graphicFrameMk id="630" creationId="{19F94B78-5AA5-4E92-AD05-AE5441154D2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21.438" v="105298"/>
          <ac:graphicFrameMkLst>
            <pc:docMk/>
            <pc:sldMk cId="217569448" sldId="2147483088"/>
            <ac:graphicFrameMk id="631" creationId="{D5A17311-0BA4-C6C4-B542-E3C8973EFB7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24.351" v="105454"/>
          <ac:graphicFrameMkLst>
            <pc:docMk/>
            <pc:sldMk cId="217569448" sldId="2147483088"/>
            <ac:graphicFrameMk id="632" creationId="{6303CE61-13D3-32E4-46E2-8E3220B59BC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27.833" v="105606"/>
          <ac:graphicFrameMkLst>
            <pc:docMk/>
            <pc:sldMk cId="217569448" sldId="2147483088"/>
            <ac:graphicFrameMk id="633" creationId="{6032E427-C7E7-6C3D-8ABB-27C43BC88BD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31.483" v="105769"/>
          <ac:graphicFrameMkLst>
            <pc:docMk/>
            <pc:sldMk cId="217569448" sldId="2147483088"/>
            <ac:graphicFrameMk id="634" creationId="{A6048FB5-0481-4E59-2DDA-47BB75C8FE2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37.632" v="106047"/>
          <ac:graphicFrameMkLst>
            <pc:docMk/>
            <pc:sldMk cId="217569448" sldId="2147483088"/>
            <ac:graphicFrameMk id="636" creationId="{1E2AEF88-92BE-6142-79D7-6746F8F322A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42.270" v="106608"/>
          <ac:graphicFrameMkLst>
            <pc:docMk/>
            <pc:sldMk cId="217569448" sldId="2147483088"/>
            <ac:graphicFrameMk id="643" creationId="{26F5DA94-3E81-BF75-842D-28DE7CDFC1E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53.639" v="106767"/>
          <ac:graphicFrameMkLst>
            <pc:docMk/>
            <pc:sldMk cId="217569448" sldId="2147483088"/>
            <ac:graphicFrameMk id="652" creationId="{08E018C0-DACF-6CDF-6446-691098780BE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8:56.198" v="106924"/>
          <ac:graphicFrameMkLst>
            <pc:docMk/>
            <pc:sldMk cId="217569448" sldId="2147483088"/>
            <ac:graphicFrameMk id="654" creationId="{73B979E4-9A70-9447-2084-8B8ED276BE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02.832" v="107145"/>
          <ac:graphicFrameMkLst>
            <pc:docMk/>
            <pc:sldMk cId="217569448" sldId="2147483088"/>
            <ac:graphicFrameMk id="656" creationId="{399D4677-F0CF-7E32-59C2-639D689EC5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05.315" v="107361"/>
          <ac:graphicFrameMkLst>
            <pc:docMk/>
            <pc:sldMk cId="217569448" sldId="2147483088"/>
            <ac:graphicFrameMk id="659" creationId="{C1D26410-7A70-3FAC-EB37-2EFCAD61334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10.605" v="107538"/>
          <ac:graphicFrameMkLst>
            <pc:docMk/>
            <pc:sldMk cId="217569448" sldId="2147483088"/>
            <ac:graphicFrameMk id="662" creationId="{04DFA4CF-D5A7-2624-8B34-67AEFF9FA68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12.370" v="107713"/>
          <ac:graphicFrameMkLst>
            <pc:docMk/>
            <pc:sldMk cId="217569448" sldId="2147483088"/>
            <ac:graphicFrameMk id="664" creationId="{F504EFEE-8151-9AD3-6E75-12772585407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13.700" v="107888"/>
          <ac:graphicFrameMkLst>
            <pc:docMk/>
            <pc:sldMk cId="217569448" sldId="2147483088"/>
            <ac:graphicFrameMk id="666" creationId="{1F898324-7742-83CF-6CDD-B154542455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09:45.247" v="108033"/>
          <ac:graphicFrameMkLst>
            <pc:docMk/>
            <pc:sldMk cId="217569448" sldId="2147483088"/>
            <ac:graphicFrameMk id="668" creationId="{BB3C39D9-9952-C135-6CC6-A6C0197DCA3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25.421" v="110865"/>
          <ac:graphicFrameMkLst>
            <pc:docMk/>
            <pc:sldMk cId="217569448" sldId="2147483088"/>
            <ac:graphicFrameMk id="670" creationId="{3841B0C5-2737-1BDE-942C-66AE11834E5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30.984" v="111105"/>
          <ac:graphicFrameMkLst>
            <pc:docMk/>
            <pc:sldMk cId="217569448" sldId="2147483088"/>
            <ac:graphicFrameMk id="731" creationId="{2ADFD990-7E66-73DF-ED5F-3AAD3CD3A0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42.815" v="112246"/>
          <ac:graphicFrameMkLst>
            <pc:docMk/>
            <pc:sldMk cId="217569448" sldId="2147483088"/>
            <ac:graphicFrameMk id="733" creationId="{3E6534A3-5520-2057-5684-F011426B04B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38.762" v="112026"/>
          <ac:graphicFrameMkLst>
            <pc:docMk/>
            <pc:sldMk cId="217569448" sldId="2147483088"/>
            <ac:graphicFrameMk id="736" creationId="{FA893A46-7D4A-3FB0-0EFE-93E4185A64DA}"/>
          </ac:graphicFrameMkLst>
        </pc:graphicFrameChg>
        <pc:graphicFrameChg chg="add mod">
          <ac:chgData name="Yudi Zhu" userId="571e1a55-055f-4c28-8b35-fca6dd1c1369" providerId="ADAL" clId="{75A88773-6EE1-484E-AADE-FE631E01463B}" dt="2025-11-21T06:10:38.762" v="112026"/>
          <ac:graphicFrameMkLst>
            <pc:docMk/>
            <pc:sldMk cId="217569448" sldId="2147483088"/>
            <ac:graphicFrameMk id="738" creationId="{6AEBC188-F43D-1C16-A382-4CAA6695BBD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44.196" v="112486"/>
          <ac:graphicFrameMkLst>
            <pc:docMk/>
            <pc:sldMk cId="217569448" sldId="2147483088"/>
            <ac:graphicFrameMk id="740" creationId="{4791A8E0-D1D6-D156-1A0B-0B8E80A0C00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47.434" v="112726"/>
          <ac:graphicFrameMkLst>
            <pc:docMk/>
            <pc:sldMk cId="217569448" sldId="2147483088"/>
            <ac:graphicFrameMk id="742" creationId="{A58FC902-D5EA-92D3-8665-3EFF954EC5C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50.496" v="112966"/>
          <ac:graphicFrameMkLst>
            <pc:docMk/>
            <pc:sldMk cId="217569448" sldId="2147483088"/>
            <ac:graphicFrameMk id="744" creationId="{6D1F848F-6617-8FA4-0DCD-74EF00892CD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0:51.586" v="113206"/>
          <ac:graphicFrameMkLst>
            <pc:docMk/>
            <pc:sldMk cId="217569448" sldId="2147483088"/>
            <ac:graphicFrameMk id="746" creationId="{D96C3FFD-C8B2-45F7-A19C-ADED3707EB7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1:36.147" v="113446"/>
          <ac:graphicFrameMkLst>
            <pc:docMk/>
            <pc:sldMk cId="217569448" sldId="2147483088"/>
            <ac:graphicFrameMk id="748" creationId="{A25B79FA-9442-29AE-FD6A-0845E5911AD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1:37.833" v="113686"/>
          <ac:graphicFrameMkLst>
            <pc:docMk/>
            <pc:sldMk cId="217569448" sldId="2147483088"/>
            <ac:graphicFrameMk id="750" creationId="{2C069FA6-4BEB-2E8D-F670-0F26B05C1C3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1:39.615" v="113926"/>
          <ac:graphicFrameMkLst>
            <pc:docMk/>
            <pc:sldMk cId="217569448" sldId="2147483088"/>
            <ac:graphicFrameMk id="752" creationId="{3B4B00C0-D386-A40D-6535-BBE62A2F905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13.133" v="114166"/>
          <ac:graphicFrameMkLst>
            <pc:docMk/>
            <pc:sldMk cId="217569448" sldId="2147483088"/>
            <ac:graphicFrameMk id="754" creationId="{D98FE61E-ADAE-1B2E-EC6B-288660E7AB0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25.587" v="114406"/>
          <ac:graphicFrameMkLst>
            <pc:docMk/>
            <pc:sldMk cId="217569448" sldId="2147483088"/>
            <ac:graphicFrameMk id="756" creationId="{4E0DDA62-1B6E-9A2B-210A-949AB29BA0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29.684" v="115250"/>
          <ac:graphicFrameMkLst>
            <pc:docMk/>
            <pc:sldMk cId="217569448" sldId="2147483088"/>
            <ac:graphicFrameMk id="758" creationId="{DB4E75A0-B326-1479-9561-43AAF56DBD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32.177" v="115500"/>
          <ac:graphicFrameMkLst>
            <pc:docMk/>
            <pc:sldMk cId="217569448" sldId="2147483088"/>
            <ac:graphicFrameMk id="770" creationId="{20F6D524-8912-79D0-BB3E-896FBAB92DA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35.235" v="115750"/>
          <ac:graphicFrameMkLst>
            <pc:docMk/>
            <pc:sldMk cId="217569448" sldId="2147483088"/>
            <ac:graphicFrameMk id="772" creationId="{51C8F6A0-7367-AFCC-50EF-9EFEB552E32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36.399" v="116000"/>
          <ac:graphicFrameMkLst>
            <pc:docMk/>
            <pc:sldMk cId="217569448" sldId="2147483088"/>
            <ac:graphicFrameMk id="774" creationId="{734D1A82-297C-9C6F-D31C-16BDCE8716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36.928" v="116260"/>
          <ac:graphicFrameMkLst>
            <pc:docMk/>
            <pc:sldMk cId="217569448" sldId="2147483088"/>
            <ac:graphicFrameMk id="776" creationId="{45C6A8EE-E0C7-1D89-C1BD-8C2A2B94D4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47.951" v="116500"/>
          <ac:graphicFrameMkLst>
            <pc:docMk/>
            <pc:sldMk cId="217569448" sldId="2147483088"/>
            <ac:graphicFrameMk id="778" creationId="{B76ADC70-F121-4554-7029-37348339CA1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2:51.301" v="116740"/>
          <ac:graphicFrameMkLst>
            <pc:docMk/>
            <pc:sldMk cId="217569448" sldId="2147483088"/>
            <ac:graphicFrameMk id="780" creationId="{FC88BE9F-7BCA-ABB3-1699-1BA40708A19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3:11.247" v="116980"/>
          <ac:graphicFrameMkLst>
            <pc:docMk/>
            <pc:sldMk cId="217569448" sldId="2147483088"/>
            <ac:graphicFrameMk id="782" creationId="{385FEADC-168B-A95E-09F5-650132B3722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6:48.443" v="117222"/>
          <ac:graphicFrameMkLst>
            <pc:docMk/>
            <pc:sldMk cId="217569448" sldId="2147483088"/>
            <ac:graphicFrameMk id="784" creationId="{350C5C88-7A53-7402-ACBF-B442FFC6E69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7:36.349" v="117668"/>
          <ac:graphicFrameMkLst>
            <pc:docMk/>
            <pc:sldMk cId="217569448" sldId="2147483088"/>
            <ac:graphicFrameMk id="786" creationId="{65A97D10-ECF4-7F1D-667A-A984779F51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19:22.413" v="117908"/>
          <ac:graphicFrameMkLst>
            <pc:docMk/>
            <pc:sldMk cId="217569448" sldId="2147483088"/>
            <ac:graphicFrameMk id="788" creationId="{22259BC6-90BA-A62A-952E-79E7D2DA81D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28.239" v="120622"/>
          <ac:graphicFrameMkLst>
            <pc:docMk/>
            <pc:sldMk cId="217569448" sldId="2147483088"/>
            <ac:graphicFrameMk id="790" creationId="{F1A5A3A6-E245-801D-3157-17EABC3B8CE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16.427" v="120302"/>
          <ac:graphicFrameMkLst>
            <pc:docMk/>
            <pc:sldMk cId="217569448" sldId="2147483088"/>
            <ac:graphicFrameMk id="792" creationId="{CA78E24A-FE8A-5DEE-EB34-5D6053CAD9A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14.432" v="120221"/>
          <ac:graphicFrameMkLst>
            <pc:docMk/>
            <pc:sldMk cId="217569448" sldId="2147483088"/>
            <ac:graphicFrameMk id="794" creationId="{717C6DB2-9755-1DD6-8CCF-AC4FA7A5EEC8}"/>
          </ac:graphicFrameMkLst>
        </pc:graphicFrameChg>
        <pc:graphicFrameChg chg="add mod">
          <ac:chgData name="Yudi Zhu" userId="571e1a55-055f-4c28-8b35-fca6dd1c1369" providerId="ADAL" clId="{75A88773-6EE1-484E-AADE-FE631E01463B}" dt="2025-11-21T06:20:13.367" v="119772" actId="1076"/>
          <ac:graphicFrameMkLst>
            <pc:docMk/>
            <pc:sldMk cId="217569448" sldId="2147483088"/>
            <ac:graphicFrameMk id="804" creationId="{EEF3AC08-FF14-756A-1874-B962C929C34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32.876" v="120896"/>
          <ac:graphicFrameMkLst>
            <pc:docMk/>
            <pc:sldMk cId="217569448" sldId="2147483088"/>
            <ac:graphicFrameMk id="810" creationId="{8CADC63B-CF2D-EA3E-6C4A-6D6778A63D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35.494" v="121200"/>
          <ac:graphicFrameMkLst>
            <pc:docMk/>
            <pc:sldMk cId="217569448" sldId="2147483088"/>
            <ac:graphicFrameMk id="812" creationId="{FCEEDFA9-B609-B396-DDC4-22394AB83CB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36.971" v="121436"/>
          <ac:graphicFrameMkLst>
            <pc:docMk/>
            <pc:sldMk cId="217569448" sldId="2147483088"/>
            <ac:graphicFrameMk id="818" creationId="{3A321C6F-5653-7ACC-56BF-1BC6646FEBC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37.958" v="121672"/>
          <ac:graphicFrameMkLst>
            <pc:docMk/>
            <pc:sldMk cId="217569448" sldId="2147483088"/>
            <ac:graphicFrameMk id="820" creationId="{CA41D024-6149-2DF8-19DB-C625D62BE7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39.296" v="121908"/>
          <ac:graphicFrameMkLst>
            <pc:docMk/>
            <pc:sldMk cId="217569448" sldId="2147483088"/>
            <ac:graphicFrameMk id="822" creationId="{CE02537D-4A36-06DD-DCD9-6AF2838D6B8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43.598" v="122144"/>
          <ac:graphicFrameMkLst>
            <pc:docMk/>
            <pc:sldMk cId="217569448" sldId="2147483088"/>
            <ac:graphicFrameMk id="824" creationId="{38B22B44-7DC6-FBFD-F236-736DB42004F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45.186" v="122380"/>
          <ac:graphicFrameMkLst>
            <pc:docMk/>
            <pc:sldMk cId="217569448" sldId="2147483088"/>
            <ac:graphicFrameMk id="826" creationId="{ACF9FBC7-14E7-FCA9-5193-CD3C7E4458B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45.778" v="122616"/>
          <ac:graphicFrameMkLst>
            <pc:docMk/>
            <pc:sldMk cId="217569448" sldId="2147483088"/>
            <ac:graphicFrameMk id="828" creationId="{69F4A422-DF1F-12C6-0990-AF2F460F492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48.053" v="122852"/>
          <ac:graphicFrameMkLst>
            <pc:docMk/>
            <pc:sldMk cId="217569448" sldId="2147483088"/>
            <ac:graphicFrameMk id="830" creationId="{FFC55E80-CE65-64FB-ACF8-94DADF2594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48.675" v="123088"/>
          <ac:graphicFrameMkLst>
            <pc:docMk/>
            <pc:sldMk cId="217569448" sldId="2147483088"/>
            <ac:graphicFrameMk id="832" creationId="{5C39E2B4-0947-F21D-06F4-1810338687B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52.542" v="123324"/>
          <ac:graphicFrameMkLst>
            <pc:docMk/>
            <pc:sldMk cId="217569448" sldId="2147483088"/>
            <ac:graphicFrameMk id="834" creationId="{6B85E3A4-A931-53CE-1F1E-70EFB8EE46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56.628" v="123560"/>
          <ac:graphicFrameMkLst>
            <pc:docMk/>
            <pc:sldMk cId="217569448" sldId="2147483088"/>
            <ac:graphicFrameMk id="836" creationId="{21CB3B52-F165-D831-59B6-628C233B4CD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0:58.879" v="123796"/>
          <ac:graphicFrameMkLst>
            <pc:docMk/>
            <pc:sldMk cId="217569448" sldId="2147483088"/>
            <ac:graphicFrameMk id="838" creationId="{CE2DD6DF-2021-1556-FA1D-72FF09F0614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00.568" v="124032"/>
          <ac:graphicFrameMkLst>
            <pc:docMk/>
            <pc:sldMk cId="217569448" sldId="2147483088"/>
            <ac:graphicFrameMk id="840" creationId="{91F6F00C-9B65-8B41-381D-D42011B6AA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08.893" v="124268"/>
          <ac:graphicFrameMkLst>
            <pc:docMk/>
            <pc:sldMk cId="217569448" sldId="2147483088"/>
            <ac:graphicFrameMk id="842" creationId="{45A387C3-F0D8-3C56-E5EE-6209B94B68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17.460" v="124504"/>
          <ac:graphicFrameMkLst>
            <pc:docMk/>
            <pc:sldMk cId="217569448" sldId="2147483088"/>
            <ac:graphicFrameMk id="844" creationId="{B065DAB9-5B0F-77C5-F053-56366317E08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21.216" v="124740"/>
          <ac:graphicFrameMkLst>
            <pc:docMk/>
            <pc:sldMk cId="217569448" sldId="2147483088"/>
            <ac:graphicFrameMk id="846" creationId="{D60470D2-7C76-A4EB-EFFF-7387E421455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44.272" v="128464"/>
          <ac:graphicFrameMkLst>
            <pc:docMk/>
            <pc:sldMk cId="217569448" sldId="2147483088"/>
            <ac:graphicFrameMk id="848" creationId="{355194AF-95E9-C1CE-A065-939CFEB1EC0E}"/>
          </ac:graphicFrameMkLst>
        </pc:graphicFrameChg>
        <pc:graphicFrameChg chg="add mod">
          <ac:chgData name="Yudi Zhu" userId="571e1a55-055f-4c28-8b35-fca6dd1c1369" providerId="ADAL" clId="{75A88773-6EE1-484E-AADE-FE631E01463B}" dt="2025-11-21T06:21:38.366" v="127109" actId="1076"/>
          <ac:graphicFrameMkLst>
            <pc:docMk/>
            <pc:sldMk cId="217569448" sldId="2147483088"/>
            <ac:graphicFrameMk id="889" creationId="{B96136A5-387A-EC72-20ED-3890834177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51.212" v="129527"/>
          <ac:graphicFrameMkLst>
            <pc:docMk/>
            <pc:sldMk cId="217569448" sldId="2147483088"/>
            <ac:graphicFrameMk id="891" creationId="{0166BBC9-8A86-1882-558E-6380C5C641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05.375" v="131353"/>
          <ac:graphicFrameMkLst>
            <pc:docMk/>
            <pc:sldMk cId="217569448" sldId="2147483088"/>
            <ac:graphicFrameMk id="895" creationId="{588416DF-4BC8-0F4E-E044-6545695DA4D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55.838" v="129952"/>
          <ac:graphicFrameMkLst>
            <pc:docMk/>
            <pc:sldMk cId="217569448" sldId="2147483088"/>
            <ac:graphicFrameMk id="897" creationId="{D3A2A649-69F8-F812-77F4-A0ACEEB0587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1:58.407" v="130388"/>
          <ac:graphicFrameMkLst>
            <pc:docMk/>
            <pc:sldMk cId="217569448" sldId="2147483088"/>
            <ac:graphicFrameMk id="899" creationId="{480FEC30-71E9-8957-1F09-430F3C40DF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02.409" v="130787"/>
          <ac:graphicFrameMkLst>
            <pc:docMk/>
            <pc:sldMk cId="217569448" sldId="2147483088"/>
            <ac:graphicFrameMk id="901" creationId="{03312459-6BA5-1451-D232-76E8F7186A3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10.506" v="131897"/>
          <ac:graphicFrameMkLst>
            <pc:docMk/>
            <pc:sldMk cId="217569448" sldId="2147483088"/>
            <ac:graphicFrameMk id="904" creationId="{C66A7222-F297-20C3-F1C3-672FFCB071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06.948" v="131690"/>
          <ac:graphicFrameMkLst>
            <pc:docMk/>
            <pc:sldMk cId="217569448" sldId="2147483088"/>
            <ac:graphicFrameMk id="912" creationId="{5125923D-DEAC-CA21-1916-BC370DFC2CCA}"/>
          </ac:graphicFrameMkLst>
        </pc:graphicFrameChg>
        <pc:graphicFrameChg chg="add mod">
          <ac:chgData name="Yudi Zhu" userId="571e1a55-055f-4c28-8b35-fca6dd1c1369" providerId="ADAL" clId="{75A88773-6EE1-484E-AADE-FE631E01463B}" dt="2025-11-21T06:24:18.675" v="146072"/>
          <ac:graphicFrameMkLst>
            <pc:docMk/>
            <pc:sldMk cId="217569448" sldId="2147483088"/>
            <ac:graphicFrameMk id="914" creationId="{768FB6D4-D1C3-962C-F82D-17F7F6A9D39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14.064" v="132104"/>
          <ac:graphicFrameMkLst>
            <pc:docMk/>
            <pc:sldMk cId="217569448" sldId="2147483088"/>
            <ac:graphicFrameMk id="916" creationId="{00B455AD-6C87-DD75-E492-63124F2AEEA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18.309" v="133577"/>
          <ac:graphicFrameMkLst>
            <pc:docMk/>
            <pc:sldMk cId="217569448" sldId="2147483088"/>
            <ac:graphicFrameMk id="918" creationId="{B23F493B-D574-26A0-55C9-7BB513806BE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27.914" v="134552"/>
          <ac:graphicFrameMkLst>
            <pc:docMk/>
            <pc:sldMk cId="217569448" sldId="2147483088"/>
            <ac:graphicFrameMk id="950" creationId="{AD1B029C-E53B-31B3-1725-A363679BE4E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36.771" v="134782"/>
          <ac:graphicFrameMkLst>
            <pc:docMk/>
            <pc:sldMk cId="217569448" sldId="2147483088"/>
            <ac:graphicFrameMk id="953" creationId="{65901C0D-6806-1884-6932-932AC0531F1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39.453" v="135008"/>
          <ac:graphicFrameMkLst>
            <pc:docMk/>
            <pc:sldMk cId="217569448" sldId="2147483088"/>
            <ac:graphicFrameMk id="955" creationId="{8C3C31E2-B3E6-B9EB-E8CE-7D661D091AA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2:42.125" v="135526"/>
          <ac:graphicFrameMkLst>
            <pc:docMk/>
            <pc:sldMk cId="217569448" sldId="2147483088"/>
            <ac:graphicFrameMk id="957" creationId="{02936470-F7D8-81C1-5985-E3E4AC6AAD9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3:04.420" v="135756"/>
          <ac:graphicFrameMkLst>
            <pc:docMk/>
            <pc:sldMk cId="217569448" sldId="2147483088"/>
            <ac:graphicFrameMk id="962" creationId="{9DA4EB56-2F17-D3BF-8FFD-43C39C3B348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3:26.844" v="135986"/>
          <ac:graphicFrameMkLst>
            <pc:docMk/>
            <pc:sldMk cId="217569448" sldId="2147483088"/>
            <ac:graphicFrameMk id="964" creationId="{26D52112-CE76-1CD0-6CFF-ACADF6CA1B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3:32.083" v="136950"/>
          <ac:graphicFrameMkLst>
            <pc:docMk/>
            <pc:sldMk cId="217569448" sldId="2147483088"/>
            <ac:graphicFrameMk id="966" creationId="{D97F1236-E8EA-1480-456C-8D31308595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3:57.721" v="140373"/>
          <ac:graphicFrameMkLst>
            <pc:docMk/>
            <pc:sldMk cId="217569448" sldId="2147483088"/>
            <ac:graphicFrameMk id="968" creationId="{AE62A608-E829-62EB-CCEB-5581B6033618}"/>
          </ac:graphicFrameMkLst>
        </pc:graphicFrameChg>
        <pc:graphicFrameChg chg="add mod">
          <ac:chgData name="Yudi Zhu" userId="571e1a55-055f-4c28-8b35-fca6dd1c1369" providerId="ADAL" clId="{75A88773-6EE1-484E-AADE-FE631E01463B}" dt="2025-11-21T06:23:54.968" v="140019"/>
          <ac:graphicFrameMkLst>
            <pc:docMk/>
            <pc:sldMk cId="217569448" sldId="2147483088"/>
            <ac:graphicFrameMk id="988" creationId="{1FA86D93-9E67-BF3D-46C4-ECB78F9F571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4:00.703" v="140574"/>
          <ac:graphicFrameMkLst>
            <pc:docMk/>
            <pc:sldMk cId="217569448" sldId="2147483088"/>
            <ac:graphicFrameMk id="990" creationId="{16A6CEB3-82F4-8527-26E2-A6813BDE775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4:07.723" v="142709"/>
          <ac:graphicFrameMkLst>
            <pc:docMk/>
            <pc:sldMk cId="217569448" sldId="2147483088"/>
            <ac:graphicFrameMk id="992" creationId="{25DB84C6-4FC0-A817-3C91-672FCF3021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4:12.786" v="144543"/>
          <ac:graphicFrameMkLst>
            <pc:docMk/>
            <pc:sldMk cId="217569448" sldId="2147483088"/>
            <ac:graphicFrameMk id="1012" creationId="{B948A7C9-EEA7-9F07-ABDB-9C66CD2ABFE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4:18.648" v="146064"/>
          <ac:graphicFrameMkLst>
            <pc:docMk/>
            <pc:sldMk cId="217569448" sldId="2147483088"/>
            <ac:graphicFrameMk id="1045" creationId="{9BCD0200-52BD-3387-407E-6A4F870D5110}"/>
          </ac:graphicFrameMkLst>
        </pc:graphicFrameChg>
        <pc:graphicFrameChg chg="add mod">
          <ac:chgData name="Yudi Zhu" userId="571e1a55-055f-4c28-8b35-fca6dd1c1369" providerId="ADAL" clId="{75A88773-6EE1-484E-AADE-FE631E01463B}" dt="2025-11-21T06:24:18.704" v="146141"/>
          <ac:graphicFrameMkLst>
            <pc:docMk/>
            <pc:sldMk cId="217569448" sldId="2147483088"/>
            <ac:graphicFrameMk id="1050" creationId="{8A199DC3-FA08-148F-13F2-8A0D10B5A018}"/>
          </ac:graphicFrameMkLst>
        </pc:graphicFrame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2" creationId="{7218864A-A3E0-EB0F-F5C0-642F6630B710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3" creationId="{7A6FD05A-64E0-4366-921D-F46D9F698FB9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4" creationId="{05CD6F8B-9203-D400-2FBA-B75386D118B8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5" creationId="{1DB458B6-5E3C-C40A-1E29-873D79E60DB4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6" creationId="{C91BC9C3-59C5-ACA7-35E6-CCF407596046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7" creationId="{34D27EA0-C3F2-D398-8623-F1D14252718F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8" creationId="{D923353D-DA0C-62D4-E89A-E25277BA5791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39" creationId="{36EC17C6-6434-76B6-3114-17BF978E87CF}"/>
          </ac:cxnSpMkLst>
        </pc:cxnChg>
        <pc:cxnChg chg="add mod ord">
          <ac:chgData name="Yudi Zhu" userId="571e1a55-055f-4c28-8b35-fca6dd1c1369" providerId="ADAL" clId="{75A88773-6EE1-484E-AADE-FE631E01463B}" dt="2025-11-21T05:53:45.755" v="29162"/>
          <ac:cxnSpMkLst>
            <pc:docMk/>
            <pc:sldMk cId="217569448" sldId="2147483088"/>
            <ac:cxnSpMk id="41" creationId="{758EEAAF-4E33-F36C-B49F-E7B2BF28CB15}"/>
          </ac:cxnSpMkLst>
        </pc:cxnChg>
        <pc:cxnChg chg="add mod ord">
          <ac:chgData name="Yudi Zhu" userId="571e1a55-055f-4c28-8b35-fca6dd1c1369" providerId="ADAL" clId="{75A88773-6EE1-484E-AADE-FE631E01463B}" dt="2025-11-21T03:49:44.237" v="19101"/>
          <ac:cxnSpMkLst>
            <pc:docMk/>
            <pc:sldMk cId="217569448" sldId="2147483088"/>
            <ac:cxnSpMk id="51" creationId="{E905E948-76CE-557A-005E-7232CA2A2997}"/>
          </ac:cxnSpMkLst>
        </pc:cxnChg>
        <pc:cxnChg chg="add del mod ord">
          <ac:chgData name="Yudi Zhu" userId="571e1a55-055f-4c28-8b35-fca6dd1c1369" providerId="ADAL" clId="{75A88773-6EE1-484E-AADE-FE631E01463B}" dt="2025-11-21T03:50:31.390" v="19447"/>
          <ac:cxnSpMkLst>
            <pc:docMk/>
            <pc:sldMk cId="217569448" sldId="2147483088"/>
            <ac:cxnSpMk id="55" creationId="{C0AC1372-CC9E-A340-4DA4-436AD6928D2A}"/>
          </ac:cxnSpMkLst>
        </pc:cxnChg>
        <pc:cxnChg chg="add del mod ord">
          <ac:chgData name="Yudi Zhu" userId="571e1a55-055f-4c28-8b35-fca6dd1c1369" providerId="ADAL" clId="{75A88773-6EE1-484E-AADE-FE631E01463B}" dt="2025-11-21T05:55:06.776" v="32780"/>
          <ac:cxnSpMkLst>
            <pc:docMk/>
            <pc:sldMk cId="217569448" sldId="2147483088"/>
            <ac:cxnSpMk id="56" creationId="{B452724E-2937-6378-8567-AF24A85BC158}"/>
          </ac:cxnSpMkLst>
        </pc:cxnChg>
        <pc:cxnChg chg="add del mod ord">
          <ac:chgData name="Yudi Zhu" userId="571e1a55-055f-4c28-8b35-fca6dd1c1369" providerId="ADAL" clId="{75A88773-6EE1-484E-AADE-FE631E01463B}" dt="2025-11-21T03:50:11.599" v="19407"/>
          <ac:cxnSpMkLst>
            <pc:docMk/>
            <pc:sldMk cId="217569448" sldId="2147483088"/>
            <ac:cxnSpMk id="56" creationId="{F707D469-9267-4705-BC9C-7F396366A4F4}"/>
          </ac:cxnSpMkLst>
        </pc:cxnChg>
        <pc:cxnChg chg="add del mod ord">
          <ac:chgData name="Yudi Zhu" userId="571e1a55-055f-4c28-8b35-fca6dd1c1369" providerId="ADAL" clId="{75A88773-6EE1-484E-AADE-FE631E01463B}" dt="2025-11-21T05:55:06.777" v="32782"/>
          <ac:cxnSpMkLst>
            <pc:docMk/>
            <pc:sldMk cId="217569448" sldId="2147483088"/>
            <ac:cxnSpMk id="57" creationId="{6082111C-BE1A-776F-5885-54A610AFC063}"/>
          </ac:cxnSpMkLst>
        </pc:cxnChg>
        <pc:cxnChg chg="add del mod ord">
          <ac:chgData name="Yudi Zhu" userId="571e1a55-055f-4c28-8b35-fca6dd1c1369" providerId="ADAL" clId="{75A88773-6EE1-484E-AADE-FE631E01463B}" dt="2025-11-21T03:50:31.388" v="19445"/>
          <ac:cxnSpMkLst>
            <pc:docMk/>
            <pc:sldMk cId="217569448" sldId="2147483088"/>
            <ac:cxnSpMk id="57" creationId="{D52B6255-6BFC-30DB-CB5A-C240CBEED2B5}"/>
          </ac:cxnSpMkLst>
        </pc:cxnChg>
        <pc:cxnChg chg="add del mod ord">
          <ac:chgData name="Yudi Zhu" userId="571e1a55-055f-4c28-8b35-fca6dd1c1369" providerId="ADAL" clId="{75A88773-6EE1-484E-AADE-FE631E01463B}" dt="2025-11-21T05:55:06.777" v="32784"/>
          <ac:cxnSpMkLst>
            <pc:docMk/>
            <pc:sldMk cId="217569448" sldId="2147483088"/>
            <ac:cxnSpMk id="58" creationId="{C93C3258-1D8D-C321-C0A9-4E121A761498}"/>
          </ac:cxnSpMkLst>
        </pc:cxnChg>
        <pc:cxnChg chg="add del mod ord">
          <ac:chgData name="Yudi Zhu" userId="571e1a55-055f-4c28-8b35-fca6dd1c1369" providerId="ADAL" clId="{75A88773-6EE1-484E-AADE-FE631E01463B}" dt="2025-11-21T05:55:22.358" v="35452"/>
          <ac:cxnSpMkLst>
            <pc:docMk/>
            <pc:sldMk cId="217569448" sldId="2147483088"/>
            <ac:cxnSpMk id="59" creationId="{28BA4041-4026-44FA-1033-10779374C29A}"/>
          </ac:cxnSpMkLst>
        </pc:cxnChg>
        <pc:cxnChg chg="add mod ord">
          <ac:chgData name="Yudi Zhu" userId="571e1a55-055f-4c28-8b35-fca6dd1c1369" providerId="ADAL" clId="{75A88773-6EE1-484E-AADE-FE631E01463B}" dt="2025-11-21T06:24:18.704" v="146137"/>
          <ac:cxnSpMkLst>
            <pc:docMk/>
            <pc:sldMk cId="217569448" sldId="2147483088"/>
            <ac:cxnSpMk id="70" creationId="{23E80BF9-1749-790D-63A5-76C8726E410B}"/>
          </ac:cxnSpMkLst>
        </pc:cxnChg>
        <pc:cxnChg chg="add del mod ord">
          <ac:chgData name="Yudi Zhu" userId="571e1a55-055f-4c28-8b35-fca6dd1c1369" providerId="ADAL" clId="{75A88773-6EE1-484E-AADE-FE631E01463B}" dt="2025-11-21T03:58:44.081" v="24084"/>
          <ac:cxnSpMkLst>
            <pc:docMk/>
            <pc:sldMk cId="217569448" sldId="2147483088"/>
            <ac:cxnSpMk id="81" creationId="{116FC5E8-AE22-114F-4973-22FE5E22E79C}"/>
          </ac:cxnSpMkLst>
        </pc:cxnChg>
        <pc:cxnChg chg="add del mod ord">
          <ac:chgData name="Yudi Zhu" userId="571e1a55-055f-4c28-8b35-fca6dd1c1369" providerId="ADAL" clId="{75A88773-6EE1-484E-AADE-FE631E01463B}" dt="2025-11-21T05:55:05.784" v="32367"/>
          <ac:cxnSpMkLst>
            <pc:docMk/>
            <pc:sldMk cId="217569448" sldId="2147483088"/>
            <ac:cxnSpMk id="95" creationId="{04E10E10-B4F3-010F-BFC3-3817303DD578}"/>
          </ac:cxnSpMkLst>
        </pc:cxnChg>
        <pc:cxnChg chg="add del mod ord">
          <ac:chgData name="Yudi Zhu" userId="571e1a55-055f-4c28-8b35-fca6dd1c1369" providerId="ADAL" clId="{75A88773-6EE1-484E-AADE-FE631E01463B}" dt="2025-11-21T03:58:44.082" v="24086"/>
          <ac:cxnSpMkLst>
            <pc:docMk/>
            <pc:sldMk cId="217569448" sldId="2147483088"/>
            <ac:cxnSpMk id="111" creationId="{C758F0D6-B56F-3BD5-5881-2324E068EAEB}"/>
          </ac:cxnSpMkLst>
        </pc:cxnChg>
        <pc:cxnChg chg="add del mod ord">
          <ac:chgData name="Yudi Zhu" userId="571e1a55-055f-4c28-8b35-fca6dd1c1369" providerId="ADAL" clId="{75A88773-6EE1-484E-AADE-FE631E01463B}" dt="2025-11-21T03:58:44.083" v="24088"/>
          <ac:cxnSpMkLst>
            <pc:docMk/>
            <pc:sldMk cId="217569448" sldId="2147483088"/>
            <ac:cxnSpMk id="112" creationId="{938DA094-03E2-E03C-0036-F95C69187BD4}"/>
          </ac:cxnSpMkLst>
        </pc:cxnChg>
        <pc:cxnChg chg="add del mod ord">
          <ac:chgData name="Yudi Zhu" userId="571e1a55-055f-4c28-8b35-fca6dd1c1369" providerId="ADAL" clId="{75A88773-6EE1-484E-AADE-FE631E01463B}" dt="2025-11-21T03:59:19.877" v="24877"/>
          <ac:cxnSpMkLst>
            <pc:docMk/>
            <pc:sldMk cId="217569448" sldId="2147483088"/>
            <ac:cxnSpMk id="113" creationId="{A32380A8-9A9A-8167-2641-D8E99D384FD0}"/>
          </ac:cxnSpMkLst>
        </pc:cxnChg>
        <pc:cxnChg chg="add del mod ord">
          <ac:chgData name="Yudi Zhu" userId="571e1a55-055f-4c28-8b35-fca6dd1c1369" providerId="ADAL" clId="{75A88773-6EE1-484E-AADE-FE631E01463B}" dt="2025-11-21T05:55:06.778" v="32786"/>
          <ac:cxnSpMkLst>
            <pc:docMk/>
            <pc:sldMk cId="217569448" sldId="2147483088"/>
            <ac:cxnSpMk id="115" creationId="{6D9584EF-E80F-ACBF-F1A7-5DB371FDEE44}"/>
          </ac:cxnSpMkLst>
        </pc:cxnChg>
        <pc:cxnChg chg="add del mod ord">
          <ac:chgData name="Yudi Zhu" userId="571e1a55-055f-4c28-8b35-fca6dd1c1369" providerId="ADAL" clId="{75A88773-6EE1-484E-AADE-FE631E01463B}" dt="2025-11-21T05:55:06.779" v="32788"/>
          <ac:cxnSpMkLst>
            <pc:docMk/>
            <pc:sldMk cId="217569448" sldId="2147483088"/>
            <ac:cxnSpMk id="116" creationId="{A376C7DD-CAE7-4537-9D41-DBF735581B85}"/>
          </ac:cxnSpMkLst>
        </pc:cxnChg>
        <pc:cxnChg chg="add del mod ord">
          <ac:chgData name="Yudi Zhu" userId="571e1a55-055f-4c28-8b35-fca6dd1c1369" providerId="ADAL" clId="{75A88773-6EE1-484E-AADE-FE631E01463B}" dt="2025-11-21T05:55:06.780" v="32790"/>
          <ac:cxnSpMkLst>
            <pc:docMk/>
            <pc:sldMk cId="217569448" sldId="2147483088"/>
            <ac:cxnSpMk id="117" creationId="{17C6EFE2-FACA-0E3D-55C9-5796BFF4D2B7}"/>
          </ac:cxnSpMkLst>
        </pc:cxnChg>
        <pc:cxnChg chg="add del mod ord">
          <ac:chgData name="Yudi Zhu" userId="571e1a55-055f-4c28-8b35-fca6dd1c1369" providerId="ADAL" clId="{75A88773-6EE1-484E-AADE-FE631E01463B}" dt="2025-11-21T05:55:06.781" v="32792"/>
          <ac:cxnSpMkLst>
            <pc:docMk/>
            <pc:sldMk cId="217569448" sldId="2147483088"/>
            <ac:cxnSpMk id="118" creationId="{654C5309-C4B4-9116-7584-F84FF1C581F9}"/>
          </ac:cxnSpMkLst>
        </pc:cxnChg>
        <pc:cxnChg chg="add del mod ord">
          <ac:chgData name="Yudi Zhu" userId="571e1a55-055f-4c28-8b35-fca6dd1c1369" providerId="ADAL" clId="{75A88773-6EE1-484E-AADE-FE631E01463B}" dt="2025-11-21T03:59:19.878" v="24879"/>
          <ac:cxnSpMkLst>
            <pc:docMk/>
            <pc:sldMk cId="217569448" sldId="2147483088"/>
            <ac:cxnSpMk id="146" creationId="{705080A5-4D54-D35D-6537-FD7FC865E599}"/>
          </ac:cxnSpMkLst>
        </pc:cxnChg>
        <pc:cxnChg chg="add del mod ord">
          <ac:chgData name="Yudi Zhu" userId="571e1a55-055f-4c28-8b35-fca6dd1c1369" providerId="ADAL" clId="{75A88773-6EE1-484E-AADE-FE631E01463B}" dt="2025-11-21T03:59:19.879" v="24881"/>
          <ac:cxnSpMkLst>
            <pc:docMk/>
            <pc:sldMk cId="217569448" sldId="2147483088"/>
            <ac:cxnSpMk id="147" creationId="{D4486879-0930-0894-FAB3-4B8F6B71A1FF}"/>
          </ac:cxnSpMkLst>
        </pc:cxnChg>
        <pc:cxnChg chg="add del mod ord">
          <ac:chgData name="Yudi Zhu" userId="571e1a55-055f-4c28-8b35-fca6dd1c1369" providerId="ADAL" clId="{75A88773-6EE1-484E-AADE-FE631E01463B}" dt="2025-11-21T03:59:31.308" v="26418"/>
          <ac:cxnSpMkLst>
            <pc:docMk/>
            <pc:sldMk cId="217569448" sldId="2147483088"/>
            <ac:cxnSpMk id="148" creationId="{6D36BAF0-94F8-5AE0-A1D7-6A9687E91FC7}"/>
          </ac:cxnSpMkLst>
        </pc:cxnChg>
        <pc:cxnChg chg="add del mod ord">
          <ac:chgData name="Yudi Zhu" userId="571e1a55-055f-4c28-8b35-fca6dd1c1369" providerId="ADAL" clId="{75A88773-6EE1-484E-AADE-FE631E01463B}" dt="2025-11-21T03:59:31.309" v="26420"/>
          <ac:cxnSpMkLst>
            <pc:docMk/>
            <pc:sldMk cId="217569448" sldId="2147483088"/>
            <ac:cxnSpMk id="184" creationId="{3A3AD647-A800-C725-9F75-B56DCDADA071}"/>
          </ac:cxnSpMkLst>
        </pc:cxnChg>
        <pc:cxnChg chg="add del mod ord">
          <ac:chgData name="Yudi Zhu" userId="571e1a55-055f-4c28-8b35-fca6dd1c1369" providerId="ADAL" clId="{75A88773-6EE1-484E-AADE-FE631E01463B}" dt="2025-11-21T03:59:31.310" v="26422"/>
          <ac:cxnSpMkLst>
            <pc:docMk/>
            <pc:sldMk cId="217569448" sldId="2147483088"/>
            <ac:cxnSpMk id="185" creationId="{24634810-4B50-FCFC-731B-24FBDC396D86}"/>
          </ac:cxnSpMkLst>
        </pc:cxnChg>
        <pc:cxnChg chg="add del mod ord">
          <ac:chgData name="Yudi Zhu" userId="571e1a55-055f-4c28-8b35-fca6dd1c1369" providerId="ADAL" clId="{75A88773-6EE1-484E-AADE-FE631E01463B}" dt="2025-11-21T06:24:18.680" v="146082"/>
          <ac:cxnSpMkLst>
            <pc:docMk/>
            <pc:sldMk cId="217569448" sldId="2147483088"/>
            <ac:cxnSpMk id="186" creationId="{3C847124-CB0B-0122-98DA-07757DB848D8}"/>
          </ac:cxnSpMkLst>
        </pc:cxnChg>
        <pc:cxnChg chg="add del mod ord">
          <ac:chgData name="Yudi Zhu" userId="571e1a55-055f-4c28-8b35-fca6dd1c1369" providerId="ADAL" clId="{75A88773-6EE1-484E-AADE-FE631E01463B}" dt="2025-11-21T06:24:18.679" v="146080"/>
          <ac:cxnSpMkLst>
            <pc:docMk/>
            <pc:sldMk cId="217569448" sldId="2147483088"/>
            <ac:cxnSpMk id="192" creationId="{9FB5B7F9-7001-D229-85B5-383056DDEADC}"/>
          </ac:cxnSpMkLst>
        </pc:cxnChg>
        <pc:cxnChg chg="add del mod ord">
          <ac:chgData name="Yudi Zhu" userId="571e1a55-055f-4c28-8b35-fca6dd1c1369" providerId="ADAL" clId="{75A88773-6EE1-484E-AADE-FE631E01463B}" dt="2025-11-21T06:24:18.680" v="146084"/>
          <ac:cxnSpMkLst>
            <pc:docMk/>
            <pc:sldMk cId="217569448" sldId="2147483088"/>
            <ac:cxnSpMk id="193" creationId="{9E1B813A-FEED-0733-5DDF-3B9C41DFC941}"/>
          </ac:cxnSpMkLst>
        </pc:cxnChg>
        <pc:cxnChg chg="add mod ord">
          <ac:chgData name="Yudi Zhu" userId="571e1a55-055f-4c28-8b35-fca6dd1c1369" providerId="ADAL" clId="{75A88773-6EE1-484E-AADE-FE631E01463B}" dt="2025-11-21T06:24:18.683" v="146092"/>
          <ac:cxnSpMkLst>
            <pc:docMk/>
            <pc:sldMk cId="217569448" sldId="2147483088"/>
            <ac:cxnSpMk id="194" creationId="{5942FBCD-A915-1D23-76D9-48B280F53E82}"/>
          </ac:cxnSpMkLst>
        </pc:cxnChg>
        <pc:cxnChg chg="add del mod ord">
          <ac:chgData name="Yudi Zhu" userId="571e1a55-055f-4c28-8b35-fca6dd1c1369" providerId="ADAL" clId="{75A88773-6EE1-484E-AADE-FE631E01463B}" dt="2025-11-21T05:56:58.511" v="41390"/>
          <ac:cxnSpMkLst>
            <pc:docMk/>
            <pc:sldMk cId="217569448" sldId="2147483088"/>
            <ac:cxnSpMk id="204" creationId="{71F30E74-C233-7667-B854-86AD63D1DD8A}"/>
          </ac:cxnSpMkLst>
        </pc:cxnChg>
        <pc:cxnChg chg="add del mod ord">
          <ac:chgData name="Yudi Zhu" userId="571e1a55-055f-4c28-8b35-fca6dd1c1369" providerId="ADAL" clId="{75A88773-6EE1-484E-AADE-FE631E01463B}" dt="2025-11-21T05:56:58.506" v="41388"/>
          <ac:cxnSpMkLst>
            <pc:docMk/>
            <pc:sldMk cId="217569448" sldId="2147483088"/>
            <ac:cxnSpMk id="205" creationId="{21330C94-BBB0-BE9D-36BA-DB4023F47359}"/>
          </ac:cxnSpMkLst>
        </pc:cxnChg>
        <pc:cxnChg chg="add del mod ord">
          <ac:chgData name="Yudi Zhu" userId="571e1a55-055f-4c28-8b35-fca6dd1c1369" providerId="ADAL" clId="{75A88773-6EE1-484E-AADE-FE631E01463B}" dt="2025-11-21T05:56:58.506" v="41386"/>
          <ac:cxnSpMkLst>
            <pc:docMk/>
            <pc:sldMk cId="217569448" sldId="2147483088"/>
            <ac:cxnSpMk id="206" creationId="{FAD799FF-0D1E-F375-5B1C-9A05E61FA93D}"/>
          </ac:cxnSpMkLst>
        </pc:cxnChg>
        <pc:cxnChg chg="add del mod ord">
          <ac:chgData name="Yudi Zhu" userId="571e1a55-055f-4c28-8b35-fca6dd1c1369" providerId="ADAL" clId="{75A88773-6EE1-484E-AADE-FE631E01463B}" dt="2025-11-21T05:56:58.499" v="41376"/>
          <ac:cxnSpMkLst>
            <pc:docMk/>
            <pc:sldMk cId="217569448" sldId="2147483088"/>
            <ac:cxnSpMk id="207" creationId="{03BF9969-95A4-D27F-EED6-ADA548556E61}"/>
          </ac:cxnSpMkLst>
        </pc:cxnChg>
        <pc:cxnChg chg="add del mod ord">
          <ac:chgData name="Yudi Zhu" userId="571e1a55-055f-4c28-8b35-fca6dd1c1369" providerId="ADAL" clId="{75A88773-6EE1-484E-AADE-FE631E01463B}" dt="2025-11-21T05:55:35.322" v="36927"/>
          <ac:cxnSpMkLst>
            <pc:docMk/>
            <pc:sldMk cId="217569448" sldId="2147483088"/>
            <ac:cxnSpMk id="241" creationId="{0523E47D-32D7-B07B-80C8-55443E503537}"/>
          </ac:cxnSpMkLst>
        </pc:cxnChg>
        <pc:cxnChg chg="add del mod ord">
          <ac:chgData name="Yudi Zhu" userId="571e1a55-055f-4c28-8b35-fca6dd1c1369" providerId="ADAL" clId="{75A88773-6EE1-484E-AADE-FE631E01463B}" dt="2025-11-21T05:56:58.527" v="41427"/>
          <ac:cxnSpMkLst>
            <pc:docMk/>
            <pc:sldMk cId="217569448" sldId="2147483088"/>
            <ac:cxnSpMk id="268" creationId="{C0603948-B1D7-EB16-6D1C-8A9D22BCB76A}"/>
          </ac:cxnSpMkLst>
        </pc:cxnChg>
        <pc:cxnChg chg="add del mod ord">
          <ac:chgData name="Yudi Zhu" userId="571e1a55-055f-4c28-8b35-fca6dd1c1369" providerId="ADAL" clId="{75A88773-6EE1-484E-AADE-FE631E01463B}" dt="2025-11-21T05:56:58.506" v="41384"/>
          <ac:cxnSpMkLst>
            <pc:docMk/>
            <pc:sldMk cId="217569448" sldId="2147483088"/>
            <ac:cxnSpMk id="271" creationId="{CC0CFA01-146F-A1EA-1F1F-26666273786B}"/>
          </ac:cxnSpMkLst>
        </pc:cxnChg>
        <pc:cxnChg chg="add del mod ord">
          <ac:chgData name="Yudi Zhu" userId="571e1a55-055f-4c28-8b35-fca6dd1c1369" providerId="ADAL" clId="{75A88773-6EE1-484E-AADE-FE631E01463B}" dt="2025-11-21T05:56:58.506" v="41382"/>
          <ac:cxnSpMkLst>
            <pc:docMk/>
            <pc:sldMk cId="217569448" sldId="2147483088"/>
            <ac:cxnSpMk id="272" creationId="{0A58A482-6BCB-7F3E-D3B2-D6527C7CB381}"/>
          </ac:cxnSpMkLst>
        </pc:cxnChg>
        <pc:cxnChg chg="add del mod ord">
          <ac:chgData name="Yudi Zhu" userId="571e1a55-055f-4c28-8b35-fca6dd1c1369" providerId="ADAL" clId="{75A88773-6EE1-484E-AADE-FE631E01463B}" dt="2025-11-21T05:56:58.506" v="41380"/>
          <ac:cxnSpMkLst>
            <pc:docMk/>
            <pc:sldMk cId="217569448" sldId="2147483088"/>
            <ac:cxnSpMk id="273" creationId="{8FF1DA13-77B1-85E6-04B5-897620E19262}"/>
          </ac:cxnSpMkLst>
        </pc:cxnChg>
        <pc:cxnChg chg="add del mod ord">
          <ac:chgData name="Yudi Zhu" userId="571e1a55-055f-4c28-8b35-fca6dd1c1369" providerId="ADAL" clId="{75A88773-6EE1-484E-AADE-FE631E01463B}" dt="2025-11-21T05:56:39.859" v="40525"/>
          <ac:cxnSpMkLst>
            <pc:docMk/>
            <pc:sldMk cId="217569448" sldId="2147483088"/>
            <ac:cxnSpMk id="274" creationId="{26AAC3A8-642B-C561-6193-5779770A7CD3}"/>
          </ac:cxnSpMkLst>
        </pc:cxnChg>
        <pc:cxnChg chg="add del mod ord">
          <ac:chgData name="Yudi Zhu" userId="571e1a55-055f-4c28-8b35-fca6dd1c1369" providerId="ADAL" clId="{75A88773-6EE1-484E-AADE-FE631E01463B}" dt="2025-11-21T05:56:29.141" v="39673"/>
          <ac:cxnSpMkLst>
            <pc:docMk/>
            <pc:sldMk cId="217569448" sldId="2147483088"/>
            <ac:cxnSpMk id="279" creationId="{865930B5-15B6-7677-FB27-FEBD77482A15}"/>
          </ac:cxnSpMkLst>
        </pc:cxnChg>
        <pc:cxnChg chg="add del mod ord">
          <ac:chgData name="Yudi Zhu" userId="571e1a55-055f-4c28-8b35-fca6dd1c1369" providerId="ADAL" clId="{75A88773-6EE1-484E-AADE-FE631E01463B}" dt="2025-11-21T05:56:29.145" v="39677"/>
          <ac:cxnSpMkLst>
            <pc:docMk/>
            <pc:sldMk cId="217569448" sldId="2147483088"/>
            <ac:cxnSpMk id="280" creationId="{D1A8EECB-0FF3-6C13-4B6A-B64118C14D09}"/>
          </ac:cxnSpMkLst>
        </pc:cxnChg>
        <pc:cxnChg chg="add del mod ord">
          <ac:chgData name="Yudi Zhu" userId="571e1a55-055f-4c28-8b35-fca6dd1c1369" providerId="ADAL" clId="{75A88773-6EE1-484E-AADE-FE631E01463B}" dt="2025-11-21T05:56:29.147" v="39679"/>
          <ac:cxnSpMkLst>
            <pc:docMk/>
            <pc:sldMk cId="217569448" sldId="2147483088"/>
            <ac:cxnSpMk id="281" creationId="{12539D29-AA8E-8D3C-F37F-8D283553DF36}"/>
          </ac:cxnSpMkLst>
        </pc:cxnChg>
        <pc:cxnChg chg="add del mod ord">
          <ac:chgData name="Yudi Zhu" userId="571e1a55-055f-4c28-8b35-fca6dd1c1369" providerId="ADAL" clId="{75A88773-6EE1-484E-AADE-FE631E01463B}" dt="2025-11-21T05:56:29.216" v="39736"/>
          <ac:cxnSpMkLst>
            <pc:docMk/>
            <pc:sldMk cId="217569448" sldId="2147483088"/>
            <ac:cxnSpMk id="282" creationId="{7D392934-0DD6-6591-10A2-00DC18E98D00}"/>
          </ac:cxnSpMkLst>
        </pc:cxnChg>
        <pc:cxnChg chg="add del mod ord">
          <ac:chgData name="Yudi Zhu" userId="571e1a55-055f-4c28-8b35-fca6dd1c1369" providerId="ADAL" clId="{75A88773-6EE1-484E-AADE-FE631E01463B}" dt="2025-11-21T05:56:29.147" v="39681"/>
          <ac:cxnSpMkLst>
            <pc:docMk/>
            <pc:sldMk cId="217569448" sldId="2147483088"/>
            <ac:cxnSpMk id="283" creationId="{EA65C1BF-5D8E-4A64-BADE-8D1803920AFC}"/>
          </ac:cxnSpMkLst>
        </pc:cxnChg>
        <pc:cxnChg chg="add del mod ord">
          <ac:chgData name="Yudi Zhu" userId="571e1a55-055f-4c28-8b35-fca6dd1c1369" providerId="ADAL" clId="{75A88773-6EE1-484E-AADE-FE631E01463B}" dt="2025-11-21T05:56:29.148" v="39683"/>
          <ac:cxnSpMkLst>
            <pc:docMk/>
            <pc:sldMk cId="217569448" sldId="2147483088"/>
            <ac:cxnSpMk id="284" creationId="{8DA783B6-D565-EABC-2CFA-A49BF9BFA254}"/>
          </ac:cxnSpMkLst>
        </pc:cxnChg>
        <pc:cxnChg chg="add del mod ord">
          <ac:chgData name="Yudi Zhu" userId="571e1a55-055f-4c28-8b35-fca6dd1c1369" providerId="ADAL" clId="{75A88773-6EE1-484E-AADE-FE631E01463B}" dt="2025-11-21T05:56:29.149" v="39685"/>
          <ac:cxnSpMkLst>
            <pc:docMk/>
            <pc:sldMk cId="217569448" sldId="2147483088"/>
            <ac:cxnSpMk id="285" creationId="{AD34FB3E-87E0-FBE3-FA03-470457122126}"/>
          </ac:cxnSpMkLst>
        </pc:cxnChg>
        <pc:cxnChg chg="add del mod ord">
          <ac:chgData name="Yudi Zhu" userId="571e1a55-055f-4c28-8b35-fca6dd1c1369" providerId="ADAL" clId="{75A88773-6EE1-484E-AADE-FE631E01463B}" dt="2025-11-21T05:56:29.150" v="39687"/>
          <ac:cxnSpMkLst>
            <pc:docMk/>
            <pc:sldMk cId="217569448" sldId="2147483088"/>
            <ac:cxnSpMk id="286" creationId="{169DED02-42B9-903A-F609-35058D8E22F3}"/>
          </ac:cxnSpMkLst>
        </pc:cxnChg>
        <pc:cxnChg chg="add del mod ord">
          <ac:chgData name="Yudi Zhu" userId="571e1a55-055f-4c28-8b35-fca6dd1c1369" providerId="ADAL" clId="{75A88773-6EE1-484E-AADE-FE631E01463B}" dt="2025-11-21T05:56:29.151" v="39689"/>
          <ac:cxnSpMkLst>
            <pc:docMk/>
            <pc:sldMk cId="217569448" sldId="2147483088"/>
            <ac:cxnSpMk id="287" creationId="{7110B3CB-6037-4A75-57FA-47B86D12E6FF}"/>
          </ac:cxnSpMkLst>
        </pc:cxnChg>
        <pc:cxnChg chg="add del mod ord">
          <ac:chgData name="Yudi Zhu" userId="571e1a55-055f-4c28-8b35-fca6dd1c1369" providerId="ADAL" clId="{75A88773-6EE1-484E-AADE-FE631E01463B}" dt="2025-11-21T05:56:29.152" v="39691"/>
          <ac:cxnSpMkLst>
            <pc:docMk/>
            <pc:sldMk cId="217569448" sldId="2147483088"/>
            <ac:cxnSpMk id="288" creationId="{CCA9B6F6-C692-FFF4-AADE-FCE1B2BFC4F2}"/>
          </ac:cxnSpMkLst>
        </pc:cxnChg>
        <pc:cxnChg chg="add del mod ord">
          <ac:chgData name="Yudi Zhu" userId="571e1a55-055f-4c28-8b35-fca6dd1c1369" providerId="ADAL" clId="{75A88773-6EE1-484E-AADE-FE631E01463B}" dt="2025-11-21T05:56:29.152" v="39693"/>
          <ac:cxnSpMkLst>
            <pc:docMk/>
            <pc:sldMk cId="217569448" sldId="2147483088"/>
            <ac:cxnSpMk id="289" creationId="{A6199FBE-BC24-FA75-0CDF-F734F386018E}"/>
          </ac:cxnSpMkLst>
        </pc:cxnChg>
        <pc:cxnChg chg="add del mod ord">
          <ac:chgData name="Yudi Zhu" userId="571e1a55-055f-4c28-8b35-fca6dd1c1369" providerId="ADAL" clId="{75A88773-6EE1-484E-AADE-FE631E01463B}" dt="2025-11-21T05:56:29.155" v="39697"/>
          <ac:cxnSpMkLst>
            <pc:docMk/>
            <pc:sldMk cId="217569448" sldId="2147483088"/>
            <ac:cxnSpMk id="291" creationId="{D95B7110-3D66-6770-55D2-7B674EF2AA6D}"/>
          </ac:cxnSpMkLst>
        </pc:cxnChg>
        <pc:cxnChg chg="add del mod ord">
          <ac:chgData name="Yudi Zhu" userId="571e1a55-055f-4c28-8b35-fca6dd1c1369" providerId="ADAL" clId="{75A88773-6EE1-484E-AADE-FE631E01463B}" dt="2025-11-21T06:06:00.619" v="93753"/>
          <ac:cxnSpMkLst>
            <pc:docMk/>
            <pc:sldMk cId="217569448" sldId="2147483088"/>
            <ac:cxnSpMk id="296" creationId="{EF605A4F-6BEC-D658-7F00-345651B62D20}"/>
          </ac:cxnSpMkLst>
        </pc:cxnChg>
        <pc:cxnChg chg="add del mod ord">
          <ac:chgData name="Yudi Zhu" userId="571e1a55-055f-4c28-8b35-fca6dd1c1369" providerId="ADAL" clId="{75A88773-6EE1-484E-AADE-FE631E01463B}" dt="2025-11-21T06:06:00.620" v="93755"/>
          <ac:cxnSpMkLst>
            <pc:docMk/>
            <pc:sldMk cId="217569448" sldId="2147483088"/>
            <ac:cxnSpMk id="297" creationId="{AB5ECD4E-5981-C0DD-8F85-D0F8BC15FEC9}"/>
          </ac:cxnSpMkLst>
        </pc:cxnChg>
        <pc:cxnChg chg="add del mod ord">
          <ac:chgData name="Yudi Zhu" userId="571e1a55-055f-4c28-8b35-fca6dd1c1369" providerId="ADAL" clId="{75A88773-6EE1-484E-AADE-FE631E01463B}" dt="2025-11-21T06:06:00.620" v="93757"/>
          <ac:cxnSpMkLst>
            <pc:docMk/>
            <pc:sldMk cId="217569448" sldId="2147483088"/>
            <ac:cxnSpMk id="298" creationId="{C63E2175-7EEF-81B4-306E-F6E58760FD3C}"/>
          </ac:cxnSpMkLst>
        </pc:cxnChg>
        <pc:cxnChg chg="add del mod ord">
          <ac:chgData name="Yudi Zhu" userId="571e1a55-055f-4c28-8b35-fca6dd1c1369" providerId="ADAL" clId="{75A88773-6EE1-484E-AADE-FE631E01463B}" dt="2025-11-21T06:06:00.621" v="93759"/>
          <ac:cxnSpMkLst>
            <pc:docMk/>
            <pc:sldMk cId="217569448" sldId="2147483088"/>
            <ac:cxnSpMk id="299" creationId="{67C8ABF2-A5F3-1CF9-54BB-D1FAC942EE9D}"/>
          </ac:cxnSpMkLst>
        </pc:cxnChg>
        <pc:cxnChg chg="add del mod ord">
          <ac:chgData name="Yudi Zhu" userId="571e1a55-055f-4c28-8b35-fca6dd1c1369" providerId="ADAL" clId="{75A88773-6EE1-484E-AADE-FE631E01463B}" dt="2025-11-21T05:56:58.499" v="41378"/>
          <ac:cxnSpMkLst>
            <pc:docMk/>
            <pc:sldMk cId="217569448" sldId="2147483088"/>
            <ac:cxnSpMk id="309" creationId="{3B28D6A7-29A6-A8C0-30BF-28C67F65518E}"/>
          </ac:cxnSpMkLst>
        </pc:cxnChg>
        <pc:cxnChg chg="add del mod ord">
          <ac:chgData name="Yudi Zhu" userId="571e1a55-055f-4c28-8b35-fca6dd1c1369" providerId="ADAL" clId="{75A88773-6EE1-484E-AADE-FE631E01463B}" dt="2025-11-21T06:06:09.167" v="94143"/>
          <ac:cxnSpMkLst>
            <pc:docMk/>
            <pc:sldMk cId="217569448" sldId="2147483088"/>
            <ac:cxnSpMk id="387" creationId="{8ABEDD91-2C14-2107-D669-7C7E7EEB1A10}"/>
          </ac:cxnSpMkLst>
        </pc:cxnChg>
        <pc:cxnChg chg="add del mod ord">
          <ac:chgData name="Yudi Zhu" userId="571e1a55-055f-4c28-8b35-fca6dd1c1369" providerId="ADAL" clId="{75A88773-6EE1-484E-AADE-FE631E01463B}" dt="2025-11-21T06:21:47.893" v="129049"/>
          <ac:cxnSpMkLst>
            <pc:docMk/>
            <pc:sldMk cId="217569448" sldId="2147483088"/>
            <ac:cxnSpMk id="391" creationId="{2CE3582A-33FA-1460-E1D4-43652D94B12E}"/>
          </ac:cxnSpMkLst>
        </pc:cxnChg>
        <pc:cxnChg chg="add del mod ord">
          <ac:chgData name="Yudi Zhu" userId="571e1a55-055f-4c28-8b35-fca6dd1c1369" providerId="ADAL" clId="{75A88773-6EE1-484E-AADE-FE631E01463B}" dt="2025-11-21T06:21:47.893" v="129051"/>
          <ac:cxnSpMkLst>
            <pc:docMk/>
            <pc:sldMk cId="217569448" sldId="2147483088"/>
            <ac:cxnSpMk id="394" creationId="{79E6ECAC-C11C-22BB-13B0-9E1DC88F188A}"/>
          </ac:cxnSpMkLst>
        </pc:cxnChg>
        <pc:cxnChg chg="add del mod ord">
          <ac:chgData name="Yudi Zhu" userId="571e1a55-055f-4c28-8b35-fca6dd1c1369" providerId="ADAL" clId="{75A88773-6EE1-484E-AADE-FE631E01463B}" dt="2025-11-21T06:21:47.893" v="129053"/>
          <ac:cxnSpMkLst>
            <pc:docMk/>
            <pc:sldMk cId="217569448" sldId="2147483088"/>
            <ac:cxnSpMk id="395" creationId="{859FB67F-9117-2448-D58A-849754383966}"/>
          </ac:cxnSpMkLst>
        </pc:cxnChg>
        <pc:cxnChg chg="add del mod ord">
          <ac:chgData name="Yudi Zhu" userId="571e1a55-055f-4c28-8b35-fca6dd1c1369" providerId="ADAL" clId="{75A88773-6EE1-484E-AADE-FE631E01463B}" dt="2025-11-21T06:21:47.893" v="129055"/>
          <ac:cxnSpMkLst>
            <pc:docMk/>
            <pc:sldMk cId="217569448" sldId="2147483088"/>
            <ac:cxnSpMk id="396" creationId="{FDD42610-6E68-F05E-8C28-1D947E1954F6}"/>
          </ac:cxnSpMkLst>
        </pc:cxnChg>
        <pc:cxnChg chg="add del mod ord">
          <ac:chgData name="Yudi Zhu" userId="571e1a55-055f-4c28-8b35-fca6dd1c1369" providerId="ADAL" clId="{75A88773-6EE1-484E-AADE-FE631E01463B}" dt="2025-11-21T06:08:09.436" v="105009"/>
          <ac:cxnSpMkLst>
            <pc:docMk/>
            <pc:sldMk cId="217569448" sldId="2147483088"/>
            <ac:cxnSpMk id="544" creationId="{6E2C45E4-7D1F-B561-58E3-D1D80F9D436F}"/>
          </ac:cxnSpMkLst>
        </pc:cxnChg>
        <pc:cxnChg chg="add del mod ord">
          <ac:chgData name="Yudi Zhu" userId="571e1a55-055f-4c28-8b35-fca6dd1c1369" providerId="ADAL" clId="{75A88773-6EE1-484E-AADE-FE631E01463B}" dt="2025-11-21T06:08:09.430" v="104997"/>
          <ac:cxnSpMkLst>
            <pc:docMk/>
            <pc:sldMk cId="217569448" sldId="2147483088"/>
            <ac:cxnSpMk id="545" creationId="{67C90193-2B42-7D60-71D3-6E15557E8F15}"/>
          </ac:cxnSpMkLst>
        </pc:cxnChg>
        <pc:cxnChg chg="add del mod ord">
          <ac:chgData name="Yudi Zhu" userId="571e1a55-055f-4c28-8b35-fca6dd1c1369" providerId="ADAL" clId="{75A88773-6EE1-484E-AADE-FE631E01463B}" dt="2025-11-21T06:08:09.419" v="104995"/>
          <ac:cxnSpMkLst>
            <pc:docMk/>
            <pc:sldMk cId="217569448" sldId="2147483088"/>
            <ac:cxnSpMk id="546" creationId="{750BD93E-2B1D-172A-9869-010CB39804A8}"/>
          </ac:cxnSpMkLst>
        </pc:cxnChg>
        <pc:cxnChg chg="add del mod ord">
          <ac:chgData name="Yudi Zhu" userId="571e1a55-055f-4c28-8b35-fca6dd1c1369" providerId="ADAL" clId="{75A88773-6EE1-484E-AADE-FE631E01463B}" dt="2025-11-21T06:08:09.419" v="104987"/>
          <ac:cxnSpMkLst>
            <pc:docMk/>
            <pc:sldMk cId="217569448" sldId="2147483088"/>
            <ac:cxnSpMk id="547" creationId="{4E8C7FA5-D200-C4B0-1BE7-E26D86038A05}"/>
          </ac:cxnSpMkLst>
        </pc:cxnChg>
        <pc:cxnChg chg="add del mod ord">
          <ac:chgData name="Yudi Zhu" userId="571e1a55-055f-4c28-8b35-fca6dd1c1369" providerId="ADAL" clId="{75A88773-6EE1-484E-AADE-FE631E01463B}" dt="2025-11-21T06:08:09.419" v="104985"/>
          <ac:cxnSpMkLst>
            <pc:docMk/>
            <pc:sldMk cId="217569448" sldId="2147483088"/>
            <ac:cxnSpMk id="548" creationId="{CF74FF98-66CE-429D-D2FC-FAF156937F91}"/>
          </ac:cxnSpMkLst>
        </pc:cxnChg>
        <pc:cxnChg chg="add del mod ord">
          <ac:chgData name="Yudi Zhu" userId="571e1a55-055f-4c28-8b35-fca6dd1c1369" providerId="ADAL" clId="{75A88773-6EE1-484E-AADE-FE631E01463B}" dt="2025-11-21T06:08:09.419" v="104993"/>
          <ac:cxnSpMkLst>
            <pc:docMk/>
            <pc:sldMk cId="217569448" sldId="2147483088"/>
            <ac:cxnSpMk id="549" creationId="{C89055B6-BCD9-3C77-EB5A-09B069C9A0DA}"/>
          </ac:cxnSpMkLst>
        </pc:cxnChg>
        <pc:cxnChg chg="add del mod ord">
          <ac:chgData name="Yudi Zhu" userId="571e1a55-055f-4c28-8b35-fca6dd1c1369" providerId="ADAL" clId="{75A88773-6EE1-484E-AADE-FE631E01463B}" dt="2025-11-21T06:08:09.419" v="104991"/>
          <ac:cxnSpMkLst>
            <pc:docMk/>
            <pc:sldMk cId="217569448" sldId="2147483088"/>
            <ac:cxnSpMk id="550" creationId="{76B65D9D-C209-E3ED-9D3D-BC23C07426CB}"/>
          </ac:cxnSpMkLst>
        </pc:cxnChg>
        <pc:cxnChg chg="add del mod ord">
          <ac:chgData name="Yudi Zhu" userId="571e1a55-055f-4c28-8b35-fca6dd1c1369" providerId="ADAL" clId="{75A88773-6EE1-484E-AADE-FE631E01463B}" dt="2025-11-21T06:08:09.436" v="105023"/>
          <ac:cxnSpMkLst>
            <pc:docMk/>
            <pc:sldMk cId="217569448" sldId="2147483088"/>
            <ac:cxnSpMk id="551" creationId="{AD856F80-51CD-08F2-176C-292B92F1EB6C}"/>
          </ac:cxnSpMkLst>
        </pc:cxnChg>
        <pc:cxnChg chg="add del mod ord">
          <ac:chgData name="Yudi Zhu" userId="571e1a55-055f-4c28-8b35-fca6dd1c1369" providerId="ADAL" clId="{75A88773-6EE1-484E-AADE-FE631E01463B}" dt="2025-11-21T06:08:09.436" v="105021"/>
          <ac:cxnSpMkLst>
            <pc:docMk/>
            <pc:sldMk cId="217569448" sldId="2147483088"/>
            <ac:cxnSpMk id="552" creationId="{A1D798B3-2CDA-BC6D-441F-D3C22D06189E}"/>
          </ac:cxnSpMkLst>
        </pc:cxnChg>
        <pc:cxnChg chg="add del mod ord">
          <ac:chgData name="Yudi Zhu" userId="571e1a55-055f-4c28-8b35-fca6dd1c1369" providerId="ADAL" clId="{75A88773-6EE1-484E-AADE-FE631E01463B}" dt="2025-11-21T06:08:09.430" v="105001"/>
          <ac:cxnSpMkLst>
            <pc:docMk/>
            <pc:sldMk cId="217569448" sldId="2147483088"/>
            <ac:cxnSpMk id="553" creationId="{5DD6F29F-43F9-7C6D-108B-AC0401081C1A}"/>
          </ac:cxnSpMkLst>
        </pc:cxnChg>
        <pc:cxnChg chg="add del mod ord">
          <ac:chgData name="Yudi Zhu" userId="571e1a55-055f-4c28-8b35-fca6dd1c1369" providerId="ADAL" clId="{75A88773-6EE1-484E-AADE-FE631E01463B}" dt="2025-11-21T06:08:09.430" v="104999"/>
          <ac:cxnSpMkLst>
            <pc:docMk/>
            <pc:sldMk cId="217569448" sldId="2147483088"/>
            <ac:cxnSpMk id="554" creationId="{BE30B762-31F0-02E3-F5B3-9E29C6E30CD8}"/>
          </ac:cxnSpMkLst>
        </pc:cxnChg>
        <pc:cxnChg chg="add del mod ord">
          <ac:chgData name="Yudi Zhu" userId="571e1a55-055f-4c28-8b35-fca6dd1c1369" providerId="ADAL" clId="{75A88773-6EE1-484E-AADE-FE631E01463B}" dt="2025-11-21T06:08:09.436" v="105019"/>
          <ac:cxnSpMkLst>
            <pc:docMk/>
            <pc:sldMk cId="217569448" sldId="2147483088"/>
            <ac:cxnSpMk id="555" creationId="{9EF4F263-0FDF-7A3F-3D3B-C496338610F7}"/>
          </ac:cxnSpMkLst>
        </pc:cxnChg>
        <pc:cxnChg chg="add del mod ord">
          <ac:chgData name="Yudi Zhu" userId="571e1a55-055f-4c28-8b35-fca6dd1c1369" providerId="ADAL" clId="{75A88773-6EE1-484E-AADE-FE631E01463B}" dt="2025-11-21T06:08:09.451" v="105035"/>
          <ac:cxnSpMkLst>
            <pc:docMk/>
            <pc:sldMk cId="217569448" sldId="2147483088"/>
            <ac:cxnSpMk id="556" creationId="{4168A9E3-565D-9805-60AE-43C551D5CCEC}"/>
          </ac:cxnSpMkLst>
        </pc:cxnChg>
        <pc:cxnChg chg="add del mod ord">
          <ac:chgData name="Yudi Zhu" userId="571e1a55-055f-4c28-8b35-fca6dd1c1369" providerId="ADAL" clId="{75A88773-6EE1-484E-AADE-FE631E01463B}" dt="2025-11-21T06:08:09.451" v="105033"/>
          <ac:cxnSpMkLst>
            <pc:docMk/>
            <pc:sldMk cId="217569448" sldId="2147483088"/>
            <ac:cxnSpMk id="557" creationId="{28C55F8A-EBB5-6A81-D3E3-29BCDD7D22EE}"/>
          </ac:cxnSpMkLst>
        </pc:cxnChg>
        <pc:cxnChg chg="add del mod ord">
          <ac:chgData name="Yudi Zhu" userId="571e1a55-055f-4c28-8b35-fca6dd1c1369" providerId="ADAL" clId="{75A88773-6EE1-484E-AADE-FE631E01463B}" dt="2025-11-21T06:08:09.436" v="105031"/>
          <ac:cxnSpMkLst>
            <pc:docMk/>
            <pc:sldMk cId="217569448" sldId="2147483088"/>
            <ac:cxnSpMk id="558" creationId="{2C28678C-E488-D2D7-674F-F346C4665200}"/>
          </ac:cxnSpMkLst>
        </pc:cxnChg>
        <pc:cxnChg chg="add del mod ord">
          <ac:chgData name="Yudi Zhu" userId="571e1a55-055f-4c28-8b35-fca6dd1c1369" providerId="ADAL" clId="{75A88773-6EE1-484E-AADE-FE631E01463B}" dt="2025-11-21T06:08:09.451" v="105053"/>
          <ac:cxnSpMkLst>
            <pc:docMk/>
            <pc:sldMk cId="217569448" sldId="2147483088"/>
            <ac:cxnSpMk id="559" creationId="{3990841C-85EE-0ABE-F375-54F6BA7DE0B9}"/>
          </ac:cxnSpMkLst>
        </pc:cxnChg>
        <pc:cxnChg chg="add del mod ord">
          <ac:chgData name="Yudi Zhu" userId="571e1a55-055f-4c28-8b35-fca6dd1c1369" providerId="ADAL" clId="{75A88773-6EE1-484E-AADE-FE631E01463B}" dt="2025-11-21T06:08:09.451" v="105047"/>
          <ac:cxnSpMkLst>
            <pc:docMk/>
            <pc:sldMk cId="217569448" sldId="2147483088"/>
            <ac:cxnSpMk id="560" creationId="{4DE6FE8A-ECF8-0851-55B3-6B5CD29A9248}"/>
          </ac:cxnSpMkLst>
        </pc:cxnChg>
        <pc:cxnChg chg="add del mod ord">
          <ac:chgData name="Yudi Zhu" userId="571e1a55-055f-4c28-8b35-fca6dd1c1369" providerId="ADAL" clId="{75A88773-6EE1-484E-AADE-FE631E01463B}" dt="2025-11-21T06:08:09.451" v="105045"/>
          <ac:cxnSpMkLst>
            <pc:docMk/>
            <pc:sldMk cId="217569448" sldId="2147483088"/>
            <ac:cxnSpMk id="561" creationId="{9FE5A192-4A3E-468B-0EEE-655EC4CD0815}"/>
          </ac:cxnSpMkLst>
        </pc:cxnChg>
        <pc:cxnChg chg="add del mod ord">
          <ac:chgData name="Yudi Zhu" userId="571e1a55-055f-4c28-8b35-fca6dd1c1369" providerId="ADAL" clId="{75A88773-6EE1-484E-AADE-FE631E01463B}" dt="2025-11-21T06:08:09.451" v="105043"/>
          <ac:cxnSpMkLst>
            <pc:docMk/>
            <pc:sldMk cId="217569448" sldId="2147483088"/>
            <ac:cxnSpMk id="562" creationId="{4BBA8D46-BCB6-6D37-B6AB-1F643AE3231E}"/>
          </ac:cxnSpMkLst>
        </pc:cxnChg>
        <pc:cxnChg chg="add del mod ord">
          <ac:chgData name="Yudi Zhu" userId="571e1a55-055f-4c28-8b35-fca6dd1c1369" providerId="ADAL" clId="{75A88773-6EE1-484E-AADE-FE631E01463B}" dt="2025-11-21T06:08:09.451" v="105041"/>
          <ac:cxnSpMkLst>
            <pc:docMk/>
            <pc:sldMk cId="217569448" sldId="2147483088"/>
            <ac:cxnSpMk id="563" creationId="{251884D2-3244-BD8A-7590-B4D26B3385C9}"/>
          </ac:cxnSpMkLst>
        </pc:cxnChg>
        <pc:cxnChg chg="add del mod ord">
          <ac:chgData name="Yudi Zhu" userId="571e1a55-055f-4c28-8b35-fca6dd1c1369" providerId="ADAL" clId="{75A88773-6EE1-484E-AADE-FE631E01463B}" dt="2025-11-21T06:08:09.451" v="105039"/>
          <ac:cxnSpMkLst>
            <pc:docMk/>
            <pc:sldMk cId="217569448" sldId="2147483088"/>
            <ac:cxnSpMk id="564" creationId="{80B97127-2138-112F-0090-E9CD90CE0352}"/>
          </ac:cxnSpMkLst>
        </pc:cxnChg>
        <pc:cxnChg chg="add del mod ord">
          <ac:chgData name="Yudi Zhu" userId="571e1a55-055f-4c28-8b35-fca6dd1c1369" providerId="ADAL" clId="{75A88773-6EE1-484E-AADE-FE631E01463B}" dt="2025-11-21T06:08:09.451" v="105037"/>
          <ac:cxnSpMkLst>
            <pc:docMk/>
            <pc:sldMk cId="217569448" sldId="2147483088"/>
            <ac:cxnSpMk id="565" creationId="{ACEAA037-F0CB-382A-D86B-329D6B598719}"/>
          </ac:cxnSpMkLst>
        </pc:cxnChg>
        <pc:cxnChg chg="add del mod ord">
          <ac:chgData name="Yudi Zhu" userId="571e1a55-055f-4c28-8b35-fca6dd1c1369" providerId="ADAL" clId="{75A88773-6EE1-484E-AADE-FE631E01463B}" dt="2025-11-21T06:08:09.472" v="105074"/>
          <ac:cxnSpMkLst>
            <pc:docMk/>
            <pc:sldMk cId="217569448" sldId="2147483088"/>
            <ac:cxnSpMk id="566" creationId="{948ABB22-0926-9AE4-7FCE-CA6968CC0945}"/>
          </ac:cxnSpMkLst>
        </pc:cxnChg>
        <pc:cxnChg chg="add del mod ord">
          <ac:chgData name="Yudi Zhu" userId="571e1a55-055f-4c28-8b35-fca6dd1c1369" providerId="ADAL" clId="{75A88773-6EE1-484E-AADE-FE631E01463B}" dt="2025-11-21T06:08:09.472" v="105072"/>
          <ac:cxnSpMkLst>
            <pc:docMk/>
            <pc:sldMk cId="217569448" sldId="2147483088"/>
            <ac:cxnSpMk id="567" creationId="{147FE2C9-2F6C-883E-D51D-FE49A64CFB41}"/>
          </ac:cxnSpMkLst>
        </pc:cxnChg>
        <pc:cxnChg chg="add del mod ord">
          <ac:chgData name="Yudi Zhu" userId="571e1a55-055f-4c28-8b35-fca6dd1c1369" providerId="ADAL" clId="{75A88773-6EE1-484E-AADE-FE631E01463B}" dt="2025-11-21T06:08:09.472" v="105070"/>
          <ac:cxnSpMkLst>
            <pc:docMk/>
            <pc:sldMk cId="217569448" sldId="2147483088"/>
            <ac:cxnSpMk id="568" creationId="{0DD2D9DE-6E0D-CCB4-A80C-AE0065178035}"/>
          </ac:cxnSpMkLst>
        </pc:cxnChg>
        <pc:cxnChg chg="add del mod ord">
          <ac:chgData name="Yudi Zhu" userId="571e1a55-055f-4c28-8b35-fca6dd1c1369" providerId="ADAL" clId="{75A88773-6EE1-484E-AADE-FE631E01463B}" dt="2025-11-21T06:08:09.466" v="105063"/>
          <ac:cxnSpMkLst>
            <pc:docMk/>
            <pc:sldMk cId="217569448" sldId="2147483088"/>
            <ac:cxnSpMk id="569" creationId="{264E8E6C-266D-320B-C603-232CF6350CA9}"/>
          </ac:cxnSpMkLst>
        </pc:cxnChg>
        <pc:cxnChg chg="add del mod ord">
          <ac:chgData name="Yudi Zhu" userId="571e1a55-055f-4c28-8b35-fca6dd1c1369" providerId="ADAL" clId="{75A88773-6EE1-484E-AADE-FE631E01463B}" dt="2025-11-21T06:08:09.451" v="105061"/>
          <ac:cxnSpMkLst>
            <pc:docMk/>
            <pc:sldMk cId="217569448" sldId="2147483088"/>
            <ac:cxnSpMk id="570" creationId="{28707404-4ADA-8C02-350E-A0A3F9E0491B}"/>
          </ac:cxnSpMkLst>
        </pc:cxnChg>
        <pc:cxnChg chg="add del mod ord">
          <ac:chgData name="Yudi Zhu" userId="571e1a55-055f-4c28-8b35-fca6dd1c1369" providerId="ADAL" clId="{75A88773-6EE1-484E-AADE-FE631E01463B}" dt="2025-11-21T06:08:09.451" v="105059"/>
          <ac:cxnSpMkLst>
            <pc:docMk/>
            <pc:sldMk cId="217569448" sldId="2147483088"/>
            <ac:cxnSpMk id="571" creationId="{97F896BB-0A07-9F62-A6F9-9F3BB40EACEA}"/>
          </ac:cxnSpMkLst>
        </pc:cxnChg>
        <pc:cxnChg chg="add del mod ord">
          <ac:chgData name="Yudi Zhu" userId="571e1a55-055f-4c28-8b35-fca6dd1c1369" providerId="ADAL" clId="{75A88773-6EE1-484E-AADE-FE631E01463B}" dt="2025-11-21T06:08:09.486" v="105098"/>
          <ac:cxnSpMkLst>
            <pc:docMk/>
            <pc:sldMk cId="217569448" sldId="2147483088"/>
            <ac:cxnSpMk id="572" creationId="{D80A9DBF-B64A-1658-15D0-895A649E1957}"/>
          </ac:cxnSpMkLst>
        </pc:cxnChg>
        <pc:cxnChg chg="add del mod ord">
          <ac:chgData name="Yudi Zhu" userId="571e1a55-055f-4c28-8b35-fca6dd1c1369" providerId="ADAL" clId="{75A88773-6EE1-484E-AADE-FE631E01463B}" dt="2025-11-21T06:08:09.483" v="105096"/>
          <ac:cxnSpMkLst>
            <pc:docMk/>
            <pc:sldMk cId="217569448" sldId="2147483088"/>
            <ac:cxnSpMk id="573" creationId="{40FF02B3-F500-3AFA-E516-3D2C6F716E58}"/>
          </ac:cxnSpMkLst>
        </pc:cxnChg>
        <pc:cxnChg chg="add del mod ord">
          <ac:chgData name="Yudi Zhu" userId="571e1a55-055f-4c28-8b35-fca6dd1c1369" providerId="ADAL" clId="{75A88773-6EE1-484E-AADE-FE631E01463B}" dt="2025-11-21T06:08:09.483" v="105094"/>
          <ac:cxnSpMkLst>
            <pc:docMk/>
            <pc:sldMk cId="217569448" sldId="2147483088"/>
            <ac:cxnSpMk id="574" creationId="{7CAC531C-D6B4-AFEA-6DB4-1E6CDB8E5234}"/>
          </ac:cxnSpMkLst>
        </pc:cxnChg>
        <pc:cxnChg chg="add del mod ord">
          <ac:chgData name="Yudi Zhu" userId="571e1a55-055f-4c28-8b35-fca6dd1c1369" providerId="ADAL" clId="{75A88773-6EE1-484E-AADE-FE631E01463B}" dt="2025-11-21T06:08:09.483" v="105092"/>
          <ac:cxnSpMkLst>
            <pc:docMk/>
            <pc:sldMk cId="217569448" sldId="2147483088"/>
            <ac:cxnSpMk id="575" creationId="{A6F84649-3F97-DF2A-A5B5-E1F194EA597B}"/>
          </ac:cxnSpMkLst>
        </pc:cxnChg>
        <pc:cxnChg chg="add del mod ord">
          <ac:chgData name="Yudi Zhu" userId="571e1a55-055f-4c28-8b35-fca6dd1c1369" providerId="ADAL" clId="{75A88773-6EE1-484E-AADE-FE631E01463B}" dt="2025-11-21T06:08:09.472" v="105088"/>
          <ac:cxnSpMkLst>
            <pc:docMk/>
            <pc:sldMk cId="217569448" sldId="2147483088"/>
            <ac:cxnSpMk id="576" creationId="{B74EFC52-A2D5-2993-6EE0-7A906B977E44}"/>
          </ac:cxnSpMkLst>
        </pc:cxnChg>
        <pc:cxnChg chg="add del mod ord">
          <ac:chgData name="Yudi Zhu" userId="571e1a55-055f-4c28-8b35-fca6dd1c1369" providerId="ADAL" clId="{75A88773-6EE1-484E-AADE-FE631E01463B}" dt="2025-11-21T06:08:09.495" v="105116"/>
          <ac:cxnSpMkLst>
            <pc:docMk/>
            <pc:sldMk cId="217569448" sldId="2147483088"/>
            <ac:cxnSpMk id="577" creationId="{4569D90F-68CC-F8EA-E461-D85DAF3BD744}"/>
          </ac:cxnSpMkLst>
        </pc:cxnChg>
        <pc:cxnChg chg="add del mod ord">
          <ac:chgData name="Yudi Zhu" userId="571e1a55-055f-4c28-8b35-fca6dd1c1369" providerId="ADAL" clId="{75A88773-6EE1-484E-AADE-FE631E01463B}" dt="2025-11-21T06:08:09.486" v="105110"/>
          <ac:cxnSpMkLst>
            <pc:docMk/>
            <pc:sldMk cId="217569448" sldId="2147483088"/>
            <ac:cxnSpMk id="578" creationId="{86ACD3B2-26E9-48EE-7AD7-528D4A221F0A}"/>
          </ac:cxnSpMkLst>
        </pc:cxnChg>
        <pc:cxnChg chg="add del mod ord">
          <ac:chgData name="Yudi Zhu" userId="571e1a55-055f-4c28-8b35-fca6dd1c1369" providerId="ADAL" clId="{75A88773-6EE1-484E-AADE-FE631E01463B}" dt="2025-11-21T06:08:09.486" v="105108"/>
          <ac:cxnSpMkLst>
            <pc:docMk/>
            <pc:sldMk cId="217569448" sldId="2147483088"/>
            <ac:cxnSpMk id="579" creationId="{BAF7DBDA-963B-653A-D575-0F3AD211CB31}"/>
          </ac:cxnSpMkLst>
        </pc:cxnChg>
        <pc:cxnChg chg="add del mod ord">
          <ac:chgData name="Yudi Zhu" userId="571e1a55-055f-4c28-8b35-fca6dd1c1369" providerId="ADAL" clId="{75A88773-6EE1-484E-AADE-FE631E01463B}" dt="2025-11-21T06:08:09.472" v="105086"/>
          <ac:cxnSpMkLst>
            <pc:docMk/>
            <pc:sldMk cId="217569448" sldId="2147483088"/>
            <ac:cxnSpMk id="580" creationId="{14D395AF-FA36-F68B-0FFE-DB7C0945FA09}"/>
          </ac:cxnSpMkLst>
        </pc:cxnChg>
        <pc:cxnChg chg="add del mod ord">
          <ac:chgData name="Yudi Zhu" userId="571e1a55-055f-4c28-8b35-fca6dd1c1369" providerId="ADAL" clId="{75A88773-6EE1-484E-AADE-FE631E01463B}" dt="2025-11-21T06:08:09.472" v="105084"/>
          <ac:cxnSpMkLst>
            <pc:docMk/>
            <pc:sldMk cId="217569448" sldId="2147483088"/>
            <ac:cxnSpMk id="581" creationId="{329994F5-AA2F-314F-6F30-2B70F5D96453}"/>
          </ac:cxnSpMkLst>
        </pc:cxnChg>
        <pc:cxnChg chg="add del mod ord">
          <ac:chgData name="Yudi Zhu" userId="571e1a55-055f-4c28-8b35-fca6dd1c1369" providerId="ADAL" clId="{75A88773-6EE1-484E-AADE-FE631E01463B}" dt="2025-11-21T06:08:09.486" v="105106"/>
          <ac:cxnSpMkLst>
            <pc:docMk/>
            <pc:sldMk cId="217569448" sldId="2147483088"/>
            <ac:cxnSpMk id="582" creationId="{6EC17833-C92A-8DEC-D1CE-5500D25B2451}"/>
          </ac:cxnSpMkLst>
        </pc:cxnChg>
        <pc:cxnChg chg="add del mod ord">
          <ac:chgData name="Yudi Zhu" userId="571e1a55-055f-4c28-8b35-fca6dd1c1369" providerId="ADAL" clId="{75A88773-6EE1-484E-AADE-FE631E01463B}" dt="2025-11-21T06:08:09.486" v="105104"/>
          <ac:cxnSpMkLst>
            <pc:docMk/>
            <pc:sldMk cId="217569448" sldId="2147483088"/>
            <ac:cxnSpMk id="583" creationId="{AF1C8994-2FB9-2AE1-8C89-73C55F7D92C3}"/>
          </ac:cxnSpMkLst>
        </pc:cxnChg>
        <pc:cxnChg chg="add del mod ord">
          <ac:chgData name="Yudi Zhu" userId="571e1a55-055f-4c28-8b35-fca6dd1c1369" providerId="ADAL" clId="{75A88773-6EE1-484E-AADE-FE631E01463B}" dt="2025-11-21T06:08:09.499" v="105122"/>
          <ac:cxnSpMkLst>
            <pc:docMk/>
            <pc:sldMk cId="217569448" sldId="2147483088"/>
            <ac:cxnSpMk id="584" creationId="{6696DA23-2A8B-FFF6-C8BE-3C5BED71B5D2}"/>
          </ac:cxnSpMkLst>
        </pc:cxnChg>
        <pc:cxnChg chg="add del mod ord">
          <ac:chgData name="Yudi Zhu" userId="571e1a55-055f-4c28-8b35-fca6dd1c1369" providerId="ADAL" clId="{75A88773-6EE1-484E-AADE-FE631E01463B}" dt="2025-11-21T06:08:09.499" v="105120"/>
          <ac:cxnSpMkLst>
            <pc:docMk/>
            <pc:sldMk cId="217569448" sldId="2147483088"/>
            <ac:cxnSpMk id="585" creationId="{3E03DE8F-1C97-F9EC-33F4-ADEE82CD53B7}"/>
          </ac:cxnSpMkLst>
        </pc:cxnChg>
        <pc:cxnChg chg="add del mod ord">
          <ac:chgData name="Yudi Zhu" userId="571e1a55-055f-4c28-8b35-fca6dd1c1369" providerId="ADAL" clId="{75A88773-6EE1-484E-AADE-FE631E01463B}" dt="2025-11-21T06:08:09.472" v="105082"/>
          <ac:cxnSpMkLst>
            <pc:docMk/>
            <pc:sldMk cId="217569448" sldId="2147483088"/>
            <ac:cxnSpMk id="586" creationId="{BF6FC035-9BB3-934A-D02B-F78792B3251E}"/>
          </ac:cxnSpMkLst>
        </pc:cxnChg>
        <pc:cxnChg chg="add del mod ord">
          <ac:chgData name="Yudi Zhu" userId="571e1a55-055f-4c28-8b35-fca6dd1c1369" providerId="ADAL" clId="{75A88773-6EE1-484E-AADE-FE631E01463B}" dt="2025-11-21T06:08:09.472" v="105080"/>
          <ac:cxnSpMkLst>
            <pc:docMk/>
            <pc:sldMk cId="217569448" sldId="2147483088"/>
            <ac:cxnSpMk id="587" creationId="{954D6932-0A37-BB9B-B1FF-04F943B54666}"/>
          </ac:cxnSpMkLst>
        </pc:cxnChg>
        <pc:cxnChg chg="add del mod ord">
          <ac:chgData name="Yudi Zhu" userId="571e1a55-055f-4c28-8b35-fca6dd1c1369" providerId="ADAL" clId="{75A88773-6EE1-484E-AADE-FE631E01463B}" dt="2025-11-21T06:08:09.486" v="105102"/>
          <ac:cxnSpMkLst>
            <pc:docMk/>
            <pc:sldMk cId="217569448" sldId="2147483088"/>
            <ac:cxnSpMk id="588" creationId="{85531915-0742-B3B9-65CF-DAE487E41A0F}"/>
          </ac:cxnSpMkLst>
        </pc:cxnChg>
        <pc:cxnChg chg="add del mod ord">
          <ac:chgData name="Yudi Zhu" userId="571e1a55-055f-4c28-8b35-fca6dd1c1369" providerId="ADAL" clId="{75A88773-6EE1-484E-AADE-FE631E01463B}" dt="2025-11-21T06:08:09.512" v="105140"/>
          <ac:cxnSpMkLst>
            <pc:docMk/>
            <pc:sldMk cId="217569448" sldId="2147483088"/>
            <ac:cxnSpMk id="589" creationId="{9D547804-781D-8B90-2767-6D66C276C859}"/>
          </ac:cxnSpMkLst>
        </pc:cxnChg>
        <pc:cxnChg chg="add del mod ord">
          <ac:chgData name="Yudi Zhu" userId="571e1a55-055f-4c28-8b35-fca6dd1c1369" providerId="ADAL" clId="{75A88773-6EE1-484E-AADE-FE631E01463B}" dt="2025-11-21T06:08:09.511" v="105138"/>
          <ac:cxnSpMkLst>
            <pc:docMk/>
            <pc:sldMk cId="217569448" sldId="2147483088"/>
            <ac:cxnSpMk id="590" creationId="{CDFB6628-9E25-757B-1A6C-2462B1E3324E}"/>
          </ac:cxnSpMkLst>
        </pc:cxnChg>
        <pc:cxnChg chg="add del mod ord">
          <ac:chgData name="Yudi Zhu" userId="571e1a55-055f-4c28-8b35-fca6dd1c1369" providerId="ADAL" clId="{75A88773-6EE1-484E-AADE-FE631E01463B}" dt="2025-11-21T06:08:09.509" v="105136"/>
          <ac:cxnSpMkLst>
            <pc:docMk/>
            <pc:sldMk cId="217569448" sldId="2147483088"/>
            <ac:cxnSpMk id="591" creationId="{8E0B89EC-8C5C-E729-89C0-9CD08516EF07}"/>
          </ac:cxnSpMkLst>
        </pc:cxnChg>
        <pc:cxnChg chg="add del mod ord">
          <ac:chgData name="Yudi Zhu" userId="571e1a55-055f-4c28-8b35-fca6dd1c1369" providerId="ADAL" clId="{75A88773-6EE1-484E-AADE-FE631E01463B}" dt="2025-11-21T06:08:09.508" v="105134"/>
          <ac:cxnSpMkLst>
            <pc:docMk/>
            <pc:sldMk cId="217569448" sldId="2147483088"/>
            <ac:cxnSpMk id="592" creationId="{9D26F122-B154-2762-6F16-826D37617A29}"/>
          </ac:cxnSpMkLst>
        </pc:cxnChg>
        <pc:cxnChg chg="add del mod ord">
          <ac:chgData name="Yudi Zhu" userId="571e1a55-055f-4c28-8b35-fca6dd1c1369" providerId="ADAL" clId="{75A88773-6EE1-484E-AADE-FE631E01463B}" dt="2025-11-21T06:08:09.506" v="105130"/>
          <ac:cxnSpMkLst>
            <pc:docMk/>
            <pc:sldMk cId="217569448" sldId="2147483088"/>
            <ac:cxnSpMk id="593" creationId="{C4CF7711-8353-D3D4-DE38-F64F05AD516A}"/>
          </ac:cxnSpMkLst>
        </pc:cxnChg>
        <pc:cxnChg chg="add del mod ord">
          <ac:chgData name="Yudi Zhu" userId="571e1a55-055f-4c28-8b35-fca6dd1c1369" providerId="ADAL" clId="{75A88773-6EE1-484E-AADE-FE631E01463B}" dt="2025-11-21T06:08:09.486" v="105112"/>
          <ac:cxnSpMkLst>
            <pc:docMk/>
            <pc:sldMk cId="217569448" sldId="2147483088"/>
            <ac:cxnSpMk id="594" creationId="{F5A3BA00-7645-DF86-C60E-146769FFFE9E}"/>
          </ac:cxnSpMkLst>
        </pc:cxnChg>
        <pc:cxnChg chg="add del mod ord">
          <ac:chgData name="Yudi Zhu" userId="571e1a55-055f-4c28-8b35-fca6dd1c1369" providerId="ADAL" clId="{75A88773-6EE1-484E-AADE-FE631E01463B}" dt="2025-11-21T06:08:09.507" v="105132"/>
          <ac:cxnSpMkLst>
            <pc:docMk/>
            <pc:sldMk cId="217569448" sldId="2147483088"/>
            <ac:cxnSpMk id="595" creationId="{402F9162-8467-0848-19BD-0C7E0AE008F2}"/>
          </ac:cxnSpMkLst>
        </pc:cxnChg>
        <pc:cxnChg chg="add del mod ord">
          <ac:chgData name="Yudi Zhu" userId="571e1a55-055f-4c28-8b35-fca6dd1c1369" providerId="ADAL" clId="{75A88773-6EE1-484E-AADE-FE631E01463B}" dt="2025-11-21T06:08:21.438" v="105280"/>
          <ac:cxnSpMkLst>
            <pc:docMk/>
            <pc:sldMk cId="217569448" sldId="2147483088"/>
            <ac:cxnSpMk id="596" creationId="{D93F251A-3AE6-EC5C-0E48-FE62F13F288E}"/>
          </ac:cxnSpMkLst>
        </pc:cxnChg>
        <pc:cxnChg chg="add del mod ord">
          <ac:chgData name="Yudi Zhu" userId="571e1a55-055f-4c28-8b35-fca6dd1c1369" providerId="ADAL" clId="{75A88773-6EE1-484E-AADE-FE631E01463B}" dt="2025-11-21T06:08:31.530" v="105806"/>
          <ac:cxnSpMkLst>
            <pc:docMk/>
            <pc:sldMk cId="217569448" sldId="2147483088"/>
            <ac:cxnSpMk id="597" creationId="{3A1921DD-62ED-6CCC-F8E6-FBCCAE11FED9}"/>
          </ac:cxnSpMkLst>
        </pc:cxnChg>
        <pc:cxnChg chg="add del mod ord">
          <ac:chgData name="Yudi Zhu" userId="571e1a55-055f-4c28-8b35-fca6dd1c1369" providerId="ADAL" clId="{75A88773-6EE1-484E-AADE-FE631E01463B}" dt="2025-11-21T06:08:31.530" v="105823"/>
          <ac:cxnSpMkLst>
            <pc:docMk/>
            <pc:sldMk cId="217569448" sldId="2147483088"/>
            <ac:cxnSpMk id="598" creationId="{A4305336-76A0-448B-9A1F-395DB893D950}"/>
          </ac:cxnSpMkLst>
        </pc:cxnChg>
        <pc:cxnChg chg="add del mod ord">
          <ac:chgData name="Yudi Zhu" userId="571e1a55-055f-4c28-8b35-fca6dd1c1369" providerId="ADAL" clId="{75A88773-6EE1-484E-AADE-FE631E01463B}" dt="2025-11-21T06:08:31.555" v="105840"/>
          <ac:cxnSpMkLst>
            <pc:docMk/>
            <pc:sldMk cId="217569448" sldId="2147483088"/>
            <ac:cxnSpMk id="599" creationId="{0536021E-2D4D-0E8B-3F4D-27B2383E45B7}"/>
          </ac:cxnSpMkLst>
        </pc:cxnChg>
        <pc:cxnChg chg="add del mod ord">
          <ac:chgData name="Yudi Zhu" userId="571e1a55-055f-4c28-8b35-fca6dd1c1369" providerId="ADAL" clId="{75A88773-6EE1-484E-AADE-FE631E01463B}" dt="2025-11-21T06:08:09.436" v="105017"/>
          <ac:cxnSpMkLst>
            <pc:docMk/>
            <pc:sldMk cId="217569448" sldId="2147483088"/>
            <ac:cxnSpMk id="604" creationId="{9B62DE51-5940-DBFB-C9A7-E2BB55D70D2E}"/>
          </ac:cxnSpMkLst>
        </pc:cxnChg>
        <pc:cxnChg chg="add del mod ord">
          <ac:chgData name="Yudi Zhu" userId="571e1a55-055f-4c28-8b35-fca6dd1c1369" providerId="ADAL" clId="{75A88773-6EE1-484E-AADE-FE631E01463B}" dt="2025-11-21T06:08:09.436" v="105007"/>
          <ac:cxnSpMkLst>
            <pc:docMk/>
            <pc:sldMk cId="217569448" sldId="2147483088"/>
            <ac:cxnSpMk id="605" creationId="{5679A52A-C918-A52B-5291-40C9A6AC5416}"/>
          </ac:cxnSpMkLst>
        </pc:cxnChg>
        <pc:cxnChg chg="add del mod ord">
          <ac:chgData name="Yudi Zhu" userId="571e1a55-055f-4c28-8b35-fca6dd1c1369" providerId="ADAL" clId="{75A88773-6EE1-484E-AADE-FE631E01463B}" dt="2025-11-21T06:08:09.436" v="105025"/>
          <ac:cxnSpMkLst>
            <pc:docMk/>
            <pc:sldMk cId="217569448" sldId="2147483088"/>
            <ac:cxnSpMk id="606" creationId="{D05B243A-FAC5-05B2-ED87-078A9DB0D8B6}"/>
          </ac:cxnSpMkLst>
        </pc:cxnChg>
        <pc:cxnChg chg="add del mod ord">
          <ac:chgData name="Yudi Zhu" userId="571e1a55-055f-4c28-8b35-fca6dd1c1369" providerId="ADAL" clId="{75A88773-6EE1-484E-AADE-FE631E01463B}" dt="2025-11-21T06:08:09.436" v="105013"/>
          <ac:cxnSpMkLst>
            <pc:docMk/>
            <pc:sldMk cId="217569448" sldId="2147483088"/>
            <ac:cxnSpMk id="607" creationId="{6B847B22-550F-4294-7F6C-4A2549C5C97A}"/>
          </ac:cxnSpMkLst>
        </pc:cxnChg>
        <pc:cxnChg chg="add del mod ord">
          <ac:chgData name="Yudi Zhu" userId="571e1a55-055f-4c28-8b35-fca6dd1c1369" providerId="ADAL" clId="{75A88773-6EE1-484E-AADE-FE631E01463B}" dt="2025-11-21T06:08:09.436" v="105011"/>
          <ac:cxnSpMkLst>
            <pc:docMk/>
            <pc:sldMk cId="217569448" sldId="2147483088"/>
            <ac:cxnSpMk id="608" creationId="{59084A73-0D25-5916-5EC7-086F294DFED1}"/>
          </ac:cxnSpMkLst>
        </pc:cxnChg>
        <pc:cxnChg chg="add del mod ord">
          <ac:chgData name="Yudi Zhu" userId="571e1a55-055f-4c28-8b35-fca6dd1c1369" providerId="ADAL" clId="{75A88773-6EE1-484E-AADE-FE631E01463B}" dt="2025-11-21T06:08:09.436" v="105015"/>
          <ac:cxnSpMkLst>
            <pc:docMk/>
            <pc:sldMk cId="217569448" sldId="2147483088"/>
            <ac:cxnSpMk id="609" creationId="{92809783-3A3A-2087-58AD-4D80EAA699C9}"/>
          </ac:cxnSpMkLst>
        </pc:cxnChg>
        <pc:cxnChg chg="add del mod ord">
          <ac:chgData name="Yudi Zhu" userId="571e1a55-055f-4c28-8b35-fca6dd1c1369" providerId="ADAL" clId="{75A88773-6EE1-484E-AADE-FE631E01463B}" dt="2025-11-21T06:08:09.436" v="105029"/>
          <ac:cxnSpMkLst>
            <pc:docMk/>
            <pc:sldMk cId="217569448" sldId="2147483088"/>
            <ac:cxnSpMk id="610" creationId="{1B425234-6FFE-9661-4E76-147A48B021F7}"/>
          </ac:cxnSpMkLst>
        </pc:cxnChg>
        <pc:cxnChg chg="add del mod ord">
          <ac:chgData name="Yudi Zhu" userId="571e1a55-055f-4c28-8b35-fca6dd1c1369" providerId="ADAL" clId="{75A88773-6EE1-484E-AADE-FE631E01463B}" dt="2025-11-21T06:08:09.436" v="105027"/>
          <ac:cxnSpMkLst>
            <pc:docMk/>
            <pc:sldMk cId="217569448" sldId="2147483088"/>
            <ac:cxnSpMk id="611" creationId="{119A51D7-4525-6298-74D3-B324251FEA02}"/>
          </ac:cxnSpMkLst>
        </pc:cxnChg>
        <pc:cxnChg chg="add del mod ord">
          <ac:chgData name="Yudi Zhu" userId="571e1a55-055f-4c28-8b35-fca6dd1c1369" providerId="ADAL" clId="{75A88773-6EE1-484E-AADE-FE631E01463B}" dt="2025-11-21T06:08:09.451" v="105057"/>
          <ac:cxnSpMkLst>
            <pc:docMk/>
            <pc:sldMk cId="217569448" sldId="2147483088"/>
            <ac:cxnSpMk id="612" creationId="{02A2BFB8-57B3-1575-3077-6DED76ED83EE}"/>
          </ac:cxnSpMkLst>
        </pc:cxnChg>
        <pc:cxnChg chg="add del mod ord">
          <ac:chgData name="Yudi Zhu" userId="571e1a55-055f-4c28-8b35-fca6dd1c1369" providerId="ADAL" clId="{75A88773-6EE1-484E-AADE-FE631E01463B}" dt="2025-11-21T06:08:09.451" v="105051"/>
          <ac:cxnSpMkLst>
            <pc:docMk/>
            <pc:sldMk cId="217569448" sldId="2147483088"/>
            <ac:cxnSpMk id="613" creationId="{3844D5A5-AEAA-20E8-24DC-F6A1E38DC63E}"/>
          </ac:cxnSpMkLst>
        </pc:cxnChg>
        <pc:cxnChg chg="add del mod ord">
          <ac:chgData name="Yudi Zhu" userId="571e1a55-055f-4c28-8b35-fca6dd1c1369" providerId="ADAL" clId="{75A88773-6EE1-484E-AADE-FE631E01463B}" dt="2025-11-21T06:08:09.469" v="105067"/>
          <ac:cxnSpMkLst>
            <pc:docMk/>
            <pc:sldMk cId="217569448" sldId="2147483088"/>
            <ac:cxnSpMk id="614" creationId="{77108A25-687D-B3E6-F4EE-291BE11989F2}"/>
          </ac:cxnSpMkLst>
        </pc:cxnChg>
        <pc:cxnChg chg="add del mod ord">
          <ac:chgData name="Yudi Zhu" userId="571e1a55-055f-4c28-8b35-fca6dd1c1369" providerId="ADAL" clId="{75A88773-6EE1-484E-AADE-FE631E01463B}" dt="2025-11-21T06:08:09.469" v="105065"/>
          <ac:cxnSpMkLst>
            <pc:docMk/>
            <pc:sldMk cId="217569448" sldId="2147483088"/>
            <ac:cxnSpMk id="615" creationId="{797C719D-3DEF-69A9-0C8B-19FDD11D152D}"/>
          </ac:cxnSpMkLst>
        </pc:cxnChg>
        <pc:cxnChg chg="add del mod ord">
          <ac:chgData name="Yudi Zhu" userId="571e1a55-055f-4c28-8b35-fca6dd1c1369" providerId="ADAL" clId="{75A88773-6EE1-484E-AADE-FE631E01463B}" dt="2025-11-21T06:08:09.486" v="105100"/>
          <ac:cxnSpMkLst>
            <pc:docMk/>
            <pc:sldMk cId="217569448" sldId="2147483088"/>
            <ac:cxnSpMk id="616" creationId="{9269B654-1D16-10A7-3043-A8C127EB1E55}"/>
          </ac:cxnSpMkLst>
        </pc:cxnChg>
        <pc:cxnChg chg="add del mod ord">
          <ac:chgData name="Yudi Zhu" userId="571e1a55-055f-4c28-8b35-fca6dd1c1369" providerId="ADAL" clId="{75A88773-6EE1-484E-AADE-FE631E01463B}" dt="2025-11-21T06:08:09.472" v="105078"/>
          <ac:cxnSpMkLst>
            <pc:docMk/>
            <pc:sldMk cId="217569448" sldId="2147483088"/>
            <ac:cxnSpMk id="617" creationId="{91FE4582-4039-1C20-A36C-618DA8F854A8}"/>
          </ac:cxnSpMkLst>
        </pc:cxnChg>
        <pc:cxnChg chg="add del mod ord">
          <ac:chgData name="Yudi Zhu" userId="571e1a55-055f-4c28-8b35-fca6dd1c1369" providerId="ADAL" clId="{75A88773-6EE1-484E-AADE-FE631E01463B}" dt="2025-11-21T06:08:09.472" v="105076"/>
          <ac:cxnSpMkLst>
            <pc:docMk/>
            <pc:sldMk cId="217569448" sldId="2147483088"/>
            <ac:cxnSpMk id="618" creationId="{379F3838-4AFE-578D-60E0-233C7D5E159A}"/>
          </ac:cxnSpMkLst>
        </pc:cxnChg>
        <pc:cxnChg chg="add del mod ord">
          <ac:chgData name="Yudi Zhu" userId="571e1a55-055f-4c28-8b35-fca6dd1c1369" providerId="ADAL" clId="{75A88773-6EE1-484E-AADE-FE631E01463B}" dt="2025-11-21T06:08:09.498" v="105118"/>
          <ac:cxnSpMkLst>
            <pc:docMk/>
            <pc:sldMk cId="217569448" sldId="2147483088"/>
            <ac:cxnSpMk id="619" creationId="{C49FD7CD-450D-CE9C-7BF6-B7042607FE56}"/>
          </ac:cxnSpMkLst>
        </pc:cxnChg>
        <pc:cxnChg chg="add del mod ord">
          <ac:chgData name="Yudi Zhu" userId="571e1a55-055f-4c28-8b35-fca6dd1c1369" providerId="ADAL" clId="{75A88773-6EE1-484E-AADE-FE631E01463B}" dt="2025-11-21T06:08:09.495" v="105114"/>
          <ac:cxnSpMkLst>
            <pc:docMk/>
            <pc:sldMk cId="217569448" sldId="2147483088"/>
            <ac:cxnSpMk id="620" creationId="{D3A839AE-9E6F-378F-7358-A067611D1758}"/>
          </ac:cxnSpMkLst>
        </pc:cxnChg>
        <pc:cxnChg chg="add del mod ord">
          <ac:chgData name="Yudi Zhu" userId="571e1a55-055f-4c28-8b35-fca6dd1c1369" providerId="ADAL" clId="{75A88773-6EE1-484E-AADE-FE631E01463B}" dt="2025-11-21T06:08:09.499" v="105124"/>
          <ac:cxnSpMkLst>
            <pc:docMk/>
            <pc:sldMk cId="217569448" sldId="2147483088"/>
            <ac:cxnSpMk id="621" creationId="{C7C9F8F9-6FCC-72F5-FDE7-4E9E04FF5739}"/>
          </ac:cxnSpMkLst>
        </pc:cxnChg>
        <pc:cxnChg chg="add del mod ord">
          <ac:chgData name="Yudi Zhu" userId="571e1a55-055f-4c28-8b35-fca6dd1c1369" providerId="ADAL" clId="{75A88773-6EE1-484E-AADE-FE631E01463B}" dt="2025-11-21T06:08:09.436" v="105005"/>
          <ac:cxnSpMkLst>
            <pc:docMk/>
            <pc:sldMk cId="217569448" sldId="2147483088"/>
            <ac:cxnSpMk id="622" creationId="{B0E1B5FE-10BC-693F-9D40-8948A951DCA2}"/>
          </ac:cxnSpMkLst>
        </pc:cxnChg>
        <pc:cxnChg chg="add del mod ord">
          <ac:chgData name="Yudi Zhu" userId="571e1a55-055f-4c28-8b35-fca6dd1c1369" providerId="ADAL" clId="{75A88773-6EE1-484E-AADE-FE631E01463B}" dt="2025-11-21T06:08:09.430" v="105003"/>
          <ac:cxnSpMkLst>
            <pc:docMk/>
            <pc:sldMk cId="217569448" sldId="2147483088"/>
            <ac:cxnSpMk id="623" creationId="{D10E0AA3-22B1-BF9B-8BD2-D40CC900BEAE}"/>
          </ac:cxnSpMkLst>
        </pc:cxnChg>
        <pc:cxnChg chg="add del mod ord">
          <ac:chgData name="Yudi Zhu" userId="571e1a55-055f-4c28-8b35-fca6dd1c1369" providerId="ADAL" clId="{75A88773-6EE1-484E-AADE-FE631E01463B}" dt="2025-11-21T06:08:09.451" v="105049"/>
          <ac:cxnSpMkLst>
            <pc:docMk/>
            <pc:sldMk cId="217569448" sldId="2147483088"/>
            <ac:cxnSpMk id="624" creationId="{A97C7FE5-86A7-9B22-38A4-BF4425CE25AB}"/>
          </ac:cxnSpMkLst>
        </pc:cxnChg>
        <pc:cxnChg chg="add del mod ord">
          <ac:chgData name="Yudi Zhu" userId="571e1a55-055f-4c28-8b35-fca6dd1c1369" providerId="ADAL" clId="{75A88773-6EE1-484E-AADE-FE631E01463B}" dt="2025-11-21T06:08:09.499" v="105128"/>
          <ac:cxnSpMkLst>
            <pc:docMk/>
            <pc:sldMk cId="217569448" sldId="2147483088"/>
            <ac:cxnSpMk id="625" creationId="{FB223FEA-F44D-FEC3-9B60-C89D0702B147}"/>
          </ac:cxnSpMkLst>
        </pc:cxnChg>
        <pc:cxnChg chg="add del mod ord">
          <ac:chgData name="Yudi Zhu" userId="571e1a55-055f-4c28-8b35-fca6dd1c1369" providerId="ADAL" clId="{75A88773-6EE1-484E-AADE-FE631E01463B}" dt="2025-11-21T06:08:09.499" v="105126"/>
          <ac:cxnSpMkLst>
            <pc:docMk/>
            <pc:sldMk cId="217569448" sldId="2147483088"/>
            <ac:cxnSpMk id="626" creationId="{BEF8C153-3696-92D5-3265-BB98A252B6D0}"/>
          </ac:cxnSpMkLst>
        </pc:cxnChg>
        <pc:cxnChg chg="add del mod ord">
          <ac:chgData name="Yudi Zhu" userId="571e1a55-055f-4c28-8b35-fca6dd1c1369" providerId="ADAL" clId="{75A88773-6EE1-484E-AADE-FE631E01463B}" dt="2025-11-21T06:08:09.482" v="105090"/>
          <ac:cxnSpMkLst>
            <pc:docMk/>
            <pc:sldMk cId="217569448" sldId="2147483088"/>
            <ac:cxnSpMk id="627" creationId="{5DA65C04-04C7-084A-F907-766626950AD0}"/>
          </ac:cxnSpMkLst>
        </pc:cxnChg>
        <pc:cxnChg chg="add del mod ord">
          <ac:chgData name="Yudi Zhu" userId="571e1a55-055f-4c28-8b35-fca6dd1c1369" providerId="ADAL" clId="{75A88773-6EE1-484E-AADE-FE631E01463B}" dt="2025-11-21T06:08:31.567" v="105857"/>
          <ac:cxnSpMkLst>
            <pc:docMk/>
            <pc:sldMk cId="217569448" sldId="2147483088"/>
            <ac:cxnSpMk id="628" creationId="{F03681F7-E121-0153-657D-8E1BAFBCE5CF}"/>
          </ac:cxnSpMkLst>
        </pc:cxnChg>
        <pc:cxnChg chg="add del mod ord">
          <ac:chgData name="Yudi Zhu" userId="571e1a55-055f-4c28-8b35-fca6dd1c1369" providerId="ADAL" clId="{75A88773-6EE1-484E-AADE-FE631E01463B}" dt="2025-11-21T06:21:44.120" v="128238"/>
          <ac:cxnSpMkLst>
            <pc:docMk/>
            <pc:sldMk cId="217569448" sldId="2147483088"/>
            <ac:cxnSpMk id="712" creationId="{F1002BB1-C809-073C-6DCC-C3A399EE7898}"/>
          </ac:cxnSpMkLst>
        </pc:cxnChg>
        <pc:cxnChg chg="add del mod ord">
          <ac:chgData name="Yudi Zhu" userId="571e1a55-055f-4c28-8b35-fca6dd1c1369" providerId="ADAL" clId="{75A88773-6EE1-484E-AADE-FE631E01463B}" dt="2025-11-21T06:21:44.136" v="128249"/>
          <ac:cxnSpMkLst>
            <pc:docMk/>
            <pc:sldMk cId="217569448" sldId="2147483088"/>
            <ac:cxnSpMk id="713" creationId="{2D93ECFE-3496-27CB-ACA0-EF11D273757F}"/>
          </ac:cxnSpMkLst>
        </pc:cxnChg>
        <pc:cxnChg chg="add del mod ord">
          <ac:chgData name="Yudi Zhu" userId="571e1a55-055f-4c28-8b35-fca6dd1c1369" providerId="ADAL" clId="{75A88773-6EE1-484E-AADE-FE631E01463B}" dt="2025-11-21T06:21:44.152" v="128260"/>
          <ac:cxnSpMkLst>
            <pc:docMk/>
            <pc:sldMk cId="217569448" sldId="2147483088"/>
            <ac:cxnSpMk id="714" creationId="{60FBA892-C8F0-E841-2016-100FE9DE42D1}"/>
          </ac:cxnSpMkLst>
        </pc:cxnChg>
        <pc:cxnChg chg="add del mod ord">
          <ac:chgData name="Yudi Zhu" userId="571e1a55-055f-4c28-8b35-fca6dd1c1369" providerId="ADAL" clId="{75A88773-6EE1-484E-AADE-FE631E01463B}" dt="2025-11-21T06:21:55.745" v="129784"/>
          <ac:cxnSpMkLst>
            <pc:docMk/>
            <pc:sldMk cId="217569448" sldId="2147483088"/>
            <ac:cxnSpMk id="715" creationId="{6F0033D0-1830-84EA-CCA7-F49D24828616}"/>
          </ac:cxnSpMkLst>
        </pc:cxnChg>
        <pc:cxnChg chg="add del mod ord">
          <ac:chgData name="Yudi Zhu" userId="571e1a55-055f-4c28-8b35-fca6dd1c1369" providerId="ADAL" clId="{75A88773-6EE1-484E-AADE-FE631E01463B}" dt="2025-11-21T06:21:44.170" v="128292"/>
          <ac:cxnSpMkLst>
            <pc:docMk/>
            <pc:sldMk cId="217569448" sldId="2147483088"/>
            <ac:cxnSpMk id="716" creationId="{344FB896-3279-74BF-5BF1-83C6EFFB9DFE}"/>
          </ac:cxnSpMkLst>
        </pc:cxnChg>
        <pc:cxnChg chg="add del mod ord">
          <ac:chgData name="Yudi Zhu" userId="571e1a55-055f-4c28-8b35-fca6dd1c1369" providerId="ADAL" clId="{75A88773-6EE1-484E-AADE-FE631E01463B}" dt="2025-11-21T06:21:44.178" v="128304"/>
          <ac:cxnSpMkLst>
            <pc:docMk/>
            <pc:sldMk cId="217569448" sldId="2147483088"/>
            <ac:cxnSpMk id="717" creationId="{0825D825-0C13-F381-0C84-7731EA034EB6}"/>
          </ac:cxnSpMkLst>
        </pc:cxnChg>
        <pc:cxnChg chg="add del mod ord">
          <ac:chgData name="Yudi Zhu" userId="571e1a55-055f-4c28-8b35-fca6dd1c1369" providerId="ADAL" clId="{75A88773-6EE1-484E-AADE-FE631E01463B}" dt="2025-11-21T06:23:31.876" v="136656"/>
          <ac:cxnSpMkLst>
            <pc:docMk/>
            <pc:sldMk cId="217569448" sldId="2147483088"/>
            <ac:cxnSpMk id="718" creationId="{7810047F-DC0B-32E6-41C4-7676B9D59209}"/>
          </ac:cxnSpMkLst>
        </pc:cxnChg>
        <pc:cxnChg chg="add del mod ord">
          <ac:chgData name="Yudi Zhu" userId="571e1a55-055f-4c28-8b35-fca6dd1c1369" providerId="ADAL" clId="{75A88773-6EE1-484E-AADE-FE631E01463B}" dt="2025-11-21T06:23:31.886" v="136682"/>
          <ac:cxnSpMkLst>
            <pc:docMk/>
            <pc:sldMk cId="217569448" sldId="2147483088"/>
            <ac:cxnSpMk id="719" creationId="{6FACA272-1E75-7A38-A509-CCFB0AE1172A}"/>
          </ac:cxnSpMkLst>
        </pc:cxnChg>
        <pc:cxnChg chg="add del mod ord">
          <ac:chgData name="Yudi Zhu" userId="571e1a55-055f-4c28-8b35-fca6dd1c1369" providerId="ADAL" clId="{75A88773-6EE1-484E-AADE-FE631E01463B}" dt="2025-11-21T06:21:44.210" v="128361"/>
          <ac:cxnSpMkLst>
            <pc:docMk/>
            <pc:sldMk cId="217569448" sldId="2147483088"/>
            <ac:cxnSpMk id="720" creationId="{142FE5E1-3C55-EBDA-FB31-5FDB8BF2A1E4}"/>
          </ac:cxnSpMkLst>
        </pc:cxnChg>
        <pc:cxnChg chg="add del mod ord">
          <ac:chgData name="Yudi Zhu" userId="571e1a55-055f-4c28-8b35-fca6dd1c1369" providerId="ADAL" clId="{75A88773-6EE1-484E-AADE-FE631E01463B}" dt="2025-11-21T06:21:44.225" v="128378"/>
          <ac:cxnSpMkLst>
            <pc:docMk/>
            <pc:sldMk cId="217569448" sldId="2147483088"/>
            <ac:cxnSpMk id="721" creationId="{98A8F44B-4C2E-8343-0C20-C82A0CECA7F2}"/>
          </ac:cxnSpMkLst>
        </pc:cxnChg>
        <pc:cxnChg chg="add del mod ord">
          <ac:chgData name="Yudi Zhu" userId="571e1a55-055f-4c28-8b35-fca6dd1c1369" providerId="ADAL" clId="{75A88773-6EE1-484E-AADE-FE631E01463B}" dt="2025-11-21T06:21:55.791" v="129866"/>
          <ac:cxnSpMkLst>
            <pc:docMk/>
            <pc:sldMk cId="217569448" sldId="2147483088"/>
            <ac:cxnSpMk id="722" creationId="{D7A60A09-FC98-4722-23A7-04F6C41FB432}"/>
          </ac:cxnSpMkLst>
        </pc:cxnChg>
        <pc:cxnChg chg="add del mod ord">
          <ac:chgData name="Yudi Zhu" userId="571e1a55-055f-4c28-8b35-fca6dd1c1369" providerId="ADAL" clId="{75A88773-6EE1-484E-AADE-FE631E01463B}" dt="2025-11-21T06:21:51.151" v="129419"/>
          <ac:cxnSpMkLst>
            <pc:docMk/>
            <pc:sldMk cId="217569448" sldId="2147483088"/>
            <ac:cxnSpMk id="723" creationId="{D8A57444-E6AE-B271-0BFD-5B22F91D9A08}"/>
          </ac:cxnSpMkLst>
        </pc:cxnChg>
        <pc:cxnChg chg="add mod ord">
          <ac:chgData name="Yudi Zhu" userId="571e1a55-055f-4c28-8b35-fca6dd1c1369" providerId="ADAL" clId="{75A88773-6EE1-484E-AADE-FE631E01463B}" dt="2025-11-21T06:24:18.720" v="146155"/>
          <ac:cxnSpMkLst>
            <pc:docMk/>
            <pc:sldMk cId="217569448" sldId="2147483088"/>
            <ac:cxnSpMk id="724" creationId="{09BE05BF-CDEA-1CA2-64AE-B9A87873DAD6}"/>
          </ac:cxnSpMkLst>
        </pc:cxnChg>
        <pc:cxnChg chg="add del mod ord">
          <ac:chgData name="Yudi Zhu" userId="571e1a55-055f-4c28-8b35-fca6dd1c1369" providerId="ADAL" clId="{75A88773-6EE1-484E-AADE-FE631E01463B}" dt="2025-11-21T06:21:58.360" v="130300"/>
          <ac:cxnSpMkLst>
            <pc:docMk/>
            <pc:sldMk cId="217569448" sldId="2147483088"/>
            <ac:cxnSpMk id="725" creationId="{A7C192FB-6CC7-ADC3-F53C-F04A85198FDA}"/>
          </ac:cxnSpMkLst>
        </pc:cxnChg>
        <pc:cxnChg chg="add del mod ord">
          <ac:chgData name="Yudi Zhu" userId="571e1a55-055f-4c28-8b35-fca6dd1c1369" providerId="ADAL" clId="{75A88773-6EE1-484E-AADE-FE631E01463B}" dt="2025-11-21T06:21:58.376" v="130322"/>
          <ac:cxnSpMkLst>
            <pc:docMk/>
            <pc:sldMk cId="217569448" sldId="2147483088"/>
            <ac:cxnSpMk id="726" creationId="{74A46A3F-64F5-DE24-62FA-108BB027066E}"/>
          </ac:cxnSpMkLst>
        </pc:cxnChg>
        <pc:cxnChg chg="add del mod ord">
          <ac:chgData name="Yudi Zhu" userId="571e1a55-055f-4c28-8b35-fca6dd1c1369" providerId="ADAL" clId="{75A88773-6EE1-484E-AADE-FE631E01463B}" dt="2025-11-21T06:21:51.177" v="129469"/>
          <ac:cxnSpMkLst>
            <pc:docMk/>
            <pc:sldMk cId="217569448" sldId="2147483088"/>
            <ac:cxnSpMk id="727" creationId="{AA3D4DC6-DF57-1046-0F8E-76F9C5337FE8}"/>
          </ac:cxnSpMkLst>
        </pc:cxnChg>
        <pc:cxnChg chg="add del mod ord">
          <ac:chgData name="Yudi Zhu" userId="571e1a55-055f-4c28-8b35-fca6dd1c1369" providerId="ADAL" clId="{75A88773-6EE1-484E-AADE-FE631E01463B}" dt="2025-11-21T06:21:51.178" v="129481"/>
          <ac:cxnSpMkLst>
            <pc:docMk/>
            <pc:sldMk cId="217569448" sldId="2147483088"/>
            <ac:cxnSpMk id="728" creationId="{96731600-B401-B276-B4C1-81D1649EEA71}"/>
          </ac:cxnSpMkLst>
        </pc:cxnChg>
        <pc:cxnChg chg="add del mod ord">
          <ac:chgData name="Yudi Zhu" userId="571e1a55-055f-4c28-8b35-fca6dd1c1369" providerId="ADAL" clId="{75A88773-6EE1-484E-AADE-FE631E01463B}" dt="2025-11-21T06:21:51.195" v="129503"/>
          <ac:cxnSpMkLst>
            <pc:docMk/>
            <pc:sldMk cId="217569448" sldId="2147483088"/>
            <ac:cxnSpMk id="729" creationId="{BA6F1837-4BA3-2C1E-8425-6F85AE8F729E}"/>
          </ac:cxnSpMkLst>
        </pc:cxnChg>
        <pc:cxnChg chg="add del mod ord">
          <ac:chgData name="Yudi Zhu" userId="571e1a55-055f-4c28-8b35-fca6dd1c1369" providerId="ADAL" clId="{75A88773-6EE1-484E-AADE-FE631E01463B}" dt="2025-11-21T06:21:58.391" v="130358"/>
          <ac:cxnSpMkLst>
            <pc:docMk/>
            <pc:sldMk cId="217569448" sldId="2147483088"/>
            <ac:cxnSpMk id="730" creationId="{FDDF081A-1E2B-250C-FF78-0118A0C21419}"/>
          </ac:cxnSpMkLst>
        </pc:cxnChg>
        <pc:cxnChg chg="add mod ord">
          <ac:chgData name="Yudi Zhu" userId="571e1a55-055f-4c28-8b35-fca6dd1c1369" providerId="ADAL" clId="{75A88773-6EE1-484E-AADE-FE631E01463B}" dt="2025-11-21T06:10:38.762" v="112026"/>
          <ac:cxnSpMkLst>
            <pc:docMk/>
            <pc:sldMk cId="217569448" sldId="2147483088"/>
            <ac:cxnSpMk id="735" creationId="{D323F2A3-6A5C-2819-E8CF-CA6850B726A8}"/>
          </ac:cxnSpMkLst>
        </pc:cxnChg>
        <pc:cxnChg chg="add mod ord">
          <ac:chgData name="Yudi Zhu" userId="571e1a55-055f-4c28-8b35-fca6dd1c1369" providerId="ADAL" clId="{75A88773-6EE1-484E-AADE-FE631E01463B}" dt="2025-11-21T06:20:13.462" v="119981" actId="13822"/>
          <ac:cxnSpMkLst>
            <pc:docMk/>
            <pc:sldMk cId="217569448" sldId="2147483088"/>
            <ac:cxnSpMk id="796" creationId="{92684F94-0DDC-4096-3A5B-86685B5DFCD6}"/>
          </ac:cxnSpMkLst>
        </pc:cxnChg>
        <pc:cxnChg chg="add mod ord">
          <ac:chgData name="Yudi Zhu" userId="571e1a55-055f-4c28-8b35-fca6dd1c1369" providerId="ADAL" clId="{75A88773-6EE1-484E-AADE-FE631E01463B}" dt="2025-11-21T06:20:13.447" v="119961" actId="13822"/>
          <ac:cxnSpMkLst>
            <pc:docMk/>
            <pc:sldMk cId="217569448" sldId="2147483088"/>
            <ac:cxnSpMk id="797" creationId="{0BB3C4FA-2D0D-A5B4-B796-DEC27EB8C2DA}"/>
          </ac:cxnSpMkLst>
        </pc:cxnChg>
        <pc:cxnChg chg="add mod ord">
          <ac:chgData name="Yudi Zhu" userId="571e1a55-055f-4c28-8b35-fca6dd1c1369" providerId="ADAL" clId="{75A88773-6EE1-484E-AADE-FE631E01463B}" dt="2025-11-21T06:20:13.432" v="119935" actId="13822"/>
          <ac:cxnSpMkLst>
            <pc:docMk/>
            <pc:sldMk cId="217569448" sldId="2147483088"/>
            <ac:cxnSpMk id="798" creationId="{8CC84FEB-C327-35B3-ACF4-2A8CBF619243}"/>
          </ac:cxnSpMkLst>
        </pc:cxnChg>
        <pc:cxnChg chg="add mod ord">
          <ac:chgData name="Yudi Zhu" userId="571e1a55-055f-4c28-8b35-fca6dd1c1369" providerId="ADAL" clId="{75A88773-6EE1-484E-AADE-FE631E01463B}" dt="2025-11-21T06:20:13.432" v="119903" actId="13822"/>
          <ac:cxnSpMkLst>
            <pc:docMk/>
            <pc:sldMk cId="217569448" sldId="2147483088"/>
            <ac:cxnSpMk id="799" creationId="{D9F97122-6234-2E81-EAC6-F1B5EA8B2576}"/>
          </ac:cxnSpMkLst>
        </pc:cxnChg>
        <pc:cxnChg chg="add mod ord">
          <ac:chgData name="Yudi Zhu" userId="571e1a55-055f-4c28-8b35-fca6dd1c1369" providerId="ADAL" clId="{75A88773-6EE1-484E-AADE-FE631E01463B}" dt="2025-11-21T06:20:13.416" v="119881" actId="13822"/>
          <ac:cxnSpMkLst>
            <pc:docMk/>
            <pc:sldMk cId="217569448" sldId="2147483088"/>
            <ac:cxnSpMk id="800" creationId="{14155315-5841-CB53-55A0-7F41772080E9}"/>
          </ac:cxnSpMkLst>
        </pc:cxnChg>
        <pc:cxnChg chg="add mod ord">
          <ac:chgData name="Yudi Zhu" userId="571e1a55-055f-4c28-8b35-fca6dd1c1369" providerId="ADAL" clId="{75A88773-6EE1-484E-AADE-FE631E01463B}" dt="2025-11-21T06:20:13.416" v="119861" actId="13822"/>
          <ac:cxnSpMkLst>
            <pc:docMk/>
            <pc:sldMk cId="217569448" sldId="2147483088"/>
            <ac:cxnSpMk id="801" creationId="{D59220F4-CDB2-815B-7141-98C0ECAC987B}"/>
          </ac:cxnSpMkLst>
        </pc:cxnChg>
        <pc:cxnChg chg="add mod ord">
          <ac:chgData name="Yudi Zhu" userId="571e1a55-055f-4c28-8b35-fca6dd1c1369" providerId="ADAL" clId="{75A88773-6EE1-484E-AADE-FE631E01463B}" dt="2025-11-21T06:20:13.400" v="119833" actId="13822"/>
          <ac:cxnSpMkLst>
            <pc:docMk/>
            <pc:sldMk cId="217569448" sldId="2147483088"/>
            <ac:cxnSpMk id="802" creationId="{7B517224-D280-E4ED-82C8-98F046D3F99D}"/>
          </ac:cxnSpMkLst>
        </pc:cxnChg>
        <pc:cxnChg chg="add mod ord">
          <ac:chgData name="Yudi Zhu" userId="571e1a55-055f-4c28-8b35-fca6dd1c1369" providerId="ADAL" clId="{75A88773-6EE1-484E-AADE-FE631E01463B}" dt="2025-11-21T06:20:13.383" v="119785" actId="13822"/>
          <ac:cxnSpMkLst>
            <pc:docMk/>
            <pc:sldMk cId="217569448" sldId="2147483088"/>
            <ac:cxnSpMk id="803" creationId="{17BFBF46-8DA8-D6BD-DC33-DB22C5983437}"/>
          </ac:cxnSpMkLst>
        </pc:cxnChg>
        <pc:cxnChg chg="add del mod ord">
          <ac:chgData name="Yudi Zhu" userId="571e1a55-055f-4c28-8b35-fca6dd1c1369" providerId="ADAL" clId="{75A88773-6EE1-484E-AADE-FE631E01463B}" dt="2025-11-21T06:20:32.908" v="120918"/>
          <ac:cxnSpMkLst>
            <pc:docMk/>
            <pc:sldMk cId="217569448" sldId="2147483088"/>
            <ac:cxnSpMk id="806" creationId="{3367B645-7995-470B-C96A-66C84928E7DD}"/>
          </ac:cxnSpMkLst>
        </pc:cxnChg>
        <pc:cxnChg chg="add del mod ord">
          <ac:chgData name="Yudi Zhu" userId="571e1a55-055f-4c28-8b35-fca6dd1c1369" providerId="ADAL" clId="{75A88773-6EE1-484E-AADE-FE631E01463B}" dt="2025-11-21T06:20:32.927" v="120935"/>
          <ac:cxnSpMkLst>
            <pc:docMk/>
            <pc:sldMk cId="217569448" sldId="2147483088"/>
            <ac:cxnSpMk id="807" creationId="{4CAE11D5-AB1C-32DA-596E-4E794489521A}"/>
          </ac:cxnSpMkLst>
        </pc:cxnChg>
        <pc:cxnChg chg="add del mod ord">
          <ac:chgData name="Yudi Zhu" userId="571e1a55-055f-4c28-8b35-fca6dd1c1369" providerId="ADAL" clId="{75A88773-6EE1-484E-AADE-FE631E01463B}" dt="2025-11-21T06:20:32.938" v="120952"/>
          <ac:cxnSpMkLst>
            <pc:docMk/>
            <pc:sldMk cId="217569448" sldId="2147483088"/>
            <ac:cxnSpMk id="808" creationId="{96F60790-BE9D-7AB4-94B0-62268FC16B72}"/>
          </ac:cxnSpMkLst>
        </pc:cxnChg>
        <pc:cxnChg chg="add del mod ord">
          <ac:chgData name="Yudi Zhu" userId="571e1a55-055f-4c28-8b35-fca6dd1c1369" providerId="ADAL" clId="{75A88773-6EE1-484E-AADE-FE631E01463B}" dt="2025-11-21T06:20:32.948" v="120969"/>
          <ac:cxnSpMkLst>
            <pc:docMk/>
            <pc:sldMk cId="217569448" sldId="2147483088"/>
            <ac:cxnSpMk id="809" creationId="{EE094EC2-442C-F105-7B28-0ABCAABDF896}"/>
          </ac:cxnSpMkLst>
        </pc:cxnChg>
        <pc:cxnChg chg="add mod ord">
          <ac:chgData name="Yudi Zhu" userId="571e1a55-055f-4c28-8b35-fca6dd1c1369" providerId="ADAL" clId="{75A88773-6EE1-484E-AADE-FE631E01463B}" dt="2025-11-21T06:21:38.594" v="127681" actId="13822"/>
          <ac:cxnSpMkLst>
            <pc:docMk/>
            <pc:sldMk cId="217569448" sldId="2147483088"/>
            <ac:cxnSpMk id="850" creationId="{C5956BAA-3D7A-96DA-40EF-BFAE2D33247F}"/>
          </ac:cxnSpMkLst>
        </pc:cxnChg>
        <pc:cxnChg chg="add mod ord">
          <ac:chgData name="Yudi Zhu" userId="571e1a55-055f-4c28-8b35-fca6dd1c1369" providerId="ADAL" clId="{75A88773-6EE1-484E-AADE-FE631E01463B}" dt="2025-11-21T06:21:38.594" v="127664" actId="13822"/>
          <ac:cxnSpMkLst>
            <pc:docMk/>
            <pc:sldMk cId="217569448" sldId="2147483088"/>
            <ac:cxnSpMk id="851" creationId="{8470A0E3-51B7-050E-E8E3-49AB86F776F7}"/>
          </ac:cxnSpMkLst>
        </pc:cxnChg>
        <pc:cxnChg chg="add mod ord">
          <ac:chgData name="Yudi Zhu" userId="571e1a55-055f-4c28-8b35-fca6dd1c1369" providerId="ADAL" clId="{75A88773-6EE1-484E-AADE-FE631E01463B}" dt="2025-11-21T06:21:38.584" v="127655" actId="13822"/>
          <ac:cxnSpMkLst>
            <pc:docMk/>
            <pc:sldMk cId="217569448" sldId="2147483088"/>
            <ac:cxnSpMk id="852" creationId="{6CA6D69B-721A-BBC4-237B-C1CE64E82F78}"/>
          </ac:cxnSpMkLst>
        </pc:cxnChg>
        <pc:cxnChg chg="add mod ord">
          <ac:chgData name="Yudi Zhu" userId="571e1a55-055f-4c28-8b35-fca6dd1c1369" providerId="ADAL" clId="{75A88773-6EE1-484E-AADE-FE631E01463B}" dt="2025-11-21T06:21:38.584" v="127642" actId="13822"/>
          <ac:cxnSpMkLst>
            <pc:docMk/>
            <pc:sldMk cId="217569448" sldId="2147483088"/>
            <ac:cxnSpMk id="853" creationId="{2A535DAA-5E28-2FAD-349F-62D77475D06B}"/>
          </ac:cxnSpMkLst>
        </pc:cxnChg>
        <pc:cxnChg chg="add mod ord">
          <ac:chgData name="Yudi Zhu" userId="571e1a55-055f-4c28-8b35-fca6dd1c1369" providerId="ADAL" clId="{75A88773-6EE1-484E-AADE-FE631E01463B}" dt="2025-11-21T06:21:38.579" v="127633" actId="13822"/>
          <ac:cxnSpMkLst>
            <pc:docMk/>
            <pc:sldMk cId="217569448" sldId="2147483088"/>
            <ac:cxnSpMk id="854" creationId="{1E47C952-D102-DD71-DF54-123B5A638C99}"/>
          </ac:cxnSpMkLst>
        </pc:cxnChg>
        <pc:cxnChg chg="add mod ord">
          <ac:chgData name="Yudi Zhu" userId="571e1a55-055f-4c28-8b35-fca6dd1c1369" providerId="ADAL" clId="{75A88773-6EE1-484E-AADE-FE631E01463B}" dt="2025-11-21T06:21:38.576" v="127620" actId="13822"/>
          <ac:cxnSpMkLst>
            <pc:docMk/>
            <pc:sldMk cId="217569448" sldId="2147483088"/>
            <ac:cxnSpMk id="855" creationId="{27C1FA64-ED9C-A1F7-EA5B-A7E7B02BCD10}"/>
          </ac:cxnSpMkLst>
        </pc:cxnChg>
        <pc:cxnChg chg="add mod ord">
          <ac:chgData name="Yudi Zhu" userId="571e1a55-055f-4c28-8b35-fca6dd1c1369" providerId="ADAL" clId="{75A88773-6EE1-484E-AADE-FE631E01463B}" dt="2025-11-21T06:21:38.573" v="127611" actId="13822"/>
          <ac:cxnSpMkLst>
            <pc:docMk/>
            <pc:sldMk cId="217569448" sldId="2147483088"/>
            <ac:cxnSpMk id="856" creationId="{8A59D2AF-6558-957F-5953-F902F534DD4C}"/>
          </ac:cxnSpMkLst>
        </pc:cxnChg>
        <pc:cxnChg chg="add mod ord">
          <ac:chgData name="Yudi Zhu" userId="571e1a55-055f-4c28-8b35-fca6dd1c1369" providerId="ADAL" clId="{75A88773-6EE1-484E-AADE-FE631E01463B}" dt="2025-11-21T06:21:38.564" v="127586" actId="13822"/>
          <ac:cxnSpMkLst>
            <pc:docMk/>
            <pc:sldMk cId="217569448" sldId="2147483088"/>
            <ac:cxnSpMk id="857" creationId="{15412E50-BF35-BC10-DE53-5A9F5C35CC0C}"/>
          </ac:cxnSpMkLst>
        </pc:cxnChg>
        <pc:cxnChg chg="add mod ord">
          <ac:chgData name="Yudi Zhu" userId="571e1a55-055f-4c28-8b35-fca6dd1c1369" providerId="ADAL" clId="{75A88773-6EE1-484E-AADE-FE631E01463B}" dt="2025-11-21T06:21:38.556" v="127568" actId="13822"/>
          <ac:cxnSpMkLst>
            <pc:docMk/>
            <pc:sldMk cId="217569448" sldId="2147483088"/>
            <ac:cxnSpMk id="858" creationId="{E0C6559C-5586-38A2-D28C-7174AD72FE72}"/>
          </ac:cxnSpMkLst>
        </pc:cxnChg>
        <pc:cxnChg chg="add mod ord">
          <ac:chgData name="Yudi Zhu" userId="571e1a55-055f-4c28-8b35-fca6dd1c1369" providerId="ADAL" clId="{75A88773-6EE1-484E-AADE-FE631E01463B}" dt="2025-11-21T06:21:38.550" v="127555" actId="13822"/>
          <ac:cxnSpMkLst>
            <pc:docMk/>
            <pc:sldMk cId="217569448" sldId="2147483088"/>
            <ac:cxnSpMk id="859" creationId="{BFB0EFC2-4C07-4A22-FE65-A5838C71F0ED}"/>
          </ac:cxnSpMkLst>
        </pc:cxnChg>
        <pc:cxnChg chg="add mod ord">
          <ac:chgData name="Yudi Zhu" userId="571e1a55-055f-4c28-8b35-fca6dd1c1369" providerId="ADAL" clId="{75A88773-6EE1-484E-AADE-FE631E01463B}" dt="2025-11-21T06:21:38.536" v="127541" actId="13822"/>
          <ac:cxnSpMkLst>
            <pc:docMk/>
            <pc:sldMk cId="217569448" sldId="2147483088"/>
            <ac:cxnSpMk id="860" creationId="{7FAA135F-7A93-CCE1-C215-7EEA49F5E9A1}"/>
          </ac:cxnSpMkLst>
        </pc:cxnChg>
        <pc:cxnChg chg="add mod ord">
          <ac:chgData name="Yudi Zhu" userId="571e1a55-055f-4c28-8b35-fca6dd1c1369" providerId="ADAL" clId="{75A88773-6EE1-484E-AADE-FE631E01463B}" dt="2025-11-21T06:21:38.536" v="127522" actId="13822"/>
          <ac:cxnSpMkLst>
            <pc:docMk/>
            <pc:sldMk cId="217569448" sldId="2147483088"/>
            <ac:cxnSpMk id="861" creationId="{6CABD1CB-A146-249F-085C-F7F4C351EBC2}"/>
          </ac:cxnSpMkLst>
        </pc:cxnChg>
        <pc:cxnChg chg="add mod ord">
          <ac:chgData name="Yudi Zhu" userId="571e1a55-055f-4c28-8b35-fca6dd1c1369" providerId="ADAL" clId="{75A88773-6EE1-484E-AADE-FE631E01463B}" dt="2025-11-21T06:21:38.520" v="127498" actId="13822"/>
          <ac:cxnSpMkLst>
            <pc:docMk/>
            <pc:sldMk cId="217569448" sldId="2147483088"/>
            <ac:cxnSpMk id="862" creationId="{7313162B-D067-83A8-4D61-D3A1840884A6}"/>
          </ac:cxnSpMkLst>
        </pc:cxnChg>
        <pc:cxnChg chg="add mod ord">
          <ac:chgData name="Yudi Zhu" userId="571e1a55-055f-4c28-8b35-fca6dd1c1369" providerId="ADAL" clId="{75A88773-6EE1-484E-AADE-FE631E01463B}" dt="2025-11-21T06:21:38.520" v="127489" actId="13822"/>
          <ac:cxnSpMkLst>
            <pc:docMk/>
            <pc:sldMk cId="217569448" sldId="2147483088"/>
            <ac:cxnSpMk id="863" creationId="{D9E8C1F8-15B3-8B84-6628-C7116590C244}"/>
          </ac:cxnSpMkLst>
        </pc:cxnChg>
        <pc:cxnChg chg="add mod ord">
          <ac:chgData name="Yudi Zhu" userId="571e1a55-055f-4c28-8b35-fca6dd1c1369" providerId="ADAL" clId="{75A88773-6EE1-484E-AADE-FE631E01463B}" dt="2025-11-21T06:21:38.505" v="127475" actId="13822"/>
          <ac:cxnSpMkLst>
            <pc:docMk/>
            <pc:sldMk cId="217569448" sldId="2147483088"/>
            <ac:cxnSpMk id="864" creationId="{632D31C3-894D-0824-574C-384429B82714}"/>
          </ac:cxnSpMkLst>
        </pc:cxnChg>
        <pc:cxnChg chg="add mod ord">
          <ac:chgData name="Yudi Zhu" userId="571e1a55-055f-4c28-8b35-fca6dd1c1369" providerId="ADAL" clId="{75A88773-6EE1-484E-AADE-FE631E01463B}" dt="2025-11-21T06:21:38.505" v="127466" actId="13822"/>
          <ac:cxnSpMkLst>
            <pc:docMk/>
            <pc:sldMk cId="217569448" sldId="2147483088"/>
            <ac:cxnSpMk id="865" creationId="{57B64B99-E628-6451-FE0C-895BF56E8EF5}"/>
          </ac:cxnSpMkLst>
        </pc:cxnChg>
        <pc:cxnChg chg="add mod ord">
          <ac:chgData name="Yudi Zhu" userId="571e1a55-055f-4c28-8b35-fca6dd1c1369" providerId="ADAL" clId="{75A88773-6EE1-484E-AADE-FE631E01463B}" dt="2025-11-21T06:21:38.505" v="127452" actId="13822"/>
          <ac:cxnSpMkLst>
            <pc:docMk/>
            <pc:sldMk cId="217569448" sldId="2147483088"/>
            <ac:cxnSpMk id="866" creationId="{82DFA25E-B077-207D-660F-9DFE90ED1BFA}"/>
          </ac:cxnSpMkLst>
        </pc:cxnChg>
        <pc:cxnChg chg="add mod ord">
          <ac:chgData name="Yudi Zhu" userId="571e1a55-055f-4c28-8b35-fca6dd1c1369" providerId="ADAL" clId="{75A88773-6EE1-484E-AADE-FE631E01463B}" dt="2025-11-21T06:21:38.505" v="127443" actId="13822"/>
          <ac:cxnSpMkLst>
            <pc:docMk/>
            <pc:sldMk cId="217569448" sldId="2147483088"/>
            <ac:cxnSpMk id="867" creationId="{65989800-2095-43F7-F340-2AA12C23BB88}"/>
          </ac:cxnSpMkLst>
        </pc:cxnChg>
        <pc:cxnChg chg="add mod ord">
          <ac:chgData name="Yudi Zhu" userId="571e1a55-055f-4c28-8b35-fca6dd1c1369" providerId="ADAL" clId="{75A88773-6EE1-484E-AADE-FE631E01463B}" dt="2025-11-21T06:21:38.489" v="127423" actId="13822"/>
          <ac:cxnSpMkLst>
            <pc:docMk/>
            <pc:sldMk cId="217569448" sldId="2147483088"/>
            <ac:cxnSpMk id="868" creationId="{8EFFFEE0-643B-F11C-85BE-5D0194DFB513}"/>
          </ac:cxnSpMkLst>
        </pc:cxnChg>
        <pc:cxnChg chg="add mod ord">
          <ac:chgData name="Yudi Zhu" userId="571e1a55-055f-4c28-8b35-fca6dd1c1369" providerId="ADAL" clId="{75A88773-6EE1-484E-AADE-FE631E01463B}" dt="2025-11-21T06:21:38.489" v="127404" actId="13822"/>
          <ac:cxnSpMkLst>
            <pc:docMk/>
            <pc:sldMk cId="217569448" sldId="2147483088"/>
            <ac:cxnSpMk id="869" creationId="{CEE3F905-84EB-1275-5F28-A0F38CD5A6C9}"/>
          </ac:cxnSpMkLst>
        </pc:cxnChg>
        <pc:cxnChg chg="add mod ord">
          <ac:chgData name="Yudi Zhu" userId="571e1a55-055f-4c28-8b35-fca6dd1c1369" providerId="ADAL" clId="{75A88773-6EE1-484E-AADE-FE631E01463B}" dt="2025-11-21T06:21:38.484" v="127391" actId="13822"/>
          <ac:cxnSpMkLst>
            <pc:docMk/>
            <pc:sldMk cId="217569448" sldId="2147483088"/>
            <ac:cxnSpMk id="870" creationId="{20E5CB6A-564B-2C38-C992-F7157F88B62D}"/>
          </ac:cxnSpMkLst>
        </pc:cxnChg>
        <pc:cxnChg chg="add mod ord">
          <ac:chgData name="Yudi Zhu" userId="571e1a55-055f-4c28-8b35-fca6dd1c1369" providerId="ADAL" clId="{75A88773-6EE1-484E-AADE-FE631E01463B}" dt="2025-11-21T06:21:38.473" v="127377" actId="13822"/>
          <ac:cxnSpMkLst>
            <pc:docMk/>
            <pc:sldMk cId="217569448" sldId="2147483088"/>
            <ac:cxnSpMk id="871" creationId="{FC4FC8B4-7129-6A5E-551F-CB9D6B992EB4}"/>
          </ac:cxnSpMkLst>
        </pc:cxnChg>
        <pc:cxnChg chg="add mod ord">
          <ac:chgData name="Yudi Zhu" userId="571e1a55-055f-4c28-8b35-fca6dd1c1369" providerId="ADAL" clId="{75A88773-6EE1-484E-AADE-FE631E01463B}" dt="2025-11-21T06:21:38.463" v="127358" actId="13822"/>
          <ac:cxnSpMkLst>
            <pc:docMk/>
            <pc:sldMk cId="217569448" sldId="2147483088"/>
            <ac:cxnSpMk id="872" creationId="{9B1B800C-C3B5-8F8A-F2CB-57D96F01BAAE}"/>
          </ac:cxnSpMkLst>
        </pc:cxnChg>
        <pc:cxnChg chg="add mod ord">
          <ac:chgData name="Yudi Zhu" userId="571e1a55-055f-4c28-8b35-fca6dd1c1369" providerId="ADAL" clId="{75A88773-6EE1-484E-AADE-FE631E01463B}" dt="2025-11-21T06:21:38.463" v="127349" actId="13822"/>
          <ac:cxnSpMkLst>
            <pc:docMk/>
            <pc:sldMk cId="217569448" sldId="2147483088"/>
            <ac:cxnSpMk id="873" creationId="{B61AC6CA-EEE0-B81B-0754-553D0EE70303}"/>
          </ac:cxnSpMkLst>
        </pc:cxnChg>
        <pc:cxnChg chg="add mod ord">
          <ac:chgData name="Yudi Zhu" userId="571e1a55-055f-4c28-8b35-fca6dd1c1369" providerId="ADAL" clId="{75A88773-6EE1-484E-AADE-FE631E01463B}" dt="2025-11-21T06:21:38.458" v="127339" actId="13822"/>
          <ac:cxnSpMkLst>
            <pc:docMk/>
            <pc:sldMk cId="217569448" sldId="2147483088"/>
            <ac:cxnSpMk id="874" creationId="{5CA77E17-5D52-7AEE-200A-CE71736093AD}"/>
          </ac:cxnSpMkLst>
        </pc:cxnChg>
        <pc:cxnChg chg="add mod ord">
          <ac:chgData name="Yudi Zhu" userId="571e1a55-055f-4c28-8b35-fca6dd1c1369" providerId="ADAL" clId="{75A88773-6EE1-484E-AADE-FE631E01463B}" dt="2025-11-21T06:21:38.442" v="127330" actId="13822"/>
          <ac:cxnSpMkLst>
            <pc:docMk/>
            <pc:sldMk cId="217569448" sldId="2147483088"/>
            <ac:cxnSpMk id="875" creationId="{03B6F4F0-47BE-44F1-B255-5E592E7B2C71}"/>
          </ac:cxnSpMkLst>
        </pc:cxnChg>
        <pc:cxnChg chg="add mod ord">
          <ac:chgData name="Yudi Zhu" userId="571e1a55-055f-4c28-8b35-fca6dd1c1369" providerId="ADAL" clId="{75A88773-6EE1-484E-AADE-FE631E01463B}" dt="2025-11-21T06:21:38.442" v="127302" actId="13822"/>
          <ac:cxnSpMkLst>
            <pc:docMk/>
            <pc:sldMk cId="217569448" sldId="2147483088"/>
            <ac:cxnSpMk id="876" creationId="{5FEDD839-9000-2603-ECD2-3B17476ED4D4}"/>
          </ac:cxnSpMkLst>
        </pc:cxnChg>
        <pc:cxnChg chg="add mod ord">
          <ac:chgData name="Yudi Zhu" userId="571e1a55-055f-4c28-8b35-fca6dd1c1369" providerId="ADAL" clId="{75A88773-6EE1-484E-AADE-FE631E01463B}" dt="2025-11-21T06:21:38.426" v="127289" actId="13822"/>
          <ac:cxnSpMkLst>
            <pc:docMk/>
            <pc:sldMk cId="217569448" sldId="2147483088"/>
            <ac:cxnSpMk id="877" creationId="{7E69CC49-150A-1496-4E5E-442C18EC0AC7}"/>
          </ac:cxnSpMkLst>
        </pc:cxnChg>
        <pc:cxnChg chg="add mod ord">
          <ac:chgData name="Yudi Zhu" userId="571e1a55-055f-4c28-8b35-fca6dd1c1369" providerId="ADAL" clId="{75A88773-6EE1-484E-AADE-FE631E01463B}" dt="2025-11-21T06:21:38.426" v="127280" actId="13822"/>
          <ac:cxnSpMkLst>
            <pc:docMk/>
            <pc:sldMk cId="217569448" sldId="2147483088"/>
            <ac:cxnSpMk id="878" creationId="{1DC16BC9-A285-5B57-847A-3CE3325D1376}"/>
          </ac:cxnSpMkLst>
        </pc:cxnChg>
        <pc:cxnChg chg="add mod ord">
          <ac:chgData name="Yudi Zhu" userId="571e1a55-055f-4c28-8b35-fca6dd1c1369" providerId="ADAL" clId="{75A88773-6EE1-484E-AADE-FE631E01463B}" dt="2025-11-21T06:21:38.426" v="127266" actId="13822"/>
          <ac:cxnSpMkLst>
            <pc:docMk/>
            <pc:sldMk cId="217569448" sldId="2147483088"/>
            <ac:cxnSpMk id="879" creationId="{2F000EAB-8953-3B55-D431-A5E0ACA7C38D}"/>
          </ac:cxnSpMkLst>
        </pc:cxnChg>
        <pc:cxnChg chg="add mod ord">
          <ac:chgData name="Yudi Zhu" userId="571e1a55-055f-4c28-8b35-fca6dd1c1369" providerId="ADAL" clId="{75A88773-6EE1-484E-AADE-FE631E01463B}" dt="2025-11-21T06:21:38.426" v="127257" actId="13822"/>
          <ac:cxnSpMkLst>
            <pc:docMk/>
            <pc:sldMk cId="217569448" sldId="2147483088"/>
            <ac:cxnSpMk id="880" creationId="{3F65F38F-049C-E833-54DD-FBAEAA1A6568}"/>
          </ac:cxnSpMkLst>
        </pc:cxnChg>
        <pc:cxnChg chg="add mod ord">
          <ac:chgData name="Yudi Zhu" userId="571e1a55-055f-4c28-8b35-fca6dd1c1369" providerId="ADAL" clId="{75A88773-6EE1-484E-AADE-FE631E01463B}" dt="2025-11-21T06:21:38.410" v="127232" actId="13822"/>
          <ac:cxnSpMkLst>
            <pc:docMk/>
            <pc:sldMk cId="217569448" sldId="2147483088"/>
            <ac:cxnSpMk id="881" creationId="{7A2CDB44-A566-8D25-F421-C428939AA90E}"/>
          </ac:cxnSpMkLst>
        </pc:cxnChg>
        <pc:cxnChg chg="add mod ord">
          <ac:chgData name="Yudi Zhu" userId="571e1a55-055f-4c28-8b35-fca6dd1c1369" providerId="ADAL" clId="{75A88773-6EE1-484E-AADE-FE631E01463B}" dt="2025-11-21T06:21:38.410" v="127219" actId="13822"/>
          <ac:cxnSpMkLst>
            <pc:docMk/>
            <pc:sldMk cId="217569448" sldId="2147483088"/>
            <ac:cxnSpMk id="882" creationId="{121D9B70-E22A-D414-CD71-CC15CA4FDC96}"/>
          </ac:cxnSpMkLst>
        </pc:cxnChg>
        <pc:cxnChg chg="add mod ord">
          <ac:chgData name="Yudi Zhu" userId="571e1a55-055f-4c28-8b35-fca6dd1c1369" providerId="ADAL" clId="{75A88773-6EE1-484E-AADE-FE631E01463B}" dt="2025-11-21T06:21:38.395" v="127210" actId="13822"/>
          <ac:cxnSpMkLst>
            <pc:docMk/>
            <pc:sldMk cId="217569448" sldId="2147483088"/>
            <ac:cxnSpMk id="883" creationId="{A9E10EA6-30F5-269A-60A7-D307D2D45FE3}"/>
          </ac:cxnSpMkLst>
        </pc:cxnChg>
        <pc:cxnChg chg="add mod ord">
          <ac:chgData name="Yudi Zhu" userId="571e1a55-055f-4c28-8b35-fca6dd1c1369" providerId="ADAL" clId="{75A88773-6EE1-484E-AADE-FE631E01463B}" dt="2025-11-21T06:21:38.395" v="127180" actId="13822"/>
          <ac:cxnSpMkLst>
            <pc:docMk/>
            <pc:sldMk cId="217569448" sldId="2147483088"/>
            <ac:cxnSpMk id="884" creationId="{FA8BB8E7-D7C7-95E2-E06E-4B787337CEC4}"/>
          </ac:cxnSpMkLst>
        </pc:cxnChg>
        <pc:cxnChg chg="add mod ord">
          <ac:chgData name="Yudi Zhu" userId="571e1a55-055f-4c28-8b35-fca6dd1c1369" providerId="ADAL" clId="{75A88773-6EE1-484E-AADE-FE631E01463B}" dt="2025-11-21T06:21:38.391" v="127167" actId="13822"/>
          <ac:cxnSpMkLst>
            <pc:docMk/>
            <pc:sldMk cId="217569448" sldId="2147483088"/>
            <ac:cxnSpMk id="885" creationId="{4352A923-8414-BA7B-3CF1-9B068F015307}"/>
          </ac:cxnSpMkLst>
        </pc:cxnChg>
        <pc:cxnChg chg="add mod ord">
          <ac:chgData name="Yudi Zhu" userId="571e1a55-055f-4c28-8b35-fca6dd1c1369" providerId="ADAL" clId="{75A88773-6EE1-484E-AADE-FE631E01463B}" dt="2025-11-21T06:21:38.387" v="127158" actId="13822"/>
          <ac:cxnSpMkLst>
            <pc:docMk/>
            <pc:sldMk cId="217569448" sldId="2147483088"/>
            <ac:cxnSpMk id="886" creationId="{4CB6967D-5B04-1E90-557A-AB327980F0CC}"/>
          </ac:cxnSpMkLst>
        </pc:cxnChg>
        <pc:cxnChg chg="add mod ord">
          <ac:chgData name="Yudi Zhu" userId="571e1a55-055f-4c28-8b35-fca6dd1c1369" providerId="ADAL" clId="{75A88773-6EE1-484E-AADE-FE631E01463B}" dt="2025-11-21T06:21:38.377" v="127134" actId="13822"/>
          <ac:cxnSpMkLst>
            <pc:docMk/>
            <pc:sldMk cId="217569448" sldId="2147483088"/>
            <ac:cxnSpMk id="887" creationId="{B8805EB7-D1B1-BEC6-5088-E2DF48AADBE9}"/>
          </ac:cxnSpMkLst>
        </pc:cxnChg>
        <pc:cxnChg chg="add mod ord">
          <ac:chgData name="Yudi Zhu" userId="571e1a55-055f-4c28-8b35-fca6dd1c1369" providerId="ADAL" clId="{75A88773-6EE1-484E-AADE-FE631E01463B}" dt="2025-11-21T06:21:38.372" v="127120" actId="13822"/>
          <ac:cxnSpMkLst>
            <pc:docMk/>
            <pc:sldMk cId="217569448" sldId="2147483088"/>
            <ac:cxnSpMk id="888" creationId="{45030AE8-EBAB-FF1D-F68E-4A7278599643}"/>
          </ac:cxnSpMkLst>
        </pc:cxnChg>
        <pc:cxnChg chg="add del mod ord">
          <ac:chgData name="Yudi Zhu" userId="571e1a55-055f-4c28-8b35-fca6dd1c1369" providerId="ADAL" clId="{75A88773-6EE1-484E-AADE-FE631E01463B}" dt="2025-11-21T06:22:05.274" v="131201"/>
          <ac:cxnSpMkLst>
            <pc:docMk/>
            <pc:sldMk cId="217569448" sldId="2147483088"/>
            <ac:cxnSpMk id="894" creationId="{199B60F9-C4BE-0228-448D-46F16D302FF8}"/>
          </ac:cxnSpMkLst>
        </pc:cxnChg>
        <pc:cxnChg chg="add del mod ord">
          <ac:chgData name="Yudi Zhu" userId="571e1a55-055f-4c28-8b35-fca6dd1c1369" providerId="ADAL" clId="{75A88773-6EE1-484E-AADE-FE631E01463B}" dt="2025-11-21T06:23:32.005" v="136848"/>
          <ac:cxnSpMkLst>
            <pc:docMk/>
            <pc:sldMk cId="217569448" sldId="2147483088"/>
            <ac:cxnSpMk id="903" creationId="{D0DF7150-F6B2-7D32-2D1C-477F07220A00}"/>
          </ac:cxnSpMkLst>
        </pc:cxnChg>
        <pc:cxnChg chg="add mod ord">
          <ac:chgData name="Yudi Zhu" userId="571e1a55-055f-4c28-8b35-fca6dd1c1369" providerId="ADAL" clId="{75A88773-6EE1-484E-AADE-FE631E01463B}" dt="2025-11-21T06:24:18.681" v="146086"/>
          <ac:cxnSpMkLst>
            <pc:docMk/>
            <pc:sldMk cId="217569448" sldId="2147483088"/>
            <ac:cxnSpMk id="909" creationId="{18E0DBCB-8191-8702-FBB1-9CB73BE76F4C}"/>
          </ac:cxnSpMkLst>
        </pc:cxnChg>
        <pc:cxnChg chg="add mod ord">
          <ac:chgData name="Yudi Zhu" userId="571e1a55-055f-4c28-8b35-fca6dd1c1369" providerId="ADAL" clId="{75A88773-6EE1-484E-AADE-FE631E01463B}" dt="2025-11-21T06:24:18.681" v="146088"/>
          <ac:cxnSpMkLst>
            <pc:docMk/>
            <pc:sldMk cId="217569448" sldId="2147483088"/>
            <ac:cxnSpMk id="910" creationId="{6AA7A4FD-E6B9-EC40-D077-854FFBB058A2}"/>
          </ac:cxnSpMkLst>
        </pc:cxnChg>
        <pc:cxnChg chg="add mod ord">
          <ac:chgData name="Yudi Zhu" userId="571e1a55-055f-4c28-8b35-fca6dd1c1369" providerId="ADAL" clId="{75A88773-6EE1-484E-AADE-FE631E01463B}" dt="2025-11-21T06:24:18.682" v="146090"/>
          <ac:cxnSpMkLst>
            <pc:docMk/>
            <pc:sldMk cId="217569448" sldId="2147483088"/>
            <ac:cxnSpMk id="911" creationId="{27DB44DA-8B4B-3C96-650B-1193421DC4B3}"/>
          </ac:cxnSpMkLst>
        </pc:cxnChg>
        <pc:cxnChg chg="add del mod ord">
          <ac:chgData name="Yudi Zhu" userId="571e1a55-055f-4c28-8b35-fca6dd1c1369" providerId="ADAL" clId="{75A88773-6EE1-484E-AADE-FE631E01463B}" dt="2025-11-21T06:23:31.785" v="136534"/>
          <ac:cxnSpMkLst>
            <pc:docMk/>
            <pc:sldMk cId="217569448" sldId="2147483088"/>
            <ac:cxnSpMk id="920" creationId="{39F4A1B1-84A1-7B1C-2C84-9D8C6C4CD853}"/>
          </ac:cxnSpMkLst>
        </pc:cxnChg>
        <pc:cxnChg chg="add del mod ord">
          <ac:chgData name="Yudi Zhu" userId="571e1a55-055f-4c28-8b35-fca6dd1c1369" providerId="ADAL" clId="{75A88773-6EE1-484E-AADE-FE631E01463B}" dt="2025-11-21T06:22:27.672" v="134265"/>
          <ac:cxnSpMkLst>
            <pc:docMk/>
            <pc:sldMk cId="217569448" sldId="2147483088"/>
            <ac:cxnSpMk id="921" creationId="{BE9FED83-047F-69F0-D741-1020630AC295}"/>
          </ac:cxnSpMkLst>
        </pc:cxnChg>
        <pc:cxnChg chg="add del mod ord">
          <ac:chgData name="Yudi Zhu" userId="571e1a55-055f-4c28-8b35-fca6dd1c1369" providerId="ADAL" clId="{75A88773-6EE1-484E-AADE-FE631E01463B}" dt="2025-11-21T06:23:31.797" v="136547"/>
          <ac:cxnSpMkLst>
            <pc:docMk/>
            <pc:sldMk cId="217569448" sldId="2147483088"/>
            <ac:cxnSpMk id="922" creationId="{5CFC1006-8DFA-217F-3D13-74275BFF597F}"/>
          </ac:cxnSpMkLst>
        </pc:cxnChg>
        <pc:cxnChg chg="add del mod ord">
          <ac:chgData name="Yudi Zhu" userId="571e1a55-055f-4c28-8b35-fca6dd1c1369" providerId="ADAL" clId="{75A88773-6EE1-484E-AADE-FE631E01463B}" dt="2025-11-21T06:22:27.687" v="134290"/>
          <ac:cxnSpMkLst>
            <pc:docMk/>
            <pc:sldMk cId="217569448" sldId="2147483088"/>
            <ac:cxnSpMk id="923" creationId="{E1E59B25-D2CD-50D7-12C8-987A924851E2}"/>
          </ac:cxnSpMkLst>
        </pc:cxnChg>
        <pc:cxnChg chg="add del mod ord">
          <ac:chgData name="Yudi Zhu" userId="571e1a55-055f-4c28-8b35-fca6dd1c1369" providerId="ADAL" clId="{75A88773-6EE1-484E-AADE-FE631E01463B}" dt="2025-11-21T06:23:31.824" v="136590"/>
          <ac:cxnSpMkLst>
            <pc:docMk/>
            <pc:sldMk cId="217569448" sldId="2147483088"/>
            <ac:cxnSpMk id="924" creationId="{545C2310-3BBB-0EB4-16F9-A63004874643}"/>
          </ac:cxnSpMkLst>
        </pc:cxnChg>
        <pc:cxnChg chg="add del mod ord">
          <ac:chgData name="Yudi Zhu" userId="571e1a55-055f-4c28-8b35-fca6dd1c1369" providerId="ADAL" clId="{75A88773-6EE1-484E-AADE-FE631E01463B}" dt="2025-11-21T06:23:31.838" v="136617"/>
          <ac:cxnSpMkLst>
            <pc:docMk/>
            <pc:sldMk cId="217569448" sldId="2147483088"/>
            <ac:cxnSpMk id="925" creationId="{C9E6F2E8-6D28-96A8-C3BF-A8FB0D06EB60}"/>
          </ac:cxnSpMkLst>
        </pc:cxnChg>
        <pc:cxnChg chg="add del mod ord">
          <ac:chgData name="Yudi Zhu" userId="571e1a55-055f-4c28-8b35-fca6dd1c1369" providerId="ADAL" clId="{75A88773-6EE1-484E-AADE-FE631E01463B}" dt="2025-11-21T06:22:27.718" v="134333"/>
          <ac:cxnSpMkLst>
            <pc:docMk/>
            <pc:sldMk cId="217569448" sldId="2147483088"/>
            <ac:cxnSpMk id="926" creationId="{A583EF46-DC24-D66A-149B-7F8E84B34ADF}"/>
          </ac:cxnSpMkLst>
        </pc:cxnChg>
        <pc:cxnChg chg="add mod ord">
          <ac:chgData name="Yudi Zhu" userId="571e1a55-055f-4c28-8b35-fca6dd1c1369" providerId="ADAL" clId="{75A88773-6EE1-484E-AADE-FE631E01463B}" dt="2025-11-21T06:24:18.704" v="146147"/>
          <ac:cxnSpMkLst>
            <pc:docMk/>
            <pc:sldMk cId="217569448" sldId="2147483088"/>
            <ac:cxnSpMk id="927" creationId="{5BA4DF05-2200-3081-CE76-46D0379884FC}"/>
          </ac:cxnSpMkLst>
        </pc:cxnChg>
        <pc:cxnChg chg="add mod ord">
          <ac:chgData name="Yudi Zhu" userId="571e1a55-055f-4c28-8b35-fca6dd1c1369" providerId="ADAL" clId="{75A88773-6EE1-484E-AADE-FE631E01463B}" dt="2025-11-21T06:24:18.704" v="146149"/>
          <ac:cxnSpMkLst>
            <pc:docMk/>
            <pc:sldMk cId="217569448" sldId="2147483088"/>
            <ac:cxnSpMk id="928" creationId="{248135D9-84F8-1664-AE9C-C3612F98F5BF}"/>
          </ac:cxnSpMkLst>
        </pc:cxnChg>
        <pc:cxnChg chg="add del mod ord">
          <ac:chgData name="Yudi Zhu" userId="571e1a55-055f-4c28-8b35-fca6dd1c1369" providerId="ADAL" clId="{75A88773-6EE1-484E-AADE-FE631E01463B}" dt="2025-11-21T06:23:31.901" v="136708"/>
          <ac:cxnSpMkLst>
            <pc:docMk/>
            <pc:sldMk cId="217569448" sldId="2147483088"/>
            <ac:cxnSpMk id="929" creationId="{65B3FC2C-52FE-C698-BFD6-8D5D12EA5B0E}"/>
          </ac:cxnSpMkLst>
        </pc:cxnChg>
        <pc:cxnChg chg="add del mod ord">
          <ac:chgData name="Yudi Zhu" userId="571e1a55-055f-4c28-8b35-fca6dd1c1369" providerId="ADAL" clId="{75A88773-6EE1-484E-AADE-FE631E01463B}" dt="2025-11-21T06:23:31.917" v="136729"/>
          <ac:cxnSpMkLst>
            <pc:docMk/>
            <pc:sldMk cId="217569448" sldId="2147483088"/>
            <ac:cxnSpMk id="930" creationId="{AA6D93CB-11D0-EA3C-25FC-6BAF23924E46}"/>
          </ac:cxnSpMkLst>
        </pc:cxnChg>
        <pc:cxnChg chg="add del mod ord">
          <ac:chgData name="Yudi Zhu" userId="571e1a55-055f-4c28-8b35-fca6dd1c1369" providerId="ADAL" clId="{75A88773-6EE1-484E-AADE-FE631E01463B}" dt="2025-11-21T06:22:27.746" v="134358"/>
          <ac:cxnSpMkLst>
            <pc:docMk/>
            <pc:sldMk cId="217569448" sldId="2147483088"/>
            <ac:cxnSpMk id="931" creationId="{5B09AD4D-39C0-6805-4B37-3CDA6B6DE6DE}"/>
          </ac:cxnSpMkLst>
        </pc:cxnChg>
        <pc:cxnChg chg="add mod ord">
          <ac:chgData name="Yudi Zhu" userId="571e1a55-055f-4c28-8b35-fca6dd1c1369" providerId="ADAL" clId="{75A88773-6EE1-484E-AADE-FE631E01463B}" dt="2025-11-21T06:24:18.720" v="146153"/>
          <ac:cxnSpMkLst>
            <pc:docMk/>
            <pc:sldMk cId="217569448" sldId="2147483088"/>
            <ac:cxnSpMk id="932" creationId="{23C415AD-5927-DBDF-CC38-34421C18869E}"/>
          </ac:cxnSpMkLst>
        </pc:cxnChg>
        <pc:cxnChg chg="add del mod ord">
          <ac:chgData name="Yudi Zhu" userId="571e1a55-055f-4c28-8b35-fca6dd1c1369" providerId="ADAL" clId="{75A88773-6EE1-484E-AADE-FE631E01463B}" dt="2025-11-21T06:23:31.965" v="136780"/>
          <ac:cxnSpMkLst>
            <pc:docMk/>
            <pc:sldMk cId="217569448" sldId="2147483088"/>
            <ac:cxnSpMk id="933" creationId="{AB290D3C-6078-4539-4769-974A57C0AABE}"/>
          </ac:cxnSpMkLst>
        </pc:cxnChg>
        <pc:cxnChg chg="add del mod ord">
          <ac:chgData name="Yudi Zhu" userId="571e1a55-055f-4c28-8b35-fca6dd1c1369" providerId="ADAL" clId="{75A88773-6EE1-484E-AADE-FE631E01463B}" dt="2025-11-21T06:22:27.760" v="134384"/>
          <ac:cxnSpMkLst>
            <pc:docMk/>
            <pc:sldMk cId="217569448" sldId="2147483088"/>
            <ac:cxnSpMk id="934" creationId="{DF3E20FC-0000-4B88-42FB-38424354CCED}"/>
          </ac:cxnSpMkLst>
        </pc:cxnChg>
        <pc:cxnChg chg="add del mod ord">
          <ac:chgData name="Yudi Zhu" userId="571e1a55-055f-4c28-8b35-fca6dd1c1369" providerId="ADAL" clId="{75A88773-6EE1-484E-AADE-FE631E01463B}" dt="2025-11-21T06:22:27.760" v="134382"/>
          <ac:cxnSpMkLst>
            <pc:docMk/>
            <pc:sldMk cId="217569448" sldId="2147483088"/>
            <ac:cxnSpMk id="935" creationId="{35600499-0C51-2552-66F6-25F28B0B3788}"/>
          </ac:cxnSpMkLst>
        </pc:cxnChg>
        <pc:cxnChg chg="add del mod ord">
          <ac:chgData name="Yudi Zhu" userId="571e1a55-055f-4c28-8b35-fca6dd1c1369" providerId="ADAL" clId="{75A88773-6EE1-484E-AADE-FE631E01463B}" dt="2025-11-21T06:23:31.973" v="136802"/>
          <ac:cxnSpMkLst>
            <pc:docMk/>
            <pc:sldMk cId="217569448" sldId="2147483088"/>
            <ac:cxnSpMk id="936" creationId="{C43F31BC-101C-811C-6737-38F3353F4091}"/>
          </ac:cxnSpMkLst>
        </pc:cxnChg>
        <pc:cxnChg chg="add del mod ord">
          <ac:chgData name="Yudi Zhu" userId="571e1a55-055f-4c28-8b35-fca6dd1c1369" providerId="ADAL" clId="{75A88773-6EE1-484E-AADE-FE631E01463B}" dt="2025-11-21T06:23:31.973" v="136800"/>
          <ac:cxnSpMkLst>
            <pc:docMk/>
            <pc:sldMk cId="217569448" sldId="2147483088"/>
            <ac:cxnSpMk id="937" creationId="{06F994A0-E4E7-4029-71DF-C6C724815FBF}"/>
          </ac:cxnSpMkLst>
        </pc:cxnChg>
        <pc:cxnChg chg="add del mod ord">
          <ac:chgData name="Yudi Zhu" userId="571e1a55-055f-4c28-8b35-fca6dd1c1369" providerId="ADAL" clId="{75A88773-6EE1-484E-AADE-FE631E01463B}" dt="2025-11-21T06:22:27.791" v="134417"/>
          <ac:cxnSpMkLst>
            <pc:docMk/>
            <pc:sldMk cId="217569448" sldId="2147483088"/>
            <ac:cxnSpMk id="938" creationId="{E4B39150-D1A7-C9C8-5293-380A348ADDE1}"/>
          </ac:cxnSpMkLst>
        </pc:cxnChg>
        <pc:cxnChg chg="add del mod ord">
          <ac:chgData name="Yudi Zhu" userId="571e1a55-055f-4c28-8b35-fca6dd1c1369" providerId="ADAL" clId="{75A88773-6EE1-484E-AADE-FE631E01463B}" dt="2025-11-21T06:23:31.989" v="136829"/>
          <ac:cxnSpMkLst>
            <pc:docMk/>
            <pc:sldMk cId="217569448" sldId="2147483088"/>
            <ac:cxnSpMk id="939" creationId="{8CEA7595-5223-CC76-FC19-5E52DB6686AE}"/>
          </ac:cxnSpMkLst>
        </pc:cxnChg>
        <pc:cxnChg chg="add del mod ord">
          <ac:chgData name="Yudi Zhu" userId="571e1a55-055f-4c28-8b35-fca6dd1c1369" providerId="ADAL" clId="{75A88773-6EE1-484E-AADE-FE631E01463B}" dt="2025-11-21T06:22:27.807" v="134443"/>
          <ac:cxnSpMkLst>
            <pc:docMk/>
            <pc:sldMk cId="217569448" sldId="2147483088"/>
            <ac:cxnSpMk id="940" creationId="{A97E8E23-1EF4-3CC4-409A-B81D20FF1E14}"/>
          </ac:cxnSpMkLst>
        </pc:cxnChg>
        <pc:cxnChg chg="add del mod ord">
          <ac:chgData name="Yudi Zhu" userId="571e1a55-055f-4c28-8b35-fca6dd1c1369" providerId="ADAL" clId="{75A88773-6EE1-484E-AADE-FE631E01463B}" dt="2025-11-21T06:22:27.807" v="134441"/>
          <ac:cxnSpMkLst>
            <pc:docMk/>
            <pc:sldMk cId="217569448" sldId="2147483088"/>
            <ac:cxnSpMk id="941" creationId="{103342C6-BBEB-83D5-3C10-6FA5A9F170B3}"/>
          </ac:cxnSpMkLst>
        </pc:cxnChg>
        <pc:cxnChg chg="add mod ord">
          <ac:chgData name="Yudi Zhu" userId="571e1a55-055f-4c28-8b35-fca6dd1c1369" providerId="ADAL" clId="{75A88773-6EE1-484E-AADE-FE631E01463B}" dt="2025-11-21T06:24:18.720" v="146157"/>
          <ac:cxnSpMkLst>
            <pc:docMk/>
            <pc:sldMk cId="217569448" sldId="2147483088"/>
            <ac:cxnSpMk id="942" creationId="{29FB8EE4-B905-0436-48A7-AD45D98E1402}"/>
          </ac:cxnSpMkLst>
        </pc:cxnChg>
        <pc:cxnChg chg="add del mod ord">
          <ac:chgData name="Yudi Zhu" userId="571e1a55-055f-4c28-8b35-fca6dd1c1369" providerId="ADAL" clId="{75A88773-6EE1-484E-AADE-FE631E01463B}" dt="2025-11-21T06:22:27.822" v="134471"/>
          <ac:cxnSpMkLst>
            <pc:docMk/>
            <pc:sldMk cId="217569448" sldId="2147483088"/>
            <ac:cxnSpMk id="943" creationId="{F17D4E5B-96DD-8868-E2BF-F7F3335F5DCE}"/>
          </ac:cxnSpMkLst>
        </pc:cxnChg>
        <pc:cxnChg chg="add del mod ord">
          <ac:chgData name="Yudi Zhu" userId="571e1a55-055f-4c28-8b35-fca6dd1c1369" providerId="ADAL" clId="{75A88773-6EE1-484E-AADE-FE631E01463B}" dt="2025-11-21T06:22:27.822" v="134469"/>
          <ac:cxnSpMkLst>
            <pc:docMk/>
            <pc:sldMk cId="217569448" sldId="2147483088"/>
            <ac:cxnSpMk id="944" creationId="{F84DC03E-D32A-6D8E-C66B-9BFD486C79B9}"/>
          </ac:cxnSpMkLst>
        </pc:cxnChg>
        <pc:cxnChg chg="add del mod ord">
          <ac:chgData name="Yudi Zhu" userId="571e1a55-055f-4c28-8b35-fca6dd1c1369" providerId="ADAL" clId="{75A88773-6EE1-484E-AADE-FE631E01463B}" dt="2025-11-21T06:22:27.846" v="134485"/>
          <ac:cxnSpMkLst>
            <pc:docMk/>
            <pc:sldMk cId="217569448" sldId="2147483088"/>
            <ac:cxnSpMk id="945" creationId="{D8CDA821-59F7-B818-D77C-9538D2DB225F}"/>
          </ac:cxnSpMkLst>
        </pc:cxnChg>
        <pc:cxnChg chg="add del mod ord">
          <ac:chgData name="Yudi Zhu" userId="571e1a55-055f-4c28-8b35-fca6dd1c1369" providerId="ADAL" clId="{75A88773-6EE1-484E-AADE-FE631E01463B}" dt="2025-11-21T06:22:27.838" v="134483"/>
          <ac:cxnSpMkLst>
            <pc:docMk/>
            <pc:sldMk cId="217569448" sldId="2147483088"/>
            <ac:cxnSpMk id="946" creationId="{9E5356E1-2E78-326E-E29C-B4218E5800EB}"/>
          </ac:cxnSpMkLst>
        </pc:cxnChg>
        <pc:cxnChg chg="add del mod ord">
          <ac:chgData name="Yudi Zhu" userId="571e1a55-055f-4c28-8b35-fca6dd1c1369" providerId="ADAL" clId="{75A88773-6EE1-484E-AADE-FE631E01463B}" dt="2025-11-21T06:22:27.854" v="134493"/>
          <ac:cxnSpMkLst>
            <pc:docMk/>
            <pc:sldMk cId="217569448" sldId="2147483088"/>
            <ac:cxnSpMk id="947" creationId="{0AA57DEE-C018-C268-4308-C41228D47D91}"/>
          </ac:cxnSpMkLst>
        </pc:cxnChg>
        <pc:cxnChg chg="add del mod ord">
          <ac:chgData name="Yudi Zhu" userId="571e1a55-055f-4c28-8b35-fca6dd1c1369" providerId="ADAL" clId="{75A88773-6EE1-484E-AADE-FE631E01463B}" dt="2025-11-21T06:23:32.068" v="136926"/>
          <ac:cxnSpMkLst>
            <pc:docMk/>
            <pc:sldMk cId="217569448" sldId="2147483088"/>
            <ac:cxnSpMk id="948" creationId="{E3756B27-D377-9900-4F98-9B3ECFE64A2D}"/>
          </ac:cxnSpMkLst>
        </pc:cxnChg>
        <pc:cxnChg chg="add del mod ord">
          <ac:chgData name="Yudi Zhu" userId="571e1a55-055f-4c28-8b35-fca6dd1c1369" providerId="ADAL" clId="{75A88773-6EE1-484E-AADE-FE631E01463B}" dt="2025-11-21T06:22:27.902" v="134542"/>
          <ac:cxnSpMkLst>
            <pc:docMk/>
            <pc:sldMk cId="217569448" sldId="2147483088"/>
            <ac:cxnSpMk id="949" creationId="{C86724B0-2444-3EB6-BCB8-224767E0FB57}"/>
          </ac:cxnSpMkLst>
        </pc:cxnChg>
        <pc:cxnChg chg="add del mod ord">
          <ac:chgData name="Yudi Zhu" userId="571e1a55-055f-4c28-8b35-fca6dd1c1369" providerId="ADAL" clId="{75A88773-6EE1-484E-AADE-FE631E01463B}" dt="2025-11-21T06:23:32.068" v="136913"/>
          <ac:cxnSpMkLst>
            <pc:docMk/>
            <pc:sldMk cId="217569448" sldId="2147483088"/>
            <ac:cxnSpMk id="952" creationId="{2057FD2A-E5D7-FEFE-A5D6-E352424EE045}"/>
          </ac:cxnSpMkLst>
        </pc:cxnChg>
        <pc:cxnChg chg="add del mod ord">
          <ac:chgData name="Yudi Zhu" userId="571e1a55-055f-4c28-8b35-fca6dd1c1369" providerId="ADAL" clId="{75A88773-6EE1-484E-AADE-FE631E01463B}" dt="2025-11-21T06:23:32.036" v="136883"/>
          <ac:cxnSpMkLst>
            <pc:docMk/>
            <pc:sldMk cId="217569448" sldId="2147483088"/>
            <ac:cxnSpMk id="959" creationId="{F7F7CC81-2FC6-5440-18B5-FAF913A35B60}"/>
          </ac:cxnSpMkLst>
        </pc:cxnChg>
        <pc:cxnChg chg="add del mod ord">
          <ac:chgData name="Yudi Zhu" userId="571e1a55-055f-4c28-8b35-fca6dd1c1369" providerId="ADAL" clId="{75A88773-6EE1-484E-AADE-FE631E01463B}" dt="2025-11-21T06:23:32.036" v="136881"/>
          <ac:cxnSpMkLst>
            <pc:docMk/>
            <pc:sldMk cId="217569448" sldId="2147483088"/>
            <ac:cxnSpMk id="960" creationId="{04EFCD47-8442-F555-5DDD-247ACFBC0ED5}"/>
          </ac:cxnSpMkLst>
        </pc:cxnChg>
        <pc:cxnChg chg="add del mod ord">
          <ac:chgData name="Yudi Zhu" userId="571e1a55-055f-4c28-8b35-fca6dd1c1369" providerId="ADAL" clId="{75A88773-6EE1-484E-AADE-FE631E01463B}" dt="2025-11-21T06:23:32.053" v="136900"/>
          <ac:cxnSpMkLst>
            <pc:docMk/>
            <pc:sldMk cId="217569448" sldId="2147483088"/>
            <ac:cxnSpMk id="961" creationId="{6D0BDA52-25DF-D491-7ECD-DE0D219B0001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0" creationId="{242C8269-9C26-8784-ED8C-4B3D9B37EAF9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1" creationId="{52159542-631A-018B-A5A3-004F5CBB0BA2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2" creationId="{ED18AE1F-B9FE-B75F-4EEA-9EF052A5B355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3" creationId="{D010C408-A29C-B1A7-3658-5280DE0D90F6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4" creationId="{1DE75FA3-AA53-B87D-58C5-BB3D2EDA094E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5" creationId="{10BD1B0C-B709-2A8F-2FCC-98F29FA3DE70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6" creationId="{40A1BBBF-EE38-74D6-14F8-D9380D585482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7" creationId="{3F85B620-3CAE-7B26-AD3C-0C2440204689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8" creationId="{E0767D0A-EBC9-9C98-6B38-DF7806CCE784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79" creationId="{04A9D2CE-4998-5C5B-EAA7-A2B518FCB87B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0" creationId="{394DC7C9-66F4-3D02-2CD2-356EFB818FD2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1" creationId="{274E5A63-015C-8819-CE39-9C2422CB61D9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2" creationId="{25122A8F-8581-86B0-02BE-F26B70A3780F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3" creationId="{06E660CF-2DC7-7FD8-44DB-D2361D14487A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4" creationId="{38F1AF23-8F73-B615-C96E-D89D03A25381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5" creationId="{20960DD9-EF3A-1918-B810-0C232834342D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6" creationId="{99B43657-88AE-A0AB-8CD7-6522264303A9}"/>
          </ac:cxnSpMkLst>
        </pc:cxnChg>
        <pc:cxnChg chg="add mod ord">
          <ac:chgData name="Yudi Zhu" userId="571e1a55-055f-4c28-8b35-fca6dd1c1369" providerId="ADAL" clId="{75A88773-6EE1-484E-AADE-FE631E01463B}" dt="2025-11-21T06:23:54.968" v="140019"/>
          <ac:cxnSpMkLst>
            <pc:docMk/>
            <pc:sldMk cId="217569448" sldId="2147483088"/>
            <ac:cxnSpMk id="987" creationId="{9303AE83-3C5C-29BB-A9C0-2445B2A75C65}"/>
          </ac:cxnSpMkLst>
        </pc:cxnChg>
        <pc:cxnChg chg="add del mod ord">
          <ac:chgData name="Yudi Zhu" userId="571e1a55-055f-4c28-8b35-fca6dd1c1369" providerId="ADAL" clId="{75A88773-6EE1-484E-AADE-FE631E01463B}" dt="2025-11-21T06:24:11.980" v="143551"/>
          <ac:cxnSpMkLst>
            <pc:docMk/>
            <pc:sldMk cId="217569448" sldId="2147483088"/>
            <ac:cxnSpMk id="994" creationId="{8E07A50C-E1AA-F308-B3A4-DECC3D26D220}"/>
          </ac:cxnSpMkLst>
        </pc:cxnChg>
        <pc:cxnChg chg="add del mod ord">
          <ac:chgData name="Yudi Zhu" userId="571e1a55-055f-4c28-8b35-fca6dd1c1369" providerId="ADAL" clId="{75A88773-6EE1-484E-AADE-FE631E01463B}" dt="2025-11-21T06:24:18.350" v="145588"/>
          <ac:cxnSpMkLst>
            <pc:docMk/>
            <pc:sldMk cId="217569448" sldId="2147483088"/>
            <ac:cxnSpMk id="995" creationId="{2C384ED2-5E2F-CFD3-E052-1A2920192818}"/>
          </ac:cxnSpMkLst>
        </pc:cxnChg>
        <pc:cxnChg chg="add del mod ord">
          <ac:chgData name="Yudi Zhu" userId="571e1a55-055f-4c28-8b35-fca6dd1c1369" providerId="ADAL" clId="{75A88773-6EE1-484E-AADE-FE631E01463B}" dt="2025-11-21T06:24:18.354" v="145616"/>
          <ac:cxnSpMkLst>
            <pc:docMk/>
            <pc:sldMk cId="217569448" sldId="2147483088"/>
            <ac:cxnSpMk id="996" creationId="{8E0420A2-C95D-182C-A8B2-B142904B1466}"/>
          </ac:cxnSpMkLst>
        </pc:cxnChg>
        <pc:cxnChg chg="add del mod ord">
          <ac:chgData name="Yudi Zhu" userId="571e1a55-055f-4c28-8b35-fca6dd1c1369" providerId="ADAL" clId="{75A88773-6EE1-484E-AADE-FE631E01463B}" dt="2025-11-21T06:24:18.385" v="145649"/>
          <ac:cxnSpMkLst>
            <pc:docMk/>
            <pc:sldMk cId="217569448" sldId="2147483088"/>
            <ac:cxnSpMk id="997" creationId="{BB8C19A9-DB0F-662A-37BE-6F995525CC25}"/>
          </ac:cxnSpMkLst>
        </pc:cxnChg>
        <pc:cxnChg chg="add mod ord">
          <ac:chgData name="Yudi Zhu" userId="571e1a55-055f-4c28-8b35-fca6dd1c1369" providerId="ADAL" clId="{75A88773-6EE1-484E-AADE-FE631E01463B}" dt="2025-11-21T06:24:18.704" v="146151"/>
          <ac:cxnSpMkLst>
            <pc:docMk/>
            <pc:sldMk cId="217569448" sldId="2147483088"/>
            <ac:cxnSpMk id="998" creationId="{9AFA6546-C38C-EE3E-85E6-E16B62034707}"/>
          </ac:cxnSpMkLst>
        </pc:cxnChg>
        <pc:cxnChg chg="add del mod ord">
          <ac:chgData name="Yudi Zhu" userId="571e1a55-055f-4c28-8b35-fca6dd1c1369" providerId="ADAL" clId="{75A88773-6EE1-484E-AADE-FE631E01463B}" dt="2025-11-21T06:24:18.417" v="145706"/>
          <ac:cxnSpMkLst>
            <pc:docMk/>
            <pc:sldMk cId="217569448" sldId="2147483088"/>
            <ac:cxnSpMk id="999" creationId="{40447F35-C7F1-80D2-F74B-3CA9F9037B97}"/>
          </ac:cxnSpMkLst>
        </pc:cxnChg>
        <pc:cxnChg chg="add del mod ord">
          <ac:chgData name="Yudi Zhu" userId="571e1a55-055f-4c28-8b35-fca6dd1c1369" providerId="ADAL" clId="{75A88773-6EE1-484E-AADE-FE631E01463B}" dt="2025-11-21T06:24:18.438" v="145727"/>
          <ac:cxnSpMkLst>
            <pc:docMk/>
            <pc:sldMk cId="217569448" sldId="2147483088"/>
            <ac:cxnSpMk id="1000" creationId="{7C642F71-2F95-FFE4-6825-572ECFC030DF}"/>
          </ac:cxnSpMkLst>
        </pc:cxnChg>
        <pc:cxnChg chg="add mod ord">
          <ac:chgData name="Yudi Zhu" userId="571e1a55-055f-4c28-8b35-fca6dd1c1369" providerId="ADAL" clId="{75A88773-6EE1-484E-AADE-FE631E01463B}" dt="2025-11-21T06:24:18.720" v="146159"/>
          <ac:cxnSpMkLst>
            <pc:docMk/>
            <pc:sldMk cId="217569448" sldId="2147483088"/>
            <ac:cxnSpMk id="1001" creationId="{6AB22975-206F-4524-D521-DBE5EB04FD72}"/>
          </ac:cxnSpMkLst>
        </pc:cxnChg>
        <pc:cxnChg chg="add del mod ord">
          <ac:chgData name="Yudi Zhu" userId="571e1a55-055f-4c28-8b35-fca6dd1c1369" providerId="ADAL" clId="{75A88773-6EE1-484E-AADE-FE631E01463B}" dt="2025-11-21T06:24:12.435" v="144032"/>
          <ac:cxnSpMkLst>
            <pc:docMk/>
            <pc:sldMk cId="217569448" sldId="2147483088"/>
            <ac:cxnSpMk id="1002" creationId="{2823B8CD-7B5F-EA06-1A68-0055E5851113}"/>
          </ac:cxnSpMkLst>
        </pc:cxnChg>
        <pc:cxnChg chg="add del mod ord">
          <ac:chgData name="Yudi Zhu" userId="571e1a55-055f-4c28-8b35-fca6dd1c1369" providerId="ADAL" clId="{75A88773-6EE1-484E-AADE-FE631E01463B}" dt="2025-11-21T06:24:18.497" v="145807"/>
          <ac:cxnSpMkLst>
            <pc:docMk/>
            <pc:sldMk cId="217569448" sldId="2147483088"/>
            <ac:cxnSpMk id="1003" creationId="{FABDFEA2-4755-1C3F-8612-425676BCEA0A}"/>
          </ac:cxnSpMkLst>
        </pc:cxnChg>
        <pc:cxnChg chg="add del mod ord">
          <ac:chgData name="Yudi Zhu" userId="571e1a55-055f-4c28-8b35-fca6dd1c1369" providerId="ADAL" clId="{75A88773-6EE1-484E-AADE-FE631E01463B}" dt="2025-11-21T06:24:18.521" v="145850"/>
          <ac:cxnSpMkLst>
            <pc:docMk/>
            <pc:sldMk cId="217569448" sldId="2147483088"/>
            <ac:cxnSpMk id="1004" creationId="{842F3395-81C0-6272-6F9D-E7CDB1C111D4}"/>
          </ac:cxnSpMkLst>
        </pc:cxnChg>
        <pc:cxnChg chg="add mod ord">
          <ac:chgData name="Yudi Zhu" userId="571e1a55-055f-4c28-8b35-fca6dd1c1369" providerId="ADAL" clId="{75A88773-6EE1-484E-AADE-FE631E01463B}" dt="2025-11-21T06:24:18.720" v="146161"/>
          <ac:cxnSpMkLst>
            <pc:docMk/>
            <pc:sldMk cId="217569448" sldId="2147483088"/>
            <ac:cxnSpMk id="1005" creationId="{22AA362A-F635-A999-58B5-8444BE8C3E45}"/>
          </ac:cxnSpMkLst>
        </pc:cxnChg>
        <pc:cxnChg chg="add del mod ord">
          <ac:chgData name="Yudi Zhu" userId="571e1a55-055f-4c28-8b35-fca6dd1c1369" providerId="ADAL" clId="{75A88773-6EE1-484E-AADE-FE631E01463B}" dt="2025-11-21T06:24:18.553" v="145922"/>
          <ac:cxnSpMkLst>
            <pc:docMk/>
            <pc:sldMk cId="217569448" sldId="2147483088"/>
            <ac:cxnSpMk id="1006" creationId="{BC5F77B4-1CDF-F4E5-FDFE-ED02AC3ACA80}"/>
          </ac:cxnSpMkLst>
        </pc:cxnChg>
        <pc:cxnChg chg="add mod ord">
          <ac:chgData name="Yudi Zhu" userId="571e1a55-055f-4c28-8b35-fca6dd1c1369" providerId="ADAL" clId="{75A88773-6EE1-484E-AADE-FE631E01463B}" dt="2025-11-21T06:24:18.720" v="146163"/>
          <ac:cxnSpMkLst>
            <pc:docMk/>
            <pc:sldMk cId="217569448" sldId="2147483088"/>
            <ac:cxnSpMk id="1007" creationId="{D1F0BC6F-4F09-EEDA-0EC5-AB8673947E91}"/>
          </ac:cxnSpMkLst>
        </pc:cxnChg>
        <pc:cxnChg chg="add mod ord">
          <ac:chgData name="Yudi Zhu" userId="571e1a55-055f-4c28-8b35-fca6dd1c1369" providerId="ADAL" clId="{75A88773-6EE1-484E-AADE-FE631E01463B}" dt="2025-11-21T06:24:18.720" v="146165"/>
          <ac:cxnSpMkLst>
            <pc:docMk/>
            <pc:sldMk cId="217569448" sldId="2147483088"/>
            <ac:cxnSpMk id="1008" creationId="{0FF3B654-7FB5-5339-D8AF-47064AC39368}"/>
          </ac:cxnSpMkLst>
        </pc:cxnChg>
        <pc:cxnChg chg="add mod ord">
          <ac:chgData name="Yudi Zhu" userId="571e1a55-055f-4c28-8b35-fca6dd1c1369" providerId="ADAL" clId="{75A88773-6EE1-484E-AADE-FE631E01463B}" dt="2025-11-21T06:24:18.720" v="146167"/>
          <ac:cxnSpMkLst>
            <pc:docMk/>
            <pc:sldMk cId="217569448" sldId="2147483088"/>
            <ac:cxnSpMk id="1009" creationId="{2D14932A-5A11-05EC-7280-7AAAB548BE4E}"/>
          </ac:cxnSpMkLst>
        </pc:cxnChg>
        <pc:cxnChg chg="add del mod ord">
          <ac:chgData name="Yudi Zhu" userId="571e1a55-055f-4c28-8b35-fca6dd1c1369" providerId="ADAL" clId="{75A88773-6EE1-484E-AADE-FE631E01463B}" dt="2025-11-21T06:24:12.748" v="144484"/>
          <ac:cxnSpMkLst>
            <pc:docMk/>
            <pc:sldMk cId="217569448" sldId="2147483088"/>
            <ac:cxnSpMk id="1010" creationId="{18739ABB-DA0E-366F-F03A-DDF31A72825B}"/>
          </ac:cxnSpMkLst>
        </pc:cxnChg>
        <pc:cxnChg chg="add mod ord">
          <ac:chgData name="Yudi Zhu" userId="571e1a55-055f-4c28-8b35-fca6dd1c1369" providerId="ADAL" clId="{75A88773-6EE1-484E-AADE-FE631E01463B}" dt="2025-11-21T06:24:18.720" v="146169"/>
          <ac:cxnSpMkLst>
            <pc:docMk/>
            <pc:sldMk cId="217569448" sldId="2147483088"/>
            <ac:cxnSpMk id="1011" creationId="{B6E16443-D4A9-02CD-7C51-549FB0508354}"/>
          </ac:cxnSpMkLst>
        </pc:cxnChg>
        <pc:cxnChg chg="add del mod ord">
          <ac:chgData name="Yudi Zhu" userId="571e1a55-055f-4c28-8b35-fca6dd1c1369" providerId="ADAL" clId="{75A88773-6EE1-484E-AADE-FE631E01463B}" dt="2025-11-21T06:24:18.296" v="145522"/>
          <ac:cxnSpMkLst>
            <pc:docMk/>
            <pc:sldMk cId="217569448" sldId="2147483088"/>
            <ac:cxnSpMk id="1014" creationId="{1237E67B-BB03-0E63-DAA7-2BECCA8493B1}"/>
          </ac:cxnSpMkLst>
        </pc:cxnChg>
        <pc:cxnChg chg="add del mod ord">
          <ac:chgData name="Yudi Zhu" userId="571e1a55-055f-4c28-8b35-fca6dd1c1369" providerId="ADAL" clId="{75A88773-6EE1-484E-AADE-FE631E01463B}" dt="2025-11-21T06:24:18.312" v="145536"/>
          <ac:cxnSpMkLst>
            <pc:docMk/>
            <pc:sldMk cId="217569448" sldId="2147483088"/>
            <ac:cxnSpMk id="1015" creationId="{C78CFC3C-306A-F431-7E71-98082988B4C9}"/>
          </ac:cxnSpMkLst>
        </pc:cxnChg>
        <pc:cxnChg chg="add del mod ord">
          <ac:chgData name="Yudi Zhu" userId="571e1a55-055f-4c28-8b35-fca6dd1c1369" providerId="ADAL" clId="{75A88773-6EE1-484E-AADE-FE631E01463B}" dt="2025-11-21T06:24:18.312" v="145534"/>
          <ac:cxnSpMkLst>
            <pc:docMk/>
            <pc:sldMk cId="217569448" sldId="2147483088"/>
            <ac:cxnSpMk id="1016" creationId="{7D9319A6-09BA-2764-81DF-7DBE535ED559}"/>
          </ac:cxnSpMkLst>
        </pc:cxnChg>
        <pc:cxnChg chg="add del mod ord">
          <ac:chgData name="Yudi Zhu" userId="571e1a55-055f-4c28-8b35-fca6dd1c1369" providerId="ADAL" clId="{75A88773-6EE1-484E-AADE-FE631E01463B}" dt="2025-11-21T06:24:18.325" v="145551"/>
          <ac:cxnSpMkLst>
            <pc:docMk/>
            <pc:sldMk cId="217569448" sldId="2147483088"/>
            <ac:cxnSpMk id="1017" creationId="{A5A5E6FD-3BBB-647B-5D28-91E5558C9B01}"/>
          </ac:cxnSpMkLst>
        </pc:cxnChg>
        <pc:cxnChg chg="add del mod ord">
          <ac:chgData name="Yudi Zhu" userId="571e1a55-055f-4c28-8b35-fca6dd1c1369" providerId="ADAL" clId="{75A88773-6EE1-484E-AADE-FE631E01463B}" dt="2025-11-21T06:24:18.324" v="145549"/>
          <ac:cxnSpMkLst>
            <pc:docMk/>
            <pc:sldMk cId="217569448" sldId="2147483088"/>
            <ac:cxnSpMk id="1018" creationId="{85AE9CA8-001D-AC7D-13E0-72BEB0D7A2DA}"/>
          </ac:cxnSpMkLst>
        </pc:cxnChg>
        <pc:cxnChg chg="add mod ord">
          <ac:chgData name="Yudi Zhu" userId="571e1a55-055f-4c28-8b35-fca6dd1c1369" providerId="ADAL" clId="{75A88773-6EE1-484E-AADE-FE631E01463B}" dt="2025-11-21T06:24:18.720" v="146171"/>
          <ac:cxnSpMkLst>
            <pc:docMk/>
            <pc:sldMk cId="217569448" sldId="2147483088"/>
            <ac:cxnSpMk id="1019" creationId="{74C44F92-141C-CBDA-542D-7D4D6C3D2B6F}"/>
          </ac:cxnSpMkLst>
        </pc:cxnChg>
        <pc:cxnChg chg="add del mod ord">
          <ac:chgData name="Yudi Zhu" userId="571e1a55-055f-4c28-8b35-fca6dd1c1369" providerId="ADAL" clId="{75A88773-6EE1-484E-AADE-FE631E01463B}" dt="2025-11-21T06:24:18.354" v="145614"/>
          <ac:cxnSpMkLst>
            <pc:docMk/>
            <pc:sldMk cId="217569448" sldId="2147483088"/>
            <ac:cxnSpMk id="1020" creationId="{258FCBDD-2BBA-DE58-81EC-F5B4975A9006}"/>
          </ac:cxnSpMkLst>
        </pc:cxnChg>
        <pc:cxnChg chg="add del mod ord">
          <ac:chgData name="Yudi Zhu" userId="571e1a55-055f-4c28-8b35-fca6dd1c1369" providerId="ADAL" clId="{75A88773-6EE1-484E-AADE-FE631E01463B}" dt="2025-11-21T06:24:18.370" v="145627"/>
          <ac:cxnSpMkLst>
            <pc:docMk/>
            <pc:sldMk cId="217569448" sldId="2147483088"/>
            <ac:cxnSpMk id="1021" creationId="{24BC6644-77B6-E651-0A7D-0D45F980DE0A}"/>
          </ac:cxnSpMkLst>
        </pc:cxnChg>
        <pc:cxnChg chg="add del mod ord">
          <ac:chgData name="Yudi Zhu" userId="571e1a55-055f-4c28-8b35-fca6dd1c1369" providerId="ADAL" clId="{75A88773-6EE1-484E-AADE-FE631E01463B}" dt="2025-11-21T06:24:18.370" v="145638"/>
          <ac:cxnSpMkLst>
            <pc:docMk/>
            <pc:sldMk cId="217569448" sldId="2147483088"/>
            <ac:cxnSpMk id="1022" creationId="{B1289B8F-B2DE-E96A-72D8-0AD18ADE89BC}"/>
          </ac:cxnSpMkLst>
        </pc:cxnChg>
        <pc:cxnChg chg="add mod ord">
          <ac:chgData name="Yudi Zhu" userId="571e1a55-055f-4c28-8b35-fca6dd1c1369" providerId="ADAL" clId="{75A88773-6EE1-484E-AADE-FE631E01463B}" dt="2025-11-21T06:24:18.720" v="146173"/>
          <ac:cxnSpMkLst>
            <pc:docMk/>
            <pc:sldMk cId="217569448" sldId="2147483088"/>
            <ac:cxnSpMk id="1023" creationId="{83988ED9-7EBD-51AE-E93D-92EB61748762}"/>
          </ac:cxnSpMkLst>
        </pc:cxnChg>
        <pc:cxnChg chg="add del mod ord">
          <ac:chgData name="Yudi Zhu" userId="571e1a55-055f-4c28-8b35-fca6dd1c1369" providerId="ADAL" clId="{75A88773-6EE1-484E-AADE-FE631E01463B}" dt="2025-11-21T06:24:18.401" v="145674"/>
          <ac:cxnSpMkLst>
            <pc:docMk/>
            <pc:sldMk cId="217569448" sldId="2147483088"/>
            <ac:cxnSpMk id="1024" creationId="{116A77A5-2679-8355-2C2B-6E4696044127}"/>
          </ac:cxnSpMkLst>
        </pc:cxnChg>
        <pc:cxnChg chg="add del mod ord">
          <ac:chgData name="Yudi Zhu" userId="571e1a55-055f-4c28-8b35-fca6dd1c1369" providerId="ADAL" clId="{75A88773-6EE1-484E-AADE-FE631E01463B}" dt="2025-11-21T06:24:18.417" v="145704"/>
          <ac:cxnSpMkLst>
            <pc:docMk/>
            <pc:sldMk cId="217569448" sldId="2147483088"/>
            <ac:cxnSpMk id="1025" creationId="{294FFE62-060B-F0CD-4270-820AB4FEADB6}"/>
          </ac:cxnSpMkLst>
        </pc:cxnChg>
        <pc:cxnChg chg="add del mod ord">
          <ac:chgData name="Yudi Zhu" userId="571e1a55-055f-4c28-8b35-fca6dd1c1369" providerId="ADAL" clId="{75A88773-6EE1-484E-AADE-FE631E01463B}" dt="2025-11-21T06:24:18.433" v="145717"/>
          <ac:cxnSpMkLst>
            <pc:docMk/>
            <pc:sldMk cId="217569448" sldId="2147483088"/>
            <ac:cxnSpMk id="1026" creationId="{AC00F570-9B0C-D03E-66D1-8D89CFA3255B}"/>
          </ac:cxnSpMkLst>
        </pc:cxnChg>
        <pc:cxnChg chg="add del mod ord">
          <ac:chgData name="Yudi Zhu" userId="571e1a55-055f-4c28-8b35-fca6dd1c1369" providerId="ADAL" clId="{75A88773-6EE1-484E-AADE-FE631E01463B}" dt="2025-11-21T06:24:18.432" v="145715"/>
          <ac:cxnSpMkLst>
            <pc:docMk/>
            <pc:sldMk cId="217569448" sldId="2147483088"/>
            <ac:cxnSpMk id="1027" creationId="{FB33215A-8112-8BC5-BCC2-7E10E0106CA6}"/>
          </ac:cxnSpMkLst>
        </pc:cxnChg>
        <pc:cxnChg chg="add del mod ord">
          <ac:chgData name="Yudi Zhu" userId="571e1a55-055f-4c28-8b35-fca6dd1c1369" providerId="ADAL" clId="{75A88773-6EE1-484E-AADE-FE631E01463B}" dt="2025-11-21T06:24:18.438" v="145725"/>
          <ac:cxnSpMkLst>
            <pc:docMk/>
            <pc:sldMk cId="217569448" sldId="2147483088"/>
            <ac:cxnSpMk id="1028" creationId="{214D9872-24BD-4DD4-190D-D3476014F513}"/>
          </ac:cxnSpMkLst>
        </pc:cxnChg>
        <pc:cxnChg chg="add mod ord">
          <ac:chgData name="Yudi Zhu" userId="571e1a55-055f-4c28-8b35-fca6dd1c1369" providerId="ADAL" clId="{75A88773-6EE1-484E-AADE-FE631E01463B}" dt="2025-11-21T06:24:18.720" v="146191"/>
          <ac:cxnSpMkLst>
            <pc:docMk/>
            <pc:sldMk cId="217569448" sldId="2147483088"/>
            <ac:cxnSpMk id="1029" creationId="{1F75A9EB-7EB1-FE67-5268-0EE95F86B516}"/>
          </ac:cxnSpMkLst>
        </pc:cxnChg>
        <pc:cxnChg chg="add mod ord">
          <ac:chgData name="Yudi Zhu" userId="571e1a55-055f-4c28-8b35-fca6dd1c1369" providerId="ADAL" clId="{75A88773-6EE1-484E-AADE-FE631E01463B}" dt="2025-11-21T06:24:18.720" v="146175"/>
          <ac:cxnSpMkLst>
            <pc:docMk/>
            <pc:sldMk cId="217569448" sldId="2147483088"/>
            <ac:cxnSpMk id="1030" creationId="{5803A41E-F3F5-AB38-0D5D-7A23F2E68342}"/>
          </ac:cxnSpMkLst>
        </pc:cxnChg>
        <pc:cxnChg chg="add del mod ord">
          <ac:chgData name="Yudi Zhu" userId="571e1a55-055f-4c28-8b35-fca6dd1c1369" providerId="ADAL" clId="{75A88773-6EE1-484E-AADE-FE631E01463B}" dt="2025-11-21T06:24:18.464" v="145769"/>
          <ac:cxnSpMkLst>
            <pc:docMk/>
            <pc:sldMk cId="217569448" sldId="2147483088"/>
            <ac:cxnSpMk id="1031" creationId="{59104C6D-DEFB-D892-016A-432DE6DB00CE}"/>
          </ac:cxnSpMkLst>
        </pc:cxnChg>
        <pc:cxnChg chg="add del mod ord">
          <ac:chgData name="Yudi Zhu" userId="571e1a55-055f-4c28-8b35-fca6dd1c1369" providerId="ADAL" clId="{75A88773-6EE1-484E-AADE-FE631E01463B}" dt="2025-11-21T06:24:18.496" v="145805"/>
          <ac:cxnSpMkLst>
            <pc:docMk/>
            <pc:sldMk cId="217569448" sldId="2147483088"/>
            <ac:cxnSpMk id="1032" creationId="{C12023EB-D250-6DE0-D5AA-B38F1B720697}"/>
          </ac:cxnSpMkLst>
        </pc:cxnChg>
        <pc:cxnChg chg="add del mod ord">
          <ac:chgData name="Yudi Zhu" userId="571e1a55-055f-4c28-8b35-fca6dd1c1369" providerId="ADAL" clId="{75A88773-6EE1-484E-AADE-FE631E01463B}" dt="2025-11-21T06:24:18.511" v="145823"/>
          <ac:cxnSpMkLst>
            <pc:docMk/>
            <pc:sldMk cId="217569448" sldId="2147483088"/>
            <ac:cxnSpMk id="1033" creationId="{A47DA768-7E9A-BA14-275C-2C67ED11BE2F}"/>
          </ac:cxnSpMkLst>
        </pc:cxnChg>
        <pc:cxnChg chg="add mod ord">
          <ac:chgData name="Yudi Zhu" userId="571e1a55-055f-4c28-8b35-fca6dd1c1369" providerId="ADAL" clId="{75A88773-6EE1-484E-AADE-FE631E01463B}" dt="2025-11-21T06:24:18.720" v="146177"/>
          <ac:cxnSpMkLst>
            <pc:docMk/>
            <pc:sldMk cId="217569448" sldId="2147483088"/>
            <ac:cxnSpMk id="1034" creationId="{4E24066F-169D-0620-4758-733A31E9167D}"/>
          </ac:cxnSpMkLst>
        </pc:cxnChg>
        <pc:cxnChg chg="add del mod ord">
          <ac:chgData name="Yudi Zhu" userId="571e1a55-055f-4c28-8b35-fca6dd1c1369" providerId="ADAL" clId="{75A88773-6EE1-484E-AADE-FE631E01463B}" dt="2025-11-21T06:24:18.539" v="145873"/>
          <ac:cxnSpMkLst>
            <pc:docMk/>
            <pc:sldMk cId="217569448" sldId="2147483088"/>
            <ac:cxnSpMk id="1035" creationId="{CC6775F4-C6AF-5CD5-ABA4-7EAE70231AF5}"/>
          </ac:cxnSpMkLst>
        </pc:cxnChg>
        <pc:cxnChg chg="add del mod ord">
          <ac:chgData name="Yudi Zhu" userId="571e1a55-055f-4c28-8b35-fca6dd1c1369" providerId="ADAL" clId="{75A88773-6EE1-484E-AADE-FE631E01463B}" dt="2025-11-21T06:24:18.539" v="145871"/>
          <ac:cxnSpMkLst>
            <pc:docMk/>
            <pc:sldMk cId="217569448" sldId="2147483088"/>
            <ac:cxnSpMk id="1036" creationId="{8921353E-78D7-CB33-0C70-FF82A3F09063}"/>
          </ac:cxnSpMkLst>
        </pc:cxnChg>
        <pc:cxnChg chg="add mod ord">
          <ac:chgData name="Yudi Zhu" userId="571e1a55-055f-4c28-8b35-fca6dd1c1369" providerId="ADAL" clId="{75A88773-6EE1-484E-AADE-FE631E01463B}" dt="2025-11-21T06:24:18.720" v="146179"/>
          <ac:cxnSpMkLst>
            <pc:docMk/>
            <pc:sldMk cId="217569448" sldId="2147483088"/>
            <ac:cxnSpMk id="1037" creationId="{C7AEEB59-F84B-6F96-076C-51A2867223D8}"/>
          </ac:cxnSpMkLst>
        </pc:cxnChg>
        <pc:cxnChg chg="add mod ord">
          <ac:chgData name="Yudi Zhu" userId="571e1a55-055f-4c28-8b35-fca6dd1c1369" providerId="ADAL" clId="{75A88773-6EE1-484E-AADE-FE631E01463B}" dt="2025-11-21T06:24:18.720" v="146181"/>
          <ac:cxnSpMkLst>
            <pc:docMk/>
            <pc:sldMk cId="217569448" sldId="2147483088"/>
            <ac:cxnSpMk id="1038" creationId="{1938D7B8-63EC-5080-8136-D50F5F5440B2}"/>
          </ac:cxnSpMkLst>
        </pc:cxnChg>
        <pc:cxnChg chg="add del mod ord">
          <ac:chgData name="Yudi Zhu" userId="571e1a55-055f-4c28-8b35-fca6dd1c1369" providerId="ADAL" clId="{75A88773-6EE1-484E-AADE-FE631E01463B}" dt="2025-11-21T06:24:18.568" v="145948"/>
          <ac:cxnSpMkLst>
            <pc:docMk/>
            <pc:sldMk cId="217569448" sldId="2147483088"/>
            <ac:cxnSpMk id="1039" creationId="{ECC9B21E-254A-D659-A46C-318F3C11DA58}"/>
          </ac:cxnSpMkLst>
        </pc:cxnChg>
        <pc:cxnChg chg="add del mod ord">
          <ac:chgData name="Yudi Zhu" userId="571e1a55-055f-4c28-8b35-fca6dd1c1369" providerId="ADAL" clId="{75A88773-6EE1-484E-AADE-FE631E01463B}" dt="2025-11-21T06:24:18.568" v="145946"/>
          <ac:cxnSpMkLst>
            <pc:docMk/>
            <pc:sldMk cId="217569448" sldId="2147483088"/>
            <ac:cxnSpMk id="1040" creationId="{D3F4F4A1-DAAB-4B42-922B-795029B97FB2}"/>
          </ac:cxnSpMkLst>
        </pc:cxnChg>
        <pc:cxnChg chg="add mod ord">
          <ac:chgData name="Yudi Zhu" userId="571e1a55-055f-4c28-8b35-fca6dd1c1369" providerId="ADAL" clId="{75A88773-6EE1-484E-AADE-FE631E01463B}" dt="2025-11-21T06:24:18.720" v="146183"/>
          <ac:cxnSpMkLst>
            <pc:docMk/>
            <pc:sldMk cId="217569448" sldId="2147483088"/>
            <ac:cxnSpMk id="1041" creationId="{8F739B39-384E-C3D6-21E2-8413DFD29A51}"/>
          </ac:cxnSpMkLst>
        </pc:cxnChg>
        <pc:cxnChg chg="add del mod ord">
          <ac:chgData name="Yudi Zhu" userId="571e1a55-055f-4c28-8b35-fca6dd1c1369" providerId="ADAL" clId="{75A88773-6EE1-484E-AADE-FE631E01463B}" dt="2025-11-21T06:24:18.600" v="146003"/>
          <ac:cxnSpMkLst>
            <pc:docMk/>
            <pc:sldMk cId="217569448" sldId="2147483088"/>
            <ac:cxnSpMk id="1042" creationId="{BB68C119-50FE-9C99-079C-68C715199B75}"/>
          </ac:cxnSpMkLst>
        </pc:cxnChg>
        <pc:cxnChg chg="add del mod ord">
          <ac:chgData name="Yudi Zhu" userId="571e1a55-055f-4c28-8b35-fca6dd1c1369" providerId="ADAL" clId="{75A88773-6EE1-484E-AADE-FE631E01463B}" dt="2025-11-21T06:24:18.600" v="146001"/>
          <ac:cxnSpMkLst>
            <pc:docMk/>
            <pc:sldMk cId="217569448" sldId="2147483088"/>
            <ac:cxnSpMk id="1043" creationId="{814F7245-F92C-A82E-F589-52CCE7822A63}"/>
          </ac:cxnSpMkLst>
        </pc:cxnChg>
        <pc:cxnChg chg="add del mod ord">
          <ac:chgData name="Yudi Zhu" userId="571e1a55-055f-4c28-8b35-fca6dd1c1369" providerId="ADAL" clId="{75A88773-6EE1-484E-AADE-FE631E01463B}" dt="2025-11-21T06:24:18.639" v="146052"/>
          <ac:cxnSpMkLst>
            <pc:docMk/>
            <pc:sldMk cId="217569448" sldId="2147483088"/>
            <ac:cxnSpMk id="1044" creationId="{DB48AE61-A3B1-3FDA-117E-8F786FE9A950}"/>
          </ac:cxnSpMkLst>
        </pc:cxnChg>
        <pc:cxnChg chg="add mod ord">
          <ac:chgData name="Yudi Zhu" userId="571e1a55-055f-4c28-8b35-fca6dd1c1369" providerId="ADAL" clId="{75A88773-6EE1-484E-AADE-FE631E01463B}" dt="2025-11-21T06:24:18.720" v="146185"/>
          <ac:cxnSpMkLst>
            <pc:docMk/>
            <pc:sldMk cId="217569448" sldId="2147483088"/>
            <ac:cxnSpMk id="1047" creationId="{2C01746D-322E-7A38-C73B-D436A2380566}"/>
          </ac:cxnSpMkLst>
        </pc:cxnChg>
        <pc:cxnChg chg="add mod ord">
          <ac:chgData name="Yudi Zhu" userId="571e1a55-055f-4c28-8b35-fca6dd1c1369" providerId="ADAL" clId="{75A88773-6EE1-484E-AADE-FE631E01463B}" dt="2025-11-21T06:24:18.720" v="146187"/>
          <ac:cxnSpMkLst>
            <pc:docMk/>
            <pc:sldMk cId="217569448" sldId="2147483088"/>
            <ac:cxnSpMk id="1048" creationId="{6120C853-24E9-9A40-B237-B9D94AB7AB99}"/>
          </ac:cxnSpMkLst>
        </pc:cxnChg>
        <pc:cxnChg chg="add mod ord">
          <ac:chgData name="Yudi Zhu" userId="571e1a55-055f-4c28-8b35-fca6dd1c1369" providerId="ADAL" clId="{75A88773-6EE1-484E-AADE-FE631E01463B}" dt="2025-11-21T06:24:18.720" v="146189"/>
          <ac:cxnSpMkLst>
            <pc:docMk/>
            <pc:sldMk cId="217569448" sldId="2147483088"/>
            <ac:cxnSpMk id="1049" creationId="{206A68AD-01AE-3AFB-837C-949B7837B12C}"/>
          </ac:cxnSpMkLst>
        </pc:cxnChg>
      </pc:sldChg>
      <pc:sldChg chg="addSp delSp modSp new del mod ord">
        <pc:chgData name="Yudi Zhu" userId="571e1a55-055f-4c28-8b35-fca6dd1c1369" providerId="ADAL" clId="{75A88773-6EE1-484E-AADE-FE631E01463B}" dt="2025-11-21T09:24:35.362" v="412310" actId="47"/>
        <pc:sldMkLst>
          <pc:docMk/>
          <pc:sldMk cId="755828523" sldId="2147483089"/>
        </pc:sldMkLst>
        <pc:spChg chg="mod ord">
          <ac:chgData name="Yudi Zhu" userId="571e1a55-055f-4c28-8b35-fca6dd1c1369" providerId="ADAL" clId="{75A88773-6EE1-484E-AADE-FE631E01463B}" dt="2025-11-21T09:22:52.585" v="406504"/>
          <ac:spMkLst>
            <pc:docMk/>
            <pc:sldMk cId="755828523" sldId="2147483089"/>
            <ac:spMk id="2" creationId="{953A163E-A834-9296-960A-A31304B8FE76}"/>
          </ac:spMkLst>
        </pc:spChg>
        <pc:spChg chg="del">
          <ac:chgData name="Yudi Zhu" userId="571e1a55-055f-4c28-8b35-fca6dd1c1369" providerId="ADAL" clId="{75A88773-6EE1-484E-AADE-FE631E01463B}" dt="2025-11-21T06:27:35.200" v="146298" actId="478"/>
          <ac:spMkLst>
            <pc:docMk/>
            <pc:sldMk cId="755828523" sldId="2147483089"/>
            <ac:spMk id="3" creationId="{BBEFBE55-4C67-27FE-3083-23E7DBE57482}"/>
          </ac:spMkLst>
        </pc:spChg>
        <pc:spChg chg="add del mod">
          <ac:chgData name="Yudi Zhu" userId="571e1a55-055f-4c28-8b35-fca6dd1c1369" providerId="ADAL" clId="{75A88773-6EE1-484E-AADE-FE631E01463B}" dt="2025-11-21T07:38:41.829" v="263983"/>
          <ac:spMkLst>
            <pc:docMk/>
            <pc:sldMk cId="755828523" sldId="2147483089"/>
            <ac:spMk id="4" creationId="{1E320187-E70B-936A-7572-67D0D7FF27AD}"/>
          </ac:spMkLst>
        </pc:spChg>
        <pc:spChg chg="add del mod modVis">
          <ac:chgData name="Yudi Zhu" userId="571e1a55-055f-4c28-8b35-fca6dd1c1369" providerId="ADAL" clId="{75A88773-6EE1-484E-AADE-FE631E01463B}" dt="2025-11-21T06:27:45.662" v="146560"/>
          <ac:spMkLst>
            <pc:docMk/>
            <pc:sldMk cId="755828523" sldId="2147483089"/>
            <ac:spMk id="5" creationId="{610AC075-EB6A-0DEB-5167-0C1E29406D75}"/>
          </ac:spMkLst>
        </pc:spChg>
        <pc:spChg chg="add del mod">
          <ac:chgData name="Yudi Zhu" userId="571e1a55-055f-4c28-8b35-fca6dd1c1369" providerId="ADAL" clId="{75A88773-6EE1-484E-AADE-FE631E01463B}" dt="2025-11-21T06:50:17.726" v="195565"/>
          <ac:spMkLst>
            <pc:docMk/>
            <pc:sldMk cId="755828523" sldId="2147483089"/>
            <ac:spMk id="6" creationId="{1D96BC05-6436-B5C9-2C2A-F835EFD36438}"/>
          </ac:spMkLst>
        </pc:spChg>
        <pc:spChg chg="add del mod">
          <ac:chgData name="Yudi Zhu" userId="571e1a55-055f-4c28-8b35-fca6dd1c1369" providerId="ADAL" clId="{75A88773-6EE1-484E-AADE-FE631E01463B}" dt="2025-11-21T06:50:17.733" v="195567"/>
          <ac:spMkLst>
            <pc:docMk/>
            <pc:sldMk cId="755828523" sldId="2147483089"/>
            <ac:spMk id="7" creationId="{8D4E9BD5-02F3-5620-CF25-A5EA26CCAACC}"/>
          </ac:spMkLst>
        </pc:spChg>
        <pc:spChg chg="add del mod">
          <ac:chgData name="Yudi Zhu" userId="571e1a55-055f-4c28-8b35-fca6dd1c1369" providerId="ADAL" clId="{75A88773-6EE1-484E-AADE-FE631E01463B}" dt="2025-11-21T06:50:17.733" v="195568"/>
          <ac:spMkLst>
            <pc:docMk/>
            <pc:sldMk cId="755828523" sldId="2147483089"/>
            <ac:spMk id="14" creationId="{E4301B9C-5492-21C4-8CF2-5E125ECFDBC3}"/>
          </ac:spMkLst>
        </pc:spChg>
        <pc:spChg chg="add del mod">
          <ac:chgData name="Yudi Zhu" userId="571e1a55-055f-4c28-8b35-fca6dd1c1369" providerId="ADAL" clId="{75A88773-6EE1-484E-AADE-FE631E01463B}" dt="2025-11-21T06:50:17.733" v="195571"/>
          <ac:spMkLst>
            <pc:docMk/>
            <pc:sldMk cId="755828523" sldId="2147483089"/>
            <ac:spMk id="15" creationId="{7A1124F5-6000-42C7-11F8-3FA4B63DE179}"/>
          </ac:spMkLst>
        </pc:spChg>
        <pc:spChg chg="add del mod">
          <ac:chgData name="Yudi Zhu" userId="571e1a55-055f-4c28-8b35-fca6dd1c1369" providerId="ADAL" clId="{75A88773-6EE1-484E-AADE-FE631E01463B}" dt="2025-11-21T06:50:17.733" v="195569"/>
          <ac:spMkLst>
            <pc:docMk/>
            <pc:sldMk cId="755828523" sldId="2147483089"/>
            <ac:spMk id="16" creationId="{5686B93C-27BC-911C-215B-E8A5DEF79256}"/>
          </ac:spMkLst>
        </pc:spChg>
        <pc:spChg chg="add del mod">
          <ac:chgData name="Yudi Zhu" userId="571e1a55-055f-4c28-8b35-fca6dd1c1369" providerId="ADAL" clId="{75A88773-6EE1-484E-AADE-FE631E01463B}" dt="2025-11-21T06:50:17.733" v="195566"/>
          <ac:spMkLst>
            <pc:docMk/>
            <pc:sldMk cId="755828523" sldId="2147483089"/>
            <ac:spMk id="17" creationId="{AE8445FF-E3B7-8447-2772-806D88C66FDB}"/>
          </ac:spMkLst>
        </pc:spChg>
        <pc:spChg chg="add del mod">
          <ac:chgData name="Yudi Zhu" userId="571e1a55-055f-4c28-8b35-fca6dd1c1369" providerId="ADAL" clId="{75A88773-6EE1-484E-AADE-FE631E01463B}" dt="2025-11-21T06:50:17.733" v="195572"/>
          <ac:spMkLst>
            <pc:docMk/>
            <pc:sldMk cId="755828523" sldId="2147483089"/>
            <ac:spMk id="18" creationId="{09A0B3A7-E519-7457-F3F7-238912CDA1C6}"/>
          </ac:spMkLst>
        </pc:spChg>
        <pc:spChg chg="add del mod">
          <ac:chgData name="Yudi Zhu" userId="571e1a55-055f-4c28-8b35-fca6dd1c1369" providerId="ADAL" clId="{75A88773-6EE1-484E-AADE-FE631E01463B}" dt="2025-11-21T06:50:17.733" v="195570"/>
          <ac:spMkLst>
            <pc:docMk/>
            <pc:sldMk cId="755828523" sldId="2147483089"/>
            <ac:spMk id="19" creationId="{7944A688-75E0-53A0-EB1B-B02C8F3E7C19}"/>
          </ac:spMkLst>
        </pc:spChg>
        <pc:spChg chg="add del mod">
          <ac:chgData name="Yudi Zhu" userId="571e1a55-055f-4c28-8b35-fca6dd1c1369" providerId="ADAL" clId="{75A88773-6EE1-484E-AADE-FE631E01463B}" dt="2025-11-21T06:50:17.733" v="195573"/>
          <ac:spMkLst>
            <pc:docMk/>
            <pc:sldMk cId="755828523" sldId="2147483089"/>
            <ac:spMk id="20" creationId="{EDE42EF4-5591-60FE-155F-1F23DD01BB35}"/>
          </ac:spMkLst>
        </pc:spChg>
        <pc:spChg chg="add del mod">
          <ac:chgData name="Yudi Zhu" userId="571e1a55-055f-4c28-8b35-fca6dd1c1369" providerId="ADAL" clId="{75A88773-6EE1-484E-AADE-FE631E01463B}" dt="2025-11-21T06:50:17.733" v="195574"/>
          <ac:spMkLst>
            <pc:docMk/>
            <pc:sldMk cId="755828523" sldId="2147483089"/>
            <ac:spMk id="21" creationId="{0DF70155-19F4-0C4F-70B6-33B7BA7523BF}"/>
          </ac:spMkLst>
        </pc:spChg>
        <pc:spChg chg="add del mod modVis">
          <ac:chgData name="Yudi Zhu" userId="571e1a55-055f-4c28-8b35-fca6dd1c1369" providerId="ADAL" clId="{75A88773-6EE1-484E-AADE-FE631E01463B}" dt="2025-11-21T06:28:02.999" v="147151"/>
          <ac:spMkLst>
            <pc:docMk/>
            <pc:sldMk cId="755828523" sldId="2147483089"/>
            <ac:spMk id="22" creationId="{33FAAD49-AF16-580B-418D-84173FDDFD28}"/>
          </ac:spMkLst>
        </pc:spChg>
        <pc:spChg chg="add del mod ord">
          <ac:chgData name="Yudi Zhu" userId="571e1a55-055f-4c28-8b35-fca6dd1c1369" providerId="ADAL" clId="{75A88773-6EE1-484E-AADE-FE631E01463B}" dt="2025-11-21T06:28:36.746" v="149045"/>
          <ac:spMkLst>
            <pc:docMk/>
            <pc:sldMk cId="755828523" sldId="2147483089"/>
            <ac:spMk id="23" creationId="{1CC642DE-0A3E-DFAF-40BB-8D7B581D99E5}"/>
          </ac:spMkLst>
        </pc:spChg>
        <pc:spChg chg="add del mod ord">
          <ac:chgData name="Yudi Zhu" userId="571e1a55-055f-4c28-8b35-fca6dd1c1369" providerId="ADAL" clId="{75A88773-6EE1-484E-AADE-FE631E01463B}" dt="2025-11-21T06:28:36.815" v="149119"/>
          <ac:spMkLst>
            <pc:docMk/>
            <pc:sldMk cId="755828523" sldId="2147483089"/>
            <ac:spMk id="24" creationId="{736E0DAD-2390-4379-1F82-ACEBD8CC40CA}"/>
          </ac:spMkLst>
        </pc:spChg>
        <pc:spChg chg="add del mod ord">
          <ac:chgData name="Yudi Zhu" userId="571e1a55-055f-4c28-8b35-fca6dd1c1369" providerId="ADAL" clId="{75A88773-6EE1-484E-AADE-FE631E01463B}" dt="2025-11-21T06:28:36.882" v="149231"/>
          <ac:spMkLst>
            <pc:docMk/>
            <pc:sldMk cId="755828523" sldId="2147483089"/>
            <ac:spMk id="25" creationId="{8182D175-8A23-14DF-411D-5BAD8F3C01D7}"/>
          </ac:spMkLst>
        </pc:spChg>
        <pc:spChg chg="add del mod ord">
          <ac:chgData name="Yudi Zhu" userId="571e1a55-055f-4c28-8b35-fca6dd1c1369" providerId="ADAL" clId="{75A88773-6EE1-484E-AADE-FE631E01463B}" dt="2025-11-21T06:28:36.988" v="149344"/>
          <ac:spMkLst>
            <pc:docMk/>
            <pc:sldMk cId="755828523" sldId="2147483089"/>
            <ac:spMk id="26" creationId="{8864A4C5-6139-E8A8-5045-1B8D672C2FA6}"/>
          </ac:spMkLst>
        </pc:spChg>
        <pc:spChg chg="add del mod ord">
          <ac:chgData name="Yudi Zhu" userId="571e1a55-055f-4c28-8b35-fca6dd1c1369" providerId="ADAL" clId="{75A88773-6EE1-484E-AADE-FE631E01463B}" dt="2025-11-21T06:28:37.051" v="149420"/>
          <ac:spMkLst>
            <pc:docMk/>
            <pc:sldMk cId="755828523" sldId="2147483089"/>
            <ac:spMk id="27" creationId="{BB389633-208A-C6FF-4EF3-7B36AD5FB997}"/>
          </ac:spMkLst>
        </pc:spChg>
        <pc:spChg chg="add del mod ord">
          <ac:chgData name="Yudi Zhu" userId="571e1a55-055f-4c28-8b35-fca6dd1c1369" providerId="ADAL" clId="{75A88773-6EE1-484E-AADE-FE631E01463B}" dt="2025-11-21T06:28:37.144" v="149532"/>
          <ac:spMkLst>
            <pc:docMk/>
            <pc:sldMk cId="755828523" sldId="2147483089"/>
            <ac:spMk id="28" creationId="{89587E78-ECE8-913D-B9BF-54F624DA3ED6}"/>
          </ac:spMkLst>
        </pc:spChg>
        <pc:spChg chg="add del mod ord">
          <ac:chgData name="Yudi Zhu" userId="571e1a55-055f-4c28-8b35-fca6dd1c1369" providerId="ADAL" clId="{75A88773-6EE1-484E-AADE-FE631E01463B}" dt="2025-11-21T06:28:37.202" v="149630"/>
          <ac:spMkLst>
            <pc:docMk/>
            <pc:sldMk cId="755828523" sldId="2147483089"/>
            <ac:spMk id="29" creationId="{448579A0-F9D4-0BF2-AB63-6BC1DA6A080F}"/>
          </ac:spMkLst>
        </pc:spChg>
        <pc:spChg chg="add del mod ord">
          <ac:chgData name="Yudi Zhu" userId="571e1a55-055f-4c28-8b35-fca6dd1c1369" providerId="ADAL" clId="{75A88773-6EE1-484E-AADE-FE631E01463B}" dt="2025-11-21T06:28:37.279" v="149706"/>
          <ac:spMkLst>
            <pc:docMk/>
            <pc:sldMk cId="755828523" sldId="2147483089"/>
            <ac:spMk id="30" creationId="{FEB54ABF-94F8-C76F-C30F-883EEAB64F93}"/>
          </ac:spMkLst>
        </pc:spChg>
        <pc:spChg chg="add del mod modVis">
          <ac:chgData name="Yudi Zhu" userId="571e1a55-055f-4c28-8b35-fca6dd1c1369" providerId="ADAL" clId="{75A88773-6EE1-484E-AADE-FE631E01463B}" dt="2025-11-21T06:28:08.731" v="147252"/>
          <ac:spMkLst>
            <pc:docMk/>
            <pc:sldMk cId="755828523" sldId="2147483089"/>
            <ac:spMk id="40" creationId="{38650362-3917-8CBC-0A5D-5CC3A8E64574}"/>
          </ac:spMkLst>
        </pc:spChg>
        <pc:spChg chg="add del mod">
          <ac:chgData name="Yudi Zhu" userId="571e1a55-055f-4c28-8b35-fca6dd1c1369" providerId="ADAL" clId="{75A88773-6EE1-484E-AADE-FE631E01463B}" dt="2025-11-21T07:37:14.127" v="260767"/>
          <ac:spMkLst>
            <pc:docMk/>
            <pc:sldMk cId="755828523" sldId="2147483089"/>
            <ac:spMk id="43" creationId="{189AC015-0A56-6CC4-1793-33E575ABA112}"/>
          </ac:spMkLst>
        </pc:spChg>
        <pc:spChg chg="add del mod modVis">
          <ac:chgData name="Yudi Zhu" userId="571e1a55-055f-4c28-8b35-fca6dd1c1369" providerId="ADAL" clId="{75A88773-6EE1-484E-AADE-FE631E01463B}" dt="2025-11-21T06:28:37.534" v="150023"/>
          <ac:spMkLst>
            <pc:docMk/>
            <pc:sldMk cId="755828523" sldId="2147483089"/>
            <ac:spMk id="44" creationId="{761FD03C-8CCB-B2E3-809F-B7C347ADE769}"/>
          </ac:spMkLst>
        </pc:spChg>
        <pc:spChg chg="add del mod">
          <ac:chgData name="Yudi Zhu" userId="571e1a55-055f-4c28-8b35-fca6dd1c1369" providerId="ADAL" clId="{75A88773-6EE1-484E-AADE-FE631E01463B}" dt="2025-11-21T06:28:37.583" v="150037"/>
          <ac:spMkLst>
            <pc:docMk/>
            <pc:sldMk cId="755828523" sldId="2147483089"/>
            <ac:spMk id="45" creationId="{BD4AD885-9B7B-70CA-3A39-2F59A5F396E4}"/>
          </ac:spMkLst>
        </pc:spChg>
        <pc:spChg chg="add del mod ord">
          <ac:chgData name="Yudi Zhu" userId="571e1a55-055f-4c28-8b35-fca6dd1c1369" providerId="ADAL" clId="{75A88773-6EE1-484E-AADE-FE631E01463B}" dt="2025-11-21T06:28:52.846" v="152756"/>
          <ac:spMkLst>
            <pc:docMk/>
            <pc:sldMk cId="755828523" sldId="2147483089"/>
            <ac:spMk id="46" creationId="{DE4ADAEA-A454-C7E0-1DF1-DDC8246E65E9}"/>
          </ac:spMkLst>
        </pc:spChg>
        <pc:spChg chg="add del mod ord">
          <ac:chgData name="Yudi Zhu" userId="571e1a55-055f-4c28-8b35-fca6dd1c1369" providerId="ADAL" clId="{75A88773-6EE1-484E-AADE-FE631E01463B}" dt="2025-11-21T06:28:52.846" v="152758"/>
          <ac:spMkLst>
            <pc:docMk/>
            <pc:sldMk cId="755828523" sldId="2147483089"/>
            <ac:spMk id="47" creationId="{403DF9B8-E1D3-EFEE-401D-3AC1966F352C}"/>
          </ac:spMkLst>
        </pc:spChg>
        <pc:spChg chg="add del mod ord">
          <ac:chgData name="Yudi Zhu" userId="571e1a55-055f-4c28-8b35-fca6dd1c1369" providerId="ADAL" clId="{75A88773-6EE1-484E-AADE-FE631E01463B}" dt="2025-11-21T06:28:41.328" v="151433"/>
          <ac:spMkLst>
            <pc:docMk/>
            <pc:sldMk cId="755828523" sldId="2147483089"/>
            <ac:spMk id="48" creationId="{77B27F63-9C58-7A80-76E6-1AB05D11CDFE}"/>
          </ac:spMkLst>
        </pc:spChg>
        <pc:spChg chg="add del mod ord">
          <ac:chgData name="Yudi Zhu" userId="571e1a55-055f-4c28-8b35-fca6dd1c1369" providerId="ADAL" clId="{75A88773-6EE1-484E-AADE-FE631E01463B}" dt="2025-11-21T06:28:41.328" v="151417"/>
          <ac:spMkLst>
            <pc:docMk/>
            <pc:sldMk cId="755828523" sldId="2147483089"/>
            <ac:spMk id="49" creationId="{49604C5D-48AA-E34C-DDDA-4FFFAD5096F9}"/>
          </ac:spMkLst>
        </pc:spChg>
        <pc:spChg chg="add del mod">
          <ac:chgData name="Yudi Zhu" userId="571e1a55-055f-4c28-8b35-fca6dd1c1369" providerId="ADAL" clId="{75A88773-6EE1-484E-AADE-FE631E01463B}" dt="2025-11-21T06:28:50.779" v="152560"/>
          <ac:spMkLst>
            <pc:docMk/>
            <pc:sldMk cId="755828523" sldId="2147483089"/>
            <ac:spMk id="50" creationId="{C075ED3D-4FBF-3EE0-F797-9DB0BC60B696}"/>
          </ac:spMkLst>
        </pc:spChg>
        <pc:spChg chg="add del mod ord">
          <ac:chgData name="Yudi Zhu" userId="571e1a55-055f-4c28-8b35-fca6dd1c1369" providerId="ADAL" clId="{75A88773-6EE1-484E-AADE-FE631E01463B}" dt="2025-11-21T06:28:52.846" v="152760"/>
          <ac:spMkLst>
            <pc:docMk/>
            <pc:sldMk cId="755828523" sldId="2147483089"/>
            <ac:spMk id="51" creationId="{EC909DC0-AAC1-718D-98B5-96CF3FD5BB65}"/>
          </ac:spMkLst>
        </pc:spChg>
        <pc:spChg chg="add del mod ord">
          <ac:chgData name="Yudi Zhu" userId="571e1a55-055f-4c28-8b35-fca6dd1c1369" providerId="ADAL" clId="{75A88773-6EE1-484E-AADE-FE631E01463B}" dt="2025-11-21T06:28:52.846" v="152762"/>
          <ac:spMkLst>
            <pc:docMk/>
            <pc:sldMk cId="755828523" sldId="2147483089"/>
            <ac:spMk id="52" creationId="{1469977C-003A-97C9-C3B3-53B7E1F7DEF9}"/>
          </ac:spMkLst>
        </pc:spChg>
        <pc:spChg chg="add del mod">
          <ac:chgData name="Yudi Zhu" userId="571e1a55-055f-4c28-8b35-fca6dd1c1369" providerId="ADAL" clId="{75A88773-6EE1-484E-AADE-FE631E01463B}" dt="2025-11-21T06:28:50.794" v="152562"/>
          <ac:spMkLst>
            <pc:docMk/>
            <pc:sldMk cId="755828523" sldId="2147483089"/>
            <ac:spMk id="53" creationId="{081D3A75-714D-D849-129A-719D23B07902}"/>
          </ac:spMkLst>
        </pc:spChg>
        <pc:spChg chg="add del mod ord">
          <ac:chgData name="Yudi Zhu" userId="571e1a55-055f-4c28-8b35-fca6dd1c1369" providerId="ADAL" clId="{75A88773-6EE1-484E-AADE-FE631E01463B}" dt="2025-11-21T06:28:41.431" v="151562"/>
          <ac:spMkLst>
            <pc:docMk/>
            <pc:sldMk cId="755828523" sldId="2147483089"/>
            <ac:spMk id="54" creationId="{8DDA747B-E69C-FFC1-BCDE-F4F8047AEFBA}"/>
          </ac:spMkLst>
        </pc:spChg>
        <pc:spChg chg="add del mod ord">
          <ac:chgData name="Yudi Zhu" userId="571e1a55-055f-4c28-8b35-fca6dd1c1369" providerId="ADAL" clId="{75A88773-6EE1-484E-AADE-FE631E01463B}" dt="2025-11-21T06:28:41.402" v="151532"/>
          <ac:spMkLst>
            <pc:docMk/>
            <pc:sldMk cId="755828523" sldId="2147483089"/>
            <ac:spMk id="55" creationId="{068B4819-E635-F156-8FAA-601BEEDCE353}"/>
          </ac:spMkLst>
        </pc:spChg>
        <pc:spChg chg="add del mod">
          <ac:chgData name="Yudi Zhu" userId="571e1a55-055f-4c28-8b35-fca6dd1c1369" providerId="ADAL" clId="{75A88773-6EE1-484E-AADE-FE631E01463B}" dt="2025-11-21T06:28:50.795" v="152563"/>
          <ac:spMkLst>
            <pc:docMk/>
            <pc:sldMk cId="755828523" sldId="2147483089"/>
            <ac:spMk id="56" creationId="{41AD3BF2-8539-C066-BCE3-8A157C94F20F}"/>
          </ac:spMkLst>
        </pc:spChg>
        <pc:spChg chg="add del mod">
          <ac:chgData name="Yudi Zhu" userId="571e1a55-055f-4c28-8b35-fca6dd1c1369" providerId="ADAL" clId="{75A88773-6EE1-484E-AADE-FE631E01463B}" dt="2025-11-21T06:28:50.795" v="152564"/>
          <ac:spMkLst>
            <pc:docMk/>
            <pc:sldMk cId="755828523" sldId="2147483089"/>
            <ac:spMk id="57" creationId="{75001F38-4937-1547-E836-1FD4B058DF64}"/>
          </ac:spMkLst>
        </pc:spChg>
        <pc:spChg chg="add del mod ord">
          <ac:chgData name="Yudi Zhu" userId="571e1a55-055f-4c28-8b35-fca6dd1c1369" providerId="ADAL" clId="{75A88773-6EE1-484E-AADE-FE631E01463B}" dt="2025-11-21T06:28:52.862" v="152809"/>
          <ac:spMkLst>
            <pc:docMk/>
            <pc:sldMk cId="755828523" sldId="2147483089"/>
            <ac:spMk id="58" creationId="{C1F2684A-DE55-6DA1-20AA-FA6667483F43}"/>
          </ac:spMkLst>
        </pc:spChg>
        <pc:spChg chg="add del mod">
          <ac:chgData name="Yudi Zhu" userId="571e1a55-055f-4c28-8b35-fca6dd1c1369" providerId="ADAL" clId="{75A88773-6EE1-484E-AADE-FE631E01463B}" dt="2025-11-21T06:28:41.556" v="151696"/>
          <ac:spMkLst>
            <pc:docMk/>
            <pc:sldMk cId="755828523" sldId="2147483089"/>
            <ac:spMk id="59" creationId="{DEBEC98C-E514-EB2F-51CA-A5103859B9DB}"/>
          </ac:spMkLst>
        </pc:spChg>
        <pc:spChg chg="add del mod">
          <ac:chgData name="Yudi Zhu" userId="571e1a55-055f-4c28-8b35-fca6dd1c1369" providerId="ADAL" clId="{75A88773-6EE1-484E-AADE-FE631E01463B}" dt="2025-11-21T06:28:50.779" v="152559"/>
          <ac:spMkLst>
            <pc:docMk/>
            <pc:sldMk cId="755828523" sldId="2147483089"/>
            <ac:spMk id="60" creationId="{8F906007-2162-ED8B-3AAD-2E55E55CBA36}"/>
          </ac:spMkLst>
        </pc:spChg>
        <pc:spChg chg="add del mod ord">
          <ac:chgData name="Yudi Zhu" userId="571e1a55-055f-4c28-8b35-fca6dd1c1369" providerId="ADAL" clId="{75A88773-6EE1-484E-AADE-FE631E01463B}" dt="2025-11-21T06:28:41.662" v="151829"/>
          <ac:spMkLst>
            <pc:docMk/>
            <pc:sldMk cId="755828523" sldId="2147483089"/>
            <ac:spMk id="61" creationId="{47E7DB53-2C91-4DD0-D3E4-4E130BA0FA5D}"/>
          </ac:spMkLst>
        </pc:spChg>
        <pc:spChg chg="add del mod ord">
          <ac:chgData name="Yudi Zhu" userId="571e1a55-055f-4c28-8b35-fca6dd1c1369" providerId="ADAL" clId="{75A88773-6EE1-484E-AADE-FE631E01463B}" dt="2025-11-21T06:28:41.630" v="151799"/>
          <ac:spMkLst>
            <pc:docMk/>
            <pc:sldMk cId="755828523" sldId="2147483089"/>
            <ac:spMk id="62" creationId="{161E35F5-DCE6-0423-BD41-312FDCE858F8}"/>
          </ac:spMkLst>
        </pc:spChg>
        <pc:spChg chg="add del mod">
          <ac:chgData name="Yudi Zhu" userId="571e1a55-055f-4c28-8b35-fca6dd1c1369" providerId="ADAL" clId="{75A88773-6EE1-484E-AADE-FE631E01463B}" dt="2025-11-21T06:28:50.779" v="152561"/>
          <ac:spMkLst>
            <pc:docMk/>
            <pc:sldMk cId="755828523" sldId="2147483089"/>
            <ac:spMk id="63" creationId="{691DDDA5-C713-CCFD-CD6D-75FECC088A9A}"/>
          </ac:spMkLst>
        </pc:spChg>
        <pc:spChg chg="add del mod">
          <ac:chgData name="Yudi Zhu" userId="571e1a55-055f-4c28-8b35-fca6dd1c1369" providerId="ADAL" clId="{75A88773-6EE1-484E-AADE-FE631E01463B}" dt="2025-11-21T06:28:50.795" v="152566"/>
          <ac:spMkLst>
            <pc:docMk/>
            <pc:sldMk cId="755828523" sldId="2147483089"/>
            <ac:spMk id="64" creationId="{36263297-2B84-3BA3-5B68-A1898987C8C8}"/>
          </ac:spMkLst>
        </pc:spChg>
        <pc:spChg chg="add del mod">
          <ac:chgData name="Yudi Zhu" userId="571e1a55-055f-4c28-8b35-fca6dd1c1369" providerId="ADAL" clId="{75A88773-6EE1-484E-AADE-FE631E01463B}" dt="2025-11-21T06:28:50.795" v="152567"/>
          <ac:spMkLst>
            <pc:docMk/>
            <pc:sldMk cId="755828523" sldId="2147483089"/>
            <ac:spMk id="65" creationId="{89C3C134-D457-1D68-098E-8DF8A99180CF}"/>
          </ac:spMkLst>
        </pc:spChg>
        <pc:spChg chg="add del mod ord">
          <ac:chgData name="Yudi Zhu" userId="571e1a55-055f-4c28-8b35-fca6dd1c1369" providerId="ADAL" clId="{75A88773-6EE1-484E-AADE-FE631E01463B}" dt="2025-11-21T06:28:41.980" v="152068"/>
          <ac:spMkLst>
            <pc:docMk/>
            <pc:sldMk cId="755828523" sldId="2147483089"/>
            <ac:spMk id="66" creationId="{E4CF2504-715E-6C47-0BE8-2CC4D45EB7BE}"/>
          </ac:spMkLst>
        </pc:spChg>
        <pc:spChg chg="add del mod ord">
          <ac:chgData name="Yudi Zhu" userId="571e1a55-055f-4c28-8b35-fca6dd1c1369" providerId="ADAL" clId="{75A88773-6EE1-484E-AADE-FE631E01463B}" dt="2025-11-21T06:28:41.933" v="152038"/>
          <ac:spMkLst>
            <pc:docMk/>
            <pc:sldMk cId="755828523" sldId="2147483089"/>
            <ac:spMk id="67" creationId="{8FFA675B-DC92-578B-4DF8-6F6816DA63BA}"/>
          </ac:spMkLst>
        </pc:spChg>
        <pc:spChg chg="add del mod ord">
          <ac:chgData name="Yudi Zhu" userId="571e1a55-055f-4c28-8b35-fca6dd1c1369" providerId="ADAL" clId="{75A88773-6EE1-484E-AADE-FE631E01463B}" dt="2025-11-21T06:28:41.898" v="152008"/>
          <ac:spMkLst>
            <pc:docMk/>
            <pc:sldMk cId="755828523" sldId="2147483089"/>
            <ac:spMk id="68" creationId="{395C0E10-9321-E479-AC99-72CC8CFB8DC7}"/>
          </ac:spMkLst>
        </pc:spChg>
        <pc:spChg chg="add del mod">
          <ac:chgData name="Yudi Zhu" userId="571e1a55-055f-4c28-8b35-fca6dd1c1369" providerId="ADAL" clId="{75A88773-6EE1-484E-AADE-FE631E01463B}" dt="2025-11-21T06:28:50.795" v="152565"/>
          <ac:spMkLst>
            <pc:docMk/>
            <pc:sldMk cId="755828523" sldId="2147483089"/>
            <ac:spMk id="69" creationId="{C30DA1EB-47FD-138C-D335-D1BB0C42E2B9}"/>
          </ac:spMkLst>
        </pc:spChg>
        <pc:spChg chg="add del mod ord">
          <ac:chgData name="Yudi Zhu" userId="571e1a55-055f-4c28-8b35-fca6dd1c1369" providerId="ADAL" clId="{75A88773-6EE1-484E-AADE-FE631E01463B}" dt="2025-11-21T06:28:39.933" v="150672"/>
          <ac:spMkLst>
            <pc:docMk/>
            <pc:sldMk cId="755828523" sldId="2147483089"/>
            <ac:spMk id="70" creationId="{BE582264-4EE4-59F8-E748-49346F56D948}"/>
          </ac:spMkLst>
        </pc:spChg>
        <pc:spChg chg="add del mod ord">
          <ac:chgData name="Yudi Zhu" userId="571e1a55-055f-4c28-8b35-fca6dd1c1369" providerId="ADAL" clId="{75A88773-6EE1-484E-AADE-FE631E01463B}" dt="2025-11-21T06:28:39.933" v="150675"/>
          <ac:spMkLst>
            <pc:docMk/>
            <pc:sldMk cId="755828523" sldId="2147483089"/>
            <ac:spMk id="71" creationId="{888295A6-D811-C918-558E-E604B214C0A9}"/>
          </ac:spMkLst>
        </pc:spChg>
        <pc:spChg chg="add del mod ord">
          <ac:chgData name="Yudi Zhu" userId="571e1a55-055f-4c28-8b35-fca6dd1c1369" providerId="ADAL" clId="{75A88773-6EE1-484E-AADE-FE631E01463B}" dt="2025-11-21T06:28:39.933" v="150678"/>
          <ac:spMkLst>
            <pc:docMk/>
            <pc:sldMk cId="755828523" sldId="2147483089"/>
            <ac:spMk id="72" creationId="{0B0B090E-5EE6-945B-0557-46EBB514FBF4}"/>
          </ac:spMkLst>
        </pc:spChg>
        <pc:spChg chg="add del mod">
          <ac:chgData name="Yudi Zhu" userId="571e1a55-055f-4c28-8b35-fca6dd1c1369" providerId="ADAL" clId="{75A88773-6EE1-484E-AADE-FE631E01463B}" dt="2025-11-21T06:28:40.366" v="150897"/>
          <ac:spMkLst>
            <pc:docMk/>
            <pc:sldMk cId="755828523" sldId="2147483089"/>
            <ac:spMk id="73" creationId="{59E2A6E5-41DA-CFBA-FA97-C5A53165395A}"/>
          </ac:spMkLst>
        </pc:spChg>
        <pc:spChg chg="add del mod ord">
          <ac:chgData name="Yudi Zhu" userId="571e1a55-055f-4c28-8b35-fca6dd1c1369" providerId="ADAL" clId="{75A88773-6EE1-484E-AADE-FE631E01463B}" dt="2025-11-21T06:28:37.979" v="150237"/>
          <ac:spMkLst>
            <pc:docMk/>
            <pc:sldMk cId="755828523" sldId="2147483089"/>
            <ac:spMk id="74" creationId="{BC8BDA9D-5B17-E7AB-0638-764CC2B979E7}"/>
          </ac:spMkLst>
        </pc:spChg>
        <pc:spChg chg="add del mod ord">
          <ac:chgData name="Yudi Zhu" userId="571e1a55-055f-4c28-8b35-fca6dd1c1369" providerId="ADAL" clId="{75A88773-6EE1-484E-AADE-FE631E01463B}" dt="2025-11-21T06:28:37.979" v="150239"/>
          <ac:spMkLst>
            <pc:docMk/>
            <pc:sldMk cId="755828523" sldId="2147483089"/>
            <ac:spMk id="75" creationId="{FB351EC4-78E3-5BC7-BF63-00FB639A28DB}"/>
          </ac:spMkLst>
        </pc:spChg>
        <pc:spChg chg="add del mod">
          <ac:chgData name="Yudi Zhu" userId="571e1a55-055f-4c28-8b35-fca6dd1c1369" providerId="ADAL" clId="{75A88773-6EE1-484E-AADE-FE631E01463B}" dt="2025-11-21T07:34:19.439" v="255221"/>
          <ac:spMkLst>
            <pc:docMk/>
            <pc:sldMk cId="755828523" sldId="2147483089"/>
            <ac:spMk id="111" creationId="{AAA06325-DD3B-1CF5-19E0-9763AE69D5C6}"/>
          </ac:spMkLst>
        </pc:spChg>
        <pc:spChg chg="add del mod modVis">
          <ac:chgData name="Yudi Zhu" userId="571e1a55-055f-4c28-8b35-fca6dd1c1369" providerId="ADAL" clId="{75A88773-6EE1-484E-AADE-FE631E01463B}" dt="2025-11-21T06:28:38.153" v="150500"/>
          <ac:spMkLst>
            <pc:docMk/>
            <pc:sldMk cId="755828523" sldId="2147483089"/>
            <ac:spMk id="112" creationId="{137BB942-B537-551E-3C0C-8D2310C0BA7F}"/>
          </ac:spMkLst>
        </pc:spChg>
        <pc:spChg chg="add del mod">
          <ac:chgData name="Yudi Zhu" userId="571e1a55-055f-4c28-8b35-fca6dd1c1369" providerId="ADAL" clId="{75A88773-6EE1-484E-AADE-FE631E01463B}" dt="2025-11-21T07:34:19.439" v="255224"/>
          <ac:spMkLst>
            <pc:docMk/>
            <pc:sldMk cId="755828523" sldId="2147483089"/>
            <ac:spMk id="113" creationId="{BACA35AB-657D-B05E-DF52-33CF5B061AD0}"/>
          </ac:spMkLst>
        </pc:spChg>
        <pc:spChg chg="add del mod">
          <ac:chgData name="Yudi Zhu" userId="571e1a55-055f-4c28-8b35-fca6dd1c1369" providerId="ADAL" clId="{75A88773-6EE1-484E-AADE-FE631E01463B}" dt="2025-11-21T07:34:19.446" v="255227"/>
          <ac:spMkLst>
            <pc:docMk/>
            <pc:sldMk cId="755828523" sldId="2147483089"/>
            <ac:spMk id="114" creationId="{7FFF1B82-CF66-34A4-7ED1-AA02B7DBB995}"/>
          </ac:spMkLst>
        </pc:spChg>
        <pc:spChg chg="add del mod">
          <ac:chgData name="Yudi Zhu" userId="571e1a55-055f-4c28-8b35-fca6dd1c1369" providerId="ADAL" clId="{75A88773-6EE1-484E-AADE-FE631E01463B}" dt="2025-11-21T07:35:43.480" v="258874"/>
          <ac:spMkLst>
            <pc:docMk/>
            <pc:sldMk cId="755828523" sldId="2147483089"/>
            <ac:spMk id="115" creationId="{E776C8B1-75DA-0EEE-827A-E179C8E4BA66}"/>
          </ac:spMkLst>
        </pc:spChg>
        <pc:spChg chg="add del mod">
          <ac:chgData name="Yudi Zhu" userId="571e1a55-055f-4c28-8b35-fca6dd1c1369" providerId="ADAL" clId="{75A88773-6EE1-484E-AADE-FE631E01463B}" dt="2025-11-21T06:28:50.779" v="152558"/>
          <ac:spMkLst>
            <pc:docMk/>
            <pc:sldMk cId="755828523" sldId="2147483089"/>
            <ac:spMk id="121" creationId="{F7A0312E-BF2F-F2C1-4AD4-15E61B410BCE}"/>
          </ac:spMkLst>
        </pc:spChg>
        <pc:spChg chg="add del mod ord">
          <ac:chgData name="Yudi Zhu" userId="571e1a55-055f-4c28-8b35-fca6dd1c1369" providerId="ADAL" clId="{75A88773-6EE1-484E-AADE-FE631E01463B}" dt="2025-11-21T06:28:52.846" v="152750"/>
          <ac:spMkLst>
            <pc:docMk/>
            <pc:sldMk cId="755828523" sldId="2147483089"/>
            <ac:spMk id="122" creationId="{E208E454-3C58-BEF4-6204-251DCBC80AA7}"/>
          </ac:spMkLst>
        </pc:spChg>
        <pc:spChg chg="add del mod ord">
          <ac:chgData name="Yudi Zhu" userId="571e1a55-055f-4c28-8b35-fca6dd1c1369" providerId="ADAL" clId="{75A88773-6EE1-484E-AADE-FE631E01463B}" dt="2025-11-21T06:28:52.846" v="152752"/>
          <ac:spMkLst>
            <pc:docMk/>
            <pc:sldMk cId="755828523" sldId="2147483089"/>
            <ac:spMk id="123" creationId="{25B202E4-C9FE-CF06-F11E-0597388894ED}"/>
          </ac:spMkLst>
        </pc:spChg>
        <pc:spChg chg="add del mod ord">
          <ac:chgData name="Yudi Zhu" userId="571e1a55-055f-4c28-8b35-fca6dd1c1369" providerId="ADAL" clId="{75A88773-6EE1-484E-AADE-FE631E01463B}" dt="2025-11-21T06:28:52.846" v="152748"/>
          <ac:spMkLst>
            <pc:docMk/>
            <pc:sldMk cId="755828523" sldId="2147483089"/>
            <ac:spMk id="124" creationId="{08EBF36E-61DA-92EE-B5A6-0ADBEE96C250}"/>
          </ac:spMkLst>
        </pc:spChg>
        <pc:spChg chg="add del mod ord">
          <ac:chgData name="Yudi Zhu" userId="571e1a55-055f-4c28-8b35-fca6dd1c1369" providerId="ADAL" clId="{75A88773-6EE1-484E-AADE-FE631E01463B}" dt="2025-11-21T06:28:52.844" v="152744"/>
          <ac:spMkLst>
            <pc:docMk/>
            <pc:sldMk cId="755828523" sldId="2147483089"/>
            <ac:spMk id="125" creationId="{9D86793C-7725-04DD-720B-EC89858ABA3D}"/>
          </ac:spMkLst>
        </pc:spChg>
        <pc:spChg chg="add del mod modVis">
          <ac:chgData name="Yudi Zhu" userId="571e1a55-055f-4c28-8b35-fca6dd1c1369" providerId="ADAL" clId="{75A88773-6EE1-484E-AADE-FE631E01463B}" dt="2025-11-21T06:28:42.362" v="152338"/>
          <ac:spMkLst>
            <pc:docMk/>
            <pc:sldMk cId="755828523" sldId="2147483089"/>
            <ac:spMk id="126" creationId="{D29B0BDB-BDD8-1F38-432F-E2FAFE10BF5B}"/>
          </ac:spMkLst>
        </pc:spChg>
        <pc:spChg chg="add del mod ord">
          <ac:chgData name="Yudi Zhu" userId="571e1a55-055f-4c28-8b35-fca6dd1c1369" providerId="ADAL" clId="{75A88773-6EE1-484E-AADE-FE631E01463B}" dt="2025-11-21T06:28:52.862" v="152794"/>
          <ac:spMkLst>
            <pc:docMk/>
            <pc:sldMk cId="755828523" sldId="2147483089"/>
            <ac:spMk id="127" creationId="{99714579-9AC3-B177-FA8F-67C7EC003102}"/>
          </ac:spMkLst>
        </pc:spChg>
        <pc:spChg chg="add del mod">
          <ac:chgData name="Yudi Zhu" userId="571e1a55-055f-4c28-8b35-fca6dd1c1369" providerId="ADAL" clId="{75A88773-6EE1-484E-AADE-FE631E01463B}" dt="2025-11-21T06:28:52.862" v="152805"/>
          <ac:spMkLst>
            <pc:docMk/>
            <pc:sldMk cId="755828523" sldId="2147483089"/>
            <ac:spMk id="128" creationId="{6F69801A-3E09-614E-F8EF-57BD4988E8A6}"/>
          </ac:spMkLst>
        </pc:spChg>
        <pc:spChg chg="add del mod ord">
          <ac:chgData name="Yudi Zhu" userId="571e1a55-055f-4c28-8b35-fca6dd1c1369" providerId="ADAL" clId="{75A88773-6EE1-484E-AADE-FE631E01463B}" dt="2025-11-21T06:28:52.862" v="152811"/>
          <ac:spMkLst>
            <pc:docMk/>
            <pc:sldMk cId="755828523" sldId="2147483089"/>
            <ac:spMk id="129" creationId="{602C0FC1-4F65-FBB7-DF98-752173019FED}"/>
          </ac:spMkLst>
        </pc:spChg>
        <pc:spChg chg="add del mod ord">
          <ac:chgData name="Yudi Zhu" userId="571e1a55-055f-4c28-8b35-fca6dd1c1369" providerId="ADAL" clId="{75A88773-6EE1-484E-AADE-FE631E01463B}" dt="2025-11-21T06:28:52.862" v="152807"/>
          <ac:spMkLst>
            <pc:docMk/>
            <pc:sldMk cId="755828523" sldId="2147483089"/>
            <ac:spMk id="130" creationId="{AF6F1985-7CBD-48A1-7EEB-735F2249BD38}"/>
          </ac:spMkLst>
        </pc:spChg>
        <pc:spChg chg="add del mod ord">
          <ac:chgData name="Yudi Zhu" userId="571e1a55-055f-4c28-8b35-fca6dd1c1369" providerId="ADAL" clId="{75A88773-6EE1-484E-AADE-FE631E01463B}" dt="2025-11-21T06:28:52.878" v="152841"/>
          <ac:spMkLst>
            <pc:docMk/>
            <pc:sldMk cId="755828523" sldId="2147483089"/>
            <ac:spMk id="131" creationId="{9967EA26-1939-2276-CE12-0C19CE1ABAF4}"/>
          </ac:spMkLst>
        </pc:spChg>
        <pc:spChg chg="add del mod ord">
          <ac:chgData name="Yudi Zhu" userId="571e1a55-055f-4c28-8b35-fca6dd1c1369" providerId="ADAL" clId="{75A88773-6EE1-484E-AADE-FE631E01463B}" dt="2025-11-21T06:28:52.862" v="152792"/>
          <ac:spMkLst>
            <pc:docMk/>
            <pc:sldMk cId="755828523" sldId="2147483089"/>
            <ac:spMk id="132" creationId="{6016322D-E2AA-29AF-CC72-2729F728C130}"/>
          </ac:spMkLst>
        </pc:spChg>
        <pc:spChg chg="add del mod ord">
          <ac:chgData name="Yudi Zhu" userId="571e1a55-055f-4c28-8b35-fca6dd1c1369" providerId="ADAL" clId="{75A88773-6EE1-484E-AADE-FE631E01463B}" dt="2025-11-21T06:32:11.211" v="153980"/>
          <ac:spMkLst>
            <pc:docMk/>
            <pc:sldMk cId="755828523" sldId="2147483089"/>
            <ac:spMk id="152" creationId="{17A9FF4A-3472-502E-CD3F-8730AC2A33C4}"/>
          </ac:spMkLst>
        </pc:spChg>
        <pc:spChg chg="add del mod modVis">
          <ac:chgData name="Yudi Zhu" userId="571e1a55-055f-4c28-8b35-fca6dd1c1369" providerId="ADAL" clId="{75A88773-6EE1-484E-AADE-FE631E01463B}" dt="2025-11-21T06:28:44.112" v="152555"/>
          <ac:spMkLst>
            <pc:docMk/>
            <pc:sldMk cId="755828523" sldId="2147483089"/>
            <ac:spMk id="155" creationId="{B8BB7779-F3B8-CA1D-8A4B-4358A11218F8}"/>
          </ac:spMkLst>
        </pc:spChg>
        <pc:spChg chg="add del mod modVis">
          <ac:chgData name="Yudi Zhu" userId="571e1a55-055f-4c28-8b35-fca6dd1c1369" providerId="ADAL" clId="{75A88773-6EE1-484E-AADE-FE631E01463B}" dt="2025-11-21T06:29:11.094" v="153075"/>
          <ac:spMkLst>
            <pc:docMk/>
            <pc:sldMk cId="755828523" sldId="2147483089"/>
            <ac:spMk id="159" creationId="{B5F2D80A-CDBE-3120-7638-5B51A1974CD3}"/>
          </ac:spMkLst>
        </pc:spChg>
        <pc:spChg chg="add del mod ord">
          <ac:chgData name="Yudi Zhu" userId="571e1a55-055f-4c28-8b35-fca6dd1c1369" providerId="ADAL" clId="{75A88773-6EE1-484E-AADE-FE631E01463B}" dt="2025-11-21T07:34:19.433" v="255220"/>
          <ac:spMkLst>
            <pc:docMk/>
            <pc:sldMk cId="755828523" sldId="2147483089"/>
            <ac:spMk id="161" creationId="{D7C7A34F-9435-43FF-7A14-24AF27C200D7}"/>
          </ac:spMkLst>
        </pc:spChg>
        <pc:spChg chg="add del mod ord">
          <ac:chgData name="Yudi Zhu" userId="571e1a55-055f-4c28-8b35-fca6dd1c1369" providerId="ADAL" clId="{75A88773-6EE1-484E-AADE-FE631E01463B}" dt="2025-11-21T07:34:19.439" v="255223"/>
          <ac:spMkLst>
            <pc:docMk/>
            <pc:sldMk cId="755828523" sldId="2147483089"/>
            <ac:spMk id="162" creationId="{ED91CF86-890C-90AA-30D2-DC6BFFF3C2BF}"/>
          </ac:spMkLst>
        </pc:spChg>
        <pc:spChg chg="add del mod ord">
          <ac:chgData name="Yudi Zhu" userId="571e1a55-055f-4c28-8b35-fca6dd1c1369" providerId="ADAL" clId="{75A88773-6EE1-484E-AADE-FE631E01463B}" dt="2025-11-21T07:34:19.439" v="255226"/>
          <ac:spMkLst>
            <pc:docMk/>
            <pc:sldMk cId="755828523" sldId="2147483089"/>
            <ac:spMk id="163" creationId="{B5E27FF8-8719-E6CD-410C-9D4063E6817E}"/>
          </ac:spMkLst>
        </pc:spChg>
        <pc:spChg chg="add del mod ord">
          <ac:chgData name="Yudi Zhu" userId="571e1a55-055f-4c28-8b35-fca6dd1c1369" providerId="ADAL" clId="{75A88773-6EE1-484E-AADE-FE631E01463B}" dt="2025-11-21T07:35:43.480" v="258873"/>
          <ac:spMkLst>
            <pc:docMk/>
            <pc:sldMk cId="755828523" sldId="2147483089"/>
            <ac:spMk id="164" creationId="{53C87306-3229-73B7-59CE-1DF6450616CB}"/>
          </ac:spMkLst>
        </pc:spChg>
        <pc:spChg chg="add del mod modVis">
          <ac:chgData name="Yudi Zhu" userId="571e1a55-055f-4c28-8b35-fca6dd1c1369" providerId="ADAL" clId="{75A88773-6EE1-484E-AADE-FE631E01463B}" dt="2025-11-21T06:29:34.013" v="153167"/>
          <ac:spMkLst>
            <pc:docMk/>
            <pc:sldMk cId="755828523" sldId="2147483089"/>
            <ac:spMk id="165" creationId="{DB6CC163-6EC5-F1E0-59F5-D3AEA7D7EC50}"/>
          </ac:spMkLst>
        </pc:spChg>
        <pc:spChg chg="add del mod modVis">
          <ac:chgData name="Yudi Zhu" userId="571e1a55-055f-4c28-8b35-fca6dd1c1369" providerId="ADAL" clId="{75A88773-6EE1-484E-AADE-FE631E01463B}" dt="2025-11-21T06:31:41.222" v="153562"/>
          <ac:spMkLst>
            <pc:docMk/>
            <pc:sldMk cId="755828523" sldId="2147483089"/>
            <ac:spMk id="167" creationId="{BE651D11-746F-5759-4495-AAF3D5526956}"/>
          </ac:spMkLst>
        </pc:spChg>
        <pc:spChg chg="add del mod ord">
          <ac:chgData name="Yudi Zhu" userId="571e1a55-055f-4c28-8b35-fca6dd1c1369" providerId="ADAL" clId="{75A88773-6EE1-484E-AADE-FE631E01463B}" dt="2025-11-21T06:32:19.021" v="154182"/>
          <ac:spMkLst>
            <pc:docMk/>
            <pc:sldMk cId="755828523" sldId="2147483089"/>
            <ac:spMk id="168" creationId="{AAB7BD4B-0E39-4C1D-61F1-3A4B40A754AF}"/>
          </ac:spMkLst>
        </pc:spChg>
        <pc:spChg chg="add del mod ord">
          <ac:chgData name="Yudi Zhu" userId="571e1a55-055f-4c28-8b35-fca6dd1c1369" providerId="ADAL" clId="{75A88773-6EE1-484E-AADE-FE631E01463B}" dt="2025-11-21T06:32:19.021" v="154184"/>
          <ac:spMkLst>
            <pc:docMk/>
            <pc:sldMk cId="755828523" sldId="2147483089"/>
            <ac:spMk id="169" creationId="{32924F99-C12C-BD65-9CD1-8A2C687640AA}"/>
          </ac:spMkLst>
        </pc:spChg>
        <pc:spChg chg="add del mod ord">
          <ac:chgData name="Yudi Zhu" userId="571e1a55-055f-4c28-8b35-fca6dd1c1369" providerId="ADAL" clId="{75A88773-6EE1-484E-AADE-FE631E01463B}" dt="2025-11-21T06:32:19.021" v="154180"/>
          <ac:spMkLst>
            <pc:docMk/>
            <pc:sldMk cId="755828523" sldId="2147483089"/>
            <ac:spMk id="170" creationId="{7BE79C34-04B5-4DB6-4033-73B1722F5384}"/>
          </ac:spMkLst>
        </pc:spChg>
        <pc:spChg chg="add del mod">
          <ac:chgData name="Yudi Zhu" userId="571e1a55-055f-4c28-8b35-fca6dd1c1369" providerId="ADAL" clId="{75A88773-6EE1-484E-AADE-FE631E01463B}" dt="2025-11-21T06:32:17.761" v="154113"/>
          <ac:spMkLst>
            <pc:docMk/>
            <pc:sldMk cId="755828523" sldId="2147483089"/>
            <ac:spMk id="171" creationId="{061125EB-2229-6352-6485-29353DF5ACFF}"/>
          </ac:spMkLst>
        </pc:spChg>
        <pc:spChg chg="add del mod">
          <ac:chgData name="Yudi Zhu" userId="571e1a55-055f-4c28-8b35-fca6dd1c1369" providerId="ADAL" clId="{75A88773-6EE1-484E-AADE-FE631E01463B}" dt="2025-11-21T06:32:19.021" v="154187"/>
          <ac:spMkLst>
            <pc:docMk/>
            <pc:sldMk cId="755828523" sldId="2147483089"/>
            <ac:spMk id="174" creationId="{ADB19030-4AF3-66C7-274F-0C4F4B57AFA1}"/>
          </ac:spMkLst>
        </pc:spChg>
        <pc:spChg chg="add del mod modVis">
          <ac:chgData name="Yudi Zhu" userId="571e1a55-055f-4c28-8b35-fca6dd1c1369" providerId="ADAL" clId="{75A88773-6EE1-484E-AADE-FE631E01463B}" dt="2025-11-21T06:31:46.479" v="153697"/>
          <ac:spMkLst>
            <pc:docMk/>
            <pc:sldMk cId="755828523" sldId="2147483089"/>
            <ac:spMk id="175" creationId="{B9161E68-6405-5BEC-C82E-BFCE9C3D0E22}"/>
          </ac:spMkLst>
        </pc:spChg>
        <pc:spChg chg="add del mod modVis">
          <ac:chgData name="Yudi Zhu" userId="571e1a55-055f-4c28-8b35-fca6dd1c1369" providerId="ADAL" clId="{75A88773-6EE1-484E-AADE-FE631E01463B}" dt="2025-11-21T06:31:50.412" v="153853"/>
          <ac:spMkLst>
            <pc:docMk/>
            <pc:sldMk cId="755828523" sldId="2147483089"/>
            <ac:spMk id="178" creationId="{CFC8BEC7-C00C-84EA-6940-D15DAEE64D4E}"/>
          </ac:spMkLst>
        </pc:spChg>
        <pc:spChg chg="add del mod modVis">
          <ac:chgData name="Yudi Zhu" userId="571e1a55-055f-4c28-8b35-fca6dd1c1369" providerId="ADAL" clId="{75A88773-6EE1-484E-AADE-FE631E01463B}" dt="2025-11-21T06:32:10.690" v="153956"/>
          <ac:spMkLst>
            <pc:docMk/>
            <pc:sldMk cId="755828523" sldId="2147483089"/>
            <ac:spMk id="181" creationId="{65D39415-1FC8-ECC3-EF08-FBE0A0F32509}"/>
          </ac:spMkLst>
        </pc:spChg>
        <pc:spChg chg="add del mod modVis">
          <ac:chgData name="Yudi Zhu" userId="571e1a55-055f-4c28-8b35-fca6dd1c1369" providerId="ADAL" clId="{75A88773-6EE1-484E-AADE-FE631E01463B}" dt="2025-11-21T06:32:11.473" v="154045"/>
          <ac:spMkLst>
            <pc:docMk/>
            <pc:sldMk cId="755828523" sldId="2147483089"/>
            <ac:spMk id="183" creationId="{DB462F50-B6AD-8088-C9DF-FA53135F0116}"/>
          </ac:spMkLst>
        </pc:spChg>
        <pc:spChg chg="add del mod modVis">
          <ac:chgData name="Yudi Zhu" userId="571e1a55-055f-4c28-8b35-fca6dd1c1369" providerId="ADAL" clId="{75A88773-6EE1-484E-AADE-FE631E01463B}" dt="2025-11-21T06:32:34.843" v="156167"/>
          <ac:spMkLst>
            <pc:docMk/>
            <pc:sldMk cId="755828523" sldId="2147483089"/>
            <ac:spMk id="188" creationId="{37F40A34-2345-B87F-7B1B-D6B4DF918D08}"/>
          </ac:spMkLst>
        </pc:spChg>
        <pc:spChg chg="add del mod ord">
          <ac:chgData name="Yudi Zhu" userId="571e1a55-055f-4c28-8b35-fca6dd1c1369" providerId="ADAL" clId="{75A88773-6EE1-484E-AADE-FE631E01463B}" dt="2025-11-21T07:34:19.382" v="255167"/>
          <ac:spMkLst>
            <pc:docMk/>
            <pc:sldMk cId="755828523" sldId="2147483089"/>
            <ac:spMk id="189" creationId="{A38A0DE1-4833-0E48-273A-DE66AAA9136E}"/>
          </ac:spMkLst>
        </pc:spChg>
        <pc:spChg chg="add del mod ord">
          <ac:chgData name="Yudi Zhu" userId="571e1a55-055f-4c28-8b35-fca6dd1c1369" providerId="ADAL" clId="{75A88773-6EE1-484E-AADE-FE631E01463B}" dt="2025-11-21T07:34:19.402" v="255184"/>
          <ac:spMkLst>
            <pc:docMk/>
            <pc:sldMk cId="755828523" sldId="2147483089"/>
            <ac:spMk id="190" creationId="{E16538C0-3D5F-4203-015A-27389412030D}"/>
          </ac:spMkLst>
        </pc:spChg>
        <pc:spChg chg="add del mod ord">
          <ac:chgData name="Yudi Zhu" userId="571e1a55-055f-4c28-8b35-fca6dd1c1369" providerId="ADAL" clId="{75A88773-6EE1-484E-AADE-FE631E01463B}" dt="2025-11-21T07:34:19.409" v="255199"/>
          <ac:spMkLst>
            <pc:docMk/>
            <pc:sldMk cId="755828523" sldId="2147483089"/>
            <ac:spMk id="191" creationId="{EDA41538-10ED-795F-0C27-38DCDE23D037}"/>
          </ac:spMkLst>
        </pc:spChg>
        <pc:spChg chg="add del mod ord">
          <ac:chgData name="Yudi Zhu" userId="571e1a55-055f-4c28-8b35-fca6dd1c1369" providerId="ADAL" clId="{75A88773-6EE1-484E-AADE-FE631E01463B}" dt="2025-11-21T07:34:20.032" v="255361"/>
          <ac:spMkLst>
            <pc:docMk/>
            <pc:sldMk cId="755828523" sldId="2147483089"/>
            <ac:spMk id="192" creationId="{785268F3-6588-CEAA-E7EF-3A9AABCEB157}"/>
          </ac:spMkLst>
        </pc:spChg>
        <pc:spChg chg="add del mod ord">
          <ac:chgData name="Yudi Zhu" userId="571e1a55-055f-4c28-8b35-fca6dd1c1369" providerId="ADAL" clId="{75A88773-6EE1-484E-AADE-FE631E01463B}" dt="2025-11-21T07:34:19.387" v="255168"/>
          <ac:spMkLst>
            <pc:docMk/>
            <pc:sldMk cId="755828523" sldId="2147483089"/>
            <ac:spMk id="193" creationId="{519A2482-49D4-6CDF-8CAF-AD01276B3C1C}"/>
          </ac:spMkLst>
        </pc:spChg>
        <pc:spChg chg="add del mod ord">
          <ac:chgData name="Yudi Zhu" userId="571e1a55-055f-4c28-8b35-fca6dd1c1369" providerId="ADAL" clId="{75A88773-6EE1-484E-AADE-FE631E01463B}" dt="2025-11-21T07:34:19.402" v="255185"/>
          <ac:spMkLst>
            <pc:docMk/>
            <pc:sldMk cId="755828523" sldId="2147483089"/>
            <ac:spMk id="194" creationId="{EA6E0424-A005-D6DA-17EC-54E141CFD37B}"/>
          </ac:spMkLst>
        </pc:spChg>
        <pc:spChg chg="add del mod ord">
          <ac:chgData name="Yudi Zhu" userId="571e1a55-055f-4c28-8b35-fca6dd1c1369" providerId="ADAL" clId="{75A88773-6EE1-484E-AADE-FE631E01463B}" dt="2025-11-21T07:34:19.409" v="255200"/>
          <ac:spMkLst>
            <pc:docMk/>
            <pc:sldMk cId="755828523" sldId="2147483089"/>
            <ac:spMk id="195" creationId="{E09338CA-55CD-233A-E604-15E21C3BA359}"/>
          </ac:spMkLst>
        </pc:spChg>
        <pc:spChg chg="add del mod ord">
          <ac:chgData name="Yudi Zhu" userId="571e1a55-055f-4c28-8b35-fca6dd1c1369" providerId="ADAL" clId="{75A88773-6EE1-484E-AADE-FE631E01463B}" dt="2025-11-21T07:38:39.550" v="263775"/>
          <ac:spMkLst>
            <pc:docMk/>
            <pc:sldMk cId="755828523" sldId="2147483089"/>
            <ac:spMk id="196" creationId="{0B6D1AD6-DDF3-4843-8C63-7126B6264FAE}"/>
          </ac:spMkLst>
        </pc:spChg>
        <pc:spChg chg="add del mod ord">
          <ac:chgData name="Yudi Zhu" userId="571e1a55-055f-4c28-8b35-fca6dd1c1369" providerId="ADAL" clId="{75A88773-6EE1-484E-AADE-FE631E01463B}" dt="2025-11-21T07:34:19.387" v="255169"/>
          <ac:spMkLst>
            <pc:docMk/>
            <pc:sldMk cId="755828523" sldId="2147483089"/>
            <ac:spMk id="197" creationId="{62402099-70CE-559E-944E-DF5A73B73C6E}"/>
          </ac:spMkLst>
        </pc:spChg>
        <pc:spChg chg="add del mod ord">
          <ac:chgData name="Yudi Zhu" userId="571e1a55-055f-4c28-8b35-fca6dd1c1369" providerId="ADAL" clId="{75A88773-6EE1-484E-AADE-FE631E01463B}" dt="2025-11-21T07:34:19.387" v="255170"/>
          <ac:spMkLst>
            <pc:docMk/>
            <pc:sldMk cId="755828523" sldId="2147483089"/>
            <ac:spMk id="198" creationId="{CD2DFD54-FAD9-AEBA-870F-AA24BFB83B1B}"/>
          </ac:spMkLst>
        </pc:spChg>
        <pc:spChg chg="add del mod ord">
          <ac:chgData name="Yudi Zhu" userId="571e1a55-055f-4c28-8b35-fca6dd1c1369" providerId="ADAL" clId="{75A88773-6EE1-484E-AADE-FE631E01463B}" dt="2025-11-21T07:34:19.402" v="255188"/>
          <ac:spMkLst>
            <pc:docMk/>
            <pc:sldMk cId="755828523" sldId="2147483089"/>
            <ac:spMk id="199" creationId="{D0E183DF-CF35-3F1C-5E9D-DC3DFF135170}"/>
          </ac:spMkLst>
        </pc:spChg>
        <pc:spChg chg="add del mod ord">
          <ac:chgData name="Yudi Zhu" userId="571e1a55-055f-4c28-8b35-fca6dd1c1369" providerId="ADAL" clId="{75A88773-6EE1-484E-AADE-FE631E01463B}" dt="2025-11-21T07:34:19.398" v="255173"/>
          <ac:spMkLst>
            <pc:docMk/>
            <pc:sldMk cId="755828523" sldId="2147483089"/>
            <ac:spMk id="200" creationId="{B6A680EC-E82B-15C6-F4F5-E507B42298C5}"/>
          </ac:spMkLst>
        </pc:spChg>
        <pc:spChg chg="add del mod ord">
          <ac:chgData name="Yudi Zhu" userId="571e1a55-055f-4c28-8b35-fca6dd1c1369" providerId="ADAL" clId="{75A88773-6EE1-484E-AADE-FE631E01463B}" dt="2025-11-21T07:38:39.550" v="263790"/>
          <ac:spMkLst>
            <pc:docMk/>
            <pc:sldMk cId="755828523" sldId="2147483089"/>
            <ac:spMk id="201" creationId="{D7ECEB66-5488-E807-5D5D-E256344EF198}"/>
          </ac:spMkLst>
        </pc:spChg>
        <pc:spChg chg="add del mod ord">
          <ac:chgData name="Yudi Zhu" userId="571e1a55-055f-4c28-8b35-fca6dd1c1369" providerId="ADAL" clId="{75A88773-6EE1-484E-AADE-FE631E01463B}" dt="2025-11-21T07:34:19.398" v="255174"/>
          <ac:spMkLst>
            <pc:docMk/>
            <pc:sldMk cId="755828523" sldId="2147483089"/>
            <ac:spMk id="202" creationId="{8C2A606B-B469-4D4B-1351-5BBE9071CF38}"/>
          </ac:spMkLst>
        </pc:spChg>
        <pc:spChg chg="add del mod ord">
          <ac:chgData name="Yudi Zhu" userId="571e1a55-055f-4c28-8b35-fca6dd1c1369" providerId="ADAL" clId="{75A88773-6EE1-484E-AADE-FE631E01463B}" dt="2025-11-21T07:34:19.402" v="255192"/>
          <ac:spMkLst>
            <pc:docMk/>
            <pc:sldMk cId="755828523" sldId="2147483089"/>
            <ac:spMk id="203" creationId="{730E504D-F1FD-F4EA-95BF-A91C3D7A1B5C}"/>
          </ac:spMkLst>
        </pc:spChg>
        <pc:spChg chg="add del mod ord">
          <ac:chgData name="Yudi Zhu" userId="571e1a55-055f-4c28-8b35-fca6dd1c1369" providerId="ADAL" clId="{75A88773-6EE1-484E-AADE-FE631E01463B}" dt="2025-11-21T07:34:19.402" v="255183"/>
          <ac:spMkLst>
            <pc:docMk/>
            <pc:sldMk cId="755828523" sldId="2147483089"/>
            <ac:spMk id="204" creationId="{F62453E3-B8DC-1FA4-4FF5-50532DD3D498}"/>
          </ac:spMkLst>
        </pc:spChg>
        <pc:spChg chg="add del mod modVis">
          <ac:chgData name="Yudi Zhu" userId="571e1a55-055f-4c28-8b35-fca6dd1c1369" providerId="ADAL" clId="{75A88773-6EE1-484E-AADE-FE631E01463B}" dt="2025-11-21T06:33:10.558" v="159330"/>
          <ac:spMkLst>
            <pc:docMk/>
            <pc:sldMk cId="755828523" sldId="2147483089"/>
            <ac:spMk id="258" creationId="{28F40A47-0AE6-6B66-5F79-94FE4E60269A}"/>
          </ac:spMkLst>
        </pc:spChg>
        <pc:spChg chg="add del mod ord">
          <ac:chgData name="Yudi Zhu" userId="571e1a55-055f-4c28-8b35-fca6dd1c1369" providerId="ADAL" clId="{75A88773-6EE1-484E-AADE-FE631E01463B}" dt="2025-11-21T07:34:19.402" v="255187"/>
          <ac:spMkLst>
            <pc:docMk/>
            <pc:sldMk cId="755828523" sldId="2147483089"/>
            <ac:spMk id="259" creationId="{87B7291B-E24A-8979-F3BF-3CBCACB6DC5D}"/>
          </ac:spMkLst>
        </pc:spChg>
        <pc:spChg chg="add del mod ord">
          <ac:chgData name="Yudi Zhu" userId="571e1a55-055f-4c28-8b35-fca6dd1c1369" providerId="ADAL" clId="{75A88773-6EE1-484E-AADE-FE631E01463B}" dt="2025-11-21T07:34:19.412" v="255202"/>
          <ac:spMkLst>
            <pc:docMk/>
            <pc:sldMk cId="755828523" sldId="2147483089"/>
            <ac:spMk id="260" creationId="{81D0BC8A-DBEF-2F93-B4EE-4E3469A0CACB}"/>
          </ac:spMkLst>
        </pc:spChg>
        <pc:spChg chg="add del mod ord">
          <ac:chgData name="Yudi Zhu" userId="571e1a55-055f-4c28-8b35-fca6dd1c1369" providerId="ADAL" clId="{75A88773-6EE1-484E-AADE-FE631E01463B}" dt="2025-11-21T07:38:39.550" v="263779"/>
          <ac:spMkLst>
            <pc:docMk/>
            <pc:sldMk cId="755828523" sldId="2147483089"/>
            <ac:spMk id="261" creationId="{C6F4285F-F052-2A51-0D4D-42B89971C8A4}"/>
          </ac:spMkLst>
        </pc:spChg>
        <pc:spChg chg="add del mod ord">
          <ac:chgData name="Yudi Zhu" userId="571e1a55-055f-4c28-8b35-fca6dd1c1369" providerId="ADAL" clId="{75A88773-6EE1-484E-AADE-FE631E01463B}" dt="2025-11-21T07:34:19.414" v="255204"/>
          <ac:spMkLst>
            <pc:docMk/>
            <pc:sldMk cId="755828523" sldId="2147483089"/>
            <ac:spMk id="262" creationId="{A32B7318-4CE5-C193-2EF6-59AFC27E59D1}"/>
          </ac:spMkLst>
        </pc:spChg>
        <pc:spChg chg="add del mod ord">
          <ac:chgData name="Yudi Zhu" userId="571e1a55-055f-4c28-8b35-fca6dd1c1369" providerId="ADAL" clId="{75A88773-6EE1-484E-AADE-FE631E01463B}" dt="2025-11-21T07:38:39.550" v="263777"/>
          <ac:spMkLst>
            <pc:docMk/>
            <pc:sldMk cId="755828523" sldId="2147483089"/>
            <ac:spMk id="263" creationId="{39D6A759-6FD0-6DCC-504C-CE9124DAB3F6}"/>
          </ac:spMkLst>
        </pc:spChg>
        <pc:spChg chg="add del mod ord">
          <ac:chgData name="Yudi Zhu" userId="571e1a55-055f-4c28-8b35-fca6dd1c1369" providerId="ADAL" clId="{75A88773-6EE1-484E-AADE-FE631E01463B}" dt="2025-11-21T07:34:19.397" v="255172"/>
          <ac:spMkLst>
            <pc:docMk/>
            <pc:sldMk cId="755828523" sldId="2147483089"/>
            <ac:spMk id="264" creationId="{C9068BA3-5650-8D7A-3630-6383E5F517D9}"/>
          </ac:spMkLst>
        </pc:spChg>
        <pc:spChg chg="add del mod ord">
          <ac:chgData name="Yudi Zhu" userId="571e1a55-055f-4c28-8b35-fca6dd1c1369" providerId="ADAL" clId="{75A88773-6EE1-484E-AADE-FE631E01463B}" dt="2025-11-21T07:34:19.402" v="255189"/>
          <ac:spMkLst>
            <pc:docMk/>
            <pc:sldMk cId="755828523" sldId="2147483089"/>
            <ac:spMk id="265" creationId="{A9B1BA3C-A784-48EB-A779-AE69BE292729}"/>
          </ac:spMkLst>
        </pc:spChg>
        <pc:spChg chg="add del mod ord">
          <ac:chgData name="Yudi Zhu" userId="571e1a55-055f-4c28-8b35-fca6dd1c1369" providerId="ADAL" clId="{75A88773-6EE1-484E-AADE-FE631E01463B}" dt="2025-11-21T07:34:19.414" v="255205"/>
          <ac:spMkLst>
            <pc:docMk/>
            <pc:sldMk cId="755828523" sldId="2147483089"/>
            <ac:spMk id="266" creationId="{021C2C06-32BC-999C-1B5F-E60AF091F4A2}"/>
          </ac:spMkLst>
        </pc:spChg>
        <pc:spChg chg="add del mod ord">
          <ac:chgData name="Yudi Zhu" userId="571e1a55-055f-4c28-8b35-fca6dd1c1369" providerId="ADAL" clId="{75A88773-6EE1-484E-AADE-FE631E01463B}" dt="2025-11-21T07:38:39.550" v="263785"/>
          <ac:spMkLst>
            <pc:docMk/>
            <pc:sldMk cId="755828523" sldId="2147483089"/>
            <ac:spMk id="267" creationId="{1274F31A-ACA7-CF0C-C873-EC9D745262B3}"/>
          </ac:spMkLst>
        </pc:spChg>
        <pc:spChg chg="add del mod ord">
          <ac:chgData name="Yudi Zhu" userId="571e1a55-055f-4c28-8b35-fca6dd1c1369" providerId="ADAL" clId="{75A88773-6EE1-484E-AADE-FE631E01463B}" dt="2025-11-21T07:34:19.402" v="255191"/>
          <ac:spMkLst>
            <pc:docMk/>
            <pc:sldMk cId="755828523" sldId="2147483089"/>
            <ac:spMk id="268" creationId="{63641A3C-4BD6-C3D4-8BD5-A96B2C37BC89}"/>
          </ac:spMkLst>
        </pc:spChg>
        <pc:spChg chg="add del mod ord">
          <ac:chgData name="Yudi Zhu" userId="571e1a55-055f-4c28-8b35-fca6dd1c1369" providerId="ADAL" clId="{75A88773-6EE1-484E-AADE-FE631E01463B}" dt="2025-11-21T07:34:19.414" v="255208"/>
          <ac:spMkLst>
            <pc:docMk/>
            <pc:sldMk cId="755828523" sldId="2147483089"/>
            <ac:spMk id="269" creationId="{8BA872E0-C184-9871-1510-817FC41481EC}"/>
          </ac:spMkLst>
        </pc:spChg>
        <pc:spChg chg="add del mod ord">
          <ac:chgData name="Yudi Zhu" userId="571e1a55-055f-4c28-8b35-fca6dd1c1369" providerId="ADAL" clId="{75A88773-6EE1-484E-AADE-FE631E01463B}" dt="2025-11-21T07:34:19.414" v="255210"/>
          <ac:spMkLst>
            <pc:docMk/>
            <pc:sldMk cId="755828523" sldId="2147483089"/>
            <ac:spMk id="270" creationId="{CA40EE68-9031-F0B5-5831-2A929C74DEA1}"/>
          </ac:spMkLst>
        </pc:spChg>
        <pc:spChg chg="add del mod ord">
          <ac:chgData name="Yudi Zhu" userId="571e1a55-055f-4c28-8b35-fca6dd1c1369" providerId="ADAL" clId="{75A88773-6EE1-484E-AADE-FE631E01463B}" dt="2025-11-21T07:38:39.550" v="263793"/>
          <ac:spMkLst>
            <pc:docMk/>
            <pc:sldMk cId="755828523" sldId="2147483089"/>
            <ac:spMk id="271" creationId="{81BD74DE-949C-B8FA-7053-7EE928DA072F}"/>
          </ac:spMkLst>
        </pc:spChg>
        <pc:spChg chg="add del mod ord">
          <ac:chgData name="Yudi Zhu" userId="571e1a55-055f-4c28-8b35-fca6dd1c1369" providerId="ADAL" clId="{75A88773-6EE1-484E-AADE-FE631E01463B}" dt="2025-11-21T07:34:19.398" v="255176"/>
          <ac:spMkLst>
            <pc:docMk/>
            <pc:sldMk cId="755828523" sldId="2147483089"/>
            <ac:spMk id="272" creationId="{F36449D0-54C0-2FB6-F309-C9F1DE9DF509}"/>
          </ac:spMkLst>
        </pc:spChg>
        <pc:spChg chg="add del mod ord">
          <ac:chgData name="Yudi Zhu" userId="571e1a55-055f-4c28-8b35-fca6dd1c1369" providerId="ADAL" clId="{75A88773-6EE1-484E-AADE-FE631E01463B}" dt="2025-11-21T07:34:19.402" v="255193"/>
          <ac:spMkLst>
            <pc:docMk/>
            <pc:sldMk cId="755828523" sldId="2147483089"/>
            <ac:spMk id="273" creationId="{678DED9E-7DD1-F815-954C-990D8B6F600F}"/>
          </ac:spMkLst>
        </pc:spChg>
        <pc:spChg chg="add del mod ord">
          <ac:chgData name="Yudi Zhu" userId="571e1a55-055f-4c28-8b35-fca6dd1c1369" providerId="ADAL" clId="{75A88773-6EE1-484E-AADE-FE631E01463B}" dt="2025-11-21T07:34:19.414" v="255212"/>
          <ac:spMkLst>
            <pc:docMk/>
            <pc:sldMk cId="755828523" sldId="2147483089"/>
            <ac:spMk id="274" creationId="{662B5D3D-FF48-59E5-89A5-237AA5074D28}"/>
          </ac:spMkLst>
        </pc:spChg>
        <pc:spChg chg="add del mod ord">
          <ac:chgData name="Yudi Zhu" userId="571e1a55-055f-4c28-8b35-fca6dd1c1369" providerId="ADAL" clId="{75A88773-6EE1-484E-AADE-FE631E01463B}" dt="2025-11-21T07:38:39.550" v="263783"/>
          <ac:spMkLst>
            <pc:docMk/>
            <pc:sldMk cId="755828523" sldId="2147483089"/>
            <ac:spMk id="275" creationId="{7BF6CB6E-B5C6-C73F-F334-CA7FE8C134B3}"/>
          </ac:spMkLst>
        </pc:spChg>
        <pc:spChg chg="add del mod ord">
          <ac:chgData name="Yudi Zhu" userId="571e1a55-055f-4c28-8b35-fca6dd1c1369" providerId="ADAL" clId="{75A88773-6EE1-484E-AADE-FE631E01463B}" dt="2025-11-21T07:34:19.402" v="255179"/>
          <ac:spMkLst>
            <pc:docMk/>
            <pc:sldMk cId="755828523" sldId="2147483089"/>
            <ac:spMk id="276" creationId="{B4C84B4A-B643-3113-F3CD-9094CF439AE0}"/>
          </ac:spMkLst>
        </pc:spChg>
        <pc:spChg chg="add del mod ord">
          <ac:chgData name="Yudi Zhu" userId="571e1a55-055f-4c28-8b35-fca6dd1c1369" providerId="ADAL" clId="{75A88773-6EE1-484E-AADE-FE631E01463B}" dt="2025-11-21T07:34:19.409" v="255195"/>
          <ac:spMkLst>
            <pc:docMk/>
            <pc:sldMk cId="755828523" sldId="2147483089"/>
            <ac:spMk id="277" creationId="{D923854C-4709-B2B4-3A15-42DCFF1D326C}"/>
          </ac:spMkLst>
        </pc:spChg>
        <pc:spChg chg="add del mod ord">
          <ac:chgData name="Yudi Zhu" userId="571e1a55-055f-4c28-8b35-fca6dd1c1369" providerId="ADAL" clId="{75A88773-6EE1-484E-AADE-FE631E01463B}" dt="2025-11-21T07:34:19.414" v="255214"/>
          <ac:spMkLst>
            <pc:docMk/>
            <pc:sldMk cId="755828523" sldId="2147483089"/>
            <ac:spMk id="278" creationId="{FEBD7077-37D5-EB71-EA7E-E7A430BDB063}"/>
          </ac:spMkLst>
        </pc:spChg>
        <pc:spChg chg="add del mod ord">
          <ac:chgData name="Yudi Zhu" userId="571e1a55-055f-4c28-8b35-fca6dd1c1369" providerId="ADAL" clId="{75A88773-6EE1-484E-AADE-FE631E01463B}" dt="2025-11-21T07:38:39.550" v="263797"/>
          <ac:spMkLst>
            <pc:docMk/>
            <pc:sldMk cId="755828523" sldId="2147483089"/>
            <ac:spMk id="279" creationId="{2767FF82-BA4F-16C9-6C00-E6695D490AE3}"/>
          </ac:spMkLst>
        </pc:spChg>
        <pc:spChg chg="add del mod ord">
          <ac:chgData name="Yudi Zhu" userId="571e1a55-055f-4c28-8b35-fca6dd1c1369" providerId="ADAL" clId="{75A88773-6EE1-484E-AADE-FE631E01463B}" dt="2025-11-21T07:34:19.402" v="255181"/>
          <ac:spMkLst>
            <pc:docMk/>
            <pc:sldMk cId="755828523" sldId="2147483089"/>
            <ac:spMk id="280" creationId="{92C81569-DE6A-5AC3-F9F9-4133710F9D41}"/>
          </ac:spMkLst>
        </pc:spChg>
        <pc:spChg chg="add del mod ord">
          <ac:chgData name="Yudi Zhu" userId="571e1a55-055f-4c28-8b35-fca6dd1c1369" providerId="ADAL" clId="{75A88773-6EE1-484E-AADE-FE631E01463B}" dt="2025-11-21T07:34:19.409" v="255196"/>
          <ac:spMkLst>
            <pc:docMk/>
            <pc:sldMk cId="755828523" sldId="2147483089"/>
            <ac:spMk id="281" creationId="{16C66CCA-7438-331F-34E0-B0031A988237}"/>
          </ac:spMkLst>
        </pc:spChg>
        <pc:spChg chg="add del mod ord">
          <ac:chgData name="Yudi Zhu" userId="571e1a55-055f-4c28-8b35-fca6dd1c1369" providerId="ADAL" clId="{75A88773-6EE1-484E-AADE-FE631E01463B}" dt="2025-11-21T07:34:19.431" v="255216"/>
          <ac:spMkLst>
            <pc:docMk/>
            <pc:sldMk cId="755828523" sldId="2147483089"/>
            <ac:spMk id="282" creationId="{59381CCB-919A-6C68-8F65-A06E4A0C3B3F}"/>
          </ac:spMkLst>
        </pc:spChg>
        <pc:spChg chg="add del mod ord">
          <ac:chgData name="Yudi Zhu" userId="571e1a55-055f-4c28-8b35-fca6dd1c1369" providerId="ADAL" clId="{75A88773-6EE1-484E-AADE-FE631E01463B}" dt="2025-11-21T07:38:39.564" v="263800"/>
          <ac:spMkLst>
            <pc:docMk/>
            <pc:sldMk cId="755828523" sldId="2147483089"/>
            <ac:spMk id="283" creationId="{6553ECB0-7688-C67D-8F69-CE00CBFB0847}"/>
          </ac:spMkLst>
        </pc:spChg>
        <pc:spChg chg="add del mod ord">
          <ac:chgData name="Yudi Zhu" userId="571e1a55-055f-4c28-8b35-fca6dd1c1369" providerId="ADAL" clId="{75A88773-6EE1-484E-AADE-FE631E01463B}" dt="2025-11-21T07:34:19.402" v="255182"/>
          <ac:spMkLst>
            <pc:docMk/>
            <pc:sldMk cId="755828523" sldId="2147483089"/>
            <ac:spMk id="284" creationId="{A5FDB546-6BD1-F548-965A-F09E5CDE380F}"/>
          </ac:spMkLst>
        </pc:spChg>
        <pc:spChg chg="add del mod ord">
          <ac:chgData name="Yudi Zhu" userId="571e1a55-055f-4c28-8b35-fca6dd1c1369" providerId="ADAL" clId="{75A88773-6EE1-484E-AADE-FE631E01463B}" dt="2025-11-21T07:34:19.409" v="255198"/>
          <ac:spMkLst>
            <pc:docMk/>
            <pc:sldMk cId="755828523" sldId="2147483089"/>
            <ac:spMk id="285" creationId="{A410F8FC-5A3E-1B3F-572A-5D1DFD67B97A}"/>
          </ac:spMkLst>
        </pc:spChg>
        <pc:spChg chg="add del mod ord">
          <ac:chgData name="Yudi Zhu" userId="571e1a55-055f-4c28-8b35-fca6dd1c1369" providerId="ADAL" clId="{75A88773-6EE1-484E-AADE-FE631E01463B}" dt="2025-11-21T07:34:19.433" v="255218"/>
          <ac:spMkLst>
            <pc:docMk/>
            <pc:sldMk cId="755828523" sldId="2147483089"/>
            <ac:spMk id="286" creationId="{B548C6D7-E746-2EA4-D2DD-9DB97287A5FF}"/>
          </ac:spMkLst>
        </pc:spChg>
        <pc:spChg chg="add del mod ord">
          <ac:chgData name="Yudi Zhu" userId="571e1a55-055f-4c28-8b35-fca6dd1c1369" providerId="ADAL" clId="{75A88773-6EE1-484E-AADE-FE631E01463B}" dt="2025-11-21T07:38:39.564" v="263803"/>
          <ac:spMkLst>
            <pc:docMk/>
            <pc:sldMk cId="755828523" sldId="2147483089"/>
            <ac:spMk id="287" creationId="{D8F5EB48-43BF-8B45-6733-5B61FC35C28E}"/>
          </ac:spMkLst>
        </pc:spChg>
        <pc:spChg chg="add del mod">
          <ac:chgData name="Yudi Zhu" userId="571e1a55-055f-4c28-8b35-fca6dd1c1369" providerId="ADAL" clId="{75A88773-6EE1-484E-AADE-FE631E01463B}" dt="2025-11-21T06:39:03.168" v="170953"/>
          <ac:spMkLst>
            <pc:docMk/>
            <pc:sldMk cId="755828523" sldId="2147483089"/>
            <ac:spMk id="297" creationId="{D289445B-1E9B-FE63-B0AF-B33BCAB5DEF5}"/>
          </ac:spMkLst>
        </pc:spChg>
        <pc:spChg chg="add del mod">
          <ac:chgData name="Yudi Zhu" userId="571e1a55-055f-4c28-8b35-fca6dd1c1369" providerId="ADAL" clId="{75A88773-6EE1-484E-AADE-FE631E01463B}" dt="2025-11-21T06:39:03.168" v="170952"/>
          <ac:spMkLst>
            <pc:docMk/>
            <pc:sldMk cId="755828523" sldId="2147483089"/>
            <ac:spMk id="298" creationId="{00DCBDD5-12C2-63C1-4B13-B1A2FFCD6B85}"/>
          </ac:spMkLst>
        </pc:spChg>
        <pc:spChg chg="add del mod">
          <ac:chgData name="Yudi Zhu" userId="571e1a55-055f-4c28-8b35-fca6dd1c1369" providerId="ADAL" clId="{75A88773-6EE1-484E-AADE-FE631E01463B}" dt="2025-11-21T06:39:03.167" v="170951"/>
          <ac:spMkLst>
            <pc:docMk/>
            <pc:sldMk cId="755828523" sldId="2147483089"/>
            <ac:spMk id="299" creationId="{C581E224-C838-063B-39CA-1928D6FA597D}"/>
          </ac:spMkLst>
        </pc:spChg>
        <pc:spChg chg="add del mod">
          <ac:chgData name="Yudi Zhu" userId="571e1a55-055f-4c28-8b35-fca6dd1c1369" providerId="ADAL" clId="{75A88773-6EE1-484E-AADE-FE631E01463B}" dt="2025-11-21T06:39:03.167" v="170950"/>
          <ac:spMkLst>
            <pc:docMk/>
            <pc:sldMk cId="755828523" sldId="2147483089"/>
            <ac:spMk id="300" creationId="{F8D4C84C-4F60-A13A-5755-5114D42EB713}"/>
          </ac:spMkLst>
        </pc:spChg>
        <pc:spChg chg="add del mod">
          <ac:chgData name="Yudi Zhu" userId="571e1a55-055f-4c28-8b35-fca6dd1c1369" providerId="ADAL" clId="{75A88773-6EE1-484E-AADE-FE631E01463B}" dt="2025-11-21T06:39:03.166" v="170949"/>
          <ac:spMkLst>
            <pc:docMk/>
            <pc:sldMk cId="755828523" sldId="2147483089"/>
            <ac:spMk id="301" creationId="{C028F794-6B49-C5D7-8167-0F29869C6C80}"/>
          </ac:spMkLst>
        </pc:spChg>
        <pc:spChg chg="add del mod">
          <ac:chgData name="Yudi Zhu" userId="571e1a55-055f-4c28-8b35-fca6dd1c1369" providerId="ADAL" clId="{75A88773-6EE1-484E-AADE-FE631E01463B}" dt="2025-11-21T06:39:03.165" v="170948"/>
          <ac:spMkLst>
            <pc:docMk/>
            <pc:sldMk cId="755828523" sldId="2147483089"/>
            <ac:spMk id="302" creationId="{771FAAFC-09D5-615A-C71D-AEA57079F166}"/>
          </ac:spMkLst>
        </pc:spChg>
        <pc:spChg chg="add mod ord">
          <ac:chgData name="Yudi Zhu" userId="571e1a55-055f-4c28-8b35-fca6dd1c1369" providerId="ADAL" clId="{75A88773-6EE1-484E-AADE-FE631E01463B}" dt="2025-11-21T09:22:52.648" v="406627"/>
          <ac:spMkLst>
            <pc:docMk/>
            <pc:sldMk cId="755828523" sldId="2147483089"/>
            <ac:spMk id="310" creationId="{A62D9D2E-0539-BC42-9659-99DFC65D701D}"/>
          </ac:spMkLst>
        </pc:spChg>
        <pc:spChg chg="add mod ord">
          <ac:chgData name="Yudi Zhu" userId="571e1a55-055f-4c28-8b35-fca6dd1c1369" providerId="ADAL" clId="{75A88773-6EE1-484E-AADE-FE631E01463B}" dt="2025-11-21T09:22:52.664" v="406643"/>
          <ac:spMkLst>
            <pc:docMk/>
            <pc:sldMk cId="755828523" sldId="2147483089"/>
            <ac:spMk id="311" creationId="{FAC811EB-B12D-1390-56E5-FC577BF8AE04}"/>
          </ac:spMkLst>
        </pc:spChg>
        <pc:spChg chg="add mod ord">
          <ac:chgData name="Yudi Zhu" userId="571e1a55-055f-4c28-8b35-fca6dd1c1369" providerId="ADAL" clId="{75A88773-6EE1-484E-AADE-FE631E01463B}" dt="2025-11-21T09:22:52.648" v="406628"/>
          <ac:spMkLst>
            <pc:docMk/>
            <pc:sldMk cId="755828523" sldId="2147483089"/>
            <ac:spMk id="312" creationId="{5889A2F9-795A-D383-2D23-CFB5A874C50A}"/>
          </ac:spMkLst>
        </pc:spChg>
        <pc:spChg chg="add del mod">
          <ac:chgData name="Yudi Zhu" userId="571e1a55-055f-4c28-8b35-fca6dd1c1369" providerId="ADAL" clId="{75A88773-6EE1-484E-AADE-FE631E01463B}" dt="2025-11-21T07:51:03.680" v="291599"/>
          <ac:spMkLst>
            <pc:docMk/>
            <pc:sldMk cId="755828523" sldId="2147483089"/>
            <ac:spMk id="313" creationId="{827DA0DD-952F-B61A-2B04-57F6B386C3EA}"/>
          </ac:spMkLst>
        </pc:spChg>
        <pc:spChg chg="add mod ord">
          <ac:chgData name="Yudi Zhu" userId="571e1a55-055f-4c28-8b35-fca6dd1c1369" providerId="ADAL" clId="{75A88773-6EE1-484E-AADE-FE631E01463B}" dt="2025-11-21T09:22:52.648" v="406629"/>
          <ac:spMkLst>
            <pc:docMk/>
            <pc:sldMk cId="755828523" sldId="2147483089"/>
            <ac:spMk id="314" creationId="{60C55FFD-9FE8-A10C-A7D3-CA5764CCB488}"/>
          </ac:spMkLst>
        </pc:spChg>
        <pc:spChg chg="add mod ord">
          <ac:chgData name="Yudi Zhu" userId="571e1a55-055f-4c28-8b35-fca6dd1c1369" providerId="ADAL" clId="{75A88773-6EE1-484E-AADE-FE631E01463B}" dt="2025-11-21T09:22:52.648" v="406630"/>
          <ac:spMkLst>
            <pc:docMk/>
            <pc:sldMk cId="755828523" sldId="2147483089"/>
            <ac:spMk id="315" creationId="{EB9F760C-B8E5-2064-02C2-89469410E215}"/>
          </ac:spMkLst>
        </pc:spChg>
        <pc:spChg chg="add mod ord">
          <ac:chgData name="Yudi Zhu" userId="571e1a55-055f-4c28-8b35-fca6dd1c1369" providerId="ADAL" clId="{75A88773-6EE1-484E-AADE-FE631E01463B}" dt="2025-11-21T09:22:52.648" v="406631"/>
          <ac:spMkLst>
            <pc:docMk/>
            <pc:sldMk cId="755828523" sldId="2147483089"/>
            <ac:spMk id="316" creationId="{FF8775EC-9A38-2C66-D0FF-C4924FD32796}"/>
          </ac:spMkLst>
        </pc:spChg>
        <pc:spChg chg="add del mod">
          <ac:chgData name="Yudi Zhu" userId="571e1a55-055f-4c28-8b35-fca6dd1c1369" providerId="ADAL" clId="{75A88773-6EE1-484E-AADE-FE631E01463B}" dt="2025-11-21T07:51:03.680" v="291600"/>
          <ac:spMkLst>
            <pc:docMk/>
            <pc:sldMk cId="755828523" sldId="2147483089"/>
            <ac:spMk id="317" creationId="{1D23DDD7-01E3-3FF9-8371-E4779A37DBD6}"/>
          </ac:spMkLst>
        </pc:spChg>
        <pc:spChg chg="add mod ord">
          <ac:chgData name="Yudi Zhu" userId="571e1a55-055f-4c28-8b35-fca6dd1c1369" providerId="ADAL" clId="{75A88773-6EE1-484E-AADE-FE631E01463B}" dt="2025-11-21T09:22:52.648" v="406632"/>
          <ac:spMkLst>
            <pc:docMk/>
            <pc:sldMk cId="755828523" sldId="2147483089"/>
            <ac:spMk id="318" creationId="{FBCB803E-54EC-7A3B-9145-7A6054CAD134}"/>
          </ac:spMkLst>
        </pc:spChg>
        <pc:spChg chg="add mod ord">
          <ac:chgData name="Yudi Zhu" userId="571e1a55-055f-4c28-8b35-fca6dd1c1369" providerId="ADAL" clId="{75A88773-6EE1-484E-AADE-FE631E01463B}" dt="2025-11-21T09:22:52.648" v="406633"/>
          <ac:spMkLst>
            <pc:docMk/>
            <pc:sldMk cId="755828523" sldId="2147483089"/>
            <ac:spMk id="319" creationId="{706EA1C7-0608-9349-5D41-F9CAB7F83433}"/>
          </ac:spMkLst>
        </pc:spChg>
        <pc:spChg chg="add mod ord">
          <ac:chgData name="Yudi Zhu" userId="571e1a55-055f-4c28-8b35-fca6dd1c1369" providerId="ADAL" clId="{75A88773-6EE1-484E-AADE-FE631E01463B}" dt="2025-11-21T09:22:52.648" v="406634"/>
          <ac:spMkLst>
            <pc:docMk/>
            <pc:sldMk cId="755828523" sldId="2147483089"/>
            <ac:spMk id="320" creationId="{E86B3B8E-37AC-519F-45A3-5BD8642641E6}"/>
          </ac:spMkLst>
        </pc:spChg>
        <pc:spChg chg="add del mod">
          <ac:chgData name="Yudi Zhu" userId="571e1a55-055f-4c28-8b35-fca6dd1c1369" providerId="ADAL" clId="{75A88773-6EE1-484E-AADE-FE631E01463B}" dt="2025-11-21T07:51:03.680" v="291597"/>
          <ac:spMkLst>
            <pc:docMk/>
            <pc:sldMk cId="755828523" sldId="2147483089"/>
            <ac:spMk id="321" creationId="{34B3D78E-834D-E319-B7C9-CD06E40453BF}"/>
          </ac:spMkLst>
        </pc:spChg>
        <pc:spChg chg="add mod">
          <ac:chgData name="Yudi Zhu" userId="571e1a55-055f-4c28-8b35-fca6dd1c1369" providerId="ADAL" clId="{75A88773-6EE1-484E-AADE-FE631E01463B}" dt="2025-11-21T09:22:52.664" v="406650"/>
          <ac:spMkLst>
            <pc:docMk/>
            <pc:sldMk cId="755828523" sldId="2147483089"/>
            <ac:spMk id="322" creationId="{CE952EB7-012F-2155-70B6-F7D7E5AC2462}"/>
          </ac:spMkLst>
        </pc:spChg>
        <pc:spChg chg="add mod ord">
          <ac:chgData name="Yudi Zhu" userId="571e1a55-055f-4c28-8b35-fca6dd1c1369" providerId="ADAL" clId="{75A88773-6EE1-484E-AADE-FE631E01463B}" dt="2025-11-21T09:22:52.648" v="406620"/>
          <ac:spMkLst>
            <pc:docMk/>
            <pc:sldMk cId="755828523" sldId="2147483089"/>
            <ac:spMk id="323" creationId="{735D4EDA-AD3C-5A72-B819-57EBBCE24CD8}"/>
          </ac:spMkLst>
        </pc:spChg>
        <pc:spChg chg="add mod ord">
          <ac:chgData name="Yudi Zhu" userId="571e1a55-055f-4c28-8b35-fca6dd1c1369" providerId="ADAL" clId="{75A88773-6EE1-484E-AADE-FE631E01463B}" dt="2025-11-21T09:22:52.664" v="406648"/>
          <ac:spMkLst>
            <pc:docMk/>
            <pc:sldMk cId="755828523" sldId="2147483089"/>
            <ac:spMk id="324" creationId="{74A31F23-C56E-0C58-DE25-C3822C2C7702}"/>
          </ac:spMkLst>
        </pc:spChg>
        <pc:spChg chg="add del mod">
          <ac:chgData name="Yudi Zhu" userId="571e1a55-055f-4c28-8b35-fca6dd1c1369" providerId="ADAL" clId="{75A88773-6EE1-484E-AADE-FE631E01463B}" dt="2025-11-21T07:51:03.680" v="291596"/>
          <ac:spMkLst>
            <pc:docMk/>
            <pc:sldMk cId="755828523" sldId="2147483089"/>
            <ac:spMk id="325" creationId="{AB71B1E4-3D2E-C2AD-858A-42B64874728B}"/>
          </ac:spMkLst>
        </pc:spChg>
        <pc:spChg chg="add mod ord">
          <ac:chgData name="Yudi Zhu" userId="571e1a55-055f-4c28-8b35-fca6dd1c1369" providerId="ADAL" clId="{75A88773-6EE1-484E-AADE-FE631E01463B}" dt="2025-11-21T09:22:52.664" v="406647"/>
          <ac:spMkLst>
            <pc:docMk/>
            <pc:sldMk cId="755828523" sldId="2147483089"/>
            <ac:spMk id="326" creationId="{C7F59C0F-9502-E9D5-62BB-F976ECCD8766}"/>
          </ac:spMkLst>
        </pc:spChg>
        <pc:spChg chg="add mod ord">
          <ac:chgData name="Yudi Zhu" userId="571e1a55-055f-4c28-8b35-fca6dd1c1369" providerId="ADAL" clId="{75A88773-6EE1-484E-AADE-FE631E01463B}" dt="2025-11-21T09:22:52.664" v="406646"/>
          <ac:spMkLst>
            <pc:docMk/>
            <pc:sldMk cId="755828523" sldId="2147483089"/>
            <ac:spMk id="327" creationId="{DC60CC83-D9D9-BF20-1864-CA6A97B28642}"/>
          </ac:spMkLst>
        </pc:spChg>
        <pc:spChg chg="add mod ord">
          <ac:chgData name="Yudi Zhu" userId="571e1a55-055f-4c28-8b35-fca6dd1c1369" providerId="ADAL" clId="{75A88773-6EE1-484E-AADE-FE631E01463B}" dt="2025-11-21T09:22:52.664" v="406645"/>
          <ac:spMkLst>
            <pc:docMk/>
            <pc:sldMk cId="755828523" sldId="2147483089"/>
            <ac:spMk id="328" creationId="{96ACB3D1-E63C-5146-0E96-44B1BC1BF511}"/>
          </ac:spMkLst>
        </pc:spChg>
        <pc:spChg chg="add del mod">
          <ac:chgData name="Yudi Zhu" userId="571e1a55-055f-4c28-8b35-fca6dd1c1369" providerId="ADAL" clId="{75A88773-6EE1-484E-AADE-FE631E01463B}" dt="2025-11-21T07:51:03.680" v="291602"/>
          <ac:spMkLst>
            <pc:docMk/>
            <pc:sldMk cId="755828523" sldId="2147483089"/>
            <ac:spMk id="329" creationId="{1D947013-A486-3EAC-83B6-9A5337E1F588}"/>
          </ac:spMkLst>
        </pc:spChg>
        <pc:spChg chg="add mod ord">
          <ac:chgData name="Yudi Zhu" userId="571e1a55-055f-4c28-8b35-fca6dd1c1369" providerId="ADAL" clId="{75A88773-6EE1-484E-AADE-FE631E01463B}" dt="2025-11-21T09:22:52.664" v="406644"/>
          <ac:spMkLst>
            <pc:docMk/>
            <pc:sldMk cId="755828523" sldId="2147483089"/>
            <ac:spMk id="330" creationId="{5BF0E0DB-D8B0-7FBE-D30A-6DFDD08C285E}"/>
          </ac:spMkLst>
        </pc:spChg>
        <pc:spChg chg="add mod ord">
          <ac:chgData name="Yudi Zhu" userId="571e1a55-055f-4c28-8b35-fca6dd1c1369" providerId="ADAL" clId="{75A88773-6EE1-484E-AADE-FE631E01463B}" dt="2025-11-21T09:22:52.664" v="406642"/>
          <ac:spMkLst>
            <pc:docMk/>
            <pc:sldMk cId="755828523" sldId="2147483089"/>
            <ac:spMk id="331" creationId="{E8DC3E37-AFE7-3ACF-108A-04B32697FC78}"/>
          </ac:spMkLst>
        </pc:spChg>
        <pc:spChg chg="add mod ord">
          <ac:chgData name="Yudi Zhu" userId="571e1a55-055f-4c28-8b35-fca6dd1c1369" providerId="ADAL" clId="{75A88773-6EE1-484E-AADE-FE631E01463B}" dt="2025-11-21T09:22:52.648" v="406635"/>
          <ac:spMkLst>
            <pc:docMk/>
            <pc:sldMk cId="755828523" sldId="2147483089"/>
            <ac:spMk id="332" creationId="{E808FE89-996D-415C-DBB1-0A3FFCE5ABC0}"/>
          </ac:spMkLst>
        </pc:spChg>
        <pc:spChg chg="add del mod">
          <ac:chgData name="Yudi Zhu" userId="571e1a55-055f-4c28-8b35-fca6dd1c1369" providerId="ADAL" clId="{75A88773-6EE1-484E-AADE-FE631E01463B}" dt="2025-11-21T07:51:03.680" v="291601"/>
          <ac:spMkLst>
            <pc:docMk/>
            <pc:sldMk cId="755828523" sldId="2147483089"/>
            <ac:spMk id="333" creationId="{1B021153-CBBD-C311-9A33-3887037A6E38}"/>
          </ac:spMkLst>
        </pc:spChg>
        <pc:spChg chg="add mod ord">
          <ac:chgData name="Yudi Zhu" userId="571e1a55-055f-4c28-8b35-fca6dd1c1369" providerId="ADAL" clId="{75A88773-6EE1-484E-AADE-FE631E01463B}" dt="2025-11-21T09:22:52.664" v="406641"/>
          <ac:spMkLst>
            <pc:docMk/>
            <pc:sldMk cId="755828523" sldId="2147483089"/>
            <ac:spMk id="334" creationId="{0574B8A2-DAE9-FA77-CD25-3C79BC310A04}"/>
          </ac:spMkLst>
        </pc:spChg>
        <pc:spChg chg="add mod ord">
          <ac:chgData name="Yudi Zhu" userId="571e1a55-055f-4c28-8b35-fca6dd1c1369" providerId="ADAL" clId="{75A88773-6EE1-484E-AADE-FE631E01463B}" dt="2025-11-21T09:22:52.664" v="406640"/>
          <ac:spMkLst>
            <pc:docMk/>
            <pc:sldMk cId="755828523" sldId="2147483089"/>
            <ac:spMk id="335" creationId="{1307B519-4FE9-B337-3AC7-44EAE226EDDC}"/>
          </ac:spMkLst>
        </pc:spChg>
        <pc:spChg chg="add mod ord">
          <ac:chgData name="Yudi Zhu" userId="571e1a55-055f-4c28-8b35-fca6dd1c1369" providerId="ADAL" clId="{75A88773-6EE1-484E-AADE-FE631E01463B}" dt="2025-11-21T09:22:52.664" v="406639"/>
          <ac:spMkLst>
            <pc:docMk/>
            <pc:sldMk cId="755828523" sldId="2147483089"/>
            <ac:spMk id="336" creationId="{36445EF4-EDAE-86E1-A720-9E3036E4FB46}"/>
          </ac:spMkLst>
        </pc:spChg>
        <pc:spChg chg="add mod ord">
          <ac:chgData name="Yudi Zhu" userId="571e1a55-055f-4c28-8b35-fca6dd1c1369" providerId="ADAL" clId="{75A88773-6EE1-484E-AADE-FE631E01463B}" dt="2025-11-21T09:22:52.648" v="406621"/>
          <ac:spMkLst>
            <pc:docMk/>
            <pc:sldMk cId="755828523" sldId="2147483089"/>
            <ac:spMk id="337" creationId="{36AB1D7E-40D3-61B5-A55C-A396D415FF17}"/>
          </ac:spMkLst>
        </pc:spChg>
        <pc:spChg chg="add mod ord">
          <ac:chgData name="Yudi Zhu" userId="571e1a55-055f-4c28-8b35-fca6dd1c1369" providerId="ADAL" clId="{75A88773-6EE1-484E-AADE-FE631E01463B}" dt="2025-11-21T09:22:52.664" v="406638"/>
          <ac:spMkLst>
            <pc:docMk/>
            <pc:sldMk cId="755828523" sldId="2147483089"/>
            <ac:spMk id="338" creationId="{AE1A4FDE-AEAE-1F18-9776-ECAA66344E31}"/>
          </ac:spMkLst>
        </pc:spChg>
        <pc:spChg chg="add mod ord">
          <ac:chgData name="Yudi Zhu" userId="571e1a55-055f-4c28-8b35-fca6dd1c1369" providerId="ADAL" clId="{75A88773-6EE1-484E-AADE-FE631E01463B}" dt="2025-11-21T09:22:52.648" v="406637"/>
          <ac:spMkLst>
            <pc:docMk/>
            <pc:sldMk cId="755828523" sldId="2147483089"/>
            <ac:spMk id="339" creationId="{2DD214E2-D172-E416-6654-6285004EEFCC}"/>
          </ac:spMkLst>
        </pc:spChg>
        <pc:spChg chg="add mod ord">
          <ac:chgData name="Yudi Zhu" userId="571e1a55-055f-4c28-8b35-fca6dd1c1369" providerId="ADAL" clId="{75A88773-6EE1-484E-AADE-FE631E01463B}" dt="2025-11-21T09:22:52.648" v="406636"/>
          <ac:spMkLst>
            <pc:docMk/>
            <pc:sldMk cId="755828523" sldId="2147483089"/>
            <ac:spMk id="340" creationId="{F9C7A847-ECDA-65CC-C8B2-3D1C85EBEC3B}"/>
          </ac:spMkLst>
        </pc:spChg>
        <pc:spChg chg="add del mod">
          <ac:chgData name="Yudi Zhu" userId="571e1a55-055f-4c28-8b35-fca6dd1c1369" providerId="ADAL" clId="{75A88773-6EE1-484E-AADE-FE631E01463B}" dt="2025-11-21T07:51:03.694" v="291604"/>
          <ac:spMkLst>
            <pc:docMk/>
            <pc:sldMk cId="755828523" sldId="2147483089"/>
            <ac:spMk id="341" creationId="{FFD06BCD-2690-21DF-FA66-BC770219146D}"/>
          </ac:spMkLst>
        </pc:spChg>
        <pc:spChg chg="add mod ord">
          <ac:chgData name="Yudi Zhu" userId="571e1a55-055f-4c28-8b35-fca6dd1c1369" providerId="ADAL" clId="{75A88773-6EE1-484E-AADE-FE631E01463B}" dt="2025-11-21T09:22:52.648" v="406623"/>
          <ac:spMkLst>
            <pc:docMk/>
            <pc:sldMk cId="755828523" sldId="2147483089"/>
            <ac:spMk id="342" creationId="{5F9DF103-C1E2-AA69-9A66-0545A8C8A5E7}"/>
          </ac:spMkLst>
        </pc:spChg>
        <pc:spChg chg="add mod ord">
          <ac:chgData name="Yudi Zhu" userId="571e1a55-055f-4c28-8b35-fca6dd1c1369" providerId="ADAL" clId="{75A88773-6EE1-484E-AADE-FE631E01463B}" dt="2025-11-21T09:22:52.664" v="406649"/>
          <ac:spMkLst>
            <pc:docMk/>
            <pc:sldMk cId="755828523" sldId="2147483089"/>
            <ac:spMk id="343" creationId="{93F781B8-58D3-037B-422F-B97F243A4ADD}"/>
          </ac:spMkLst>
        </pc:spChg>
        <pc:spChg chg="add del mod">
          <ac:chgData name="Yudi Zhu" userId="571e1a55-055f-4c28-8b35-fca6dd1c1369" providerId="ADAL" clId="{75A88773-6EE1-484E-AADE-FE631E01463B}" dt="2025-11-21T07:51:03.680" v="291595"/>
          <ac:spMkLst>
            <pc:docMk/>
            <pc:sldMk cId="755828523" sldId="2147483089"/>
            <ac:spMk id="344" creationId="{95A458C9-636A-ED3C-EFA8-833B370930EB}"/>
          </ac:spMkLst>
        </pc:spChg>
        <pc:spChg chg="add mod">
          <ac:chgData name="Yudi Zhu" userId="571e1a55-055f-4c28-8b35-fca6dd1c1369" providerId="ADAL" clId="{75A88773-6EE1-484E-AADE-FE631E01463B}" dt="2025-11-21T09:22:52.648" v="406624"/>
          <ac:spMkLst>
            <pc:docMk/>
            <pc:sldMk cId="755828523" sldId="2147483089"/>
            <ac:spMk id="345" creationId="{A7062455-DCFB-CA90-BAB0-FE5B0F9A7539}"/>
          </ac:spMkLst>
        </pc:spChg>
        <pc:spChg chg="add mod ord">
          <ac:chgData name="Yudi Zhu" userId="571e1a55-055f-4c28-8b35-fca6dd1c1369" providerId="ADAL" clId="{75A88773-6EE1-484E-AADE-FE631E01463B}" dt="2025-11-21T09:22:52.648" v="406625"/>
          <ac:spMkLst>
            <pc:docMk/>
            <pc:sldMk cId="755828523" sldId="2147483089"/>
            <ac:spMk id="346" creationId="{058313A5-0EFC-F850-8925-ABBD5D963C04}"/>
          </ac:spMkLst>
        </pc:spChg>
        <pc:spChg chg="add mod ord">
          <ac:chgData name="Yudi Zhu" userId="571e1a55-055f-4c28-8b35-fca6dd1c1369" providerId="ADAL" clId="{75A88773-6EE1-484E-AADE-FE631E01463B}" dt="2025-11-21T09:22:52.648" v="406626"/>
          <ac:spMkLst>
            <pc:docMk/>
            <pc:sldMk cId="755828523" sldId="2147483089"/>
            <ac:spMk id="347" creationId="{90303146-CD91-5A62-9BB6-085A9E75310C}"/>
          </ac:spMkLst>
        </pc:spChg>
        <pc:spChg chg="add del mod">
          <ac:chgData name="Yudi Zhu" userId="571e1a55-055f-4c28-8b35-fca6dd1c1369" providerId="ADAL" clId="{75A88773-6EE1-484E-AADE-FE631E01463B}" dt="2025-11-21T07:51:03.680" v="291598"/>
          <ac:spMkLst>
            <pc:docMk/>
            <pc:sldMk cId="755828523" sldId="2147483089"/>
            <ac:spMk id="348" creationId="{3608E0DB-8595-B77B-55B5-68521F1BF056}"/>
          </ac:spMkLst>
        </pc:spChg>
        <pc:spChg chg="add del mod">
          <ac:chgData name="Yudi Zhu" userId="571e1a55-055f-4c28-8b35-fca6dd1c1369" providerId="ADAL" clId="{75A88773-6EE1-484E-AADE-FE631E01463B}" dt="2025-11-21T07:51:03.680" v="291603"/>
          <ac:spMkLst>
            <pc:docMk/>
            <pc:sldMk cId="755828523" sldId="2147483089"/>
            <ac:spMk id="349" creationId="{C07A0974-E552-0814-6C01-89E5836B344E}"/>
          </ac:spMkLst>
        </pc:spChg>
        <pc:spChg chg="add mod">
          <ac:chgData name="Yudi Zhu" userId="571e1a55-055f-4c28-8b35-fca6dd1c1369" providerId="ADAL" clId="{75A88773-6EE1-484E-AADE-FE631E01463B}" dt="2025-11-21T09:22:52.664" v="406651"/>
          <ac:spMkLst>
            <pc:docMk/>
            <pc:sldMk cId="755828523" sldId="2147483089"/>
            <ac:spMk id="350" creationId="{29244B0B-E2EE-A2BC-96A2-0D5A3B3BD02C}"/>
          </ac:spMkLst>
        </pc:spChg>
        <pc:spChg chg="add mod">
          <ac:chgData name="Yudi Zhu" userId="571e1a55-055f-4c28-8b35-fca6dd1c1369" providerId="ADAL" clId="{75A88773-6EE1-484E-AADE-FE631E01463B}" dt="2025-11-21T09:22:52.664" v="406652"/>
          <ac:spMkLst>
            <pc:docMk/>
            <pc:sldMk cId="755828523" sldId="2147483089"/>
            <ac:spMk id="351" creationId="{F6F0A072-2ACC-2FDA-F298-4E45DBB5F2F1}"/>
          </ac:spMkLst>
        </pc:spChg>
        <pc:spChg chg="add mod">
          <ac:chgData name="Yudi Zhu" userId="571e1a55-055f-4c28-8b35-fca6dd1c1369" providerId="ADAL" clId="{75A88773-6EE1-484E-AADE-FE631E01463B}" dt="2025-11-21T09:22:52.664" v="406655"/>
          <ac:spMkLst>
            <pc:docMk/>
            <pc:sldMk cId="755828523" sldId="2147483089"/>
            <ac:spMk id="353" creationId="{16C1316C-83DD-4BA5-36F8-D2FF00F47A16}"/>
          </ac:spMkLst>
        </pc:spChg>
        <pc:spChg chg="add mod">
          <ac:chgData name="Yudi Zhu" userId="571e1a55-055f-4c28-8b35-fca6dd1c1369" providerId="ADAL" clId="{75A88773-6EE1-484E-AADE-FE631E01463B}" dt="2025-11-21T09:22:52.664" v="406656"/>
          <ac:spMkLst>
            <pc:docMk/>
            <pc:sldMk cId="755828523" sldId="2147483089"/>
            <ac:spMk id="354" creationId="{0B7447D7-97E9-1CB1-E4E2-4F70D460CD86}"/>
          </ac:spMkLst>
        </pc:spChg>
        <pc:spChg chg="add mod">
          <ac:chgData name="Yudi Zhu" userId="571e1a55-055f-4c28-8b35-fca6dd1c1369" providerId="ADAL" clId="{75A88773-6EE1-484E-AADE-FE631E01463B}" dt="2025-11-21T09:22:52.664" v="406657"/>
          <ac:spMkLst>
            <pc:docMk/>
            <pc:sldMk cId="755828523" sldId="2147483089"/>
            <ac:spMk id="355" creationId="{B8F8C981-C881-6238-8329-8E7159CC921D}"/>
          </ac:spMkLst>
        </pc:spChg>
        <pc:spChg chg="add del mod modVis">
          <ac:chgData name="Yudi Zhu" userId="571e1a55-055f-4c28-8b35-fca6dd1c1369" providerId="ADAL" clId="{75A88773-6EE1-484E-AADE-FE631E01463B}" dt="2025-11-21T06:33:55.332" v="160937"/>
          <ac:spMkLst>
            <pc:docMk/>
            <pc:sldMk cId="755828523" sldId="2147483089"/>
            <ac:spMk id="356" creationId="{8E346299-0550-BDE3-2147-23E1D3A6BEE5}"/>
          </ac:spMkLst>
        </pc:spChg>
        <pc:spChg chg="add del mod modVis">
          <ac:chgData name="Yudi Zhu" userId="571e1a55-055f-4c28-8b35-fca6dd1c1369" providerId="ADAL" clId="{75A88773-6EE1-484E-AADE-FE631E01463B}" dt="2025-11-21T06:33:58.818" v="161302"/>
          <ac:spMkLst>
            <pc:docMk/>
            <pc:sldMk cId="755828523" sldId="2147483089"/>
            <ac:spMk id="358" creationId="{9503FCFE-7AB6-936E-6DF2-906BEBE6ABF0}"/>
          </ac:spMkLst>
        </pc:spChg>
        <pc:spChg chg="add del mod modVis">
          <ac:chgData name="Yudi Zhu" userId="571e1a55-055f-4c28-8b35-fca6dd1c1369" providerId="ADAL" clId="{75A88773-6EE1-484E-AADE-FE631E01463B}" dt="2025-11-21T06:34:06.498" v="162228"/>
          <ac:spMkLst>
            <pc:docMk/>
            <pc:sldMk cId="755828523" sldId="2147483089"/>
            <ac:spMk id="360" creationId="{31801B19-8E60-643A-B7DF-1D3D52EEE524}"/>
          </ac:spMkLst>
        </pc:spChg>
        <pc:spChg chg="add del mod">
          <ac:chgData name="Yudi Zhu" userId="571e1a55-055f-4c28-8b35-fca6dd1c1369" providerId="ADAL" clId="{75A88773-6EE1-484E-AADE-FE631E01463B}" dt="2025-11-21T06:34:30.266" v="164641"/>
          <ac:spMkLst>
            <pc:docMk/>
            <pc:sldMk cId="755828523" sldId="2147483089"/>
            <ac:spMk id="361" creationId="{8BBA6824-7852-EC63-000E-40BA67A7AA1E}"/>
          </ac:spMkLst>
        </pc:spChg>
        <pc:spChg chg="add del mod">
          <ac:chgData name="Yudi Zhu" userId="571e1a55-055f-4c28-8b35-fca6dd1c1369" providerId="ADAL" clId="{75A88773-6EE1-484E-AADE-FE631E01463B}" dt="2025-11-21T06:34:30.266" v="164640"/>
          <ac:spMkLst>
            <pc:docMk/>
            <pc:sldMk cId="755828523" sldId="2147483089"/>
            <ac:spMk id="362" creationId="{6D9F311C-5E8C-D335-63C8-6B9AEDA9CA30}"/>
          </ac:spMkLst>
        </pc:spChg>
        <pc:spChg chg="add del mod">
          <ac:chgData name="Yudi Zhu" userId="571e1a55-055f-4c28-8b35-fca6dd1c1369" providerId="ADAL" clId="{75A88773-6EE1-484E-AADE-FE631E01463B}" dt="2025-11-21T06:34:30.264" v="164639"/>
          <ac:spMkLst>
            <pc:docMk/>
            <pc:sldMk cId="755828523" sldId="2147483089"/>
            <ac:spMk id="363" creationId="{12509CD7-9715-E897-566C-C15175D977B7}"/>
          </ac:spMkLst>
        </pc:spChg>
        <pc:spChg chg="add del mod">
          <ac:chgData name="Yudi Zhu" userId="571e1a55-055f-4c28-8b35-fca6dd1c1369" providerId="ADAL" clId="{75A88773-6EE1-484E-AADE-FE631E01463B}" dt="2025-11-21T06:34:30.264" v="164638"/>
          <ac:spMkLst>
            <pc:docMk/>
            <pc:sldMk cId="755828523" sldId="2147483089"/>
            <ac:spMk id="364" creationId="{867E6387-ED54-D452-8BDA-26AFB0342D5D}"/>
          </ac:spMkLst>
        </pc:spChg>
        <pc:spChg chg="add del mod">
          <ac:chgData name="Yudi Zhu" userId="571e1a55-055f-4c28-8b35-fca6dd1c1369" providerId="ADAL" clId="{75A88773-6EE1-484E-AADE-FE631E01463B}" dt="2025-11-21T06:34:30.250" v="164637"/>
          <ac:spMkLst>
            <pc:docMk/>
            <pc:sldMk cId="755828523" sldId="2147483089"/>
            <ac:spMk id="365" creationId="{15D78219-E6AF-EE7D-9056-4D64F9F3F788}"/>
          </ac:spMkLst>
        </pc:spChg>
        <pc:spChg chg="add del mod modVis">
          <ac:chgData name="Yudi Zhu" userId="571e1a55-055f-4c28-8b35-fca6dd1c1369" providerId="ADAL" clId="{75A88773-6EE1-484E-AADE-FE631E01463B}" dt="2025-11-21T06:34:12.186" v="162788"/>
          <ac:spMkLst>
            <pc:docMk/>
            <pc:sldMk cId="755828523" sldId="2147483089"/>
            <ac:spMk id="373" creationId="{05868152-0D0B-27F9-793C-79C823AE81F0}"/>
          </ac:spMkLst>
        </pc:spChg>
        <pc:spChg chg="add del mod modVis">
          <ac:chgData name="Yudi Zhu" userId="571e1a55-055f-4c28-8b35-fca6dd1c1369" providerId="ADAL" clId="{75A88773-6EE1-484E-AADE-FE631E01463B}" dt="2025-11-21T06:34:17.274" v="163300"/>
          <ac:spMkLst>
            <pc:docMk/>
            <pc:sldMk cId="755828523" sldId="2147483089"/>
            <ac:spMk id="376" creationId="{FD15CCC5-CFF3-B142-D380-65CFEAC3C9F9}"/>
          </ac:spMkLst>
        </pc:spChg>
        <pc:spChg chg="add del mod modVis">
          <ac:chgData name="Yudi Zhu" userId="571e1a55-055f-4c28-8b35-fca6dd1c1369" providerId="ADAL" clId="{75A88773-6EE1-484E-AADE-FE631E01463B}" dt="2025-11-21T06:34:21.024" v="163890"/>
          <ac:spMkLst>
            <pc:docMk/>
            <pc:sldMk cId="755828523" sldId="2147483089"/>
            <ac:spMk id="378" creationId="{49044678-B536-85AA-6275-802395F0CDC3}"/>
          </ac:spMkLst>
        </pc:spChg>
        <pc:spChg chg="add del mod modVis">
          <ac:chgData name="Yudi Zhu" userId="571e1a55-055f-4c28-8b35-fca6dd1c1369" providerId="ADAL" clId="{75A88773-6EE1-484E-AADE-FE631E01463B}" dt="2025-11-21T06:34:24.786" v="164262"/>
          <ac:spMkLst>
            <pc:docMk/>
            <pc:sldMk cId="755828523" sldId="2147483089"/>
            <ac:spMk id="380" creationId="{6716BD10-8A27-2042-4CC6-29BB09CB10BF}"/>
          </ac:spMkLst>
        </pc:spChg>
        <pc:spChg chg="add del mod modVis">
          <ac:chgData name="Yudi Zhu" userId="571e1a55-055f-4c28-8b35-fca6dd1c1369" providerId="ADAL" clId="{75A88773-6EE1-484E-AADE-FE631E01463B}" dt="2025-11-21T06:34:27.706" v="164634"/>
          <ac:spMkLst>
            <pc:docMk/>
            <pc:sldMk cId="755828523" sldId="2147483089"/>
            <ac:spMk id="382" creationId="{F921DA6E-4864-96DF-570B-660751B2A240}"/>
          </ac:spMkLst>
        </pc:spChg>
        <pc:spChg chg="add del mod modVis">
          <ac:chgData name="Yudi Zhu" userId="571e1a55-055f-4c28-8b35-fca6dd1c1369" providerId="ADAL" clId="{75A88773-6EE1-484E-AADE-FE631E01463B}" dt="2025-11-21T06:36:02.912" v="168530"/>
          <ac:spMkLst>
            <pc:docMk/>
            <pc:sldMk cId="755828523" sldId="2147483089"/>
            <ac:spMk id="390" creationId="{03592845-B8F8-3A5C-273F-388AAA37542E}"/>
          </ac:spMkLst>
        </pc:spChg>
        <pc:spChg chg="add del mod modVis">
          <ac:chgData name="Yudi Zhu" userId="571e1a55-055f-4c28-8b35-fca6dd1c1369" providerId="ADAL" clId="{75A88773-6EE1-484E-AADE-FE631E01463B}" dt="2025-11-21T06:36:01.962" v="168336"/>
          <ac:spMkLst>
            <pc:docMk/>
            <pc:sldMk cId="755828523" sldId="2147483089"/>
            <ac:spMk id="392" creationId="{081778E5-22A7-5BD0-3532-4B7E150998C3}"/>
          </ac:spMkLst>
        </pc:spChg>
        <pc:spChg chg="add del mod">
          <ac:chgData name="Yudi Zhu" userId="571e1a55-055f-4c28-8b35-fca6dd1c1369" providerId="ADAL" clId="{75A88773-6EE1-484E-AADE-FE631E01463B}" dt="2025-11-21T06:36:01.962" v="168336"/>
          <ac:spMkLst>
            <pc:docMk/>
            <pc:sldMk cId="755828523" sldId="2147483089"/>
            <ac:spMk id="393" creationId="{5B9E730F-2486-7B99-98BD-6B6A263F3170}"/>
          </ac:spMkLst>
        </pc:spChg>
        <pc:spChg chg="add mod ord">
          <ac:chgData name="Yudi Zhu" userId="571e1a55-055f-4c28-8b35-fca6dd1c1369" providerId="ADAL" clId="{75A88773-6EE1-484E-AADE-FE631E01463B}" dt="2025-11-21T06:35:59.785" v="168084"/>
          <ac:spMkLst>
            <pc:docMk/>
            <pc:sldMk cId="755828523" sldId="2147483089"/>
            <ac:spMk id="396" creationId="{540B17F2-03E4-0B88-0068-FB2AF1C8E6F1}"/>
          </ac:spMkLst>
        </pc:spChg>
        <pc:spChg chg="add del mod modVis">
          <ac:chgData name="Yudi Zhu" userId="571e1a55-055f-4c28-8b35-fca6dd1c1369" providerId="ADAL" clId="{75A88773-6EE1-484E-AADE-FE631E01463B}" dt="2025-11-21T06:35:59.785" v="168084"/>
          <ac:spMkLst>
            <pc:docMk/>
            <pc:sldMk cId="755828523" sldId="2147483089"/>
            <ac:spMk id="397" creationId="{143465B7-E5A9-C093-1C46-2EE5640CDB4B}"/>
          </ac:spMkLst>
        </pc:spChg>
        <pc:spChg chg="add mod">
          <ac:chgData name="Yudi Zhu" userId="571e1a55-055f-4c28-8b35-fca6dd1c1369" providerId="ADAL" clId="{75A88773-6EE1-484E-AADE-FE631E01463B}" dt="2025-11-21T06:35:59.785" v="168084"/>
          <ac:spMkLst>
            <pc:docMk/>
            <pc:sldMk cId="755828523" sldId="2147483089"/>
            <ac:spMk id="398" creationId="{6D199869-A3D2-FC0E-72DE-16522CFF5D56}"/>
          </ac:spMkLst>
        </pc:spChg>
        <pc:spChg chg="add del mod modVis">
          <ac:chgData name="Yudi Zhu" userId="571e1a55-055f-4c28-8b35-fca6dd1c1369" providerId="ADAL" clId="{75A88773-6EE1-484E-AADE-FE631E01463B}" dt="2025-11-21T06:36:44.749" v="168799"/>
          <ac:spMkLst>
            <pc:docMk/>
            <pc:sldMk cId="755828523" sldId="2147483089"/>
            <ac:spMk id="401" creationId="{D31ADD96-87B6-9D9D-2305-7229D04608CF}"/>
          </ac:spMkLst>
        </pc:spChg>
        <pc:spChg chg="add del mod modVis">
          <ac:chgData name="Yudi Zhu" userId="571e1a55-055f-4c28-8b35-fca6dd1c1369" providerId="ADAL" clId="{75A88773-6EE1-484E-AADE-FE631E01463B}" dt="2025-11-21T06:37:07.012" v="169478"/>
          <ac:spMkLst>
            <pc:docMk/>
            <pc:sldMk cId="755828523" sldId="2147483089"/>
            <ac:spMk id="402" creationId="{79939901-C3AD-CB85-4F0C-1771EDCBCB29}"/>
          </ac:spMkLst>
        </pc:spChg>
        <pc:spChg chg="add del mod ord">
          <ac:chgData name="Yudi Zhu" userId="571e1a55-055f-4c28-8b35-fca6dd1c1369" providerId="ADAL" clId="{75A88773-6EE1-484E-AADE-FE631E01463B}" dt="2025-11-21T07:37:14.125" v="260763"/>
          <ac:spMkLst>
            <pc:docMk/>
            <pc:sldMk cId="755828523" sldId="2147483089"/>
            <ac:spMk id="406" creationId="{CFD4AA38-3647-3428-3926-8E37A09B1745}"/>
          </ac:spMkLst>
        </pc:spChg>
        <pc:spChg chg="add del mod modVis">
          <ac:chgData name="Yudi Zhu" userId="571e1a55-055f-4c28-8b35-fca6dd1c1369" providerId="ADAL" clId="{75A88773-6EE1-484E-AADE-FE631E01463B}" dt="2025-11-21T06:37:11.990" v="169848"/>
          <ac:spMkLst>
            <pc:docMk/>
            <pc:sldMk cId="755828523" sldId="2147483089"/>
            <ac:spMk id="407" creationId="{B0B49139-110D-6CA2-1E37-8F0916DBCFE0}"/>
          </ac:spMkLst>
        </pc:spChg>
        <pc:spChg chg="add del mod modVis">
          <ac:chgData name="Yudi Zhu" userId="571e1a55-055f-4c28-8b35-fca6dd1c1369" providerId="ADAL" clId="{75A88773-6EE1-484E-AADE-FE631E01463B}" dt="2025-11-21T06:37:34.193" v="170206"/>
          <ac:spMkLst>
            <pc:docMk/>
            <pc:sldMk cId="755828523" sldId="2147483089"/>
            <ac:spMk id="413" creationId="{C17BC5B2-9DCD-99BF-E28F-4239A722AAE9}"/>
          </ac:spMkLst>
        </pc:spChg>
        <pc:spChg chg="add del mod modVis">
          <ac:chgData name="Yudi Zhu" userId="571e1a55-055f-4c28-8b35-fca6dd1c1369" providerId="ADAL" clId="{75A88773-6EE1-484E-AADE-FE631E01463B}" dt="2025-11-21T06:37:44.309" v="170480"/>
          <ac:spMkLst>
            <pc:docMk/>
            <pc:sldMk cId="755828523" sldId="2147483089"/>
            <ac:spMk id="415" creationId="{8E37E65E-4DF8-BBC7-265C-7C8DBF89D4AC}"/>
          </ac:spMkLst>
        </pc:spChg>
        <pc:spChg chg="add del mod modVis">
          <ac:chgData name="Yudi Zhu" userId="571e1a55-055f-4c28-8b35-fca6dd1c1369" providerId="ADAL" clId="{75A88773-6EE1-484E-AADE-FE631E01463B}" dt="2025-11-21T06:37:59.845" v="170567"/>
          <ac:spMkLst>
            <pc:docMk/>
            <pc:sldMk cId="755828523" sldId="2147483089"/>
            <ac:spMk id="417" creationId="{F41B5A16-44D6-D3D5-790E-8A8EEBEDE66A}"/>
          </ac:spMkLst>
        </pc:spChg>
        <pc:spChg chg="add del mod modVis">
          <ac:chgData name="Yudi Zhu" userId="571e1a55-055f-4c28-8b35-fca6dd1c1369" providerId="ADAL" clId="{75A88773-6EE1-484E-AADE-FE631E01463B}" dt="2025-11-21T06:38:07.805" v="170693"/>
          <ac:spMkLst>
            <pc:docMk/>
            <pc:sldMk cId="755828523" sldId="2147483089"/>
            <ac:spMk id="418" creationId="{7395428C-DE60-F509-A60D-680398137BF0}"/>
          </ac:spMkLst>
        </pc:spChg>
        <pc:spChg chg="add del mod modVis">
          <ac:chgData name="Yudi Zhu" userId="571e1a55-055f-4c28-8b35-fca6dd1c1369" providerId="ADAL" clId="{75A88773-6EE1-484E-AADE-FE631E01463B}" dt="2025-11-21T06:38:27.493" v="170830"/>
          <ac:spMkLst>
            <pc:docMk/>
            <pc:sldMk cId="755828523" sldId="2147483089"/>
            <ac:spMk id="419" creationId="{C907DB72-7EE8-FEDF-9361-0977E7724E85}"/>
          </ac:spMkLst>
        </pc:spChg>
        <pc:spChg chg="add del mod modVis">
          <ac:chgData name="Yudi Zhu" userId="571e1a55-055f-4c28-8b35-fca6dd1c1369" providerId="ADAL" clId="{75A88773-6EE1-484E-AADE-FE631E01463B}" dt="2025-11-21T06:39:03.708" v="171467"/>
          <ac:spMkLst>
            <pc:docMk/>
            <pc:sldMk cId="755828523" sldId="2147483089"/>
            <ac:spMk id="420" creationId="{9EF968B5-E1E6-0690-3893-B2D0E21F34B0}"/>
          </ac:spMkLst>
        </pc:spChg>
        <pc:spChg chg="add del mod modVis">
          <ac:chgData name="Yudi Zhu" userId="571e1a55-055f-4c28-8b35-fca6dd1c1369" providerId="ADAL" clId="{75A88773-6EE1-484E-AADE-FE631E01463B}" dt="2025-11-21T06:40:16.896" v="172573"/>
          <ac:spMkLst>
            <pc:docMk/>
            <pc:sldMk cId="755828523" sldId="2147483089"/>
            <ac:spMk id="423" creationId="{E2A57F78-AB0D-F0EB-F037-3ACB17E28994}"/>
          </ac:spMkLst>
        </pc:spChg>
        <pc:spChg chg="add del mod modVis">
          <ac:chgData name="Yudi Zhu" userId="571e1a55-055f-4c28-8b35-fca6dd1c1369" providerId="ADAL" clId="{75A88773-6EE1-484E-AADE-FE631E01463B}" dt="2025-11-21T06:41:00.687" v="172865"/>
          <ac:spMkLst>
            <pc:docMk/>
            <pc:sldMk cId="755828523" sldId="2147483089"/>
            <ac:spMk id="430" creationId="{8456882F-015A-E84A-153B-3FEA073E6AE7}"/>
          </ac:spMkLst>
        </pc:spChg>
        <pc:spChg chg="add del mod modVis">
          <ac:chgData name="Yudi Zhu" userId="571e1a55-055f-4c28-8b35-fca6dd1c1369" providerId="ADAL" clId="{75A88773-6EE1-484E-AADE-FE631E01463B}" dt="2025-11-21T06:41:42.345" v="173172"/>
          <ac:spMkLst>
            <pc:docMk/>
            <pc:sldMk cId="755828523" sldId="2147483089"/>
            <ac:spMk id="433" creationId="{62DA6BBC-403F-9F09-406B-D1F19344542C}"/>
          </ac:spMkLst>
        </pc:spChg>
        <pc:spChg chg="add del mod modVis">
          <ac:chgData name="Yudi Zhu" userId="571e1a55-055f-4c28-8b35-fca6dd1c1369" providerId="ADAL" clId="{75A88773-6EE1-484E-AADE-FE631E01463B}" dt="2025-11-21T06:42:51.096" v="174194"/>
          <ac:spMkLst>
            <pc:docMk/>
            <pc:sldMk cId="755828523" sldId="2147483089"/>
            <ac:spMk id="437" creationId="{60A3EA48-CC3F-C619-9BC2-0BCDB29D4366}"/>
          </ac:spMkLst>
        </pc:spChg>
        <pc:spChg chg="add del mod">
          <ac:chgData name="Yudi Zhu" userId="571e1a55-055f-4c28-8b35-fca6dd1c1369" providerId="ADAL" clId="{75A88773-6EE1-484E-AADE-FE631E01463B}" dt="2025-11-21T08:58:57.040" v="372338"/>
          <ac:spMkLst>
            <pc:docMk/>
            <pc:sldMk cId="755828523" sldId="2147483089"/>
            <ac:spMk id="438" creationId="{62D78070-DE7E-284B-5B21-541428776154}"/>
          </ac:spMkLst>
        </pc:spChg>
        <pc:spChg chg="add del mod">
          <ac:chgData name="Yudi Zhu" userId="571e1a55-055f-4c28-8b35-fca6dd1c1369" providerId="ADAL" clId="{75A88773-6EE1-484E-AADE-FE631E01463B}" dt="2025-11-21T07:34:20.033" v="255362"/>
          <ac:spMkLst>
            <pc:docMk/>
            <pc:sldMk cId="755828523" sldId="2147483089"/>
            <ac:spMk id="439" creationId="{1C66012C-3FA6-F111-9FFF-74D92A707899}"/>
          </ac:spMkLst>
        </pc:spChg>
        <pc:spChg chg="add del mod ord">
          <ac:chgData name="Yudi Zhu" userId="571e1a55-055f-4c28-8b35-fca6dd1c1369" providerId="ADAL" clId="{75A88773-6EE1-484E-AADE-FE631E01463B}" dt="2025-11-21T07:34:20.034" v="255363"/>
          <ac:spMkLst>
            <pc:docMk/>
            <pc:sldMk cId="755828523" sldId="2147483089"/>
            <ac:spMk id="440" creationId="{AC2CF271-77C6-6648-1A1F-CBB95DAD21BA}"/>
          </ac:spMkLst>
        </pc:spChg>
        <pc:spChg chg="add del mod ord">
          <ac:chgData name="Yudi Zhu" userId="571e1a55-055f-4c28-8b35-fca6dd1c1369" providerId="ADAL" clId="{75A88773-6EE1-484E-AADE-FE631E01463B}" dt="2025-11-21T07:34:20.035" v="255364"/>
          <ac:spMkLst>
            <pc:docMk/>
            <pc:sldMk cId="755828523" sldId="2147483089"/>
            <ac:spMk id="441" creationId="{20B85966-7344-67CA-CAB4-D7D9CFB1261C}"/>
          </ac:spMkLst>
        </pc:spChg>
        <pc:spChg chg="add del mod">
          <ac:chgData name="Yudi Zhu" userId="571e1a55-055f-4c28-8b35-fca6dd1c1369" providerId="ADAL" clId="{75A88773-6EE1-484E-AADE-FE631E01463B}" dt="2025-11-21T07:34:20.037" v="255365"/>
          <ac:spMkLst>
            <pc:docMk/>
            <pc:sldMk cId="755828523" sldId="2147483089"/>
            <ac:spMk id="442" creationId="{826F3FD2-5597-DC00-142B-6D8DCE63F800}"/>
          </ac:spMkLst>
        </pc:spChg>
        <pc:spChg chg="add del mod">
          <ac:chgData name="Yudi Zhu" userId="571e1a55-055f-4c28-8b35-fca6dd1c1369" providerId="ADAL" clId="{75A88773-6EE1-484E-AADE-FE631E01463B}" dt="2025-11-21T07:34:20.039" v="255366"/>
          <ac:spMkLst>
            <pc:docMk/>
            <pc:sldMk cId="755828523" sldId="2147483089"/>
            <ac:spMk id="443" creationId="{1F0AA58B-ED6E-1C59-B0AA-9E91D68A9880}"/>
          </ac:spMkLst>
        </pc:spChg>
        <pc:spChg chg="add del mod ord">
          <ac:chgData name="Yudi Zhu" userId="571e1a55-055f-4c28-8b35-fca6dd1c1369" providerId="ADAL" clId="{75A88773-6EE1-484E-AADE-FE631E01463B}" dt="2025-11-21T07:34:20.040" v="255367"/>
          <ac:spMkLst>
            <pc:docMk/>
            <pc:sldMk cId="755828523" sldId="2147483089"/>
            <ac:spMk id="444" creationId="{06F4A8F2-A9A7-6F3A-D942-115147A8428A}"/>
          </ac:spMkLst>
        </pc:spChg>
        <pc:spChg chg="add del mod">
          <ac:chgData name="Yudi Zhu" userId="571e1a55-055f-4c28-8b35-fca6dd1c1369" providerId="ADAL" clId="{75A88773-6EE1-484E-AADE-FE631E01463B}" dt="2025-11-21T07:34:20.041" v="255368"/>
          <ac:spMkLst>
            <pc:docMk/>
            <pc:sldMk cId="755828523" sldId="2147483089"/>
            <ac:spMk id="445" creationId="{8B0B53EE-EDD2-D4FD-BDEE-B2343300E71D}"/>
          </ac:spMkLst>
        </pc:spChg>
        <pc:spChg chg="add del mod ord">
          <ac:chgData name="Yudi Zhu" userId="571e1a55-055f-4c28-8b35-fca6dd1c1369" providerId="ADAL" clId="{75A88773-6EE1-484E-AADE-FE631E01463B}" dt="2025-11-21T07:34:20.043" v="255369"/>
          <ac:spMkLst>
            <pc:docMk/>
            <pc:sldMk cId="755828523" sldId="2147483089"/>
            <ac:spMk id="446" creationId="{0CEDD400-05FB-BF78-A39E-515714B9559B}"/>
          </ac:spMkLst>
        </pc:spChg>
        <pc:spChg chg="add del mod ord">
          <ac:chgData name="Yudi Zhu" userId="571e1a55-055f-4c28-8b35-fca6dd1c1369" providerId="ADAL" clId="{75A88773-6EE1-484E-AADE-FE631E01463B}" dt="2025-11-21T07:34:20.044" v="255370"/>
          <ac:spMkLst>
            <pc:docMk/>
            <pc:sldMk cId="755828523" sldId="2147483089"/>
            <ac:spMk id="447" creationId="{5F049847-FA42-FD30-41B7-E45D8A7549FE}"/>
          </ac:spMkLst>
        </pc:spChg>
        <pc:spChg chg="add del mod">
          <ac:chgData name="Yudi Zhu" userId="571e1a55-055f-4c28-8b35-fca6dd1c1369" providerId="ADAL" clId="{75A88773-6EE1-484E-AADE-FE631E01463B}" dt="2025-11-21T07:34:20.045" v="255371"/>
          <ac:spMkLst>
            <pc:docMk/>
            <pc:sldMk cId="755828523" sldId="2147483089"/>
            <ac:spMk id="448" creationId="{66D618E2-5FAC-928A-C6EA-CA5C5279C1F2}"/>
          </ac:spMkLst>
        </pc:spChg>
        <pc:spChg chg="add del mod">
          <ac:chgData name="Yudi Zhu" userId="571e1a55-055f-4c28-8b35-fca6dd1c1369" providerId="ADAL" clId="{75A88773-6EE1-484E-AADE-FE631E01463B}" dt="2025-11-21T07:37:14.126" v="260766"/>
          <ac:spMkLst>
            <pc:docMk/>
            <pc:sldMk cId="755828523" sldId="2147483089"/>
            <ac:spMk id="449" creationId="{DAACE3F6-87E7-B9D9-41FA-CCAFB83A2375}"/>
          </ac:spMkLst>
        </pc:spChg>
        <pc:spChg chg="add del mod modVis">
          <ac:chgData name="Yudi Zhu" userId="571e1a55-055f-4c28-8b35-fca6dd1c1369" providerId="ADAL" clId="{75A88773-6EE1-484E-AADE-FE631E01463B}" dt="2025-11-21T06:43:31.512" v="175902"/>
          <ac:spMkLst>
            <pc:docMk/>
            <pc:sldMk cId="755828523" sldId="2147483089"/>
            <ac:spMk id="459" creationId="{4AE5EB4A-67FC-D75C-1F26-F0D98F75811A}"/>
          </ac:spMkLst>
        </pc:spChg>
        <pc:spChg chg="add del mod modVis">
          <ac:chgData name="Yudi Zhu" userId="571e1a55-055f-4c28-8b35-fca6dd1c1369" providerId="ADAL" clId="{75A88773-6EE1-484E-AADE-FE631E01463B}" dt="2025-11-21T06:44:14.776" v="178068"/>
          <ac:spMkLst>
            <pc:docMk/>
            <pc:sldMk cId="755828523" sldId="2147483089"/>
            <ac:spMk id="467" creationId="{6808363C-1C15-7603-C234-DC3B6EF2289E}"/>
          </ac:spMkLst>
        </pc:spChg>
        <pc:spChg chg="add del mod modVis">
          <ac:chgData name="Yudi Zhu" userId="571e1a55-055f-4c28-8b35-fca6dd1c1369" providerId="ADAL" clId="{75A88773-6EE1-484E-AADE-FE631E01463B}" dt="2025-11-21T06:44:17.649" v="178611"/>
          <ac:spMkLst>
            <pc:docMk/>
            <pc:sldMk cId="755828523" sldId="2147483089"/>
            <ac:spMk id="469" creationId="{C0640AB2-B6BA-1FE8-D926-B74808990D5D}"/>
          </ac:spMkLst>
        </pc:spChg>
        <pc:spChg chg="add del mod modVis">
          <ac:chgData name="Yudi Zhu" userId="571e1a55-055f-4c28-8b35-fca6dd1c1369" providerId="ADAL" clId="{75A88773-6EE1-484E-AADE-FE631E01463B}" dt="2025-11-21T06:44:21.669" v="178890"/>
          <ac:spMkLst>
            <pc:docMk/>
            <pc:sldMk cId="755828523" sldId="2147483089"/>
            <ac:spMk id="471" creationId="{99598366-AA60-92C9-DD59-7D36B5C7D4CB}"/>
          </ac:spMkLst>
        </pc:spChg>
        <pc:spChg chg="add del mod modVis">
          <ac:chgData name="Yudi Zhu" userId="571e1a55-055f-4c28-8b35-fca6dd1c1369" providerId="ADAL" clId="{75A88773-6EE1-484E-AADE-FE631E01463B}" dt="2025-11-21T06:44:25.792" v="179471"/>
          <ac:spMkLst>
            <pc:docMk/>
            <pc:sldMk cId="755828523" sldId="2147483089"/>
            <ac:spMk id="473" creationId="{5B573B71-9752-DCC3-8BA5-CC5890CE17BA}"/>
          </ac:spMkLst>
        </pc:spChg>
        <pc:spChg chg="add del mod">
          <ac:chgData name="Yudi Zhu" userId="571e1a55-055f-4c28-8b35-fca6dd1c1369" providerId="ADAL" clId="{75A88773-6EE1-484E-AADE-FE631E01463B}" dt="2025-11-21T07:51:18.931" v="292238"/>
          <ac:spMkLst>
            <pc:docMk/>
            <pc:sldMk cId="755828523" sldId="2147483089"/>
            <ac:spMk id="474" creationId="{EA4A294D-33DC-B620-45B5-33283D8D7C26}"/>
          </ac:spMkLst>
        </pc:spChg>
        <pc:spChg chg="add del mod">
          <ac:chgData name="Yudi Zhu" userId="571e1a55-055f-4c28-8b35-fca6dd1c1369" providerId="ADAL" clId="{75A88773-6EE1-484E-AADE-FE631E01463B}" dt="2025-11-21T08:33:54.510" v="319378"/>
          <ac:spMkLst>
            <pc:docMk/>
            <pc:sldMk cId="755828523" sldId="2147483089"/>
            <ac:spMk id="475" creationId="{01D2B1B9-B44A-500F-99F0-4EB098ED4BFB}"/>
          </ac:spMkLst>
        </pc:spChg>
        <pc:spChg chg="add del mod">
          <ac:chgData name="Yudi Zhu" userId="571e1a55-055f-4c28-8b35-fca6dd1c1369" providerId="ADAL" clId="{75A88773-6EE1-484E-AADE-FE631E01463B}" dt="2025-11-21T08:33:54.510" v="319377"/>
          <ac:spMkLst>
            <pc:docMk/>
            <pc:sldMk cId="755828523" sldId="2147483089"/>
            <ac:spMk id="476" creationId="{8B7D162F-71FB-118B-7344-28AA5F838272}"/>
          </ac:spMkLst>
        </pc:spChg>
        <pc:spChg chg="add del mod">
          <ac:chgData name="Yudi Zhu" userId="571e1a55-055f-4c28-8b35-fca6dd1c1369" providerId="ADAL" clId="{75A88773-6EE1-484E-AADE-FE631E01463B}" dt="2025-11-21T08:33:54.510" v="319376"/>
          <ac:spMkLst>
            <pc:docMk/>
            <pc:sldMk cId="755828523" sldId="2147483089"/>
            <ac:spMk id="477" creationId="{5884CB9A-3565-01FD-0F88-E2A61CB6A90F}"/>
          </ac:spMkLst>
        </pc:spChg>
        <pc:spChg chg="add del mod">
          <ac:chgData name="Yudi Zhu" userId="571e1a55-055f-4c28-8b35-fca6dd1c1369" providerId="ADAL" clId="{75A88773-6EE1-484E-AADE-FE631E01463B}" dt="2025-11-21T08:33:54.510" v="319375"/>
          <ac:spMkLst>
            <pc:docMk/>
            <pc:sldMk cId="755828523" sldId="2147483089"/>
            <ac:spMk id="478" creationId="{127B0F5A-5F8A-2D0F-C3B7-DCD38B84FDEB}"/>
          </ac:spMkLst>
        </pc:spChg>
        <pc:spChg chg="add del mod modVis">
          <ac:chgData name="Yudi Zhu" userId="571e1a55-055f-4c28-8b35-fca6dd1c1369" providerId="ADAL" clId="{75A88773-6EE1-484E-AADE-FE631E01463B}" dt="2025-11-21T06:44:33.721" v="180678"/>
          <ac:spMkLst>
            <pc:docMk/>
            <pc:sldMk cId="755828523" sldId="2147483089"/>
            <ac:spMk id="480" creationId="{D1DA8B80-C0F4-EA7C-FB51-C75CBAB61447}"/>
          </ac:spMkLst>
        </pc:spChg>
        <pc:spChg chg="add del mod">
          <ac:chgData name="Yudi Zhu" userId="571e1a55-055f-4c28-8b35-fca6dd1c1369" providerId="ADAL" clId="{75A88773-6EE1-484E-AADE-FE631E01463B}" dt="2025-11-21T06:45:07.108" v="183716"/>
          <ac:spMkLst>
            <pc:docMk/>
            <pc:sldMk cId="755828523" sldId="2147483089"/>
            <ac:spMk id="481" creationId="{866561A7-0BAA-24D3-4ED7-053596BD6E64}"/>
          </ac:spMkLst>
        </pc:spChg>
        <pc:spChg chg="add del mod">
          <ac:chgData name="Yudi Zhu" userId="571e1a55-055f-4c28-8b35-fca6dd1c1369" providerId="ADAL" clId="{75A88773-6EE1-484E-AADE-FE631E01463B}" dt="2025-11-21T06:44:42.291" v="181622"/>
          <ac:spMkLst>
            <pc:docMk/>
            <pc:sldMk cId="755828523" sldId="2147483089"/>
            <ac:spMk id="482" creationId="{4583F4B6-F247-961D-2473-864330C40253}"/>
          </ac:spMkLst>
        </pc:spChg>
        <pc:spChg chg="add del mod">
          <ac:chgData name="Yudi Zhu" userId="571e1a55-055f-4c28-8b35-fca6dd1c1369" providerId="ADAL" clId="{75A88773-6EE1-484E-AADE-FE631E01463B}" dt="2025-11-21T06:45:07.093" v="183715"/>
          <ac:spMkLst>
            <pc:docMk/>
            <pc:sldMk cId="755828523" sldId="2147483089"/>
            <ac:spMk id="483" creationId="{8953C556-CFBD-2903-38B4-A10AEE663EFB}"/>
          </ac:spMkLst>
        </pc:spChg>
        <pc:spChg chg="add del mod">
          <ac:chgData name="Yudi Zhu" userId="571e1a55-055f-4c28-8b35-fca6dd1c1369" providerId="ADAL" clId="{75A88773-6EE1-484E-AADE-FE631E01463B}" dt="2025-11-21T06:44:42.291" v="181621"/>
          <ac:spMkLst>
            <pc:docMk/>
            <pc:sldMk cId="755828523" sldId="2147483089"/>
            <ac:spMk id="484" creationId="{8392DCF5-3CA2-FF8F-9362-97351EE8297E}"/>
          </ac:spMkLst>
        </pc:spChg>
        <pc:spChg chg="add del mod">
          <ac:chgData name="Yudi Zhu" userId="571e1a55-055f-4c28-8b35-fca6dd1c1369" providerId="ADAL" clId="{75A88773-6EE1-484E-AADE-FE631E01463B}" dt="2025-11-21T06:45:07.093" v="183714"/>
          <ac:spMkLst>
            <pc:docMk/>
            <pc:sldMk cId="755828523" sldId="2147483089"/>
            <ac:spMk id="485" creationId="{4A41A0E8-C1AC-ED26-4DB6-06C99465F81F}"/>
          </ac:spMkLst>
        </pc:spChg>
        <pc:spChg chg="add del mod">
          <ac:chgData name="Yudi Zhu" userId="571e1a55-055f-4c28-8b35-fca6dd1c1369" providerId="ADAL" clId="{75A88773-6EE1-484E-AADE-FE631E01463B}" dt="2025-11-21T06:44:42.291" v="181620"/>
          <ac:spMkLst>
            <pc:docMk/>
            <pc:sldMk cId="755828523" sldId="2147483089"/>
            <ac:spMk id="486" creationId="{4ADAF97F-18F2-EE11-C812-5F7136662224}"/>
          </ac:spMkLst>
        </pc:spChg>
        <pc:spChg chg="add del mod modVis">
          <ac:chgData name="Yudi Zhu" userId="571e1a55-055f-4c28-8b35-fca6dd1c1369" providerId="ADAL" clId="{75A88773-6EE1-484E-AADE-FE631E01463B}" dt="2025-11-21T06:44:36.870" v="181587"/>
          <ac:spMkLst>
            <pc:docMk/>
            <pc:sldMk cId="755828523" sldId="2147483089"/>
            <ac:spMk id="491" creationId="{E3DDB1F1-B57B-3238-D4A0-3F08BC280543}"/>
          </ac:spMkLst>
        </pc:spChg>
        <pc:spChg chg="add del mod modVis">
          <ac:chgData name="Yudi Zhu" userId="571e1a55-055f-4c28-8b35-fca6dd1c1369" providerId="ADAL" clId="{75A88773-6EE1-484E-AADE-FE631E01463B}" dt="2025-11-21T06:44:43.183" v="182637"/>
          <ac:spMkLst>
            <pc:docMk/>
            <pc:sldMk cId="755828523" sldId="2147483089"/>
            <ac:spMk id="493" creationId="{73F713C0-709F-CC30-AB2A-21D7EF34EBBA}"/>
          </ac:spMkLst>
        </pc:spChg>
        <pc:spChg chg="add del mod">
          <ac:chgData name="Yudi Zhu" userId="571e1a55-055f-4c28-8b35-fca6dd1c1369" providerId="ADAL" clId="{75A88773-6EE1-484E-AADE-FE631E01463B}" dt="2025-11-21T06:45:07.093" v="183713"/>
          <ac:spMkLst>
            <pc:docMk/>
            <pc:sldMk cId="755828523" sldId="2147483089"/>
            <ac:spMk id="494" creationId="{DBA0BF89-BD62-90F5-CAF8-A575B7F68660}"/>
          </ac:spMkLst>
        </pc:spChg>
        <pc:spChg chg="add del mod">
          <ac:chgData name="Yudi Zhu" userId="571e1a55-055f-4c28-8b35-fca6dd1c1369" providerId="ADAL" clId="{75A88773-6EE1-484E-AADE-FE631E01463B}" dt="2025-11-21T06:45:07.093" v="183712"/>
          <ac:spMkLst>
            <pc:docMk/>
            <pc:sldMk cId="755828523" sldId="2147483089"/>
            <ac:spMk id="495" creationId="{29D123D9-A6CD-BD10-0714-321D404476B4}"/>
          </ac:spMkLst>
        </pc:spChg>
        <pc:spChg chg="add del mod modVis">
          <ac:chgData name="Yudi Zhu" userId="571e1a55-055f-4c28-8b35-fca6dd1c1369" providerId="ADAL" clId="{75A88773-6EE1-484E-AADE-FE631E01463B}" dt="2025-11-21T06:44:58.082" v="183709"/>
          <ac:spMkLst>
            <pc:docMk/>
            <pc:sldMk cId="755828523" sldId="2147483089"/>
            <ac:spMk id="510" creationId="{6A3B3A78-086A-19FC-06B5-C0AD9A3BA4F5}"/>
          </ac:spMkLst>
        </pc:spChg>
        <pc:spChg chg="add del mod modVis">
          <ac:chgData name="Yudi Zhu" userId="571e1a55-055f-4c28-8b35-fca6dd1c1369" providerId="ADAL" clId="{75A88773-6EE1-484E-AADE-FE631E01463B}" dt="2025-11-21T06:45:25.379" v="185285"/>
          <ac:spMkLst>
            <pc:docMk/>
            <pc:sldMk cId="755828523" sldId="2147483089"/>
            <ac:spMk id="515" creationId="{8CA1114A-50A5-7CA7-6367-8285B1D7D2E3}"/>
          </ac:spMkLst>
        </pc:spChg>
        <pc:spChg chg="add del mod modVis">
          <ac:chgData name="Yudi Zhu" userId="571e1a55-055f-4c28-8b35-fca6dd1c1369" providerId="ADAL" clId="{75A88773-6EE1-484E-AADE-FE631E01463B}" dt="2025-11-21T06:45:31.958" v="186113"/>
          <ac:spMkLst>
            <pc:docMk/>
            <pc:sldMk cId="755828523" sldId="2147483089"/>
            <ac:spMk id="517" creationId="{7D395DC4-B414-D72D-ED97-9ED85B043AE4}"/>
          </ac:spMkLst>
        </pc:spChg>
        <pc:spChg chg="add del mod modVis">
          <ac:chgData name="Yudi Zhu" userId="571e1a55-055f-4c28-8b35-fca6dd1c1369" providerId="ADAL" clId="{75A88773-6EE1-484E-AADE-FE631E01463B}" dt="2025-11-21T06:45:36.060" v="187088"/>
          <ac:spMkLst>
            <pc:docMk/>
            <pc:sldMk cId="755828523" sldId="2147483089"/>
            <ac:spMk id="519" creationId="{D6C701D5-6C63-5704-8C6A-4C2E80958C74}"/>
          </ac:spMkLst>
        </pc:spChg>
        <pc:spChg chg="add del mod modVis">
          <ac:chgData name="Yudi Zhu" userId="571e1a55-055f-4c28-8b35-fca6dd1c1369" providerId="ADAL" clId="{75A88773-6EE1-484E-AADE-FE631E01463B}" dt="2025-11-21T06:48:25.570" v="192493"/>
          <ac:spMkLst>
            <pc:docMk/>
            <pc:sldMk cId="755828523" sldId="2147483089"/>
            <ac:spMk id="525" creationId="{728C4453-8F03-EA57-FB67-7B87ABD9BAB3}"/>
          </ac:spMkLst>
        </pc:spChg>
        <pc:spChg chg="add del mod modVis">
          <ac:chgData name="Yudi Zhu" userId="571e1a55-055f-4c28-8b35-fca6dd1c1369" providerId="ADAL" clId="{75A88773-6EE1-484E-AADE-FE631E01463B}" dt="2025-11-21T06:49:48.030" v="193927"/>
          <ac:spMkLst>
            <pc:docMk/>
            <pc:sldMk cId="755828523" sldId="2147483089"/>
            <ac:spMk id="528" creationId="{C6D696A9-462E-237B-8A2B-AE4433EC1D43}"/>
          </ac:spMkLst>
        </pc:spChg>
        <pc:spChg chg="add del mod modVis">
          <ac:chgData name="Yudi Zhu" userId="571e1a55-055f-4c28-8b35-fca6dd1c1369" providerId="ADAL" clId="{75A88773-6EE1-484E-AADE-FE631E01463B}" dt="2025-11-21T06:52:40.615" v="197150"/>
          <ac:spMkLst>
            <pc:docMk/>
            <pc:sldMk cId="755828523" sldId="2147483089"/>
            <ac:spMk id="540" creationId="{F5611396-E389-B5BD-5806-79F7E14A40BE}"/>
          </ac:spMkLst>
        </pc:spChg>
        <pc:spChg chg="add del mod modVis">
          <ac:chgData name="Yudi Zhu" userId="571e1a55-055f-4c28-8b35-fca6dd1c1369" providerId="ADAL" clId="{75A88773-6EE1-484E-AADE-FE631E01463B}" dt="2025-11-21T07:06:54.988" v="200666"/>
          <ac:spMkLst>
            <pc:docMk/>
            <pc:sldMk cId="755828523" sldId="2147483089"/>
            <ac:spMk id="547" creationId="{439B561B-B12A-6FBF-F3C1-695135BEA7B2}"/>
          </ac:spMkLst>
        </pc:spChg>
        <pc:spChg chg="add del mod">
          <ac:chgData name="Yudi Zhu" userId="571e1a55-055f-4c28-8b35-fca6dd1c1369" providerId="ADAL" clId="{75A88773-6EE1-484E-AADE-FE631E01463B}" dt="2025-11-21T07:07:29.884" v="203930"/>
          <ac:spMkLst>
            <pc:docMk/>
            <pc:sldMk cId="755828523" sldId="2147483089"/>
            <ac:spMk id="548" creationId="{9E90CB8E-3D4C-E0AF-5A53-EE8D8648FA48}"/>
          </ac:spMkLst>
        </pc:spChg>
        <pc:spChg chg="add del mod">
          <ac:chgData name="Yudi Zhu" userId="571e1a55-055f-4c28-8b35-fca6dd1c1369" providerId="ADAL" clId="{75A88773-6EE1-484E-AADE-FE631E01463B}" dt="2025-11-21T07:07:29.884" v="203929"/>
          <ac:spMkLst>
            <pc:docMk/>
            <pc:sldMk cId="755828523" sldId="2147483089"/>
            <ac:spMk id="549" creationId="{7844F1B7-A54E-70EC-DBDE-E7E1CA4427AD}"/>
          </ac:spMkLst>
        </pc:spChg>
        <pc:spChg chg="add del mod modVis">
          <ac:chgData name="Yudi Zhu" userId="571e1a55-055f-4c28-8b35-fca6dd1c1369" providerId="ADAL" clId="{75A88773-6EE1-484E-AADE-FE631E01463B}" dt="2025-11-21T07:07:00.635" v="201089"/>
          <ac:spMkLst>
            <pc:docMk/>
            <pc:sldMk cId="755828523" sldId="2147483089"/>
            <ac:spMk id="552" creationId="{4B55F14C-154C-21F5-D03E-256E81E1F730}"/>
          </ac:spMkLst>
        </pc:spChg>
        <pc:spChg chg="add del mod modVis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57" creationId="{15E9926C-274F-60F6-7E4F-44BCE0F73362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58" creationId="{53385E0C-9AF6-5A04-3349-DB81E4E3D7C8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59" creationId="{6CC752DC-2F73-C5B2-93CB-288B3F5D7834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60" creationId="{832F0E73-42F2-925F-1A45-8592B484639F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61" creationId="{C9389A6A-04C3-3B16-AF77-BE8C4EA5F369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62" creationId="{123F2BF2-4D3E-DA8C-B8F2-18979B9264B0}"/>
          </ac:spMkLst>
        </pc:spChg>
        <pc:spChg chg="add del mod">
          <ac:chgData name="Yudi Zhu" userId="571e1a55-055f-4c28-8b35-fca6dd1c1369" providerId="ADAL" clId="{75A88773-6EE1-484E-AADE-FE631E01463B}" dt="2025-11-21T07:07:15.947" v="203306"/>
          <ac:spMkLst>
            <pc:docMk/>
            <pc:sldMk cId="755828523" sldId="2147483089"/>
            <ac:spMk id="563" creationId="{87D6B5B7-1C2F-E751-6B6A-EE6651F09D2B}"/>
          </ac:spMkLst>
        </pc:spChg>
        <pc:spChg chg="add del mod modVis">
          <ac:chgData name="Yudi Zhu" userId="571e1a55-055f-4c28-8b35-fca6dd1c1369" providerId="ADAL" clId="{75A88773-6EE1-484E-AADE-FE631E01463B}" dt="2025-11-21T07:07:15.413" v="202960"/>
          <ac:spMkLst>
            <pc:docMk/>
            <pc:sldMk cId="755828523" sldId="2147483089"/>
            <ac:spMk id="565" creationId="{ECA435B9-D1AF-7165-065B-77279F21C3F7}"/>
          </ac:spMkLst>
        </pc:spChg>
        <pc:spChg chg="add mod">
          <ac:chgData name="Yudi Zhu" userId="571e1a55-055f-4c28-8b35-fca6dd1c1369" providerId="ADAL" clId="{75A88773-6EE1-484E-AADE-FE631E01463B}" dt="2025-11-21T07:07:15.273" v="202717" actId="207"/>
          <ac:spMkLst>
            <pc:docMk/>
            <pc:sldMk cId="755828523" sldId="2147483089"/>
            <ac:spMk id="577" creationId="{84D391D8-EC1F-D1B2-A241-817A021E5FCA}"/>
          </ac:spMkLst>
        </pc:spChg>
        <pc:spChg chg="add del mod modVis">
          <ac:chgData name="Yudi Zhu" userId="571e1a55-055f-4c28-8b35-fca6dd1c1369" providerId="ADAL" clId="{75A88773-6EE1-484E-AADE-FE631E01463B}" dt="2025-11-21T07:07:21.102" v="203926"/>
          <ac:spMkLst>
            <pc:docMk/>
            <pc:sldMk cId="755828523" sldId="2147483089"/>
            <ac:spMk id="578" creationId="{29DE1735-CA98-49CE-57A4-7C6F403040D3}"/>
          </ac:spMkLst>
        </pc:spChg>
        <pc:spChg chg="add del mod modVis">
          <ac:chgData name="Yudi Zhu" userId="571e1a55-055f-4c28-8b35-fca6dd1c1369" providerId="ADAL" clId="{75A88773-6EE1-484E-AADE-FE631E01463B}" dt="2025-11-21T07:07:30.202" v="204241"/>
          <ac:spMkLst>
            <pc:docMk/>
            <pc:sldMk cId="755828523" sldId="2147483089"/>
            <ac:spMk id="582" creationId="{199D841A-AF3C-9E83-2E42-E555D5B25739}"/>
          </ac:spMkLst>
        </pc:spChg>
        <pc:spChg chg="add del mod modVis">
          <ac:chgData name="Yudi Zhu" userId="571e1a55-055f-4c28-8b35-fca6dd1c1369" providerId="ADAL" clId="{75A88773-6EE1-484E-AADE-FE631E01463B}" dt="2025-11-21T07:07:32.453" v="204554"/>
          <ac:spMkLst>
            <pc:docMk/>
            <pc:sldMk cId="755828523" sldId="2147483089"/>
            <ac:spMk id="584" creationId="{B9EEE288-D81D-7B42-697E-3CEFBBA2C611}"/>
          </ac:spMkLst>
        </pc:spChg>
        <pc:spChg chg="add del mod modVis">
          <ac:chgData name="Yudi Zhu" userId="571e1a55-055f-4c28-8b35-fca6dd1c1369" providerId="ADAL" clId="{75A88773-6EE1-484E-AADE-FE631E01463B}" dt="2025-11-21T07:07:34.498" v="204909"/>
          <ac:spMkLst>
            <pc:docMk/>
            <pc:sldMk cId="755828523" sldId="2147483089"/>
            <ac:spMk id="586" creationId="{199DCA4B-02E4-7867-A98E-C49482367981}"/>
          </ac:spMkLst>
        </pc:spChg>
        <pc:spChg chg="add del mod modVis">
          <ac:chgData name="Yudi Zhu" userId="571e1a55-055f-4c28-8b35-fca6dd1c1369" providerId="ADAL" clId="{75A88773-6EE1-484E-AADE-FE631E01463B}" dt="2025-11-21T07:07:55.934" v="205390"/>
          <ac:spMkLst>
            <pc:docMk/>
            <pc:sldMk cId="755828523" sldId="2147483089"/>
            <ac:spMk id="588" creationId="{BB007B9E-3477-64A5-4014-52F8FEA84E80}"/>
          </ac:spMkLst>
        </pc:spChg>
        <pc:spChg chg="add del mod modVis">
          <ac:chgData name="Yudi Zhu" userId="571e1a55-055f-4c28-8b35-fca6dd1c1369" providerId="ADAL" clId="{75A88773-6EE1-484E-AADE-FE631E01463B}" dt="2025-11-21T07:08:06.466" v="205945"/>
          <ac:spMkLst>
            <pc:docMk/>
            <pc:sldMk cId="755828523" sldId="2147483089"/>
            <ac:spMk id="590" creationId="{F51B4BC4-F4AE-1306-6130-75424DC876A4}"/>
          </ac:spMkLst>
        </pc:spChg>
        <pc:spChg chg="add del mod modVis">
          <ac:chgData name="Yudi Zhu" userId="571e1a55-055f-4c28-8b35-fca6dd1c1369" providerId="ADAL" clId="{75A88773-6EE1-484E-AADE-FE631E01463B}" dt="2025-11-21T07:08:19.947" v="206659"/>
          <ac:spMkLst>
            <pc:docMk/>
            <pc:sldMk cId="755828523" sldId="2147483089"/>
            <ac:spMk id="592" creationId="{8DF2840B-14D1-9E59-A151-DE75F3464E63}"/>
          </ac:spMkLst>
        </pc:spChg>
        <pc:spChg chg="add del mod modVis">
          <ac:chgData name="Yudi Zhu" userId="571e1a55-055f-4c28-8b35-fca6dd1c1369" providerId="ADAL" clId="{75A88773-6EE1-484E-AADE-FE631E01463B}" dt="2025-11-21T07:09:05.064" v="209211"/>
          <ac:spMkLst>
            <pc:docMk/>
            <pc:sldMk cId="755828523" sldId="2147483089"/>
            <ac:spMk id="600" creationId="{BB100D05-65AD-62C6-475A-D86BF2DCCAE0}"/>
          </ac:spMkLst>
        </pc:spChg>
        <pc:spChg chg="add del mod modVis">
          <ac:chgData name="Yudi Zhu" userId="571e1a55-055f-4c28-8b35-fca6dd1c1369" providerId="ADAL" clId="{75A88773-6EE1-484E-AADE-FE631E01463B}" dt="2025-11-21T07:09:42.298" v="213744"/>
          <ac:spMkLst>
            <pc:docMk/>
            <pc:sldMk cId="755828523" sldId="2147483089"/>
            <ac:spMk id="604" creationId="{636F8B24-1983-0BD3-CC95-DBAC1B24D794}"/>
          </ac:spMkLst>
        </pc:spChg>
        <pc:spChg chg="add del mod modVis">
          <ac:chgData name="Yudi Zhu" userId="571e1a55-055f-4c28-8b35-fca6dd1c1369" providerId="ADAL" clId="{75A88773-6EE1-484E-AADE-FE631E01463B}" dt="2025-11-21T07:09:45.893" v="214359"/>
          <ac:spMkLst>
            <pc:docMk/>
            <pc:sldMk cId="755828523" sldId="2147483089"/>
            <ac:spMk id="661" creationId="{5A7C868A-FA33-EECC-53F0-103E182F2ED1}"/>
          </ac:spMkLst>
        </pc:spChg>
        <pc:spChg chg="add del mod">
          <ac:chgData name="Yudi Zhu" userId="571e1a55-055f-4c28-8b35-fca6dd1c1369" providerId="ADAL" clId="{75A88773-6EE1-484E-AADE-FE631E01463B}" dt="2025-11-21T07:10:50.927" v="215182"/>
          <ac:spMkLst>
            <pc:docMk/>
            <pc:sldMk cId="755828523" sldId="2147483089"/>
            <ac:spMk id="664" creationId="{8F9D80B2-522A-FF0F-92CC-07DD24B1F55D}"/>
          </ac:spMkLst>
        </pc:spChg>
        <pc:spChg chg="add del mod modVis">
          <ac:chgData name="Yudi Zhu" userId="571e1a55-055f-4c28-8b35-fca6dd1c1369" providerId="ADAL" clId="{75A88773-6EE1-484E-AADE-FE631E01463B}" dt="2025-11-21T07:10:40.411" v="215172"/>
          <ac:spMkLst>
            <pc:docMk/>
            <pc:sldMk cId="755828523" sldId="2147483089"/>
            <ac:spMk id="665" creationId="{A898C6DB-93F4-B726-8965-BC78A2D7C8A5}"/>
          </ac:spMkLst>
        </pc:spChg>
        <pc:spChg chg="add del mod">
          <ac:chgData name="Yudi Zhu" userId="571e1a55-055f-4c28-8b35-fca6dd1c1369" providerId="ADAL" clId="{75A88773-6EE1-484E-AADE-FE631E01463B}" dt="2025-11-21T07:10:50.927" v="215181"/>
          <ac:spMkLst>
            <pc:docMk/>
            <pc:sldMk cId="755828523" sldId="2147483089"/>
            <ac:spMk id="666" creationId="{D691D181-8B37-D341-2F0D-34C70E81C24B}"/>
          </ac:spMkLst>
        </pc:spChg>
        <pc:spChg chg="add del mod">
          <ac:chgData name="Yudi Zhu" userId="571e1a55-055f-4c28-8b35-fca6dd1c1369" providerId="ADAL" clId="{75A88773-6EE1-484E-AADE-FE631E01463B}" dt="2025-11-21T07:10:50.927" v="215178"/>
          <ac:spMkLst>
            <pc:docMk/>
            <pc:sldMk cId="755828523" sldId="2147483089"/>
            <ac:spMk id="667" creationId="{1F761735-A777-A56E-6937-A781BDA75216}"/>
          </ac:spMkLst>
        </pc:spChg>
        <pc:spChg chg="add del mod modVis">
          <ac:chgData name="Yudi Zhu" userId="571e1a55-055f-4c28-8b35-fca6dd1c1369" providerId="ADAL" clId="{75A88773-6EE1-484E-AADE-FE631E01463B}" dt="2025-11-21T07:14:53.194" v="234008" actId="962"/>
          <ac:spMkLst>
            <pc:docMk/>
            <pc:sldMk cId="755828523" sldId="2147483089"/>
            <ac:spMk id="678" creationId="{F33923A8-5336-170B-8B5A-68D6F8C03BCE}"/>
          </ac:spMkLst>
        </pc:spChg>
        <pc:spChg chg="add del mod modVis">
          <ac:chgData name="Yudi Zhu" userId="571e1a55-055f-4c28-8b35-fca6dd1c1369" providerId="ADAL" clId="{75A88773-6EE1-484E-AADE-FE631E01463B}" dt="2025-11-21T07:14:52.597" v="232976" actId="962"/>
          <ac:spMkLst>
            <pc:docMk/>
            <pc:sldMk cId="755828523" sldId="2147483089"/>
            <ac:spMk id="732" creationId="{F893E433-8A1A-998D-5A9C-188661BB36F0}"/>
          </ac:spMkLst>
        </pc:spChg>
        <pc:spChg chg="add del mod modVis">
          <ac:chgData name="Yudi Zhu" userId="571e1a55-055f-4c28-8b35-fca6dd1c1369" providerId="ADAL" clId="{75A88773-6EE1-484E-AADE-FE631E01463B}" dt="2025-11-21T07:15:36.378" v="234869"/>
          <ac:spMkLst>
            <pc:docMk/>
            <pc:sldMk cId="755828523" sldId="2147483089"/>
            <ac:spMk id="734" creationId="{05D7BDA4-98A6-27FC-4602-E7FBF70568A4}"/>
          </ac:spMkLst>
        </pc:spChg>
        <pc:spChg chg="add del mod modVis">
          <ac:chgData name="Yudi Zhu" userId="571e1a55-055f-4c28-8b35-fca6dd1c1369" providerId="ADAL" clId="{75A88773-6EE1-484E-AADE-FE631E01463B}" dt="2025-11-21T07:16:09.383" v="235516"/>
          <ac:spMkLst>
            <pc:docMk/>
            <pc:sldMk cId="755828523" sldId="2147483089"/>
            <ac:spMk id="736" creationId="{2039B870-B9D1-96EB-BC51-4E6A7031ECF0}"/>
          </ac:spMkLst>
        </pc:spChg>
        <pc:spChg chg="add del mod modVis">
          <ac:chgData name="Yudi Zhu" userId="571e1a55-055f-4c28-8b35-fca6dd1c1369" providerId="ADAL" clId="{75A88773-6EE1-484E-AADE-FE631E01463B}" dt="2025-11-21T07:16:12.527" v="235997"/>
          <ac:spMkLst>
            <pc:docMk/>
            <pc:sldMk cId="755828523" sldId="2147483089"/>
            <ac:spMk id="738" creationId="{8889EAD3-0171-BDE9-24E7-3ABFC37DF7C3}"/>
          </ac:spMkLst>
        </pc:spChg>
        <pc:spChg chg="add del mod modVis">
          <ac:chgData name="Yudi Zhu" userId="571e1a55-055f-4c28-8b35-fca6dd1c1369" providerId="ADAL" clId="{75A88773-6EE1-484E-AADE-FE631E01463B}" dt="2025-11-21T07:26:26.039" v="241916" actId="962"/>
          <ac:spMkLst>
            <pc:docMk/>
            <pc:sldMk cId="755828523" sldId="2147483089"/>
            <ac:spMk id="746" creationId="{ED02ED85-66FC-7156-8122-73616F051E22}"/>
          </ac:spMkLst>
        </pc:spChg>
        <pc:spChg chg="add del mod modVis">
          <ac:chgData name="Yudi Zhu" userId="571e1a55-055f-4c28-8b35-fca6dd1c1369" providerId="ADAL" clId="{75A88773-6EE1-484E-AADE-FE631E01463B}" dt="2025-11-21T07:26:29.737" v="242685"/>
          <ac:spMkLst>
            <pc:docMk/>
            <pc:sldMk cId="755828523" sldId="2147483089"/>
            <ac:spMk id="808" creationId="{6D746EAA-DC74-FB73-970C-DC2562EDD619}"/>
          </ac:spMkLst>
        </pc:spChg>
        <pc:spChg chg="add del mod">
          <ac:chgData name="Yudi Zhu" userId="571e1a55-055f-4c28-8b35-fca6dd1c1369" providerId="ADAL" clId="{75A88773-6EE1-484E-AADE-FE631E01463B}" dt="2025-11-21T07:45:22.371" v="283078" actId="478"/>
          <ac:spMkLst>
            <pc:docMk/>
            <pc:sldMk cId="755828523" sldId="2147483089"/>
            <ac:spMk id="814" creationId="{D56F5AAF-1FD9-70FB-4361-A16C2EF579BC}"/>
          </ac:spMkLst>
        </pc:spChg>
        <pc:spChg chg="add del mod modVis">
          <ac:chgData name="Yudi Zhu" userId="571e1a55-055f-4c28-8b35-fca6dd1c1369" providerId="ADAL" clId="{75A88773-6EE1-484E-AADE-FE631E01463B}" dt="2025-11-21T07:27:19.279" v="248206"/>
          <ac:spMkLst>
            <pc:docMk/>
            <pc:sldMk cId="755828523" sldId="2147483089"/>
            <ac:spMk id="818" creationId="{F9698183-71A9-85AD-7BE4-23ABBB730DD5}"/>
          </ac:spMkLst>
        </pc:spChg>
        <pc:spChg chg="add del mod modVis">
          <ac:chgData name="Yudi Zhu" userId="571e1a55-055f-4c28-8b35-fca6dd1c1369" providerId="ADAL" clId="{75A88773-6EE1-484E-AADE-FE631E01463B}" dt="2025-11-21T07:27:22.094" v="248773"/>
          <ac:spMkLst>
            <pc:docMk/>
            <pc:sldMk cId="755828523" sldId="2147483089"/>
            <ac:spMk id="880" creationId="{1E101F3F-B237-F040-948D-8D3CC65A0F5A}"/>
          </ac:spMkLst>
        </pc:spChg>
        <pc:spChg chg="add del mod modVis">
          <ac:chgData name="Yudi Zhu" userId="571e1a55-055f-4c28-8b35-fca6dd1c1369" providerId="ADAL" clId="{75A88773-6EE1-484E-AADE-FE631E01463B}" dt="2025-11-21T07:27:49.572" v="255164"/>
          <ac:spMkLst>
            <pc:docMk/>
            <pc:sldMk cId="755828523" sldId="2147483089"/>
            <ac:spMk id="884" creationId="{4E435261-ADEE-41C3-CE82-30D123A6247A}"/>
          </ac:spMkLst>
        </pc:spChg>
        <pc:spChg chg="add del mod modVis">
          <ac:chgData name="Yudi Zhu" userId="571e1a55-055f-4c28-8b35-fca6dd1c1369" providerId="ADAL" clId="{75A88773-6EE1-484E-AADE-FE631E01463B}" dt="2025-11-21T07:27:47.294" v="253970" actId="962"/>
          <ac:spMkLst>
            <pc:docMk/>
            <pc:sldMk cId="755828523" sldId="2147483089"/>
            <ac:spMk id="939" creationId="{EB549E5A-9BAD-FB15-04CA-43C696BCAA5F}"/>
          </ac:spMkLst>
        </pc:spChg>
        <pc:spChg chg="add mod ord">
          <ac:chgData name="Yudi Zhu" userId="571e1a55-055f-4c28-8b35-fca6dd1c1369" providerId="ADAL" clId="{75A88773-6EE1-484E-AADE-FE631E01463B}" dt="2025-11-21T07:27:47.083" v="253754" actId="139"/>
          <ac:spMkLst>
            <pc:docMk/>
            <pc:sldMk cId="755828523" sldId="2147483089"/>
            <ac:spMk id="940" creationId="{9A2A6B08-F426-3404-4938-7C61369BD747}"/>
          </ac:spMkLst>
        </pc:spChg>
        <pc:spChg chg="add del mod modVis">
          <ac:chgData name="Yudi Zhu" userId="571e1a55-055f-4c28-8b35-fca6dd1c1369" providerId="ADAL" clId="{75A88773-6EE1-484E-AADE-FE631E01463B}" dt="2025-11-21T07:34:21.163" v="255865"/>
          <ac:spMkLst>
            <pc:docMk/>
            <pc:sldMk cId="755828523" sldId="2147483089"/>
            <ac:spMk id="949" creationId="{3A597E11-2ACF-0BD6-E908-9A5E559AA453}"/>
          </ac:spMkLst>
        </pc:spChg>
        <pc:spChg chg="add del mod ord">
          <ac:chgData name="Yudi Zhu" userId="571e1a55-055f-4c28-8b35-fca6dd1c1369" providerId="ADAL" clId="{75A88773-6EE1-484E-AADE-FE631E01463B}" dt="2025-11-21T07:34:36.794" v="257144"/>
          <ac:spMkLst>
            <pc:docMk/>
            <pc:sldMk cId="755828523" sldId="2147483089"/>
            <ac:spMk id="950" creationId="{D0893DB9-4AC8-055E-97C1-B126357E762E}"/>
          </ac:spMkLst>
        </pc:spChg>
        <pc:spChg chg="add del mod ord">
          <ac:chgData name="Yudi Zhu" userId="571e1a55-055f-4c28-8b35-fca6dd1c1369" providerId="ADAL" clId="{75A88773-6EE1-484E-AADE-FE631E01463B}" dt="2025-11-21T07:34:36.966" v="257233"/>
          <ac:spMkLst>
            <pc:docMk/>
            <pc:sldMk cId="755828523" sldId="2147483089"/>
            <ac:spMk id="951" creationId="{3AAF5B43-F57F-226F-8821-012C857F1E58}"/>
          </ac:spMkLst>
        </pc:spChg>
        <pc:spChg chg="add del mod ord">
          <ac:chgData name="Yudi Zhu" userId="571e1a55-055f-4c28-8b35-fca6dd1c1369" providerId="ADAL" clId="{75A88773-6EE1-484E-AADE-FE631E01463B}" dt="2025-11-21T07:34:37.166" v="257322"/>
          <ac:spMkLst>
            <pc:docMk/>
            <pc:sldMk cId="755828523" sldId="2147483089"/>
            <ac:spMk id="952" creationId="{540C5B93-789B-EBC0-431D-7009A54D419A}"/>
          </ac:spMkLst>
        </pc:spChg>
        <pc:spChg chg="add del mod">
          <ac:chgData name="Yudi Zhu" userId="571e1a55-055f-4c28-8b35-fca6dd1c1369" providerId="ADAL" clId="{75A88773-6EE1-484E-AADE-FE631E01463B}" dt="2025-11-21T07:35:43.480" v="258871"/>
          <ac:spMkLst>
            <pc:docMk/>
            <pc:sldMk cId="755828523" sldId="2147483089"/>
            <ac:spMk id="955" creationId="{8F221738-6194-9333-A8C3-824D91E5C64E}"/>
          </ac:spMkLst>
        </pc:spChg>
        <pc:spChg chg="add del mod modVis">
          <ac:chgData name="Yudi Zhu" userId="571e1a55-055f-4c28-8b35-fca6dd1c1369" providerId="ADAL" clId="{75A88773-6EE1-484E-AADE-FE631E01463B}" dt="2025-11-21T07:34:26.129" v="256273"/>
          <ac:spMkLst>
            <pc:docMk/>
            <pc:sldMk cId="755828523" sldId="2147483089"/>
            <ac:spMk id="956" creationId="{620F29FB-3AC0-2B40-9124-B2AFBA08EEDA}"/>
          </ac:spMkLst>
        </pc:spChg>
        <pc:spChg chg="add del mod ord">
          <ac:chgData name="Yudi Zhu" userId="571e1a55-055f-4c28-8b35-fca6dd1c1369" providerId="ADAL" clId="{75A88773-6EE1-484E-AADE-FE631E01463B}" dt="2025-11-21T07:35:43.474" v="258870"/>
          <ac:spMkLst>
            <pc:docMk/>
            <pc:sldMk cId="755828523" sldId="2147483089"/>
            <ac:spMk id="958" creationId="{C71680BE-F418-ED62-E433-D0AACED5B5F5}"/>
          </ac:spMkLst>
        </pc:spChg>
        <pc:spChg chg="add del mod">
          <ac:chgData name="Yudi Zhu" userId="571e1a55-055f-4c28-8b35-fca6dd1c1369" providerId="ADAL" clId="{75A88773-6EE1-484E-AADE-FE631E01463B}" dt="2025-11-21T07:38:39.550" v="263773"/>
          <ac:spMkLst>
            <pc:docMk/>
            <pc:sldMk cId="755828523" sldId="2147483089"/>
            <ac:spMk id="959" creationId="{2719F6CA-88D8-3AD8-770C-BD95511D7B30}"/>
          </ac:spMkLst>
        </pc:spChg>
        <pc:spChg chg="add del mod">
          <ac:chgData name="Yudi Zhu" userId="571e1a55-055f-4c28-8b35-fca6dd1c1369" providerId="ADAL" clId="{75A88773-6EE1-484E-AADE-FE631E01463B}" dt="2025-11-21T07:38:39.550" v="263774"/>
          <ac:spMkLst>
            <pc:docMk/>
            <pc:sldMk cId="755828523" sldId="2147483089"/>
            <ac:spMk id="960" creationId="{00DFDAF5-77A3-112E-22A2-F398538879CF}"/>
          </ac:spMkLst>
        </pc:spChg>
        <pc:spChg chg="add del mod">
          <ac:chgData name="Yudi Zhu" userId="571e1a55-055f-4c28-8b35-fca6dd1c1369" providerId="ADAL" clId="{75A88773-6EE1-484E-AADE-FE631E01463B}" dt="2025-11-21T07:38:39.550" v="263780"/>
          <ac:spMkLst>
            <pc:docMk/>
            <pc:sldMk cId="755828523" sldId="2147483089"/>
            <ac:spMk id="961" creationId="{C4FB3171-4D6B-DFC0-E529-D93BABC1985C}"/>
          </ac:spMkLst>
        </pc:spChg>
        <pc:spChg chg="add del mod">
          <ac:chgData name="Yudi Zhu" userId="571e1a55-055f-4c28-8b35-fca6dd1c1369" providerId="ADAL" clId="{75A88773-6EE1-484E-AADE-FE631E01463B}" dt="2025-11-21T07:38:39.550" v="263781"/>
          <ac:spMkLst>
            <pc:docMk/>
            <pc:sldMk cId="755828523" sldId="2147483089"/>
            <ac:spMk id="962" creationId="{90A0BC94-7C79-5CF8-99F8-04E0B96912EE}"/>
          </ac:spMkLst>
        </pc:spChg>
        <pc:spChg chg="add del mod ord">
          <ac:chgData name="Yudi Zhu" userId="571e1a55-055f-4c28-8b35-fca6dd1c1369" providerId="ADAL" clId="{75A88773-6EE1-484E-AADE-FE631E01463B}" dt="2025-11-21T07:38:39.550" v="263787"/>
          <ac:spMkLst>
            <pc:docMk/>
            <pc:sldMk cId="755828523" sldId="2147483089"/>
            <ac:spMk id="963" creationId="{E91E4FC9-D094-0B09-AC5E-3713EADE143E}"/>
          </ac:spMkLst>
        </pc:spChg>
        <pc:spChg chg="add del mod">
          <ac:chgData name="Yudi Zhu" userId="571e1a55-055f-4c28-8b35-fca6dd1c1369" providerId="ADAL" clId="{75A88773-6EE1-484E-AADE-FE631E01463B}" dt="2025-11-21T07:38:39.550" v="263791"/>
          <ac:spMkLst>
            <pc:docMk/>
            <pc:sldMk cId="755828523" sldId="2147483089"/>
            <ac:spMk id="964" creationId="{ACAF9C4D-F7C2-A9FD-127B-1B039CB31304}"/>
          </ac:spMkLst>
        </pc:spChg>
        <pc:spChg chg="add del mod">
          <ac:chgData name="Yudi Zhu" userId="571e1a55-055f-4c28-8b35-fca6dd1c1369" providerId="ADAL" clId="{75A88773-6EE1-484E-AADE-FE631E01463B}" dt="2025-11-21T07:38:39.550" v="263788"/>
          <ac:spMkLst>
            <pc:docMk/>
            <pc:sldMk cId="755828523" sldId="2147483089"/>
            <ac:spMk id="965" creationId="{3A82737D-D86A-B998-F5D4-69C0B8B1AB11}"/>
          </ac:spMkLst>
        </pc:spChg>
        <pc:spChg chg="add del mod ord">
          <ac:chgData name="Yudi Zhu" userId="571e1a55-055f-4c28-8b35-fca6dd1c1369" providerId="ADAL" clId="{75A88773-6EE1-484E-AADE-FE631E01463B}" dt="2025-11-21T07:38:39.550" v="263795"/>
          <ac:spMkLst>
            <pc:docMk/>
            <pc:sldMk cId="755828523" sldId="2147483089"/>
            <ac:spMk id="966" creationId="{8C009B4D-24F9-C744-2194-75D760B14CD0}"/>
          </ac:spMkLst>
        </pc:spChg>
        <pc:spChg chg="add del mod">
          <ac:chgData name="Yudi Zhu" userId="571e1a55-055f-4c28-8b35-fca6dd1c1369" providerId="ADAL" clId="{75A88773-6EE1-484E-AADE-FE631E01463B}" dt="2025-11-21T07:38:39.550" v="263798"/>
          <ac:spMkLst>
            <pc:docMk/>
            <pc:sldMk cId="755828523" sldId="2147483089"/>
            <ac:spMk id="967" creationId="{6B4AD7B1-14C5-B1C5-B27C-5661CD5CD652}"/>
          </ac:spMkLst>
        </pc:spChg>
        <pc:spChg chg="add del mod">
          <ac:chgData name="Yudi Zhu" userId="571e1a55-055f-4c28-8b35-fca6dd1c1369" providerId="ADAL" clId="{75A88773-6EE1-484E-AADE-FE631E01463B}" dt="2025-11-21T07:38:39.564" v="263801"/>
          <ac:spMkLst>
            <pc:docMk/>
            <pc:sldMk cId="755828523" sldId="2147483089"/>
            <ac:spMk id="968" creationId="{3051B210-4E97-D9CF-2562-ECC4200EFAAF}"/>
          </ac:spMkLst>
        </pc:spChg>
        <pc:spChg chg="add del mod modVis">
          <ac:chgData name="Yudi Zhu" userId="571e1a55-055f-4c28-8b35-fca6dd1c1369" providerId="ADAL" clId="{75A88773-6EE1-484E-AADE-FE631E01463B}" dt="2025-11-21T07:34:37.875" v="257663"/>
          <ac:spMkLst>
            <pc:docMk/>
            <pc:sldMk cId="755828523" sldId="2147483089"/>
            <ac:spMk id="969" creationId="{7717C959-FAEC-CF71-5C5D-2F3ACA27BA16}"/>
          </ac:spMkLst>
        </pc:spChg>
        <pc:spChg chg="add del mod">
          <ac:chgData name="Yudi Zhu" userId="571e1a55-055f-4c28-8b35-fca6dd1c1369" providerId="ADAL" clId="{75A88773-6EE1-484E-AADE-FE631E01463B}" dt="2025-11-21T08:58:57.040" v="372339"/>
          <ac:spMkLst>
            <pc:docMk/>
            <pc:sldMk cId="755828523" sldId="2147483089"/>
            <ac:spMk id="970" creationId="{042698B9-8067-45A8-F5B1-8770B82B240C}"/>
          </ac:spMkLst>
        </pc:spChg>
        <pc:spChg chg="add del mod">
          <ac:chgData name="Yudi Zhu" userId="571e1a55-055f-4c28-8b35-fca6dd1c1369" providerId="ADAL" clId="{75A88773-6EE1-484E-AADE-FE631E01463B}" dt="2025-11-21T08:58:57.040" v="372341"/>
          <ac:spMkLst>
            <pc:docMk/>
            <pc:sldMk cId="755828523" sldId="2147483089"/>
            <ac:spMk id="971" creationId="{C889051E-35F7-4EFE-B53A-7E7ADAFF0657}"/>
          </ac:spMkLst>
        </pc:spChg>
        <pc:spChg chg="add del mod ord">
          <ac:chgData name="Yudi Zhu" userId="571e1a55-055f-4c28-8b35-fca6dd1c1369" providerId="ADAL" clId="{75A88773-6EE1-484E-AADE-FE631E01463B}" dt="2025-11-21T08:58:57.053" v="372344"/>
          <ac:spMkLst>
            <pc:docMk/>
            <pc:sldMk cId="755828523" sldId="2147483089"/>
            <ac:spMk id="972" creationId="{0644BC75-9315-8728-F6DA-7D38D28C7AC2}"/>
          </ac:spMkLst>
        </pc:spChg>
        <pc:spChg chg="add del mod">
          <ac:chgData name="Yudi Zhu" userId="571e1a55-055f-4c28-8b35-fca6dd1c1369" providerId="ADAL" clId="{75A88773-6EE1-484E-AADE-FE631E01463B}" dt="2025-11-21T08:58:57.040" v="372337"/>
          <ac:spMkLst>
            <pc:docMk/>
            <pc:sldMk cId="755828523" sldId="2147483089"/>
            <ac:spMk id="973" creationId="{F48D3D29-892A-A488-F5F5-77C50D3B5D55}"/>
          </ac:spMkLst>
        </pc:spChg>
        <pc:spChg chg="add del mod">
          <ac:chgData name="Yudi Zhu" userId="571e1a55-055f-4c28-8b35-fca6dd1c1369" providerId="ADAL" clId="{75A88773-6EE1-484E-AADE-FE631E01463B}" dt="2025-11-21T08:58:57.040" v="372340"/>
          <ac:spMkLst>
            <pc:docMk/>
            <pc:sldMk cId="755828523" sldId="2147483089"/>
            <ac:spMk id="974" creationId="{B2E6D5DF-78FB-840E-C2C0-7FA176EFA38E}"/>
          </ac:spMkLst>
        </pc:spChg>
        <pc:spChg chg="add del mod ord">
          <ac:chgData name="Yudi Zhu" userId="571e1a55-055f-4c28-8b35-fca6dd1c1369" providerId="ADAL" clId="{75A88773-6EE1-484E-AADE-FE631E01463B}" dt="2025-11-21T08:58:57.040" v="372342"/>
          <ac:spMkLst>
            <pc:docMk/>
            <pc:sldMk cId="755828523" sldId="2147483089"/>
            <ac:spMk id="975" creationId="{EEF03B2F-27B9-0173-19CD-6C68B82122A9}"/>
          </ac:spMkLst>
        </pc:spChg>
        <pc:spChg chg="add del mod">
          <ac:chgData name="Yudi Zhu" userId="571e1a55-055f-4c28-8b35-fca6dd1c1369" providerId="ADAL" clId="{75A88773-6EE1-484E-AADE-FE631E01463B}" dt="2025-11-21T08:58:57.055" v="372345"/>
          <ac:spMkLst>
            <pc:docMk/>
            <pc:sldMk cId="755828523" sldId="2147483089"/>
            <ac:spMk id="976" creationId="{B460B56C-5D38-B531-1529-43211AE92E89}"/>
          </ac:spMkLst>
        </pc:spChg>
        <pc:spChg chg="add del mod">
          <ac:chgData name="Yudi Zhu" userId="571e1a55-055f-4c28-8b35-fca6dd1c1369" providerId="ADAL" clId="{75A88773-6EE1-484E-AADE-FE631E01463B}" dt="2025-11-21T08:58:57.055" v="372346"/>
          <ac:spMkLst>
            <pc:docMk/>
            <pc:sldMk cId="755828523" sldId="2147483089"/>
            <ac:spMk id="977" creationId="{24F7691D-B9DE-8D2F-A3DA-4B762582C7E0}"/>
          </ac:spMkLst>
        </pc:spChg>
        <pc:spChg chg="add del mod ord">
          <ac:chgData name="Yudi Zhu" userId="571e1a55-055f-4c28-8b35-fca6dd1c1369" providerId="ADAL" clId="{75A88773-6EE1-484E-AADE-FE631E01463B}" dt="2025-11-21T08:58:57.055" v="372350"/>
          <ac:spMkLst>
            <pc:docMk/>
            <pc:sldMk cId="755828523" sldId="2147483089"/>
            <ac:spMk id="978" creationId="{A055A0E2-6C0D-1E31-00F6-F1D7D02A6989}"/>
          </ac:spMkLst>
        </pc:spChg>
        <pc:spChg chg="add del mod">
          <ac:chgData name="Yudi Zhu" userId="571e1a55-055f-4c28-8b35-fca6dd1c1369" providerId="ADAL" clId="{75A88773-6EE1-484E-AADE-FE631E01463B}" dt="2025-11-21T08:58:57.055" v="372348"/>
          <ac:spMkLst>
            <pc:docMk/>
            <pc:sldMk cId="755828523" sldId="2147483089"/>
            <ac:spMk id="979" creationId="{4F565AC5-184E-8B10-A923-E622BBD3FD77}"/>
          </ac:spMkLst>
        </pc:spChg>
        <pc:spChg chg="add del mod modVis">
          <ac:chgData name="Yudi Zhu" userId="571e1a55-055f-4c28-8b35-fca6dd1c1369" providerId="ADAL" clId="{75A88773-6EE1-484E-AADE-FE631E01463B}" dt="2025-11-21T07:34:44.608" v="258353"/>
          <ac:spMkLst>
            <pc:docMk/>
            <pc:sldMk cId="755828523" sldId="2147483089"/>
            <ac:spMk id="981" creationId="{89ABAC95-2462-8A45-DC27-33C695DC3E42}"/>
          </ac:spMkLst>
        </pc:spChg>
        <pc:spChg chg="add del mod ord">
          <ac:chgData name="Yudi Zhu" userId="571e1a55-055f-4c28-8b35-fca6dd1c1369" providerId="ADAL" clId="{75A88773-6EE1-484E-AADE-FE631E01463B}" dt="2025-11-21T07:38:39.550" v="263772"/>
          <ac:spMkLst>
            <pc:docMk/>
            <pc:sldMk cId="755828523" sldId="2147483089"/>
            <ac:spMk id="983" creationId="{A462FD2B-D64B-D719-73E8-3E04AD6B4666}"/>
          </ac:spMkLst>
        </pc:spChg>
        <pc:spChg chg="add del mod">
          <ac:chgData name="Yudi Zhu" userId="571e1a55-055f-4c28-8b35-fca6dd1c1369" providerId="ADAL" clId="{75A88773-6EE1-484E-AADE-FE631E01463B}" dt="2025-11-21T07:38:39.546" v="263770"/>
          <ac:spMkLst>
            <pc:docMk/>
            <pc:sldMk cId="755828523" sldId="2147483089"/>
            <ac:spMk id="984" creationId="{8080466F-457B-0A0C-533D-E82274BCEBE0}"/>
          </ac:spMkLst>
        </pc:spChg>
        <pc:spChg chg="add del mod modVis">
          <ac:chgData name="Yudi Zhu" userId="571e1a55-055f-4c28-8b35-fca6dd1c1369" providerId="ADAL" clId="{75A88773-6EE1-484E-AADE-FE631E01463B}" dt="2025-11-21T07:35:19.259" v="258866"/>
          <ac:spMkLst>
            <pc:docMk/>
            <pc:sldMk cId="755828523" sldId="2147483089"/>
            <ac:spMk id="985" creationId="{26AC4647-3409-59ED-D9AD-7B0A91AC3EE0}"/>
          </ac:spMkLst>
        </pc:spChg>
        <pc:spChg chg="add mod">
          <ac:chgData name="Yudi Zhu" userId="571e1a55-055f-4c28-8b35-fca6dd1c1369" providerId="ADAL" clId="{75A88773-6EE1-484E-AADE-FE631E01463B}" dt="2025-11-21T09:22:52.664" v="406662"/>
          <ac:spMkLst>
            <pc:docMk/>
            <pc:sldMk cId="755828523" sldId="2147483089"/>
            <ac:spMk id="990" creationId="{2D030DE9-1EAC-6CEF-A758-6B0AB98021B7}"/>
          </ac:spMkLst>
        </pc:spChg>
        <pc:spChg chg="add del mod modVis">
          <ac:chgData name="Yudi Zhu" userId="571e1a55-055f-4c28-8b35-fca6dd1c1369" providerId="ADAL" clId="{75A88773-6EE1-484E-AADE-FE631E01463B}" dt="2025-11-21T07:35:45.596" v="259217"/>
          <ac:spMkLst>
            <pc:docMk/>
            <pc:sldMk cId="755828523" sldId="2147483089"/>
            <ac:spMk id="991" creationId="{0E163B30-311D-5782-4826-B6D5F2FA2023}"/>
          </ac:spMkLst>
        </pc:spChg>
        <pc:spChg chg="add mod">
          <ac:chgData name="Yudi Zhu" userId="571e1a55-055f-4c28-8b35-fca6dd1c1369" providerId="ADAL" clId="{75A88773-6EE1-484E-AADE-FE631E01463B}" dt="2025-11-21T09:22:52.664" v="406663"/>
          <ac:spMkLst>
            <pc:docMk/>
            <pc:sldMk cId="755828523" sldId="2147483089"/>
            <ac:spMk id="992" creationId="{7C1FC966-970A-A496-42C8-F1ED0CB614CE}"/>
          </ac:spMkLst>
        </pc:spChg>
        <pc:spChg chg="add mod ord">
          <ac:chgData name="Yudi Zhu" userId="571e1a55-055f-4c28-8b35-fca6dd1c1369" providerId="ADAL" clId="{75A88773-6EE1-484E-AADE-FE631E01463B}" dt="2025-11-21T09:22:52.664" v="406659"/>
          <ac:spMkLst>
            <pc:docMk/>
            <pc:sldMk cId="755828523" sldId="2147483089"/>
            <ac:spMk id="994" creationId="{7E5DB600-4581-A55C-766C-739E5A0FADBC}"/>
          </ac:spMkLst>
        </pc:spChg>
        <pc:spChg chg="add mod ord">
          <ac:chgData name="Yudi Zhu" userId="571e1a55-055f-4c28-8b35-fca6dd1c1369" providerId="ADAL" clId="{75A88773-6EE1-484E-AADE-FE631E01463B}" dt="2025-11-21T09:22:52.664" v="406661"/>
          <ac:spMkLst>
            <pc:docMk/>
            <pc:sldMk cId="755828523" sldId="2147483089"/>
            <ac:spMk id="995" creationId="{32DA3477-12F9-F65F-2D29-8DD22FC19F08}"/>
          </ac:spMkLst>
        </pc:spChg>
        <pc:spChg chg="add del mod">
          <ac:chgData name="Yudi Zhu" userId="571e1a55-055f-4c28-8b35-fca6dd1c1369" providerId="ADAL" clId="{75A88773-6EE1-484E-AADE-FE631E01463B}" dt="2025-11-21T07:38:41.829" v="263984"/>
          <ac:spMkLst>
            <pc:docMk/>
            <pc:sldMk cId="755828523" sldId="2147483089"/>
            <ac:spMk id="1005" creationId="{36E5CBE0-662E-C382-70CC-60755857A530}"/>
          </ac:spMkLst>
        </pc:spChg>
        <pc:spChg chg="add del mod modVis">
          <ac:chgData name="Yudi Zhu" userId="571e1a55-055f-4c28-8b35-fca6dd1c1369" providerId="ADAL" clId="{75A88773-6EE1-484E-AADE-FE631E01463B}" dt="2025-11-21T07:37:20.589" v="261289"/>
          <ac:spMkLst>
            <pc:docMk/>
            <pc:sldMk cId="755828523" sldId="2147483089"/>
            <ac:spMk id="1006" creationId="{2B8ABE1D-D442-9CBB-B6DB-C0E0B389D63F}"/>
          </ac:spMkLst>
        </pc:spChg>
        <pc:spChg chg="add del mod ord">
          <ac:chgData name="Yudi Zhu" userId="571e1a55-055f-4c28-8b35-fca6dd1c1369" providerId="ADAL" clId="{75A88773-6EE1-484E-AADE-FE631E01463B}" dt="2025-11-21T07:37:21.482" v="261362"/>
          <ac:spMkLst>
            <pc:docMk/>
            <pc:sldMk cId="755828523" sldId="2147483089"/>
            <ac:spMk id="1007" creationId="{A7DA513A-2E4D-4937-7DE5-ACBC2140FF5A}"/>
          </ac:spMkLst>
        </pc:spChg>
        <pc:spChg chg="add del mod modVis">
          <ac:chgData name="Yudi Zhu" userId="571e1a55-055f-4c28-8b35-fca6dd1c1369" providerId="ADAL" clId="{75A88773-6EE1-484E-AADE-FE631E01463B}" dt="2025-11-21T07:37:21.728" v="261554"/>
          <ac:spMkLst>
            <pc:docMk/>
            <pc:sldMk cId="755828523" sldId="2147483089"/>
            <ac:spMk id="1010" creationId="{3B39D630-EDFB-05E1-C853-2E4D8799B219}"/>
          </ac:spMkLst>
        </pc:spChg>
        <pc:spChg chg="add del mod">
          <ac:chgData name="Yudi Zhu" userId="571e1a55-055f-4c28-8b35-fca6dd1c1369" providerId="ADAL" clId="{75A88773-6EE1-484E-AADE-FE631E01463B}" dt="2025-11-21T07:40:35.976" v="268921"/>
          <ac:spMkLst>
            <pc:docMk/>
            <pc:sldMk cId="755828523" sldId="2147483089"/>
            <ac:spMk id="1011" creationId="{C26A7A2B-E2BE-D28E-E6C5-D70906FA2005}"/>
          </ac:spMkLst>
        </pc:spChg>
        <pc:spChg chg="add del mod modVis">
          <ac:chgData name="Yudi Zhu" userId="571e1a55-055f-4c28-8b35-fca6dd1c1369" providerId="ADAL" clId="{75A88773-6EE1-484E-AADE-FE631E01463B}" dt="2025-11-21T07:37:37.256" v="262811"/>
          <ac:spMkLst>
            <pc:docMk/>
            <pc:sldMk cId="755828523" sldId="2147483089"/>
            <ac:spMk id="1015" creationId="{15E7033F-7CE5-3364-034F-C00FF96289C2}"/>
          </ac:spMkLst>
        </pc:spChg>
        <pc:spChg chg="add del mod">
          <ac:chgData name="Yudi Zhu" userId="571e1a55-055f-4c28-8b35-fca6dd1c1369" providerId="ADAL" clId="{75A88773-6EE1-484E-AADE-FE631E01463B}" dt="2025-11-21T08:33:48.696" v="318976"/>
          <ac:spMkLst>
            <pc:docMk/>
            <pc:sldMk cId="755828523" sldId="2147483089"/>
            <ac:spMk id="1016" creationId="{569108C0-DCD3-8DA5-D87B-9C344FA8ED83}"/>
          </ac:spMkLst>
        </pc:spChg>
        <pc:spChg chg="add del mod">
          <ac:chgData name="Yudi Zhu" userId="571e1a55-055f-4c28-8b35-fca6dd1c1369" providerId="ADAL" clId="{75A88773-6EE1-484E-AADE-FE631E01463B}" dt="2025-11-21T08:33:48.696" v="318975"/>
          <ac:spMkLst>
            <pc:docMk/>
            <pc:sldMk cId="755828523" sldId="2147483089"/>
            <ac:spMk id="1017" creationId="{983B6E23-0630-5996-7117-165291EAEC7B}"/>
          </ac:spMkLst>
        </pc:spChg>
        <pc:spChg chg="add del mod">
          <ac:chgData name="Yudi Zhu" userId="571e1a55-055f-4c28-8b35-fca6dd1c1369" providerId="ADAL" clId="{75A88773-6EE1-484E-AADE-FE631E01463B}" dt="2025-11-21T08:33:48.696" v="318974"/>
          <ac:spMkLst>
            <pc:docMk/>
            <pc:sldMk cId="755828523" sldId="2147483089"/>
            <ac:spMk id="1018" creationId="{A5784A3B-2618-B2EC-2938-3B78B23D73BB}"/>
          </ac:spMkLst>
        </pc:spChg>
        <pc:spChg chg="add del mod">
          <ac:chgData name="Yudi Zhu" userId="571e1a55-055f-4c28-8b35-fca6dd1c1369" providerId="ADAL" clId="{75A88773-6EE1-484E-AADE-FE631E01463B}" dt="2025-11-21T08:33:48.696" v="318973"/>
          <ac:spMkLst>
            <pc:docMk/>
            <pc:sldMk cId="755828523" sldId="2147483089"/>
            <ac:spMk id="1019" creationId="{B9E6E478-A91A-514B-0416-7C661A777951}"/>
          </ac:spMkLst>
        </pc:spChg>
        <pc:spChg chg="add del mod">
          <ac:chgData name="Yudi Zhu" userId="571e1a55-055f-4c28-8b35-fca6dd1c1369" providerId="ADAL" clId="{75A88773-6EE1-484E-AADE-FE631E01463B}" dt="2025-11-21T07:37:50.316" v="263232"/>
          <ac:spMkLst>
            <pc:docMk/>
            <pc:sldMk cId="755828523" sldId="2147483089"/>
            <ac:spMk id="1020" creationId="{26320DAC-F2A0-08CF-B93B-8713CFA21640}"/>
          </ac:spMkLst>
        </pc:spChg>
        <pc:spChg chg="add del mod">
          <ac:chgData name="Yudi Zhu" userId="571e1a55-055f-4c28-8b35-fca6dd1c1369" providerId="ADAL" clId="{75A88773-6EE1-484E-AADE-FE631E01463B}" dt="2025-11-21T07:37:50.316" v="263231"/>
          <ac:spMkLst>
            <pc:docMk/>
            <pc:sldMk cId="755828523" sldId="2147483089"/>
            <ac:spMk id="1021" creationId="{1141B9AC-91BE-3A89-F2EA-08E403DC8D94}"/>
          </ac:spMkLst>
        </pc:spChg>
        <pc:spChg chg="add del mod">
          <ac:chgData name="Yudi Zhu" userId="571e1a55-055f-4c28-8b35-fca6dd1c1369" providerId="ADAL" clId="{75A88773-6EE1-484E-AADE-FE631E01463B}" dt="2025-11-21T07:37:41.251" v="262846"/>
          <ac:spMkLst>
            <pc:docMk/>
            <pc:sldMk cId="755828523" sldId="2147483089"/>
            <ac:spMk id="1022" creationId="{8058E2CE-FA9A-D574-3803-EAC5D7292887}"/>
          </ac:spMkLst>
        </pc:spChg>
        <pc:spChg chg="add del mod">
          <ac:chgData name="Yudi Zhu" userId="571e1a55-055f-4c28-8b35-fca6dd1c1369" providerId="ADAL" clId="{75A88773-6EE1-484E-AADE-FE631E01463B}" dt="2025-11-21T07:37:41.250" v="262845"/>
          <ac:spMkLst>
            <pc:docMk/>
            <pc:sldMk cId="755828523" sldId="2147483089"/>
            <ac:spMk id="1023" creationId="{AB3D9539-06B3-8B30-82DB-0AC55B766D79}"/>
          </ac:spMkLst>
        </pc:spChg>
        <pc:spChg chg="add del mod">
          <ac:chgData name="Yudi Zhu" userId="571e1a55-055f-4c28-8b35-fca6dd1c1369" providerId="ADAL" clId="{75A88773-6EE1-484E-AADE-FE631E01463B}" dt="2025-11-21T07:37:41.250" v="262844"/>
          <ac:spMkLst>
            <pc:docMk/>
            <pc:sldMk cId="755828523" sldId="2147483089"/>
            <ac:spMk id="1024" creationId="{455A668E-3B2E-D5D1-7F4A-CCA49DE68DC6}"/>
          </ac:spMkLst>
        </pc:spChg>
        <pc:spChg chg="add del mod modVis">
          <ac:chgData name="Yudi Zhu" userId="571e1a55-055f-4c28-8b35-fca6dd1c1369" providerId="ADAL" clId="{75A88773-6EE1-484E-AADE-FE631E01463B}" dt="2025-11-21T07:37:41.464" v="263185"/>
          <ac:spMkLst>
            <pc:docMk/>
            <pc:sldMk cId="755828523" sldId="2147483089"/>
            <ac:spMk id="1026" creationId="{465D093F-091D-7CE2-7FFD-84466BCCE3EF}"/>
          </ac:spMkLst>
        </pc:spChg>
        <pc:spChg chg="add del mod modVis">
          <ac:chgData name="Yudi Zhu" userId="571e1a55-055f-4c28-8b35-fca6dd1c1369" providerId="ADAL" clId="{75A88773-6EE1-484E-AADE-FE631E01463B}" dt="2025-11-21T07:37:50.880" v="263767"/>
          <ac:spMkLst>
            <pc:docMk/>
            <pc:sldMk cId="755828523" sldId="2147483089"/>
            <ac:spMk id="1028" creationId="{F4A67146-0140-9DAD-230E-3687406BB634}"/>
          </ac:spMkLst>
        </pc:spChg>
        <pc:spChg chg="add del mod">
          <ac:chgData name="Yudi Zhu" userId="571e1a55-055f-4c28-8b35-fca6dd1c1369" providerId="ADAL" clId="{75A88773-6EE1-484E-AADE-FE631E01463B}" dt="2025-11-21T08:33:48.696" v="318979"/>
          <ac:spMkLst>
            <pc:docMk/>
            <pc:sldMk cId="755828523" sldId="2147483089"/>
            <ac:spMk id="1029" creationId="{A292E173-F54E-69C2-7D0C-9D71D7F983FE}"/>
          </ac:spMkLst>
        </pc:spChg>
        <pc:spChg chg="add del mod">
          <ac:chgData name="Yudi Zhu" userId="571e1a55-055f-4c28-8b35-fca6dd1c1369" providerId="ADAL" clId="{75A88773-6EE1-484E-AADE-FE631E01463B}" dt="2025-11-21T08:33:48.696" v="318978"/>
          <ac:spMkLst>
            <pc:docMk/>
            <pc:sldMk cId="755828523" sldId="2147483089"/>
            <ac:spMk id="1030" creationId="{7EC8117A-4027-9096-34D8-C0F268AB1DCC}"/>
          </ac:spMkLst>
        </pc:spChg>
        <pc:spChg chg="add del mod">
          <ac:chgData name="Yudi Zhu" userId="571e1a55-055f-4c28-8b35-fca6dd1c1369" providerId="ADAL" clId="{75A88773-6EE1-484E-AADE-FE631E01463B}" dt="2025-11-21T08:33:48.696" v="318977"/>
          <ac:spMkLst>
            <pc:docMk/>
            <pc:sldMk cId="755828523" sldId="2147483089"/>
            <ac:spMk id="1031" creationId="{96FB13BB-DFC8-B670-18DF-09EE7B6978A1}"/>
          </ac:spMkLst>
        </pc:spChg>
        <pc:spChg chg="add del mod modVis">
          <ac:chgData name="Yudi Zhu" userId="571e1a55-055f-4c28-8b35-fca6dd1c1369" providerId="ADAL" clId="{75A88773-6EE1-484E-AADE-FE631E01463B}" dt="2025-11-21T07:38:39.713" v="263980"/>
          <ac:spMkLst>
            <pc:docMk/>
            <pc:sldMk cId="755828523" sldId="2147483089"/>
            <ac:spMk id="1033" creationId="{4E062D0F-360F-CBAE-075F-B53F920C6C44}"/>
          </ac:spMkLst>
        </pc:spChg>
        <pc:spChg chg="add del mod modVis">
          <ac:chgData name="Yudi Zhu" userId="571e1a55-055f-4c28-8b35-fca6dd1c1369" providerId="ADAL" clId="{75A88773-6EE1-484E-AADE-FE631E01463B}" dt="2025-11-21T07:38:41.971" v="264159"/>
          <ac:spMkLst>
            <pc:docMk/>
            <pc:sldMk cId="755828523" sldId="2147483089"/>
            <ac:spMk id="1035" creationId="{01DAE8A1-6CB6-B8DA-EA91-CF00C469D480}"/>
          </ac:spMkLst>
        </pc:spChg>
        <pc:spChg chg="add del mod modVis">
          <ac:chgData name="Yudi Zhu" userId="571e1a55-055f-4c28-8b35-fca6dd1c1369" providerId="ADAL" clId="{75A88773-6EE1-484E-AADE-FE631E01463B}" dt="2025-11-21T07:38:46.515" v="265851"/>
          <ac:spMkLst>
            <pc:docMk/>
            <pc:sldMk cId="755828523" sldId="2147483089"/>
            <ac:spMk id="1037" creationId="{2B5C0931-2F6B-1EE7-BB12-826D075BEA29}"/>
          </ac:spMkLst>
        </pc:spChg>
        <pc:spChg chg="add del mod">
          <ac:chgData name="Yudi Zhu" userId="571e1a55-055f-4c28-8b35-fca6dd1c1369" providerId="ADAL" clId="{75A88773-6EE1-484E-AADE-FE631E01463B}" dt="2025-11-21T07:44:48.376" v="280030"/>
          <ac:spMkLst>
            <pc:docMk/>
            <pc:sldMk cId="755828523" sldId="2147483089"/>
            <ac:spMk id="1038" creationId="{DFF2E757-165F-3FEF-CF1C-1DB6CF3EB0D4}"/>
          </ac:spMkLst>
        </pc:spChg>
        <pc:spChg chg="add del mod ord">
          <ac:chgData name="Yudi Zhu" userId="571e1a55-055f-4c28-8b35-fca6dd1c1369" providerId="ADAL" clId="{75A88773-6EE1-484E-AADE-FE631E01463B}" dt="2025-11-21T07:44:48.376" v="280037"/>
          <ac:spMkLst>
            <pc:docMk/>
            <pc:sldMk cId="755828523" sldId="2147483089"/>
            <ac:spMk id="1039" creationId="{53DA5CC4-1B2B-4D11-B21C-9E8703E655F1}"/>
          </ac:spMkLst>
        </pc:spChg>
        <pc:spChg chg="add del mod">
          <ac:chgData name="Yudi Zhu" userId="571e1a55-055f-4c28-8b35-fca6dd1c1369" providerId="ADAL" clId="{75A88773-6EE1-484E-AADE-FE631E01463B}" dt="2025-11-21T07:44:48.376" v="280038"/>
          <ac:spMkLst>
            <pc:docMk/>
            <pc:sldMk cId="755828523" sldId="2147483089"/>
            <ac:spMk id="1040" creationId="{A8652A1F-74DE-CAB9-A910-CE2B8A63904D}"/>
          </ac:spMkLst>
        </pc:spChg>
        <pc:spChg chg="add del mod">
          <ac:chgData name="Yudi Zhu" userId="571e1a55-055f-4c28-8b35-fca6dd1c1369" providerId="ADAL" clId="{75A88773-6EE1-484E-AADE-FE631E01463B}" dt="2025-11-21T07:44:48.391" v="280041"/>
          <ac:spMkLst>
            <pc:docMk/>
            <pc:sldMk cId="755828523" sldId="2147483089"/>
            <ac:spMk id="1041" creationId="{1C738A23-987C-8293-3817-9FB4DDC91151}"/>
          </ac:spMkLst>
        </pc:spChg>
        <pc:spChg chg="add del mod">
          <ac:chgData name="Yudi Zhu" userId="571e1a55-055f-4c28-8b35-fca6dd1c1369" providerId="ADAL" clId="{75A88773-6EE1-484E-AADE-FE631E01463B}" dt="2025-11-21T07:44:48.376" v="280031"/>
          <ac:spMkLst>
            <pc:docMk/>
            <pc:sldMk cId="755828523" sldId="2147483089"/>
            <ac:spMk id="1042" creationId="{5B1DC575-B06A-03EC-20D5-E8623B7424EE}"/>
          </ac:spMkLst>
        </pc:spChg>
        <pc:spChg chg="add del mod ord">
          <ac:chgData name="Yudi Zhu" userId="571e1a55-055f-4c28-8b35-fca6dd1c1369" providerId="ADAL" clId="{75A88773-6EE1-484E-AADE-FE631E01463B}" dt="2025-11-21T07:44:48.376" v="280029"/>
          <ac:spMkLst>
            <pc:docMk/>
            <pc:sldMk cId="755828523" sldId="2147483089"/>
            <ac:spMk id="1043" creationId="{D09B9993-993D-A6D5-4050-7264B2256A36}"/>
          </ac:spMkLst>
        </pc:spChg>
        <pc:spChg chg="add del mod">
          <ac:chgData name="Yudi Zhu" userId="571e1a55-055f-4c28-8b35-fca6dd1c1369" providerId="ADAL" clId="{75A88773-6EE1-484E-AADE-FE631E01463B}" dt="2025-11-21T07:44:48.391" v="280042"/>
          <ac:spMkLst>
            <pc:docMk/>
            <pc:sldMk cId="755828523" sldId="2147483089"/>
            <ac:spMk id="1044" creationId="{EDB7EB07-1610-343C-27F7-E14EDF670C05}"/>
          </ac:spMkLst>
        </pc:spChg>
        <pc:spChg chg="add del mod ord">
          <ac:chgData name="Yudi Zhu" userId="571e1a55-055f-4c28-8b35-fca6dd1c1369" providerId="ADAL" clId="{75A88773-6EE1-484E-AADE-FE631E01463B}" dt="2025-11-21T07:44:48.391" v="280040"/>
          <ac:spMkLst>
            <pc:docMk/>
            <pc:sldMk cId="755828523" sldId="2147483089"/>
            <ac:spMk id="1045" creationId="{29DE3FFD-8ACF-8540-F4D6-04D829235517}"/>
          </ac:spMkLst>
        </pc:spChg>
        <pc:spChg chg="add del mod">
          <ac:chgData name="Yudi Zhu" userId="571e1a55-055f-4c28-8b35-fca6dd1c1369" providerId="ADAL" clId="{75A88773-6EE1-484E-AADE-FE631E01463B}" dt="2025-11-21T07:44:48.391" v="280043"/>
          <ac:spMkLst>
            <pc:docMk/>
            <pc:sldMk cId="755828523" sldId="2147483089"/>
            <ac:spMk id="1046" creationId="{998A0849-CA4C-2A2E-0551-3B4D3E117281}"/>
          </ac:spMkLst>
        </pc:spChg>
        <pc:spChg chg="add del mod ord">
          <ac:chgData name="Yudi Zhu" userId="571e1a55-055f-4c28-8b35-fca6dd1c1369" providerId="ADAL" clId="{75A88773-6EE1-484E-AADE-FE631E01463B}" dt="2025-11-21T07:44:48.391" v="280045"/>
          <ac:spMkLst>
            <pc:docMk/>
            <pc:sldMk cId="755828523" sldId="2147483089"/>
            <ac:spMk id="1047" creationId="{F787F578-4CF7-FDAD-1347-187367B6808C}"/>
          </ac:spMkLst>
        </pc:spChg>
        <pc:spChg chg="add del mod ord">
          <ac:chgData name="Yudi Zhu" userId="571e1a55-055f-4c28-8b35-fca6dd1c1369" providerId="ADAL" clId="{75A88773-6EE1-484E-AADE-FE631E01463B}" dt="2025-11-21T07:44:48.376" v="280035"/>
          <ac:spMkLst>
            <pc:docMk/>
            <pc:sldMk cId="755828523" sldId="2147483089"/>
            <ac:spMk id="1048" creationId="{81BE6CDE-8694-936B-7422-81BACB8E8539}"/>
          </ac:spMkLst>
        </pc:spChg>
        <pc:spChg chg="add del mod">
          <ac:chgData name="Yudi Zhu" userId="571e1a55-055f-4c28-8b35-fca6dd1c1369" providerId="ADAL" clId="{75A88773-6EE1-484E-AADE-FE631E01463B}" dt="2025-11-21T07:44:48.391" v="280048"/>
          <ac:spMkLst>
            <pc:docMk/>
            <pc:sldMk cId="755828523" sldId="2147483089"/>
            <ac:spMk id="1049" creationId="{7A132200-CEBD-43E4-3411-FCDEB59D5AF2}"/>
          </ac:spMkLst>
        </pc:spChg>
        <pc:spChg chg="add del mod">
          <ac:chgData name="Yudi Zhu" userId="571e1a55-055f-4c28-8b35-fca6dd1c1369" providerId="ADAL" clId="{75A88773-6EE1-484E-AADE-FE631E01463B}" dt="2025-11-21T07:44:48.391" v="280050"/>
          <ac:spMkLst>
            <pc:docMk/>
            <pc:sldMk cId="755828523" sldId="2147483089"/>
            <ac:spMk id="1050" creationId="{B1B157C8-29BE-2DEE-EE5C-9B8F4B3A118D}"/>
          </ac:spMkLst>
        </pc:spChg>
        <pc:spChg chg="add del mod ord">
          <ac:chgData name="Yudi Zhu" userId="571e1a55-055f-4c28-8b35-fca6dd1c1369" providerId="ADAL" clId="{75A88773-6EE1-484E-AADE-FE631E01463B}" dt="2025-11-21T07:44:48.376" v="280033"/>
          <ac:spMkLst>
            <pc:docMk/>
            <pc:sldMk cId="755828523" sldId="2147483089"/>
            <ac:spMk id="1051" creationId="{FA939F12-C36F-BC73-0F2F-888EE014B6BE}"/>
          </ac:spMkLst>
        </pc:spChg>
        <pc:spChg chg="add del mod">
          <ac:chgData name="Yudi Zhu" userId="571e1a55-055f-4c28-8b35-fca6dd1c1369" providerId="ADAL" clId="{75A88773-6EE1-484E-AADE-FE631E01463B}" dt="2025-11-21T07:44:48.391" v="280051"/>
          <ac:spMkLst>
            <pc:docMk/>
            <pc:sldMk cId="755828523" sldId="2147483089"/>
            <ac:spMk id="1052" creationId="{F93E3D1A-4270-1137-F55D-76405C8BF6F3}"/>
          </ac:spMkLst>
        </pc:spChg>
        <pc:spChg chg="add del mod ord">
          <ac:chgData name="Yudi Zhu" userId="571e1a55-055f-4c28-8b35-fca6dd1c1369" providerId="ADAL" clId="{75A88773-6EE1-484E-AADE-FE631E01463B}" dt="2025-11-21T07:44:48.391" v="280053"/>
          <ac:spMkLst>
            <pc:docMk/>
            <pc:sldMk cId="755828523" sldId="2147483089"/>
            <ac:spMk id="1053" creationId="{D11B5DC8-FF80-7D0D-2CC4-A46F5CD803A1}"/>
          </ac:spMkLst>
        </pc:spChg>
        <pc:spChg chg="add del mod ord">
          <ac:chgData name="Yudi Zhu" userId="571e1a55-055f-4c28-8b35-fca6dd1c1369" providerId="ADAL" clId="{75A88773-6EE1-484E-AADE-FE631E01463B}" dt="2025-11-21T07:44:48.391" v="280055"/>
          <ac:spMkLst>
            <pc:docMk/>
            <pc:sldMk cId="755828523" sldId="2147483089"/>
            <ac:spMk id="1054" creationId="{238C5D79-E8A3-CAF3-ED98-364AB21EB424}"/>
          </ac:spMkLst>
        </pc:spChg>
        <pc:spChg chg="add del mod">
          <ac:chgData name="Yudi Zhu" userId="571e1a55-055f-4c28-8b35-fca6dd1c1369" providerId="ADAL" clId="{75A88773-6EE1-484E-AADE-FE631E01463B}" dt="2025-11-21T07:44:48.391" v="280058"/>
          <ac:spMkLst>
            <pc:docMk/>
            <pc:sldMk cId="755828523" sldId="2147483089"/>
            <ac:spMk id="1055" creationId="{EB3D1946-35AC-A63C-5466-80D48FAEDAD3}"/>
          </ac:spMkLst>
        </pc:spChg>
        <pc:spChg chg="add del mod">
          <ac:chgData name="Yudi Zhu" userId="571e1a55-055f-4c28-8b35-fca6dd1c1369" providerId="ADAL" clId="{75A88773-6EE1-484E-AADE-FE631E01463B}" dt="2025-11-21T07:44:48.391" v="280059"/>
          <ac:spMkLst>
            <pc:docMk/>
            <pc:sldMk cId="755828523" sldId="2147483089"/>
            <ac:spMk id="1056" creationId="{52A62C9A-9B6F-66CD-C4EA-94D194AEB58A}"/>
          </ac:spMkLst>
        </pc:spChg>
        <pc:spChg chg="add del mod ord">
          <ac:chgData name="Yudi Zhu" userId="571e1a55-055f-4c28-8b35-fca6dd1c1369" providerId="ADAL" clId="{75A88773-6EE1-484E-AADE-FE631E01463B}" dt="2025-11-21T07:44:48.391" v="280062"/>
          <ac:spMkLst>
            <pc:docMk/>
            <pc:sldMk cId="755828523" sldId="2147483089"/>
            <ac:spMk id="1057" creationId="{9BDC4ED5-B8F2-492A-342E-6ECFB9AAF7C0}"/>
          </ac:spMkLst>
        </pc:spChg>
        <pc:spChg chg="add del mod">
          <ac:chgData name="Yudi Zhu" userId="571e1a55-055f-4c28-8b35-fca6dd1c1369" providerId="ADAL" clId="{75A88773-6EE1-484E-AADE-FE631E01463B}" dt="2025-11-21T07:44:48.391" v="280049"/>
          <ac:spMkLst>
            <pc:docMk/>
            <pc:sldMk cId="755828523" sldId="2147483089"/>
            <ac:spMk id="1058" creationId="{D941227C-1DA0-68C8-5F00-E2E3B5C70205}"/>
          </ac:spMkLst>
        </pc:spChg>
        <pc:spChg chg="add del mod ord">
          <ac:chgData name="Yudi Zhu" userId="571e1a55-055f-4c28-8b35-fca6dd1c1369" providerId="ADAL" clId="{75A88773-6EE1-484E-AADE-FE631E01463B}" dt="2025-11-21T07:44:48.391" v="280064"/>
          <ac:spMkLst>
            <pc:docMk/>
            <pc:sldMk cId="755828523" sldId="2147483089"/>
            <ac:spMk id="1059" creationId="{47EF1E03-6642-A9B0-B975-50F66034E1BC}"/>
          </ac:spMkLst>
        </pc:spChg>
        <pc:spChg chg="add del mod">
          <ac:chgData name="Yudi Zhu" userId="571e1a55-055f-4c28-8b35-fca6dd1c1369" providerId="ADAL" clId="{75A88773-6EE1-484E-AADE-FE631E01463B}" dt="2025-11-21T07:44:48.391" v="280065"/>
          <ac:spMkLst>
            <pc:docMk/>
            <pc:sldMk cId="755828523" sldId="2147483089"/>
            <ac:spMk id="1060" creationId="{F81C5222-6C24-57E0-C80D-232D70DF10B7}"/>
          </ac:spMkLst>
        </pc:spChg>
        <pc:spChg chg="add mod">
          <ac:chgData name="Yudi Zhu" userId="571e1a55-055f-4c28-8b35-fca6dd1c1369" providerId="ADAL" clId="{75A88773-6EE1-484E-AADE-FE631E01463B}" dt="2025-11-21T07:39:30.587" v="266568"/>
          <ac:spMkLst>
            <pc:docMk/>
            <pc:sldMk cId="755828523" sldId="2147483089"/>
            <ac:spMk id="1066" creationId="{A8F380E7-A5CA-E1B7-FBEC-4DEEB4BC06BE}"/>
          </ac:spMkLst>
        </pc:spChg>
        <pc:spChg chg="add del mod modVis">
          <ac:chgData name="Yudi Zhu" userId="571e1a55-055f-4c28-8b35-fca6dd1c1369" providerId="ADAL" clId="{75A88773-6EE1-484E-AADE-FE631E01463B}" dt="2025-11-21T07:39:30.587" v="266568"/>
          <ac:spMkLst>
            <pc:docMk/>
            <pc:sldMk cId="755828523" sldId="2147483089"/>
            <ac:spMk id="1067" creationId="{A0983481-E75A-2DC7-7214-E080F70FC2B2}"/>
          </ac:spMkLst>
        </pc:spChg>
        <pc:spChg chg="add del mod modVis">
          <ac:chgData name="Yudi Zhu" userId="571e1a55-055f-4c28-8b35-fca6dd1c1369" providerId="ADAL" clId="{75A88773-6EE1-484E-AADE-FE631E01463B}" dt="2025-11-21T07:39:29.049" v="266453"/>
          <ac:spMkLst>
            <pc:docMk/>
            <pc:sldMk cId="755828523" sldId="2147483089"/>
            <ac:spMk id="1069" creationId="{74BDB3E1-FF54-FE25-CDCC-C1C9A22107DE}"/>
          </ac:spMkLst>
        </pc:spChg>
        <pc:spChg chg="add del mod">
          <ac:chgData name="Yudi Zhu" userId="571e1a55-055f-4c28-8b35-fca6dd1c1369" providerId="ADAL" clId="{75A88773-6EE1-484E-AADE-FE631E01463B}" dt="2025-11-21T07:44:48.391" v="280066"/>
          <ac:spMkLst>
            <pc:docMk/>
            <pc:sldMk cId="755828523" sldId="2147483089"/>
            <ac:spMk id="1071" creationId="{6412B675-99F2-DBC2-E8D3-013C4B743510}"/>
          </ac:spMkLst>
        </pc:spChg>
        <pc:spChg chg="add del mod modVis">
          <ac:chgData name="Yudi Zhu" userId="571e1a55-055f-4c28-8b35-fca6dd1c1369" providerId="ADAL" clId="{75A88773-6EE1-484E-AADE-FE631E01463B}" dt="2025-11-21T07:40:10.152" v="266996"/>
          <ac:spMkLst>
            <pc:docMk/>
            <pc:sldMk cId="755828523" sldId="2147483089"/>
            <ac:spMk id="1072" creationId="{DBFD21E4-147D-40EA-36FF-50E7A2DD8EC2}"/>
          </ac:spMkLst>
        </pc:spChg>
        <pc:spChg chg="add del mod modVis">
          <ac:chgData name="Yudi Zhu" userId="571e1a55-055f-4c28-8b35-fca6dd1c1369" providerId="ADAL" clId="{75A88773-6EE1-484E-AADE-FE631E01463B}" dt="2025-11-21T07:40:12.356" v="267245"/>
          <ac:spMkLst>
            <pc:docMk/>
            <pc:sldMk cId="755828523" sldId="2147483089"/>
            <ac:spMk id="1074" creationId="{0B157622-FC4C-1870-DC24-B49419F240DF}"/>
          </ac:spMkLst>
        </pc:spChg>
        <pc:spChg chg="add del mod modVis">
          <ac:chgData name="Yudi Zhu" userId="571e1a55-055f-4c28-8b35-fca6dd1c1369" providerId="ADAL" clId="{75A88773-6EE1-484E-AADE-FE631E01463B}" dt="2025-11-21T07:40:26.204" v="268072"/>
          <ac:spMkLst>
            <pc:docMk/>
            <pc:sldMk cId="755828523" sldId="2147483089"/>
            <ac:spMk id="1076" creationId="{79808B31-32D6-A48B-88A8-A5732A27D070}"/>
          </ac:spMkLst>
        </pc:spChg>
        <pc:spChg chg="add del mod modVis">
          <ac:chgData name="Yudi Zhu" userId="571e1a55-055f-4c28-8b35-fca6dd1c1369" providerId="ADAL" clId="{75A88773-6EE1-484E-AADE-FE631E01463B}" dt="2025-11-21T07:40:26.204" v="268072"/>
          <ac:spMkLst>
            <pc:docMk/>
            <pc:sldMk cId="755828523" sldId="2147483089"/>
            <ac:spMk id="1078" creationId="{8418A5B4-6812-1751-CB8E-957D3575C38E}"/>
          </ac:spMkLst>
        </pc:spChg>
        <pc:spChg chg="add del mod modVis">
          <ac:chgData name="Yudi Zhu" userId="571e1a55-055f-4c28-8b35-fca6dd1c1369" providerId="ADAL" clId="{75A88773-6EE1-484E-AADE-FE631E01463B}" dt="2025-11-21T07:40:32.734" v="268444"/>
          <ac:spMkLst>
            <pc:docMk/>
            <pc:sldMk cId="755828523" sldId="2147483089"/>
            <ac:spMk id="1080" creationId="{82CD497B-3D7C-560E-A7C4-36013EDDD980}"/>
          </ac:spMkLst>
        </pc:spChg>
        <pc:spChg chg="add del mod modVis">
          <ac:chgData name="Yudi Zhu" userId="571e1a55-055f-4c28-8b35-fca6dd1c1369" providerId="ADAL" clId="{75A88773-6EE1-484E-AADE-FE631E01463B}" dt="2025-11-21T07:40:33.824" v="268663"/>
          <ac:spMkLst>
            <pc:docMk/>
            <pc:sldMk cId="755828523" sldId="2147483089"/>
            <ac:spMk id="1082" creationId="{CF2C88A1-CA53-F1CE-C761-276FF8916DE1}"/>
          </ac:spMkLst>
        </pc:spChg>
        <pc:spChg chg="add del mod modVis">
          <ac:chgData name="Yudi Zhu" userId="571e1a55-055f-4c28-8b35-fca6dd1c1369" providerId="ADAL" clId="{75A88773-6EE1-484E-AADE-FE631E01463B}" dt="2025-11-21T07:40:35.288" v="268886"/>
          <ac:spMkLst>
            <pc:docMk/>
            <pc:sldMk cId="755828523" sldId="2147483089"/>
            <ac:spMk id="1084" creationId="{DB0680BE-2797-086C-CDD0-19169B27F7BA}"/>
          </ac:spMkLst>
        </pc:spChg>
        <pc:spChg chg="add del mod modVis">
          <ac:chgData name="Yudi Zhu" userId="571e1a55-055f-4c28-8b35-fca6dd1c1369" providerId="ADAL" clId="{75A88773-6EE1-484E-AADE-FE631E01463B}" dt="2025-11-21T07:40:36.092" v="269105"/>
          <ac:spMkLst>
            <pc:docMk/>
            <pc:sldMk cId="755828523" sldId="2147483089"/>
            <ac:spMk id="1086" creationId="{8A886CD5-936B-A67D-F427-0567B7F3D91D}"/>
          </ac:spMkLst>
        </pc:spChg>
        <pc:spChg chg="add del mod modVis">
          <ac:chgData name="Yudi Zhu" userId="571e1a55-055f-4c28-8b35-fca6dd1c1369" providerId="ADAL" clId="{75A88773-6EE1-484E-AADE-FE631E01463B}" dt="2025-11-21T07:40:45.985" v="269926"/>
          <ac:spMkLst>
            <pc:docMk/>
            <pc:sldMk cId="755828523" sldId="2147483089"/>
            <ac:spMk id="1088" creationId="{DB124829-E781-9DDC-BC96-8CB0FEDF251B}"/>
          </ac:spMkLst>
        </pc:spChg>
        <pc:spChg chg="add del mod">
          <ac:chgData name="Yudi Zhu" userId="571e1a55-055f-4c28-8b35-fca6dd1c1369" providerId="ADAL" clId="{75A88773-6EE1-484E-AADE-FE631E01463B}" dt="2025-11-21T07:48:12.968" v="284377"/>
          <ac:spMkLst>
            <pc:docMk/>
            <pc:sldMk cId="755828523" sldId="2147483089"/>
            <ac:spMk id="1089" creationId="{A585EF91-2447-FF0B-96E7-BD33074B7904}"/>
          </ac:spMkLst>
        </pc:spChg>
        <pc:spChg chg="add del mod">
          <ac:chgData name="Yudi Zhu" userId="571e1a55-055f-4c28-8b35-fca6dd1c1369" providerId="ADAL" clId="{75A88773-6EE1-484E-AADE-FE631E01463B}" dt="2025-11-21T07:48:12.968" v="284376"/>
          <ac:spMkLst>
            <pc:docMk/>
            <pc:sldMk cId="755828523" sldId="2147483089"/>
            <ac:spMk id="1090" creationId="{1D4C4370-A44A-597B-3B78-A16D6AF066B4}"/>
          </ac:spMkLst>
        </pc:spChg>
        <pc:spChg chg="add del mod">
          <ac:chgData name="Yudi Zhu" userId="571e1a55-055f-4c28-8b35-fca6dd1c1369" providerId="ADAL" clId="{75A88773-6EE1-484E-AADE-FE631E01463B}" dt="2025-11-21T07:48:12.968" v="284375"/>
          <ac:spMkLst>
            <pc:docMk/>
            <pc:sldMk cId="755828523" sldId="2147483089"/>
            <ac:spMk id="1091" creationId="{D708DEB8-169B-04F3-2C96-4727CC931B53}"/>
          </ac:spMkLst>
        </pc:spChg>
        <pc:spChg chg="add del mod">
          <ac:chgData name="Yudi Zhu" userId="571e1a55-055f-4c28-8b35-fca6dd1c1369" providerId="ADAL" clId="{75A88773-6EE1-484E-AADE-FE631E01463B}" dt="2025-11-21T07:48:12.968" v="284374"/>
          <ac:spMkLst>
            <pc:docMk/>
            <pc:sldMk cId="755828523" sldId="2147483089"/>
            <ac:spMk id="1092" creationId="{F44F7567-59AE-A616-808A-03376D66399C}"/>
          </ac:spMkLst>
        </pc:spChg>
        <pc:spChg chg="add del mod modVis">
          <ac:chgData name="Yudi Zhu" userId="571e1a55-055f-4c28-8b35-fca6dd1c1369" providerId="ADAL" clId="{75A88773-6EE1-484E-AADE-FE631E01463B}" dt="2025-11-21T07:40:57.233" v="270084"/>
          <ac:spMkLst>
            <pc:docMk/>
            <pc:sldMk cId="755828523" sldId="2147483089"/>
            <ac:spMk id="1094" creationId="{4D4E1ADA-9B9C-4906-B7E3-076284FD7D68}"/>
          </ac:spMkLst>
        </pc:spChg>
        <pc:spChg chg="add del mod modVis">
          <ac:chgData name="Yudi Zhu" userId="571e1a55-055f-4c28-8b35-fca6dd1c1369" providerId="ADAL" clId="{75A88773-6EE1-484E-AADE-FE631E01463B}" dt="2025-11-21T07:41:03.223" v="270446"/>
          <ac:spMkLst>
            <pc:docMk/>
            <pc:sldMk cId="755828523" sldId="2147483089"/>
            <ac:spMk id="1095" creationId="{25A6C0C2-BEFD-5F01-F856-82C1A53A7119}"/>
          </ac:spMkLst>
        </pc:spChg>
        <pc:spChg chg="add del mod ord">
          <ac:chgData name="Yudi Zhu" userId="571e1a55-055f-4c28-8b35-fca6dd1c1369" providerId="ADAL" clId="{75A88773-6EE1-484E-AADE-FE631E01463B}" dt="2025-11-21T07:41:28.914" v="271790"/>
          <ac:spMkLst>
            <pc:docMk/>
            <pc:sldMk cId="755828523" sldId="2147483089"/>
            <ac:spMk id="1096" creationId="{B2268DAB-0917-8101-5E3F-357320177B2E}"/>
          </ac:spMkLst>
        </pc:spChg>
        <pc:spChg chg="add del mod modVis">
          <ac:chgData name="Yudi Zhu" userId="571e1a55-055f-4c28-8b35-fca6dd1c1369" providerId="ADAL" clId="{75A88773-6EE1-484E-AADE-FE631E01463B}" dt="2025-11-21T07:41:10.971" v="270702"/>
          <ac:spMkLst>
            <pc:docMk/>
            <pc:sldMk cId="755828523" sldId="2147483089"/>
            <ac:spMk id="1102" creationId="{24615AE7-56CE-8D47-F773-7BFD0F69F526}"/>
          </ac:spMkLst>
        </pc:spChg>
        <pc:spChg chg="add del mod modVis">
          <ac:chgData name="Yudi Zhu" userId="571e1a55-055f-4c28-8b35-fca6dd1c1369" providerId="ADAL" clId="{75A88773-6EE1-484E-AADE-FE631E01463B}" dt="2025-11-21T07:41:16.667" v="270970"/>
          <ac:spMkLst>
            <pc:docMk/>
            <pc:sldMk cId="755828523" sldId="2147483089"/>
            <ac:spMk id="1104" creationId="{474711DE-7E92-8BA8-8358-66916DE91A47}"/>
          </ac:spMkLst>
        </pc:spChg>
        <pc:spChg chg="add del mod modVis">
          <ac:chgData name="Yudi Zhu" userId="571e1a55-055f-4c28-8b35-fca6dd1c1369" providerId="ADAL" clId="{75A88773-6EE1-484E-AADE-FE631E01463B}" dt="2025-11-21T07:41:20.833" v="271238"/>
          <ac:spMkLst>
            <pc:docMk/>
            <pc:sldMk cId="755828523" sldId="2147483089"/>
            <ac:spMk id="1106" creationId="{087F75EF-48B1-A0EE-59D5-182162C03479}"/>
          </ac:spMkLst>
        </pc:spChg>
        <pc:spChg chg="add del mod modVis">
          <ac:chgData name="Yudi Zhu" userId="571e1a55-055f-4c28-8b35-fca6dd1c1369" providerId="ADAL" clId="{75A88773-6EE1-484E-AADE-FE631E01463B}" dt="2025-11-21T07:41:23.690" v="271506"/>
          <ac:spMkLst>
            <pc:docMk/>
            <pc:sldMk cId="755828523" sldId="2147483089"/>
            <ac:spMk id="1108" creationId="{E5EEF8CB-FDCD-65F3-8E60-D07FB1E7FBC5}"/>
          </ac:spMkLst>
        </pc:spChg>
        <pc:spChg chg="add del mod modVis">
          <ac:chgData name="Yudi Zhu" userId="571e1a55-055f-4c28-8b35-fca6dd1c1369" providerId="ADAL" clId="{75A88773-6EE1-484E-AADE-FE631E01463B}" dt="2025-11-21T07:41:26.250" v="271780"/>
          <ac:spMkLst>
            <pc:docMk/>
            <pc:sldMk cId="755828523" sldId="2147483089"/>
            <ac:spMk id="1110" creationId="{B72B859B-6511-DAFB-7EFB-62643636B7C9}"/>
          </ac:spMkLst>
        </pc:spChg>
        <pc:spChg chg="add del mod modVis">
          <ac:chgData name="Yudi Zhu" userId="571e1a55-055f-4c28-8b35-fca6dd1c1369" providerId="ADAL" clId="{75A88773-6EE1-484E-AADE-FE631E01463B}" dt="2025-11-21T07:41:29.093" v="272006"/>
          <ac:spMkLst>
            <pc:docMk/>
            <pc:sldMk cId="755828523" sldId="2147483089"/>
            <ac:spMk id="1112" creationId="{78775DA5-2BE4-07D3-1D21-900DD0EAE078}"/>
          </ac:spMkLst>
        </pc:spChg>
        <pc:spChg chg="add del mod modVis">
          <ac:chgData name="Yudi Zhu" userId="571e1a55-055f-4c28-8b35-fca6dd1c1369" providerId="ADAL" clId="{75A88773-6EE1-484E-AADE-FE631E01463B}" dt="2025-11-21T07:42:05.267" v="272906"/>
          <ac:spMkLst>
            <pc:docMk/>
            <pc:sldMk cId="755828523" sldId="2147483089"/>
            <ac:spMk id="1114" creationId="{2588F878-36C2-1CF9-1CBC-771D3DCB19BE}"/>
          </ac:spMkLst>
        </pc:spChg>
        <pc:spChg chg="add del mod">
          <ac:chgData name="Yudi Zhu" userId="571e1a55-055f-4c28-8b35-fca6dd1c1369" providerId="ADAL" clId="{75A88773-6EE1-484E-AADE-FE631E01463B}" dt="2025-11-21T07:49:54.178" v="286145"/>
          <ac:spMkLst>
            <pc:docMk/>
            <pc:sldMk cId="755828523" sldId="2147483089"/>
            <ac:spMk id="1115" creationId="{F99B357C-6A19-B05F-CCFA-FC21F439CF23}"/>
          </ac:spMkLst>
        </pc:spChg>
        <pc:spChg chg="add del mod">
          <ac:chgData name="Yudi Zhu" userId="571e1a55-055f-4c28-8b35-fca6dd1c1369" providerId="ADAL" clId="{75A88773-6EE1-484E-AADE-FE631E01463B}" dt="2025-11-21T07:42:10.215" v="272909"/>
          <ac:spMkLst>
            <pc:docMk/>
            <pc:sldMk cId="755828523" sldId="2147483089"/>
            <ac:spMk id="1116" creationId="{4F7E6558-C2D6-44A3-D307-A9F815B774A0}"/>
          </ac:spMkLst>
        </pc:spChg>
        <pc:spChg chg="add del mod">
          <ac:chgData name="Yudi Zhu" userId="571e1a55-055f-4c28-8b35-fca6dd1c1369" providerId="ADAL" clId="{75A88773-6EE1-484E-AADE-FE631E01463B}" dt="2025-11-21T07:42:10.222" v="272912"/>
          <ac:spMkLst>
            <pc:docMk/>
            <pc:sldMk cId="755828523" sldId="2147483089"/>
            <ac:spMk id="1117" creationId="{DAC21B59-6C81-66BE-D941-74CFC3137212}"/>
          </ac:spMkLst>
        </pc:spChg>
        <pc:spChg chg="add del mod">
          <ac:chgData name="Yudi Zhu" userId="571e1a55-055f-4c28-8b35-fca6dd1c1369" providerId="ADAL" clId="{75A88773-6EE1-484E-AADE-FE631E01463B}" dt="2025-11-21T07:42:10.215" v="272910"/>
          <ac:spMkLst>
            <pc:docMk/>
            <pc:sldMk cId="755828523" sldId="2147483089"/>
            <ac:spMk id="1118" creationId="{BF111001-B5D9-2B8D-8701-7B65DFD09274}"/>
          </ac:spMkLst>
        </pc:spChg>
        <pc:spChg chg="add del mod">
          <ac:chgData name="Yudi Zhu" userId="571e1a55-055f-4c28-8b35-fca6dd1c1369" providerId="ADAL" clId="{75A88773-6EE1-484E-AADE-FE631E01463B}" dt="2025-11-21T07:42:10.222" v="272914"/>
          <ac:spMkLst>
            <pc:docMk/>
            <pc:sldMk cId="755828523" sldId="2147483089"/>
            <ac:spMk id="1119" creationId="{D91D2AE5-CFB1-C45D-F6A5-72FC4852A30D}"/>
          </ac:spMkLst>
        </pc:spChg>
        <pc:spChg chg="add del mod">
          <ac:chgData name="Yudi Zhu" userId="571e1a55-055f-4c28-8b35-fca6dd1c1369" providerId="ADAL" clId="{75A88773-6EE1-484E-AADE-FE631E01463B}" dt="2025-11-21T07:42:10.222" v="272915"/>
          <ac:spMkLst>
            <pc:docMk/>
            <pc:sldMk cId="755828523" sldId="2147483089"/>
            <ac:spMk id="1120" creationId="{E5D4B9E4-0722-3E91-AB41-38EC99195F10}"/>
          </ac:spMkLst>
        </pc:spChg>
        <pc:spChg chg="add del mod">
          <ac:chgData name="Yudi Zhu" userId="571e1a55-055f-4c28-8b35-fca6dd1c1369" providerId="ADAL" clId="{75A88773-6EE1-484E-AADE-FE631E01463B}" dt="2025-11-21T07:42:10.222" v="272913"/>
          <ac:spMkLst>
            <pc:docMk/>
            <pc:sldMk cId="755828523" sldId="2147483089"/>
            <ac:spMk id="1121" creationId="{3169A0C9-6D1D-B331-6EC1-57E3C0188B5C}"/>
          </ac:spMkLst>
        </pc:spChg>
        <pc:spChg chg="add del mod">
          <ac:chgData name="Yudi Zhu" userId="571e1a55-055f-4c28-8b35-fca6dd1c1369" providerId="ADAL" clId="{75A88773-6EE1-484E-AADE-FE631E01463B}" dt="2025-11-21T07:42:10.223" v="272916"/>
          <ac:spMkLst>
            <pc:docMk/>
            <pc:sldMk cId="755828523" sldId="2147483089"/>
            <ac:spMk id="1122" creationId="{FE49EC2A-AA22-5566-BDC7-26F577B8C1FE}"/>
          </ac:spMkLst>
        </pc:spChg>
        <pc:spChg chg="add del mod">
          <ac:chgData name="Yudi Zhu" userId="571e1a55-055f-4c28-8b35-fca6dd1c1369" providerId="ADAL" clId="{75A88773-6EE1-484E-AADE-FE631E01463B}" dt="2025-11-21T07:42:10.223" v="272917"/>
          <ac:spMkLst>
            <pc:docMk/>
            <pc:sldMk cId="755828523" sldId="2147483089"/>
            <ac:spMk id="1123" creationId="{54238F7D-F297-14D0-E017-D7E52AEC7A21}"/>
          </ac:spMkLst>
        </pc:spChg>
        <pc:spChg chg="add del mod">
          <ac:chgData name="Yudi Zhu" userId="571e1a55-055f-4c28-8b35-fca6dd1c1369" providerId="ADAL" clId="{75A88773-6EE1-484E-AADE-FE631E01463B}" dt="2025-11-21T07:42:10.224" v="272918"/>
          <ac:spMkLst>
            <pc:docMk/>
            <pc:sldMk cId="755828523" sldId="2147483089"/>
            <ac:spMk id="1124" creationId="{7BB0A692-2547-4B78-2D01-47F96480911A}"/>
          </ac:spMkLst>
        </pc:spChg>
        <pc:spChg chg="add del mod">
          <ac:chgData name="Yudi Zhu" userId="571e1a55-055f-4c28-8b35-fca6dd1c1369" providerId="ADAL" clId="{75A88773-6EE1-484E-AADE-FE631E01463B}" dt="2025-11-21T07:42:10.215" v="272911"/>
          <ac:spMkLst>
            <pc:docMk/>
            <pc:sldMk cId="755828523" sldId="2147483089"/>
            <ac:spMk id="1125" creationId="{97B8623D-86C1-3A40-A31C-9BDFC8D69229}"/>
          </ac:spMkLst>
        </pc:spChg>
        <pc:spChg chg="add del mod">
          <ac:chgData name="Yudi Zhu" userId="571e1a55-055f-4c28-8b35-fca6dd1c1369" providerId="ADAL" clId="{75A88773-6EE1-484E-AADE-FE631E01463B}" dt="2025-11-21T07:49:54.179" v="286146"/>
          <ac:spMkLst>
            <pc:docMk/>
            <pc:sldMk cId="755828523" sldId="2147483089"/>
            <ac:spMk id="1126" creationId="{70C09613-B340-2E98-061B-76B154CC899C}"/>
          </ac:spMkLst>
        </pc:spChg>
        <pc:spChg chg="add del mod modVis">
          <ac:chgData name="Yudi Zhu" userId="571e1a55-055f-4c28-8b35-fca6dd1c1369" providerId="ADAL" clId="{75A88773-6EE1-484E-AADE-FE631E01463B}" dt="2025-11-21T07:42:10.401" v="273138"/>
          <ac:spMkLst>
            <pc:docMk/>
            <pc:sldMk cId="755828523" sldId="2147483089"/>
            <ac:spMk id="1128" creationId="{BF9D453A-B940-B0CB-5EE1-E2C55E976E2D}"/>
          </ac:spMkLst>
        </pc:spChg>
        <pc:spChg chg="add del mod modVis">
          <ac:chgData name="Yudi Zhu" userId="571e1a55-055f-4c28-8b35-fca6dd1c1369" providerId="ADAL" clId="{75A88773-6EE1-484E-AADE-FE631E01463B}" dt="2025-11-21T07:42:13.587" v="273528"/>
          <ac:spMkLst>
            <pc:docMk/>
            <pc:sldMk cId="755828523" sldId="2147483089"/>
            <ac:spMk id="1130" creationId="{B9099D96-49DC-BA3B-32A1-6E52424AFA3D}"/>
          </ac:spMkLst>
        </pc:spChg>
        <pc:spChg chg="add del mod modVis">
          <ac:chgData name="Yudi Zhu" userId="571e1a55-055f-4c28-8b35-fca6dd1c1369" providerId="ADAL" clId="{75A88773-6EE1-484E-AADE-FE631E01463B}" dt="2025-11-21T07:42:16.021" v="273750"/>
          <ac:spMkLst>
            <pc:docMk/>
            <pc:sldMk cId="755828523" sldId="2147483089"/>
            <ac:spMk id="1132" creationId="{BAD1E0C4-F13A-D619-D1FF-02F8C78F760E}"/>
          </ac:spMkLst>
        </pc:spChg>
        <pc:spChg chg="add del mod modVis">
          <ac:chgData name="Yudi Zhu" userId="571e1a55-055f-4c28-8b35-fca6dd1c1369" providerId="ADAL" clId="{75A88773-6EE1-484E-AADE-FE631E01463B}" dt="2025-11-21T07:42:45.488" v="274006"/>
          <ac:spMkLst>
            <pc:docMk/>
            <pc:sldMk cId="755828523" sldId="2147483089"/>
            <ac:spMk id="1134" creationId="{53CFF153-A226-E688-1B4C-98B1E38B9EA3}"/>
          </ac:spMkLst>
        </pc:spChg>
        <pc:spChg chg="add del mod modVis">
          <ac:chgData name="Yudi Zhu" userId="571e1a55-055f-4c28-8b35-fca6dd1c1369" providerId="ADAL" clId="{75A88773-6EE1-484E-AADE-FE631E01463B}" dt="2025-11-21T07:42:46.466" v="274229"/>
          <ac:spMkLst>
            <pc:docMk/>
            <pc:sldMk cId="755828523" sldId="2147483089"/>
            <ac:spMk id="1137" creationId="{27794B22-F2FA-A428-0F23-99324ACAB9D8}"/>
          </ac:spMkLst>
        </pc:spChg>
        <pc:spChg chg="add del mod modVis">
          <ac:chgData name="Yudi Zhu" userId="571e1a55-055f-4c28-8b35-fca6dd1c1369" providerId="ADAL" clId="{75A88773-6EE1-484E-AADE-FE631E01463B}" dt="2025-11-21T07:42:48.466" v="274462"/>
          <ac:spMkLst>
            <pc:docMk/>
            <pc:sldMk cId="755828523" sldId="2147483089"/>
            <ac:spMk id="1139" creationId="{86C6A6E7-FF47-4575-3229-2F83404E44B5}"/>
          </ac:spMkLst>
        </pc:spChg>
        <pc:spChg chg="add del mod modVis">
          <ac:chgData name="Yudi Zhu" userId="571e1a55-055f-4c28-8b35-fca6dd1c1369" providerId="ADAL" clId="{75A88773-6EE1-484E-AADE-FE631E01463B}" dt="2025-11-21T07:42:50.138" v="274685"/>
          <ac:spMkLst>
            <pc:docMk/>
            <pc:sldMk cId="755828523" sldId="2147483089"/>
            <ac:spMk id="1141" creationId="{C2EC15D1-7C02-238A-21FD-DC6428BE4F09}"/>
          </ac:spMkLst>
        </pc:spChg>
        <pc:spChg chg="add del mod modVis">
          <ac:chgData name="Yudi Zhu" userId="571e1a55-055f-4c28-8b35-fca6dd1c1369" providerId="ADAL" clId="{75A88773-6EE1-484E-AADE-FE631E01463B}" dt="2025-11-21T07:42:55.569" v="274920"/>
          <ac:spMkLst>
            <pc:docMk/>
            <pc:sldMk cId="755828523" sldId="2147483089"/>
            <ac:spMk id="1143" creationId="{3A6CAC57-FF55-9B85-A5C1-4CEB336DB727}"/>
          </ac:spMkLst>
        </pc:spChg>
        <pc:spChg chg="add del mod modVis">
          <ac:chgData name="Yudi Zhu" userId="571e1a55-055f-4c28-8b35-fca6dd1c1369" providerId="ADAL" clId="{75A88773-6EE1-484E-AADE-FE631E01463B}" dt="2025-11-21T07:42:58.234" v="275143"/>
          <ac:spMkLst>
            <pc:docMk/>
            <pc:sldMk cId="755828523" sldId="2147483089"/>
            <ac:spMk id="1145" creationId="{2458B758-E171-C885-49E4-50AC6F9FF676}"/>
          </ac:spMkLst>
        </pc:spChg>
        <pc:spChg chg="add del mod modVis">
          <ac:chgData name="Yudi Zhu" userId="571e1a55-055f-4c28-8b35-fca6dd1c1369" providerId="ADAL" clId="{75A88773-6EE1-484E-AADE-FE631E01463B}" dt="2025-11-21T07:42:59.419" v="275376"/>
          <ac:spMkLst>
            <pc:docMk/>
            <pc:sldMk cId="755828523" sldId="2147483089"/>
            <ac:spMk id="1147" creationId="{AAE2590E-688E-CFEB-25A8-5E709B1BFD43}"/>
          </ac:spMkLst>
        </pc:spChg>
        <pc:spChg chg="add del mod modVis">
          <ac:chgData name="Yudi Zhu" userId="571e1a55-055f-4c28-8b35-fca6dd1c1369" providerId="ADAL" clId="{75A88773-6EE1-484E-AADE-FE631E01463B}" dt="2025-11-21T07:43:01.781" v="275599"/>
          <ac:spMkLst>
            <pc:docMk/>
            <pc:sldMk cId="755828523" sldId="2147483089"/>
            <ac:spMk id="1149" creationId="{A51B6464-2E40-CEFE-A3F1-1BD7A789B456}"/>
          </ac:spMkLst>
        </pc:spChg>
        <pc:spChg chg="add del mod modVis">
          <ac:chgData name="Yudi Zhu" userId="571e1a55-055f-4c28-8b35-fca6dd1c1369" providerId="ADAL" clId="{75A88773-6EE1-484E-AADE-FE631E01463B}" dt="2025-11-21T07:43:02.919" v="275834"/>
          <ac:spMkLst>
            <pc:docMk/>
            <pc:sldMk cId="755828523" sldId="2147483089"/>
            <ac:spMk id="1151" creationId="{4A35F78F-A18F-A86E-1492-90F4A768D484}"/>
          </ac:spMkLst>
        </pc:spChg>
        <pc:spChg chg="add del mod modVis">
          <ac:chgData name="Yudi Zhu" userId="571e1a55-055f-4c28-8b35-fca6dd1c1369" providerId="ADAL" clId="{75A88773-6EE1-484E-AADE-FE631E01463B}" dt="2025-11-21T07:43:04.319" v="276057"/>
          <ac:spMkLst>
            <pc:docMk/>
            <pc:sldMk cId="755828523" sldId="2147483089"/>
            <ac:spMk id="1153" creationId="{BB39C309-35D6-D5EA-E76A-6B5CFFFBBD70}"/>
          </ac:spMkLst>
        </pc:spChg>
        <pc:spChg chg="add del mod modVis">
          <ac:chgData name="Yudi Zhu" userId="571e1a55-055f-4c28-8b35-fca6dd1c1369" providerId="ADAL" clId="{75A88773-6EE1-484E-AADE-FE631E01463B}" dt="2025-11-21T07:43:06.211" v="276314"/>
          <ac:spMkLst>
            <pc:docMk/>
            <pc:sldMk cId="755828523" sldId="2147483089"/>
            <ac:spMk id="1155" creationId="{0D18E7B8-2631-C8F1-B2FA-F0396A053A4D}"/>
          </ac:spMkLst>
        </pc:spChg>
        <pc:spChg chg="add del mod modVis">
          <ac:chgData name="Yudi Zhu" userId="571e1a55-055f-4c28-8b35-fca6dd1c1369" providerId="ADAL" clId="{75A88773-6EE1-484E-AADE-FE631E01463B}" dt="2025-11-21T07:43:08.341" v="276538"/>
          <ac:spMkLst>
            <pc:docMk/>
            <pc:sldMk cId="755828523" sldId="2147483089"/>
            <ac:spMk id="1158" creationId="{81C2FBE2-5E2C-2384-5DF8-DE8B40072FA2}"/>
          </ac:spMkLst>
        </pc:spChg>
        <pc:spChg chg="add del mod modVis">
          <ac:chgData name="Yudi Zhu" userId="571e1a55-055f-4c28-8b35-fca6dd1c1369" providerId="ADAL" clId="{75A88773-6EE1-484E-AADE-FE631E01463B}" dt="2025-11-21T07:43:18.993" v="276762"/>
          <ac:spMkLst>
            <pc:docMk/>
            <pc:sldMk cId="755828523" sldId="2147483089"/>
            <ac:spMk id="1160" creationId="{FAB3FCAB-C1ED-0689-B0A2-29C4F99E143E}"/>
          </ac:spMkLst>
        </pc:spChg>
        <pc:spChg chg="add del mod modVis">
          <ac:chgData name="Yudi Zhu" userId="571e1a55-055f-4c28-8b35-fca6dd1c1369" providerId="ADAL" clId="{75A88773-6EE1-484E-AADE-FE631E01463B}" dt="2025-11-21T07:43:19.925" v="276986"/>
          <ac:spMkLst>
            <pc:docMk/>
            <pc:sldMk cId="755828523" sldId="2147483089"/>
            <ac:spMk id="1162" creationId="{B7D029E7-1F69-3E6E-7D7F-34A57AA824F9}"/>
          </ac:spMkLst>
        </pc:spChg>
        <pc:spChg chg="add del mod modVis">
          <ac:chgData name="Yudi Zhu" userId="571e1a55-055f-4c28-8b35-fca6dd1c1369" providerId="ADAL" clId="{75A88773-6EE1-484E-AADE-FE631E01463B}" dt="2025-11-21T07:43:26.545" v="277210"/>
          <ac:spMkLst>
            <pc:docMk/>
            <pc:sldMk cId="755828523" sldId="2147483089"/>
            <ac:spMk id="1164" creationId="{6FB96B71-9837-0ED3-1CAF-3AE8D3C8CCD4}"/>
          </ac:spMkLst>
        </pc:spChg>
        <pc:spChg chg="add del mod modVis">
          <ac:chgData name="Yudi Zhu" userId="571e1a55-055f-4c28-8b35-fca6dd1c1369" providerId="ADAL" clId="{75A88773-6EE1-484E-AADE-FE631E01463B}" dt="2025-11-21T07:43:30.861" v="277446"/>
          <ac:spMkLst>
            <pc:docMk/>
            <pc:sldMk cId="755828523" sldId="2147483089"/>
            <ac:spMk id="1166" creationId="{50AC82C8-07EC-2BA5-A5CD-E6339768E381}"/>
          </ac:spMkLst>
        </pc:spChg>
        <pc:spChg chg="add del mod modVis">
          <ac:chgData name="Yudi Zhu" userId="571e1a55-055f-4c28-8b35-fca6dd1c1369" providerId="ADAL" clId="{75A88773-6EE1-484E-AADE-FE631E01463B}" dt="2025-11-21T07:43:34.496" v="277670"/>
          <ac:spMkLst>
            <pc:docMk/>
            <pc:sldMk cId="755828523" sldId="2147483089"/>
            <ac:spMk id="1168" creationId="{21F820EA-043B-7E2B-CF08-4527C07ECC96}"/>
          </ac:spMkLst>
        </pc:spChg>
        <pc:spChg chg="add del mod modVis">
          <ac:chgData name="Yudi Zhu" userId="571e1a55-055f-4c28-8b35-fca6dd1c1369" providerId="ADAL" clId="{75A88773-6EE1-484E-AADE-FE631E01463B}" dt="2025-11-21T07:43:36.689" v="277894"/>
          <ac:spMkLst>
            <pc:docMk/>
            <pc:sldMk cId="755828523" sldId="2147483089"/>
            <ac:spMk id="1170" creationId="{132D943B-7D76-CA89-02FE-1CCC1E151A06}"/>
          </ac:spMkLst>
        </pc:spChg>
        <pc:spChg chg="add del mod modVis">
          <ac:chgData name="Yudi Zhu" userId="571e1a55-055f-4c28-8b35-fca6dd1c1369" providerId="ADAL" clId="{75A88773-6EE1-484E-AADE-FE631E01463B}" dt="2025-11-21T07:43:40.081" v="278128"/>
          <ac:spMkLst>
            <pc:docMk/>
            <pc:sldMk cId="755828523" sldId="2147483089"/>
            <ac:spMk id="1172" creationId="{F81E9A45-A33C-789C-3063-77C79455E432}"/>
          </ac:spMkLst>
        </pc:spChg>
        <pc:spChg chg="add del mod modVis">
          <ac:chgData name="Yudi Zhu" userId="571e1a55-055f-4c28-8b35-fca6dd1c1369" providerId="ADAL" clId="{75A88773-6EE1-484E-AADE-FE631E01463B}" dt="2025-11-21T07:43:42.881" v="278352"/>
          <ac:spMkLst>
            <pc:docMk/>
            <pc:sldMk cId="755828523" sldId="2147483089"/>
            <ac:spMk id="1174" creationId="{B55EEC9D-7128-4B09-4A9C-3CB158A3235E}"/>
          </ac:spMkLst>
        </pc:spChg>
        <pc:spChg chg="add del mod modVis">
          <ac:chgData name="Yudi Zhu" userId="571e1a55-055f-4c28-8b35-fca6dd1c1369" providerId="ADAL" clId="{75A88773-6EE1-484E-AADE-FE631E01463B}" dt="2025-11-21T07:43:46.046" v="278576"/>
          <ac:spMkLst>
            <pc:docMk/>
            <pc:sldMk cId="755828523" sldId="2147483089"/>
            <ac:spMk id="1176" creationId="{F4239490-D622-0C9C-1C0A-3A08526F9452}"/>
          </ac:spMkLst>
        </pc:spChg>
        <pc:spChg chg="add del mod">
          <ac:chgData name="Yudi Zhu" userId="571e1a55-055f-4c28-8b35-fca6dd1c1369" providerId="ADAL" clId="{75A88773-6EE1-484E-AADE-FE631E01463B}" dt="2025-11-21T08:58:57.055" v="372347"/>
          <ac:spMkLst>
            <pc:docMk/>
            <pc:sldMk cId="755828523" sldId="2147483089"/>
            <ac:spMk id="1178" creationId="{C929A735-08D8-13AD-1A16-EE42620869A5}"/>
          </ac:spMkLst>
        </pc:spChg>
        <pc:spChg chg="add del mod modVis">
          <ac:chgData name="Yudi Zhu" userId="571e1a55-055f-4c28-8b35-fca6dd1c1369" providerId="ADAL" clId="{75A88773-6EE1-484E-AADE-FE631E01463B}" dt="2025-11-21T07:43:54.182" v="278842"/>
          <ac:spMkLst>
            <pc:docMk/>
            <pc:sldMk cId="755828523" sldId="2147483089"/>
            <ac:spMk id="1179" creationId="{C5FDE959-94BA-B1FA-CF42-5AF39063B0D0}"/>
          </ac:spMkLst>
        </pc:spChg>
        <pc:spChg chg="add del mod modVis">
          <ac:chgData name="Yudi Zhu" userId="571e1a55-055f-4c28-8b35-fca6dd1c1369" providerId="ADAL" clId="{75A88773-6EE1-484E-AADE-FE631E01463B}" dt="2025-11-21T07:44:09.130" v="279097"/>
          <ac:spMkLst>
            <pc:docMk/>
            <pc:sldMk cId="755828523" sldId="2147483089"/>
            <ac:spMk id="1181" creationId="{6B5B3B33-A98C-1695-D08E-6651D31471FD}"/>
          </ac:spMkLst>
        </pc:spChg>
        <pc:spChg chg="add del mod modVis">
          <ac:chgData name="Yudi Zhu" userId="571e1a55-055f-4c28-8b35-fca6dd1c1369" providerId="ADAL" clId="{75A88773-6EE1-484E-AADE-FE631E01463B}" dt="2025-11-21T07:44:10.809" v="279355"/>
          <ac:spMkLst>
            <pc:docMk/>
            <pc:sldMk cId="755828523" sldId="2147483089"/>
            <ac:spMk id="1183" creationId="{6BD5A6C7-7A58-CD09-D1AA-7BD0F41EED5E}"/>
          </ac:spMkLst>
        </pc:spChg>
        <pc:spChg chg="add del mod modVis">
          <ac:chgData name="Yudi Zhu" userId="571e1a55-055f-4c28-8b35-fca6dd1c1369" providerId="ADAL" clId="{75A88773-6EE1-484E-AADE-FE631E01463B}" dt="2025-11-21T07:44:19.007" v="279578"/>
          <ac:spMkLst>
            <pc:docMk/>
            <pc:sldMk cId="755828523" sldId="2147483089"/>
            <ac:spMk id="1185" creationId="{A2008975-321A-365C-925A-44887295428E}"/>
          </ac:spMkLst>
        </pc:spChg>
        <pc:spChg chg="add del mod modVis">
          <ac:chgData name="Yudi Zhu" userId="571e1a55-055f-4c28-8b35-fca6dd1c1369" providerId="ADAL" clId="{75A88773-6EE1-484E-AADE-FE631E01463B}" dt="2025-11-21T07:44:21.601" v="279801"/>
          <ac:spMkLst>
            <pc:docMk/>
            <pc:sldMk cId="755828523" sldId="2147483089"/>
            <ac:spMk id="1187" creationId="{9E6C7533-072B-7BBA-9213-E8745B3FBBA3}"/>
          </ac:spMkLst>
        </pc:spChg>
        <pc:spChg chg="add del mod modVis">
          <ac:chgData name="Yudi Zhu" userId="571e1a55-055f-4c28-8b35-fca6dd1c1369" providerId="ADAL" clId="{75A88773-6EE1-484E-AADE-FE631E01463B}" dt="2025-11-21T07:44:44.479" v="280024"/>
          <ac:spMkLst>
            <pc:docMk/>
            <pc:sldMk cId="755828523" sldId="2147483089"/>
            <ac:spMk id="1189" creationId="{4F363B01-298B-5FAD-DA2F-221CC8CA13CD}"/>
          </ac:spMkLst>
        </pc:spChg>
        <pc:spChg chg="add del mod modVis">
          <ac:chgData name="Yudi Zhu" userId="571e1a55-055f-4c28-8b35-fca6dd1c1369" providerId="ADAL" clId="{75A88773-6EE1-484E-AADE-FE631E01463B}" dt="2025-11-21T07:44:48.542" v="280271"/>
          <ac:spMkLst>
            <pc:docMk/>
            <pc:sldMk cId="755828523" sldId="2147483089"/>
            <ac:spMk id="1191" creationId="{187BA8D2-A713-1ABC-C63A-9A885F29F243}"/>
          </ac:spMkLst>
        </pc:spChg>
        <pc:spChg chg="add del mod modVis">
          <ac:chgData name="Yudi Zhu" userId="571e1a55-055f-4c28-8b35-fca6dd1c1369" providerId="ADAL" clId="{75A88773-6EE1-484E-AADE-FE631E01463B}" dt="2025-11-21T07:44:55.209" v="282026"/>
          <ac:spMkLst>
            <pc:docMk/>
            <pc:sldMk cId="755828523" sldId="2147483089"/>
            <ac:spMk id="1193" creationId="{ED0410CC-B6E7-DC6A-811F-843B588AE2C7}"/>
          </ac:spMkLst>
        </pc:spChg>
        <pc:spChg chg="add del mod">
          <ac:chgData name="Yudi Zhu" userId="571e1a55-055f-4c28-8b35-fca6dd1c1369" providerId="ADAL" clId="{75A88773-6EE1-484E-AADE-FE631E01463B}" dt="2025-11-21T09:22:52.617" v="406547"/>
          <ac:spMkLst>
            <pc:docMk/>
            <pc:sldMk cId="755828523" sldId="2147483089"/>
            <ac:spMk id="1194" creationId="{BBCCF612-1129-BBB4-5844-0BA70960BFD5}"/>
          </ac:spMkLst>
        </pc:spChg>
        <pc:spChg chg="add del mod ord">
          <ac:chgData name="Yudi Zhu" userId="571e1a55-055f-4c28-8b35-fca6dd1c1369" providerId="ADAL" clId="{75A88773-6EE1-484E-AADE-FE631E01463B}" dt="2025-11-21T09:22:52.617" v="406549"/>
          <ac:spMkLst>
            <pc:docMk/>
            <pc:sldMk cId="755828523" sldId="2147483089"/>
            <ac:spMk id="1195" creationId="{5C1C629A-FB4A-9DCD-82D7-CB67AA109C26}"/>
          </ac:spMkLst>
        </pc:spChg>
        <pc:spChg chg="add del mod">
          <ac:chgData name="Yudi Zhu" userId="571e1a55-055f-4c28-8b35-fca6dd1c1369" providerId="ADAL" clId="{75A88773-6EE1-484E-AADE-FE631E01463B}" dt="2025-11-21T09:22:52.617" v="406550"/>
          <ac:spMkLst>
            <pc:docMk/>
            <pc:sldMk cId="755828523" sldId="2147483089"/>
            <ac:spMk id="1196" creationId="{C596882D-6FC7-950A-AE47-E000121672A5}"/>
          </ac:spMkLst>
        </pc:spChg>
        <pc:spChg chg="add del mod ord">
          <ac:chgData name="Yudi Zhu" userId="571e1a55-055f-4c28-8b35-fca6dd1c1369" providerId="ADAL" clId="{75A88773-6EE1-484E-AADE-FE631E01463B}" dt="2025-11-21T09:22:52.621" v="406551"/>
          <ac:spMkLst>
            <pc:docMk/>
            <pc:sldMk cId="755828523" sldId="2147483089"/>
            <ac:spMk id="1197" creationId="{4420D0BB-BF1F-19EC-B0A4-93BCE704F5E8}"/>
          </ac:spMkLst>
        </pc:spChg>
        <pc:spChg chg="add del mod">
          <ac:chgData name="Yudi Zhu" userId="571e1a55-055f-4c28-8b35-fca6dd1c1369" providerId="ADAL" clId="{75A88773-6EE1-484E-AADE-FE631E01463B}" dt="2025-11-21T09:22:52.621" v="406553"/>
          <ac:spMkLst>
            <pc:docMk/>
            <pc:sldMk cId="755828523" sldId="2147483089"/>
            <ac:spMk id="1198" creationId="{14422C41-DE00-2E40-428B-7BDBD0F319FD}"/>
          </ac:spMkLst>
        </pc:spChg>
        <pc:spChg chg="add del mod ord">
          <ac:chgData name="Yudi Zhu" userId="571e1a55-055f-4c28-8b35-fca6dd1c1369" providerId="ADAL" clId="{75A88773-6EE1-484E-AADE-FE631E01463B}" dt="2025-11-21T09:22:52.621" v="406555"/>
          <ac:spMkLst>
            <pc:docMk/>
            <pc:sldMk cId="755828523" sldId="2147483089"/>
            <ac:spMk id="1199" creationId="{F6B459A7-F615-EED0-4A6B-6AFB43834956}"/>
          </ac:spMkLst>
        </pc:spChg>
        <pc:spChg chg="add del mod">
          <ac:chgData name="Yudi Zhu" userId="571e1a55-055f-4c28-8b35-fca6dd1c1369" providerId="ADAL" clId="{75A88773-6EE1-484E-AADE-FE631E01463B}" dt="2025-11-21T09:22:52.621" v="406556"/>
          <ac:spMkLst>
            <pc:docMk/>
            <pc:sldMk cId="755828523" sldId="2147483089"/>
            <ac:spMk id="1200" creationId="{65884DE8-E4B8-56B7-66A1-A6CA9A59D6A1}"/>
          </ac:spMkLst>
        </pc:spChg>
        <pc:spChg chg="add del mod ord">
          <ac:chgData name="Yudi Zhu" userId="571e1a55-055f-4c28-8b35-fca6dd1c1369" providerId="ADAL" clId="{75A88773-6EE1-484E-AADE-FE631E01463B}" dt="2025-11-21T09:22:52.621" v="406558"/>
          <ac:spMkLst>
            <pc:docMk/>
            <pc:sldMk cId="755828523" sldId="2147483089"/>
            <ac:spMk id="1201" creationId="{D27ECED9-C5E6-3DC2-9121-0FE6BFAC6398}"/>
          </ac:spMkLst>
        </pc:spChg>
        <pc:spChg chg="add del mod">
          <ac:chgData name="Yudi Zhu" userId="571e1a55-055f-4c28-8b35-fca6dd1c1369" providerId="ADAL" clId="{75A88773-6EE1-484E-AADE-FE631E01463B}" dt="2025-11-21T09:22:52.621" v="406561"/>
          <ac:spMkLst>
            <pc:docMk/>
            <pc:sldMk cId="755828523" sldId="2147483089"/>
            <ac:spMk id="1202" creationId="{CC4C1301-FFB5-6432-C501-1D8A5373A0DE}"/>
          </ac:spMkLst>
        </pc:spChg>
        <pc:spChg chg="add del mod ord">
          <ac:chgData name="Yudi Zhu" userId="571e1a55-055f-4c28-8b35-fca6dd1c1369" providerId="ADAL" clId="{75A88773-6EE1-484E-AADE-FE631E01463B}" dt="2025-11-21T09:22:52.601" v="406525"/>
          <ac:spMkLst>
            <pc:docMk/>
            <pc:sldMk cId="755828523" sldId="2147483089"/>
            <ac:spMk id="1203" creationId="{43C5F107-3657-38DE-B0D7-E78431A033B8}"/>
          </ac:spMkLst>
        </pc:spChg>
        <pc:spChg chg="add del mod ord">
          <ac:chgData name="Yudi Zhu" userId="571e1a55-055f-4c28-8b35-fca6dd1c1369" providerId="ADAL" clId="{75A88773-6EE1-484E-AADE-FE631E01463B}" dt="2025-11-21T09:22:52.601" v="406527"/>
          <ac:spMkLst>
            <pc:docMk/>
            <pc:sldMk cId="755828523" sldId="2147483089"/>
            <ac:spMk id="1204" creationId="{DD5FECEA-4FB9-1E7D-E18A-7F8D8A5FA1E2}"/>
          </ac:spMkLst>
        </pc:spChg>
        <pc:spChg chg="add del mod ord">
          <ac:chgData name="Yudi Zhu" userId="571e1a55-055f-4c28-8b35-fca6dd1c1369" providerId="ADAL" clId="{75A88773-6EE1-484E-AADE-FE631E01463B}" dt="2025-11-21T09:22:52.601" v="406529"/>
          <ac:spMkLst>
            <pc:docMk/>
            <pc:sldMk cId="755828523" sldId="2147483089"/>
            <ac:spMk id="1205" creationId="{6816614C-2261-21F9-4CD7-430B5A7828DB}"/>
          </ac:spMkLst>
        </pc:spChg>
        <pc:spChg chg="add del mod">
          <ac:chgData name="Yudi Zhu" userId="571e1a55-055f-4c28-8b35-fca6dd1c1369" providerId="ADAL" clId="{75A88773-6EE1-484E-AADE-FE631E01463B}" dt="2025-11-21T09:22:52.601" v="406530"/>
          <ac:spMkLst>
            <pc:docMk/>
            <pc:sldMk cId="755828523" sldId="2147483089"/>
            <ac:spMk id="1206" creationId="{F964BC34-C9C5-D8CF-21E7-DC1A68C87E8B}"/>
          </ac:spMkLst>
        </pc:spChg>
        <pc:spChg chg="add del mod ord">
          <ac:chgData name="Yudi Zhu" userId="571e1a55-055f-4c28-8b35-fca6dd1c1369" providerId="ADAL" clId="{75A88773-6EE1-484E-AADE-FE631E01463B}" dt="2025-11-21T09:22:52.601" v="406532"/>
          <ac:spMkLst>
            <pc:docMk/>
            <pc:sldMk cId="755828523" sldId="2147483089"/>
            <ac:spMk id="1207" creationId="{A46BFC1C-4658-90CF-29A8-271FE24154F7}"/>
          </ac:spMkLst>
        </pc:spChg>
        <pc:spChg chg="add del mod">
          <ac:chgData name="Yudi Zhu" userId="571e1a55-055f-4c28-8b35-fca6dd1c1369" providerId="ADAL" clId="{75A88773-6EE1-484E-AADE-FE631E01463B}" dt="2025-11-21T09:22:52.601" v="406533"/>
          <ac:spMkLst>
            <pc:docMk/>
            <pc:sldMk cId="755828523" sldId="2147483089"/>
            <ac:spMk id="1208" creationId="{5D29CDBC-FB63-4B98-A1DE-CEF57F320EAD}"/>
          </ac:spMkLst>
        </pc:spChg>
        <pc:spChg chg="add del mod ord">
          <ac:chgData name="Yudi Zhu" userId="571e1a55-055f-4c28-8b35-fca6dd1c1369" providerId="ADAL" clId="{75A88773-6EE1-484E-AADE-FE631E01463B}" dt="2025-11-21T09:22:52.601" v="406535"/>
          <ac:spMkLst>
            <pc:docMk/>
            <pc:sldMk cId="755828523" sldId="2147483089"/>
            <ac:spMk id="1209" creationId="{5E4E0E8C-5937-5531-54CF-473F4F815657}"/>
          </ac:spMkLst>
        </pc:spChg>
        <pc:spChg chg="add del mod ord">
          <ac:chgData name="Yudi Zhu" userId="571e1a55-055f-4c28-8b35-fca6dd1c1369" providerId="ADAL" clId="{75A88773-6EE1-484E-AADE-FE631E01463B}" dt="2025-11-21T09:22:52.601" v="406537"/>
          <ac:spMkLst>
            <pc:docMk/>
            <pc:sldMk cId="755828523" sldId="2147483089"/>
            <ac:spMk id="1210" creationId="{1EBFC0FC-B017-5C41-EEC2-FC925CF6E4D7}"/>
          </ac:spMkLst>
        </pc:spChg>
        <pc:spChg chg="add del mod ord">
          <ac:chgData name="Yudi Zhu" userId="571e1a55-055f-4c28-8b35-fca6dd1c1369" providerId="ADAL" clId="{75A88773-6EE1-484E-AADE-FE631E01463B}" dt="2025-11-21T09:22:52.601" v="406539"/>
          <ac:spMkLst>
            <pc:docMk/>
            <pc:sldMk cId="755828523" sldId="2147483089"/>
            <ac:spMk id="1211" creationId="{EE46F561-2BF6-86A3-F0E4-BEF7311EDDF1}"/>
          </ac:spMkLst>
        </pc:spChg>
        <pc:spChg chg="add del mod">
          <ac:chgData name="Yudi Zhu" userId="571e1a55-055f-4c28-8b35-fca6dd1c1369" providerId="ADAL" clId="{75A88773-6EE1-484E-AADE-FE631E01463B}" dt="2025-11-21T09:22:52.617" v="406546"/>
          <ac:spMkLst>
            <pc:docMk/>
            <pc:sldMk cId="755828523" sldId="2147483089"/>
            <ac:spMk id="1212" creationId="{25E61F6C-7940-2C7A-BB7D-7ED850FA6A75}"/>
          </ac:spMkLst>
        </pc:spChg>
        <pc:spChg chg="add del mod ord">
          <ac:chgData name="Yudi Zhu" userId="571e1a55-055f-4c28-8b35-fca6dd1c1369" providerId="ADAL" clId="{75A88773-6EE1-484E-AADE-FE631E01463B}" dt="2025-11-21T09:22:52.601" v="406541"/>
          <ac:spMkLst>
            <pc:docMk/>
            <pc:sldMk cId="755828523" sldId="2147483089"/>
            <ac:spMk id="1213" creationId="{897F1C59-B104-E769-B6DA-AF5B290FE874}"/>
          </ac:spMkLst>
        </pc:spChg>
        <pc:spChg chg="add del mod">
          <ac:chgData name="Yudi Zhu" userId="571e1a55-055f-4c28-8b35-fca6dd1c1369" providerId="ADAL" clId="{75A88773-6EE1-484E-AADE-FE631E01463B}" dt="2025-11-21T09:22:52.601" v="406542"/>
          <ac:spMkLst>
            <pc:docMk/>
            <pc:sldMk cId="755828523" sldId="2147483089"/>
            <ac:spMk id="1214" creationId="{92E2C879-E44D-26D2-9B32-2FF5D5573E99}"/>
          </ac:spMkLst>
        </pc:spChg>
        <pc:spChg chg="add del mod ord">
          <ac:chgData name="Yudi Zhu" userId="571e1a55-055f-4c28-8b35-fca6dd1c1369" providerId="ADAL" clId="{75A88773-6EE1-484E-AADE-FE631E01463B}" dt="2025-11-21T09:22:52.601" v="406544"/>
          <ac:spMkLst>
            <pc:docMk/>
            <pc:sldMk cId="755828523" sldId="2147483089"/>
            <ac:spMk id="1215" creationId="{0959939C-0A28-522F-5D60-C7E1780901F6}"/>
          </ac:spMkLst>
        </pc:spChg>
        <pc:spChg chg="add del mod ord">
          <ac:chgData name="Yudi Zhu" userId="571e1a55-055f-4c28-8b35-fca6dd1c1369" providerId="ADAL" clId="{75A88773-6EE1-484E-AADE-FE631E01463B}" dt="2025-11-21T08:03:58.154" v="318018"/>
          <ac:spMkLst>
            <pc:docMk/>
            <pc:sldMk cId="755828523" sldId="2147483089"/>
            <ac:spMk id="1216" creationId="{FA73AE43-3207-B574-05DE-84BA50109266}"/>
          </ac:spMkLst>
        </pc:spChg>
        <pc:spChg chg="add del mod">
          <ac:chgData name="Yudi Zhu" userId="571e1a55-055f-4c28-8b35-fca6dd1c1369" providerId="ADAL" clId="{75A88773-6EE1-484E-AADE-FE631E01463B}" dt="2025-11-21T09:22:52.621" v="406552"/>
          <ac:spMkLst>
            <pc:docMk/>
            <pc:sldMk cId="755828523" sldId="2147483089"/>
            <ac:spMk id="1217" creationId="{25C57DA6-7F82-0F4F-AD77-F75FE99D7A67}"/>
          </ac:spMkLst>
        </pc:spChg>
        <pc:spChg chg="add del mod modVis">
          <ac:chgData name="Yudi Zhu" userId="571e1a55-055f-4c28-8b35-fca6dd1c1369" providerId="ADAL" clId="{75A88773-6EE1-484E-AADE-FE631E01463B}" dt="2025-11-21T07:44:58.310" v="282247"/>
          <ac:spMkLst>
            <pc:docMk/>
            <pc:sldMk cId="755828523" sldId="2147483089"/>
            <ac:spMk id="1223" creationId="{7A361A38-836A-2EF9-2785-16631A0F2AB8}"/>
          </ac:spMkLst>
        </pc:spChg>
        <pc:spChg chg="add del mod modVis">
          <ac:chgData name="Yudi Zhu" userId="571e1a55-055f-4c28-8b35-fca6dd1c1369" providerId="ADAL" clId="{75A88773-6EE1-484E-AADE-FE631E01463B}" dt="2025-11-21T07:45:01.765" v="282468"/>
          <ac:spMkLst>
            <pc:docMk/>
            <pc:sldMk cId="755828523" sldId="2147483089"/>
            <ac:spMk id="1225" creationId="{13B53437-DE4B-D8A0-1639-8C903BE57493}"/>
          </ac:spMkLst>
        </pc:spChg>
        <pc:spChg chg="add del mod modVis">
          <ac:chgData name="Yudi Zhu" userId="571e1a55-055f-4c28-8b35-fca6dd1c1369" providerId="ADAL" clId="{75A88773-6EE1-484E-AADE-FE631E01463B}" dt="2025-11-21T07:45:03.957" v="283075"/>
          <ac:spMkLst>
            <pc:docMk/>
            <pc:sldMk cId="755828523" sldId="2147483089"/>
            <ac:spMk id="1227" creationId="{293BB3D5-47C5-DA48-C2B6-1AF28BAC583C}"/>
          </ac:spMkLst>
        </pc:spChg>
        <pc:spChg chg="add del mod modVis">
          <ac:chgData name="Yudi Zhu" userId="571e1a55-055f-4c28-8b35-fca6dd1c1369" providerId="ADAL" clId="{75A88773-6EE1-484E-AADE-FE631E01463B}" dt="2025-11-21T07:45:28.171" v="283463"/>
          <ac:spMkLst>
            <pc:docMk/>
            <pc:sldMk cId="755828523" sldId="2147483089"/>
            <ac:spMk id="1229" creationId="{81A203A3-C2EA-56CC-C294-BE58C9FC1650}"/>
          </ac:spMkLst>
        </pc:spChg>
        <pc:spChg chg="add del mod modVis">
          <ac:chgData name="Yudi Zhu" userId="571e1a55-055f-4c28-8b35-fca6dd1c1369" providerId="ADAL" clId="{75A88773-6EE1-484E-AADE-FE631E01463B}" dt="2025-11-21T07:45:42.958" v="283834"/>
          <ac:spMkLst>
            <pc:docMk/>
            <pc:sldMk cId="755828523" sldId="2147483089"/>
            <ac:spMk id="1231" creationId="{28A5F132-4E22-D600-0507-A98051701400}"/>
          </ac:spMkLst>
        </pc:spChg>
        <pc:spChg chg="add del mod modVis">
          <ac:chgData name="Yudi Zhu" userId="571e1a55-055f-4c28-8b35-fca6dd1c1369" providerId="ADAL" clId="{75A88773-6EE1-484E-AADE-FE631E01463B}" dt="2025-11-21T07:45:44.812" v="284217"/>
          <ac:spMkLst>
            <pc:docMk/>
            <pc:sldMk cId="755828523" sldId="2147483089"/>
            <ac:spMk id="1233" creationId="{21BF4FD1-023D-D725-324E-062992D27052}"/>
          </ac:spMkLst>
        </pc:spChg>
        <pc:spChg chg="add del mod modVis">
          <ac:chgData name="Yudi Zhu" userId="571e1a55-055f-4c28-8b35-fca6dd1c1369" providerId="ADAL" clId="{75A88773-6EE1-484E-AADE-FE631E01463B}" dt="2025-11-21T07:48:13.194" v="284750"/>
          <ac:spMkLst>
            <pc:docMk/>
            <pc:sldMk cId="755828523" sldId="2147483089"/>
            <ac:spMk id="1237" creationId="{60ADE99E-7E7C-BA42-C96E-466DC71C760B}"/>
          </ac:spMkLst>
        </pc:spChg>
        <pc:spChg chg="add del mod modVis">
          <ac:chgData name="Yudi Zhu" userId="571e1a55-055f-4c28-8b35-fca6dd1c1369" providerId="ADAL" clId="{75A88773-6EE1-484E-AADE-FE631E01463B}" dt="2025-11-21T07:48:16.589" v="285126"/>
          <ac:spMkLst>
            <pc:docMk/>
            <pc:sldMk cId="755828523" sldId="2147483089"/>
            <ac:spMk id="1241" creationId="{BA4D486C-8FBF-6741-49F0-06BFEC956980}"/>
          </ac:spMkLst>
        </pc:spChg>
        <pc:spChg chg="add del mod modVis">
          <ac:chgData name="Yudi Zhu" userId="571e1a55-055f-4c28-8b35-fca6dd1c1369" providerId="ADAL" clId="{75A88773-6EE1-484E-AADE-FE631E01463B}" dt="2025-11-21T07:48:20.205" v="285340"/>
          <ac:spMkLst>
            <pc:docMk/>
            <pc:sldMk cId="755828523" sldId="2147483089"/>
            <ac:spMk id="1243" creationId="{76ADB1AA-6EE9-9B96-FE17-CBDD98E3821C}"/>
          </ac:spMkLst>
        </pc:spChg>
        <pc:spChg chg="add del mod modVis">
          <ac:chgData name="Yudi Zhu" userId="571e1a55-055f-4c28-8b35-fca6dd1c1369" providerId="ADAL" clId="{75A88773-6EE1-484E-AADE-FE631E01463B}" dt="2025-11-21T07:48:22.467" v="285908"/>
          <ac:spMkLst>
            <pc:docMk/>
            <pc:sldMk cId="755828523" sldId="2147483089"/>
            <ac:spMk id="1245" creationId="{D5706FB2-3902-294B-95E1-2095711F10D6}"/>
          </ac:spMkLst>
        </pc:spChg>
        <pc:spChg chg="add del mod modVis">
          <ac:chgData name="Yudi Zhu" userId="571e1a55-055f-4c28-8b35-fca6dd1c1369" providerId="ADAL" clId="{75A88773-6EE1-484E-AADE-FE631E01463B}" dt="2025-11-21T07:49:41.345" v="286142"/>
          <ac:spMkLst>
            <pc:docMk/>
            <pc:sldMk cId="755828523" sldId="2147483089"/>
            <ac:spMk id="1247" creationId="{BA20A068-DCB0-8C06-EE2F-08C71C4850EE}"/>
          </ac:spMkLst>
        </pc:spChg>
        <pc:spChg chg="add del mod modVis">
          <ac:chgData name="Yudi Zhu" userId="571e1a55-055f-4c28-8b35-fca6dd1c1369" providerId="ADAL" clId="{75A88773-6EE1-484E-AADE-FE631E01463B}" dt="2025-11-21T07:49:54.353" v="286340"/>
          <ac:spMkLst>
            <pc:docMk/>
            <pc:sldMk cId="755828523" sldId="2147483089"/>
            <ac:spMk id="1249" creationId="{CAA6E5A7-449D-88DD-1E6A-B2313703BA9F}"/>
          </ac:spMkLst>
        </pc:spChg>
        <pc:spChg chg="add del mod modVis">
          <ac:chgData name="Yudi Zhu" userId="571e1a55-055f-4c28-8b35-fca6dd1c1369" providerId="ADAL" clId="{75A88773-6EE1-484E-AADE-FE631E01463B}" dt="2025-11-21T07:49:57.052" v="287216"/>
          <ac:spMkLst>
            <pc:docMk/>
            <pc:sldMk cId="755828523" sldId="2147483089"/>
            <ac:spMk id="1251" creationId="{F5A6F0C7-DA6D-BFA4-9DA2-218E26AEED7E}"/>
          </ac:spMkLst>
        </pc:spChg>
        <pc:spChg chg="add del mod">
          <ac:chgData name="Yudi Zhu" userId="571e1a55-055f-4c28-8b35-fca6dd1c1369" providerId="ADAL" clId="{75A88773-6EE1-484E-AADE-FE631E01463B}" dt="2025-11-21T08:50:46.386" v="355569"/>
          <ac:spMkLst>
            <pc:docMk/>
            <pc:sldMk cId="755828523" sldId="2147483089"/>
            <ac:spMk id="1252" creationId="{867EC25A-4965-1DD8-8418-D9F49C0412C4}"/>
          </ac:spMkLst>
        </pc:spChg>
        <pc:spChg chg="add del mod">
          <ac:chgData name="Yudi Zhu" userId="571e1a55-055f-4c28-8b35-fca6dd1c1369" providerId="ADAL" clId="{75A88773-6EE1-484E-AADE-FE631E01463B}" dt="2025-11-21T08:50:46.386" v="355571"/>
          <ac:spMkLst>
            <pc:docMk/>
            <pc:sldMk cId="755828523" sldId="2147483089"/>
            <ac:spMk id="1253" creationId="{999E6EA0-9788-5ECA-9E43-D9E9BC20417B}"/>
          </ac:spMkLst>
        </pc:spChg>
        <pc:spChg chg="add del mod">
          <ac:chgData name="Yudi Zhu" userId="571e1a55-055f-4c28-8b35-fca6dd1c1369" providerId="ADAL" clId="{75A88773-6EE1-484E-AADE-FE631E01463B}" dt="2025-11-21T08:50:46.386" v="355572"/>
          <ac:spMkLst>
            <pc:docMk/>
            <pc:sldMk cId="755828523" sldId="2147483089"/>
            <ac:spMk id="1254" creationId="{95437029-EA27-E770-62B9-61E2F60AEA1D}"/>
          </ac:spMkLst>
        </pc:spChg>
        <pc:spChg chg="add del mod">
          <ac:chgData name="Yudi Zhu" userId="571e1a55-055f-4c28-8b35-fca6dd1c1369" providerId="ADAL" clId="{75A88773-6EE1-484E-AADE-FE631E01463B}" dt="2025-11-21T08:50:46.386" v="355570"/>
          <ac:spMkLst>
            <pc:docMk/>
            <pc:sldMk cId="755828523" sldId="2147483089"/>
            <ac:spMk id="1255" creationId="{7B73E051-819F-7055-E000-1ABB0A1351C7}"/>
          </ac:spMkLst>
        </pc:spChg>
        <pc:spChg chg="add del mod">
          <ac:chgData name="Yudi Zhu" userId="571e1a55-055f-4c28-8b35-fca6dd1c1369" providerId="ADAL" clId="{75A88773-6EE1-484E-AADE-FE631E01463B}" dt="2025-11-21T08:50:46.386" v="355573"/>
          <ac:spMkLst>
            <pc:docMk/>
            <pc:sldMk cId="755828523" sldId="2147483089"/>
            <ac:spMk id="1256" creationId="{4986E9C0-A24C-5382-FF23-E9F40B9006BB}"/>
          </ac:spMkLst>
        </pc:spChg>
        <pc:spChg chg="add del mod">
          <ac:chgData name="Yudi Zhu" userId="571e1a55-055f-4c28-8b35-fca6dd1c1369" providerId="ADAL" clId="{75A88773-6EE1-484E-AADE-FE631E01463B}" dt="2025-11-21T08:50:46.386" v="355574"/>
          <ac:spMkLst>
            <pc:docMk/>
            <pc:sldMk cId="755828523" sldId="2147483089"/>
            <ac:spMk id="1257" creationId="{48789427-8C91-9600-9A0A-786DC0B96DFF}"/>
          </ac:spMkLst>
        </pc:spChg>
        <pc:spChg chg="add del mod">
          <ac:chgData name="Yudi Zhu" userId="571e1a55-055f-4c28-8b35-fca6dd1c1369" providerId="ADAL" clId="{75A88773-6EE1-484E-AADE-FE631E01463B}" dt="2025-11-21T08:50:46.386" v="355568"/>
          <ac:spMkLst>
            <pc:docMk/>
            <pc:sldMk cId="755828523" sldId="2147483089"/>
            <ac:spMk id="1258" creationId="{18A2BE5E-663E-8648-8482-DBAD3D54C6E0}"/>
          </ac:spMkLst>
        </pc:spChg>
        <pc:spChg chg="add del mod">
          <ac:chgData name="Yudi Zhu" userId="571e1a55-055f-4c28-8b35-fca6dd1c1369" providerId="ADAL" clId="{75A88773-6EE1-484E-AADE-FE631E01463B}" dt="2025-11-21T08:50:46.386" v="355575"/>
          <ac:spMkLst>
            <pc:docMk/>
            <pc:sldMk cId="755828523" sldId="2147483089"/>
            <ac:spMk id="1259" creationId="{028FC8EF-5E18-BCDD-ABDE-C2053704DA39}"/>
          </ac:spMkLst>
        </pc:spChg>
        <pc:spChg chg="add del mod">
          <ac:chgData name="Yudi Zhu" userId="571e1a55-055f-4c28-8b35-fca6dd1c1369" providerId="ADAL" clId="{75A88773-6EE1-484E-AADE-FE631E01463B}" dt="2025-11-21T08:50:46.386" v="355576"/>
          <ac:spMkLst>
            <pc:docMk/>
            <pc:sldMk cId="755828523" sldId="2147483089"/>
            <ac:spMk id="1260" creationId="{BC044055-09AD-10CD-9095-0C8D90A9A2B0}"/>
          </ac:spMkLst>
        </pc:spChg>
        <pc:spChg chg="add del mod">
          <ac:chgData name="Yudi Zhu" userId="571e1a55-055f-4c28-8b35-fca6dd1c1369" providerId="ADAL" clId="{75A88773-6EE1-484E-AADE-FE631E01463B}" dt="2025-11-21T08:50:46.386" v="355577"/>
          <ac:spMkLst>
            <pc:docMk/>
            <pc:sldMk cId="755828523" sldId="2147483089"/>
            <ac:spMk id="1261" creationId="{5DCC4416-3B73-B4B6-3F46-E91F2715F121}"/>
          </ac:spMkLst>
        </pc:spChg>
        <pc:spChg chg="add del mod">
          <ac:chgData name="Yudi Zhu" userId="571e1a55-055f-4c28-8b35-fca6dd1c1369" providerId="ADAL" clId="{75A88773-6EE1-484E-AADE-FE631E01463B}" dt="2025-11-21T08:50:46.386" v="355578"/>
          <ac:spMkLst>
            <pc:docMk/>
            <pc:sldMk cId="755828523" sldId="2147483089"/>
            <ac:spMk id="1262" creationId="{219D8678-16FC-988F-AEF1-635C4C0F822C}"/>
          </ac:spMkLst>
        </pc:spChg>
        <pc:spChg chg="add del mod">
          <ac:chgData name="Yudi Zhu" userId="571e1a55-055f-4c28-8b35-fca6dd1c1369" providerId="ADAL" clId="{75A88773-6EE1-484E-AADE-FE631E01463B}" dt="2025-11-21T08:50:46.386" v="355579"/>
          <ac:spMkLst>
            <pc:docMk/>
            <pc:sldMk cId="755828523" sldId="2147483089"/>
            <ac:spMk id="1263" creationId="{A48AE8C7-F6BD-A0E4-3D2A-B65AD147B08F}"/>
          </ac:spMkLst>
        </pc:spChg>
        <pc:spChg chg="add del mod modVis">
          <ac:chgData name="Yudi Zhu" userId="571e1a55-055f-4c28-8b35-fca6dd1c1369" providerId="ADAL" clId="{75A88773-6EE1-484E-AADE-FE631E01463B}" dt="2025-11-21T07:50:01.734" v="287486"/>
          <ac:spMkLst>
            <pc:docMk/>
            <pc:sldMk cId="755828523" sldId="2147483089"/>
            <ac:spMk id="1265" creationId="{F9596B5C-FBA2-778D-BA64-0823A229951F}"/>
          </ac:spMkLst>
        </pc:spChg>
        <pc:spChg chg="add del mod modVis">
          <ac:chgData name="Yudi Zhu" userId="571e1a55-055f-4c28-8b35-fca6dd1c1369" providerId="ADAL" clId="{75A88773-6EE1-484E-AADE-FE631E01463B}" dt="2025-11-21T07:50:07.944" v="288135"/>
          <ac:spMkLst>
            <pc:docMk/>
            <pc:sldMk cId="755828523" sldId="2147483089"/>
            <ac:spMk id="1267" creationId="{15347117-5CB3-7B65-6F85-C88EB989C1FF}"/>
          </ac:spMkLst>
        </pc:spChg>
        <pc:spChg chg="add del mod modVis">
          <ac:chgData name="Yudi Zhu" userId="571e1a55-055f-4c28-8b35-fca6dd1c1369" providerId="ADAL" clId="{75A88773-6EE1-484E-AADE-FE631E01463B}" dt="2025-11-21T07:50:13.600" v="288736"/>
          <ac:spMkLst>
            <pc:docMk/>
            <pc:sldMk cId="755828523" sldId="2147483089"/>
            <ac:spMk id="1269" creationId="{6D7A2632-A647-9DFB-47EB-CA8B142A01CA}"/>
          </ac:spMkLst>
        </pc:spChg>
        <pc:spChg chg="add del mod modVis">
          <ac:chgData name="Yudi Zhu" userId="571e1a55-055f-4c28-8b35-fca6dd1c1369" providerId="ADAL" clId="{75A88773-6EE1-484E-AADE-FE631E01463B}" dt="2025-11-21T07:50:16.933" v="289052"/>
          <ac:spMkLst>
            <pc:docMk/>
            <pc:sldMk cId="755828523" sldId="2147483089"/>
            <ac:spMk id="1271" creationId="{6FC2ED37-14F5-714E-15FE-B253B9C3C1B3}"/>
          </ac:spMkLst>
        </pc:spChg>
        <pc:spChg chg="add del mod modVis">
          <ac:chgData name="Yudi Zhu" userId="571e1a55-055f-4c28-8b35-fca6dd1c1369" providerId="ADAL" clId="{75A88773-6EE1-484E-AADE-FE631E01463B}" dt="2025-11-21T07:50:20.255" v="289368"/>
          <ac:spMkLst>
            <pc:docMk/>
            <pc:sldMk cId="755828523" sldId="2147483089"/>
            <ac:spMk id="1273" creationId="{E525F654-168D-6BFC-90C4-733F4F1EDBBA}"/>
          </ac:spMkLst>
        </pc:spChg>
        <pc:spChg chg="add del mod modVis">
          <ac:chgData name="Yudi Zhu" userId="571e1a55-055f-4c28-8b35-fca6dd1c1369" providerId="ADAL" clId="{75A88773-6EE1-484E-AADE-FE631E01463B}" dt="2025-11-21T07:50:23.817" v="289684"/>
          <ac:spMkLst>
            <pc:docMk/>
            <pc:sldMk cId="755828523" sldId="2147483089"/>
            <ac:spMk id="1275" creationId="{DFE0B09B-5BD8-A258-6B2B-00605790C345}"/>
          </ac:spMkLst>
        </pc:spChg>
        <pc:spChg chg="add del mod modVis">
          <ac:chgData name="Yudi Zhu" userId="571e1a55-055f-4c28-8b35-fca6dd1c1369" providerId="ADAL" clId="{75A88773-6EE1-484E-AADE-FE631E01463B}" dt="2025-11-21T07:50:31.513" v="290002"/>
          <ac:spMkLst>
            <pc:docMk/>
            <pc:sldMk cId="755828523" sldId="2147483089"/>
            <ac:spMk id="1277" creationId="{BC447879-3288-A6F7-CD40-7609D66F19DC}"/>
          </ac:spMkLst>
        </pc:spChg>
        <pc:spChg chg="add del mod modVis">
          <ac:chgData name="Yudi Zhu" userId="571e1a55-055f-4c28-8b35-fca6dd1c1369" providerId="ADAL" clId="{75A88773-6EE1-484E-AADE-FE631E01463B}" dt="2025-11-21T07:50:33.161" v="290320"/>
          <ac:spMkLst>
            <pc:docMk/>
            <pc:sldMk cId="755828523" sldId="2147483089"/>
            <ac:spMk id="1279" creationId="{4CDB3EE2-36AA-FBAA-D167-B9839FB0B297}"/>
          </ac:spMkLst>
        </pc:spChg>
        <pc:spChg chg="add del mod modVis">
          <ac:chgData name="Yudi Zhu" userId="571e1a55-055f-4c28-8b35-fca6dd1c1369" providerId="ADAL" clId="{75A88773-6EE1-484E-AADE-FE631E01463B}" dt="2025-11-21T07:50:34.782" v="290638"/>
          <ac:spMkLst>
            <pc:docMk/>
            <pc:sldMk cId="755828523" sldId="2147483089"/>
            <ac:spMk id="1281" creationId="{C9CB2E09-3C19-C297-7F86-44D6E3F5AF44}"/>
          </ac:spMkLst>
        </pc:spChg>
        <pc:spChg chg="add del mod modVis">
          <ac:chgData name="Yudi Zhu" userId="571e1a55-055f-4c28-8b35-fca6dd1c1369" providerId="ADAL" clId="{75A88773-6EE1-484E-AADE-FE631E01463B}" dt="2025-11-21T07:50:36.163" v="290956"/>
          <ac:spMkLst>
            <pc:docMk/>
            <pc:sldMk cId="755828523" sldId="2147483089"/>
            <ac:spMk id="1283" creationId="{3DF819C9-D879-E1EB-01F8-1E9206712CAA}"/>
          </ac:spMkLst>
        </pc:spChg>
        <pc:spChg chg="add del mod modVis">
          <ac:chgData name="Yudi Zhu" userId="571e1a55-055f-4c28-8b35-fca6dd1c1369" providerId="ADAL" clId="{75A88773-6EE1-484E-AADE-FE631E01463B}" dt="2025-11-21T07:50:38.742" v="291274"/>
          <ac:spMkLst>
            <pc:docMk/>
            <pc:sldMk cId="755828523" sldId="2147483089"/>
            <ac:spMk id="1285" creationId="{266369DE-B669-C056-1B67-9F1AF78FDB35}"/>
          </ac:spMkLst>
        </pc:spChg>
        <pc:spChg chg="add del mod modVis">
          <ac:chgData name="Yudi Zhu" userId="571e1a55-055f-4c28-8b35-fca6dd1c1369" providerId="ADAL" clId="{75A88773-6EE1-484E-AADE-FE631E01463B}" dt="2025-11-21T07:50:40.095" v="291592"/>
          <ac:spMkLst>
            <pc:docMk/>
            <pc:sldMk cId="755828523" sldId="2147483089"/>
            <ac:spMk id="1287" creationId="{7C2A660D-15EC-E54D-040F-7964DDC8668A}"/>
          </ac:spMkLst>
        </pc:spChg>
        <pc:spChg chg="add del mod modVis">
          <ac:chgData name="Yudi Zhu" userId="571e1a55-055f-4c28-8b35-fca6dd1c1369" providerId="ADAL" clId="{75A88773-6EE1-484E-AADE-FE631E01463B}" dt="2025-11-21T07:51:03.848" v="291798"/>
          <ac:spMkLst>
            <pc:docMk/>
            <pc:sldMk cId="755828523" sldId="2147483089"/>
            <ac:spMk id="1289" creationId="{86AD9C46-72D0-AEAC-5B99-8FA37777C848}"/>
          </ac:spMkLst>
        </pc:spChg>
        <pc:spChg chg="add del mod modVis">
          <ac:chgData name="Yudi Zhu" userId="571e1a55-055f-4c28-8b35-fca6dd1c1369" providerId="ADAL" clId="{75A88773-6EE1-484E-AADE-FE631E01463B}" dt="2025-11-21T07:51:15.748" v="291994"/>
          <ac:spMkLst>
            <pc:docMk/>
            <pc:sldMk cId="755828523" sldId="2147483089"/>
            <ac:spMk id="1291" creationId="{A0B3A7AD-A547-5B64-6281-9810DF524590}"/>
          </ac:spMkLst>
        </pc:spChg>
        <pc:spChg chg="add del mod modVis">
          <ac:chgData name="Yudi Zhu" userId="571e1a55-055f-4c28-8b35-fca6dd1c1369" providerId="ADAL" clId="{75A88773-6EE1-484E-AADE-FE631E01463B}" dt="2025-11-21T07:51:17.925" v="292235"/>
          <ac:spMkLst>
            <pc:docMk/>
            <pc:sldMk cId="755828523" sldId="2147483089"/>
            <ac:spMk id="1293" creationId="{682BA441-3155-1045-5A5C-726F076A343D}"/>
          </ac:spMkLst>
        </pc:spChg>
        <pc:spChg chg="add del mod modVis">
          <ac:chgData name="Yudi Zhu" userId="571e1a55-055f-4c28-8b35-fca6dd1c1369" providerId="ADAL" clId="{75A88773-6EE1-484E-AADE-FE631E01463B}" dt="2025-11-21T07:51:19.114" v="292431"/>
          <ac:spMkLst>
            <pc:docMk/>
            <pc:sldMk cId="755828523" sldId="2147483089"/>
            <ac:spMk id="1295" creationId="{D5EA29A2-12A5-D416-DC96-67F980C6B135}"/>
          </ac:spMkLst>
        </pc:spChg>
        <pc:spChg chg="add del mod modVis">
          <ac:chgData name="Yudi Zhu" userId="571e1a55-055f-4c28-8b35-fca6dd1c1369" providerId="ADAL" clId="{75A88773-6EE1-484E-AADE-FE631E01463B}" dt="2025-11-21T07:51:31.216" v="292929"/>
          <ac:spMkLst>
            <pc:docMk/>
            <pc:sldMk cId="755828523" sldId="2147483089"/>
            <ac:spMk id="1297" creationId="{64C5BA57-6B78-ED98-CCEA-577BCA11AF15}"/>
          </ac:spMkLst>
        </pc:spChg>
        <pc:spChg chg="add del mod modVis">
          <ac:chgData name="Yudi Zhu" userId="571e1a55-055f-4c28-8b35-fca6dd1c1369" providerId="ADAL" clId="{75A88773-6EE1-484E-AADE-FE631E01463B}" dt="2025-11-21T07:51:44.233" v="293142"/>
          <ac:spMkLst>
            <pc:docMk/>
            <pc:sldMk cId="755828523" sldId="2147483089"/>
            <ac:spMk id="1299" creationId="{3EBB574F-7504-D7BD-D22B-D1D54720FA5F}"/>
          </ac:spMkLst>
        </pc:spChg>
        <pc:spChg chg="add del mod modVis">
          <ac:chgData name="Yudi Zhu" userId="571e1a55-055f-4c28-8b35-fca6dd1c1369" providerId="ADAL" clId="{75A88773-6EE1-484E-AADE-FE631E01463B}" dt="2025-11-21T07:54:05.566" v="293516"/>
          <ac:spMkLst>
            <pc:docMk/>
            <pc:sldMk cId="755828523" sldId="2147483089"/>
            <ac:spMk id="1302" creationId="{9E2B11C2-01D8-85D1-321A-BC8A53B23AE7}"/>
          </ac:spMkLst>
        </pc:spChg>
        <pc:spChg chg="add del mod">
          <ac:chgData name="Yudi Zhu" userId="571e1a55-055f-4c28-8b35-fca6dd1c1369" providerId="ADAL" clId="{75A88773-6EE1-484E-AADE-FE631E01463B}" dt="2025-11-21T07:56:12.308" v="298486"/>
          <ac:spMkLst>
            <pc:docMk/>
            <pc:sldMk cId="755828523" sldId="2147483089"/>
            <ac:spMk id="1303" creationId="{3666A555-9350-CB6D-3CA2-0FA960F28E39}"/>
          </ac:spMkLst>
        </pc:spChg>
        <pc:spChg chg="add del mod">
          <ac:chgData name="Yudi Zhu" userId="571e1a55-055f-4c28-8b35-fca6dd1c1369" providerId="ADAL" clId="{75A88773-6EE1-484E-AADE-FE631E01463B}" dt="2025-11-21T07:56:12.319" v="298492"/>
          <ac:spMkLst>
            <pc:docMk/>
            <pc:sldMk cId="755828523" sldId="2147483089"/>
            <ac:spMk id="1304" creationId="{4CB3C561-184F-0F1C-AD37-140F8AFEA58B}"/>
          </ac:spMkLst>
        </pc:spChg>
        <pc:spChg chg="add del mod modVis">
          <ac:chgData name="Yudi Zhu" userId="571e1a55-055f-4c28-8b35-fca6dd1c1369" providerId="ADAL" clId="{75A88773-6EE1-484E-AADE-FE631E01463B}" dt="2025-11-21T07:54:08.136" v="293722"/>
          <ac:spMkLst>
            <pc:docMk/>
            <pc:sldMk cId="755828523" sldId="2147483089"/>
            <ac:spMk id="1306" creationId="{93F186CD-47BF-C244-075E-B10D147C7780}"/>
          </ac:spMkLst>
        </pc:spChg>
        <pc:spChg chg="add del mod modVis">
          <ac:chgData name="Yudi Zhu" userId="571e1a55-055f-4c28-8b35-fca6dd1c1369" providerId="ADAL" clId="{75A88773-6EE1-484E-AADE-FE631E01463B}" dt="2025-11-21T07:54:09.401" v="293928"/>
          <ac:spMkLst>
            <pc:docMk/>
            <pc:sldMk cId="755828523" sldId="2147483089"/>
            <ac:spMk id="1308" creationId="{7D8DA8E4-8390-DB31-9971-B0C153DD3276}"/>
          </ac:spMkLst>
        </pc:spChg>
        <pc:spChg chg="add del mod modVis">
          <ac:chgData name="Yudi Zhu" userId="571e1a55-055f-4c28-8b35-fca6dd1c1369" providerId="ADAL" clId="{75A88773-6EE1-484E-AADE-FE631E01463B}" dt="2025-11-21T07:54:27.432" v="294560"/>
          <ac:spMkLst>
            <pc:docMk/>
            <pc:sldMk cId="755828523" sldId="2147483089"/>
            <ac:spMk id="1310" creationId="{0D6C87D8-DD54-80DB-CE40-CD54C1C3439C}"/>
          </ac:spMkLst>
        </pc:spChg>
        <pc:spChg chg="add del mod">
          <ac:chgData name="Yudi Zhu" userId="571e1a55-055f-4c28-8b35-fca6dd1c1369" providerId="ADAL" clId="{75A88773-6EE1-484E-AADE-FE631E01463B}" dt="2025-11-21T07:54:28.655" v="294597"/>
          <ac:spMkLst>
            <pc:docMk/>
            <pc:sldMk cId="755828523" sldId="2147483089"/>
            <ac:spMk id="1311" creationId="{13AD59DB-2106-D92B-A5F4-89746C93406F}"/>
          </ac:spMkLst>
        </pc:spChg>
        <pc:spChg chg="add del mod">
          <ac:chgData name="Yudi Zhu" userId="571e1a55-055f-4c28-8b35-fca6dd1c1369" providerId="ADAL" clId="{75A88773-6EE1-484E-AADE-FE631E01463B}" dt="2025-11-21T07:54:28.655" v="294598"/>
          <ac:spMkLst>
            <pc:docMk/>
            <pc:sldMk cId="755828523" sldId="2147483089"/>
            <ac:spMk id="1312" creationId="{21B5BA6E-FFAD-8F2A-93D2-F2B7E39CF7F9}"/>
          </ac:spMkLst>
        </pc:spChg>
        <pc:spChg chg="add del mod">
          <ac:chgData name="Yudi Zhu" userId="571e1a55-055f-4c28-8b35-fca6dd1c1369" providerId="ADAL" clId="{75A88773-6EE1-484E-AADE-FE631E01463B}" dt="2025-11-21T07:54:28.655" v="294599"/>
          <ac:spMkLst>
            <pc:docMk/>
            <pc:sldMk cId="755828523" sldId="2147483089"/>
            <ac:spMk id="1313" creationId="{858A0499-FBC2-E06B-77C4-A0F7AFE415B1}"/>
          </ac:spMkLst>
        </pc:spChg>
        <pc:spChg chg="add del mod">
          <ac:chgData name="Yudi Zhu" userId="571e1a55-055f-4c28-8b35-fca6dd1c1369" providerId="ADAL" clId="{75A88773-6EE1-484E-AADE-FE631E01463B}" dt="2025-11-21T07:54:28.655" v="294600"/>
          <ac:spMkLst>
            <pc:docMk/>
            <pc:sldMk cId="755828523" sldId="2147483089"/>
            <ac:spMk id="1314" creationId="{352D1723-5773-D230-892F-D7BC86CFF0AD}"/>
          </ac:spMkLst>
        </pc:spChg>
        <pc:spChg chg="add del mod">
          <ac:chgData name="Yudi Zhu" userId="571e1a55-055f-4c28-8b35-fca6dd1c1369" providerId="ADAL" clId="{75A88773-6EE1-484E-AADE-FE631E01463B}" dt="2025-11-21T07:54:28.655" v="294601"/>
          <ac:spMkLst>
            <pc:docMk/>
            <pc:sldMk cId="755828523" sldId="2147483089"/>
            <ac:spMk id="1315" creationId="{E6C1E768-3428-921A-A4F1-922F33E290A6}"/>
          </ac:spMkLst>
        </pc:spChg>
        <pc:spChg chg="add del mod">
          <ac:chgData name="Yudi Zhu" userId="571e1a55-055f-4c28-8b35-fca6dd1c1369" providerId="ADAL" clId="{75A88773-6EE1-484E-AADE-FE631E01463B}" dt="2025-11-21T07:54:28.655" v="294602"/>
          <ac:spMkLst>
            <pc:docMk/>
            <pc:sldMk cId="755828523" sldId="2147483089"/>
            <ac:spMk id="1316" creationId="{45037C31-0D40-57BB-9971-4EC4C9BCCD8E}"/>
          </ac:spMkLst>
        </pc:spChg>
        <pc:spChg chg="add del mod">
          <ac:chgData name="Yudi Zhu" userId="571e1a55-055f-4c28-8b35-fca6dd1c1369" providerId="ADAL" clId="{75A88773-6EE1-484E-AADE-FE631E01463B}" dt="2025-11-21T07:54:28.655" v="294603"/>
          <ac:spMkLst>
            <pc:docMk/>
            <pc:sldMk cId="755828523" sldId="2147483089"/>
            <ac:spMk id="1317" creationId="{3FFF4B6D-3FF2-2260-1D1D-43829388E402}"/>
          </ac:spMkLst>
        </pc:spChg>
        <pc:spChg chg="add del mod modVis">
          <ac:chgData name="Yudi Zhu" userId="571e1a55-055f-4c28-8b35-fca6dd1c1369" providerId="ADAL" clId="{75A88773-6EE1-484E-AADE-FE631E01463B}" dt="2025-11-21T07:54:28.834" v="294769"/>
          <ac:spMkLst>
            <pc:docMk/>
            <pc:sldMk cId="755828523" sldId="2147483089"/>
            <ac:spMk id="1319" creationId="{DD4206CE-BA93-44D0-8A71-480F6A05E32F}"/>
          </ac:spMkLst>
        </pc:spChg>
        <pc:spChg chg="add del mod modVis">
          <ac:chgData name="Yudi Zhu" userId="571e1a55-055f-4c28-8b35-fca6dd1c1369" providerId="ADAL" clId="{75A88773-6EE1-484E-AADE-FE631E01463B}" dt="2025-11-21T07:54:42.672" v="295607"/>
          <ac:spMkLst>
            <pc:docMk/>
            <pc:sldMk cId="755828523" sldId="2147483089"/>
            <ac:spMk id="1321" creationId="{7763E6DB-B4F5-4B5E-202E-C75A8C23FB89}"/>
          </ac:spMkLst>
        </pc:spChg>
        <pc:spChg chg="add del mod">
          <ac:chgData name="Yudi Zhu" userId="571e1a55-055f-4c28-8b35-fca6dd1c1369" providerId="ADAL" clId="{75A88773-6EE1-484E-AADE-FE631E01463B}" dt="2025-11-21T07:55:26.962" v="296934"/>
          <ac:spMkLst>
            <pc:docMk/>
            <pc:sldMk cId="755828523" sldId="2147483089"/>
            <ac:spMk id="1322" creationId="{38B38FAD-1A04-113D-FDC7-A4AB4BDDCA2E}"/>
          </ac:spMkLst>
        </pc:spChg>
        <pc:spChg chg="add del mod">
          <ac:chgData name="Yudi Zhu" userId="571e1a55-055f-4c28-8b35-fca6dd1c1369" providerId="ADAL" clId="{75A88773-6EE1-484E-AADE-FE631E01463B}" dt="2025-11-21T07:55:26.962" v="296936"/>
          <ac:spMkLst>
            <pc:docMk/>
            <pc:sldMk cId="755828523" sldId="2147483089"/>
            <ac:spMk id="1323" creationId="{A3E64460-60CD-8F80-9A65-4DC2E3F5C141}"/>
          </ac:spMkLst>
        </pc:spChg>
        <pc:spChg chg="add del mod">
          <ac:chgData name="Yudi Zhu" userId="571e1a55-055f-4c28-8b35-fca6dd1c1369" providerId="ADAL" clId="{75A88773-6EE1-484E-AADE-FE631E01463B}" dt="2025-11-21T07:55:26.962" v="296937"/>
          <ac:spMkLst>
            <pc:docMk/>
            <pc:sldMk cId="755828523" sldId="2147483089"/>
            <ac:spMk id="1324" creationId="{261BDD87-347B-EF50-C757-CEB3D3FF3A1E}"/>
          </ac:spMkLst>
        </pc:spChg>
        <pc:spChg chg="add del mod">
          <ac:chgData name="Yudi Zhu" userId="571e1a55-055f-4c28-8b35-fca6dd1c1369" providerId="ADAL" clId="{75A88773-6EE1-484E-AADE-FE631E01463B}" dt="2025-11-21T07:55:26.962" v="296938"/>
          <ac:spMkLst>
            <pc:docMk/>
            <pc:sldMk cId="755828523" sldId="2147483089"/>
            <ac:spMk id="1325" creationId="{DAB4E1EA-096E-2E40-1D93-55C2FC545714}"/>
          </ac:spMkLst>
        </pc:spChg>
        <pc:spChg chg="add del mod">
          <ac:chgData name="Yudi Zhu" userId="571e1a55-055f-4c28-8b35-fca6dd1c1369" providerId="ADAL" clId="{75A88773-6EE1-484E-AADE-FE631E01463B}" dt="2025-11-21T07:55:26.962" v="296935"/>
          <ac:spMkLst>
            <pc:docMk/>
            <pc:sldMk cId="755828523" sldId="2147483089"/>
            <ac:spMk id="1326" creationId="{370A6CA2-3FEF-EC9A-EF7E-62714365D042}"/>
          </ac:spMkLst>
        </pc:spChg>
        <pc:spChg chg="add del mod">
          <ac:chgData name="Yudi Zhu" userId="571e1a55-055f-4c28-8b35-fca6dd1c1369" providerId="ADAL" clId="{75A88773-6EE1-484E-AADE-FE631E01463B}" dt="2025-11-21T07:55:26.962" v="296939"/>
          <ac:spMkLst>
            <pc:docMk/>
            <pc:sldMk cId="755828523" sldId="2147483089"/>
            <ac:spMk id="1327" creationId="{39F70EDC-8566-8669-363F-5FEB910B3F3A}"/>
          </ac:spMkLst>
        </pc:spChg>
        <pc:spChg chg="add del mod">
          <ac:chgData name="Yudi Zhu" userId="571e1a55-055f-4c28-8b35-fca6dd1c1369" providerId="ADAL" clId="{75A88773-6EE1-484E-AADE-FE631E01463B}" dt="2025-11-21T07:55:26.962" v="296940"/>
          <ac:spMkLst>
            <pc:docMk/>
            <pc:sldMk cId="755828523" sldId="2147483089"/>
            <ac:spMk id="1328" creationId="{7C13BAAB-A348-37E5-5709-403E4FCA220F}"/>
          </ac:spMkLst>
        </pc:spChg>
        <pc:spChg chg="add del mod">
          <ac:chgData name="Yudi Zhu" userId="571e1a55-055f-4c28-8b35-fca6dd1c1369" providerId="ADAL" clId="{75A88773-6EE1-484E-AADE-FE631E01463B}" dt="2025-11-21T07:55:26.962" v="296933"/>
          <ac:spMkLst>
            <pc:docMk/>
            <pc:sldMk cId="755828523" sldId="2147483089"/>
            <ac:spMk id="1329" creationId="{A60970C8-6E46-4E81-5AF2-6DBD50EAA34A}"/>
          </ac:spMkLst>
        </pc:spChg>
        <pc:spChg chg="add del mod">
          <ac:chgData name="Yudi Zhu" userId="571e1a55-055f-4c28-8b35-fca6dd1c1369" providerId="ADAL" clId="{75A88773-6EE1-484E-AADE-FE631E01463B}" dt="2025-11-21T07:55:26.962" v="296941"/>
          <ac:spMkLst>
            <pc:docMk/>
            <pc:sldMk cId="755828523" sldId="2147483089"/>
            <ac:spMk id="1330" creationId="{2CB2251B-F4AB-1490-C8C4-5FAF14D8FBED}"/>
          </ac:spMkLst>
        </pc:spChg>
        <pc:spChg chg="add del mod">
          <ac:chgData name="Yudi Zhu" userId="571e1a55-055f-4c28-8b35-fca6dd1c1369" providerId="ADAL" clId="{75A88773-6EE1-484E-AADE-FE631E01463B}" dt="2025-11-21T07:55:26.962" v="296942"/>
          <ac:spMkLst>
            <pc:docMk/>
            <pc:sldMk cId="755828523" sldId="2147483089"/>
            <ac:spMk id="1331" creationId="{4E059151-B228-CC6F-CAF7-58BE561EC13F}"/>
          </ac:spMkLst>
        </pc:spChg>
        <pc:spChg chg="add del mod">
          <ac:chgData name="Yudi Zhu" userId="571e1a55-055f-4c28-8b35-fca6dd1c1369" providerId="ADAL" clId="{75A88773-6EE1-484E-AADE-FE631E01463B}" dt="2025-11-21T07:55:26.962" v="296943"/>
          <ac:spMkLst>
            <pc:docMk/>
            <pc:sldMk cId="755828523" sldId="2147483089"/>
            <ac:spMk id="1332" creationId="{D6C0DDED-2F67-2C3E-C95B-8EB3EE6020F0}"/>
          </ac:spMkLst>
        </pc:spChg>
        <pc:spChg chg="add del mod">
          <ac:chgData name="Yudi Zhu" userId="571e1a55-055f-4c28-8b35-fca6dd1c1369" providerId="ADAL" clId="{75A88773-6EE1-484E-AADE-FE631E01463B}" dt="2025-11-21T07:56:12.308" v="298489"/>
          <ac:spMkLst>
            <pc:docMk/>
            <pc:sldMk cId="755828523" sldId="2147483089"/>
            <ac:spMk id="1334" creationId="{723C60A5-42A6-255F-7D8E-6D6F069BDBB1}"/>
          </ac:spMkLst>
        </pc:spChg>
        <pc:spChg chg="add del mod">
          <ac:chgData name="Yudi Zhu" userId="571e1a55-055f-4c28-8b35-fca6dd1c1369" providerId="ADAL" clId="{75A88773-6EE1-484E-AADE-FE631E01463B}" dt="2025-11-21T07:55:56.050" v="298176"/>
          <ac:spMkLst>
            <pc:docMk/>
            <pc:sldMk cId="755828523" sldId="2147483089"/>
            <ac:spMk id="1335" creationId="{3F56255E-FF17-FDF5-B08B-485952BEA355}"/>
          </ac:spMkLst>
        </pc:spChg>
        <pc:spChg chg="add del mod modVis">
          <ac:chgData name="Yudi Zhu" userId="571e1a55-055f-4c28-8b35-fca6dd1c1369" providerId="ADAL" clId="{75A88773-6EE1-484E-AADE-FE631E01463B}" dt="2025-11-21T07:54:50.182" v="295930"/>
          <ac:spMkLst>
            <pc:docMk/>
            <pc:sldMk cId="755828523" sldId="2147483089"/>
            <ac:spMk id="1336" creationId="{DC8F75CE-4C9C-B49F-343C-BC9CB8FA51BD}"/>
          </ac:spMkLst>
        </pc:spChg>
        <pc:spChg chg="add del mod modVis">
          <ac:chgData name="Yudi Zhu" userId="571e1a55-055f-4c28-8b35-fca6dd1c1369" providerId="ADAL" clId="{75A88773-6EE1-484E-AADE-FE631E01463B}" dt="2025-11-21T07:54:56.666" v="296179"/>
          <ac:spMkLst>
            <pc:docMk/>
            <pc:sldMk cId="755828523" sldId="2147483089"/>
            <ac:spMk id="1341" creationId="{5A57EF11-AAF0-125F-BB64-471C4E152531}"/>
          </ac:spMkLst>
        </pc:spChg>
        <pc:spChg chg="add del mod modVis">
          <ac:chgData name="Yudi Zhu" userId="571e1a55-055f-4c28-8b35-fca6dd1c1369" providerId="ADAL" clId="{75A88773-6EE1-484E-AADE-FE631E01463B}" dt="2025-11-21T07:54:58.703" v="296428"/>
          <ac:spMkLst>
            <pc:docMk/>
            <pc:sldMk cId="755828523" sldId="2147483089"/>
            <ac:spMk id="1343" creationId="{07FD283E-F087-F1C9-2B43-32A6D9D6C9FE}"/>
          </ac:spMkLst>
        </pc:spChg>
        <pc:spChg chg="add del mod modVis">
          <ac:chgData name="Yudi Zhu" userId="571e1a55-055f-4c28-8b35-fca6dd1c1369" providerId="ADAL" clId="{75A88773-6EE1-484E-AADE-FE631E01463B}" dt="2025-11-21T07:55:01.653" v="296677"/>
          <ac:spMkLst>
            <pc:docMk/>
            <pc:sldMk cId="755828523" sldId="2147483089"/>
            <ac:spMk id="1345" creationId="{FB9380A8-5A7E-0E42-5F63-5ADF4D9C5438}"/>
          </ac:spMkLst>
        </pc:spChg>
        <pc:spChg chg="add del mod modVis">
          <ac:chgData name="Yudi Zhu" userId="571e1a55-055f-4c28-8b35-fca6dd1c1369" providerId="ADAL" clId="{75A88773-6EE1-484E-AADE-FE631E01463B}" dt="2025-11-21T07:55:05.749" v="296926"/>
          <ac:spMkLst>
            <pc:docMk/>
            <pc:sldMk cId="755828523" sldId="2147483089"/>
            <ac:spMk id="1347" creationId="{BC2C1EED-7495-4D9A-923F-EECFA6B7648F}"/>
          </ac:spMkLst>
        </pc:spChg>
        <pc:spChg chg="add del mod modVis">
          <ac:chgData name="Yudi Zhu" userId="571e1a55-055f-4c28-8b35-fca6dd1c1369" providerId="ADAL" clId="{75A88773-6EE1-484E-AADE-FE631E01463B}" dt="2025-11-21T07:55:27.129" v="297149"/>
          <ac:spMkLst>
            <pc:docMk/>
            <pc:sldMk cId="755828523" sldId="2147483089"/>
            <ac:spMk id="1349" creationId="{C5234718-23DB-A8C0-E469-24D05FE1AB98}"/>
          </ac:spMkLst>
        </pc:spChg>
        <pc:spChg chg="add del mod modVis">
          <ac:chgData name="Yudi Zhu" userId="571e1a55-055f-4c28-8b35-fca6dd1c1369" providerId="ADAL" clId="{75A88773-6EE1-484E-AADE-FE631E01463B}" dt="2025-11-21T07:55:28.769" v="297377"/>
          <ac:spMkLst>
            <pc:docMk/>
            <pc:sldMk cId="755828523" sldId="2147483089"/>
            <ac:spMk id="1351" creationId="{669EF241-FC65-9455-C42E-7B66098311D6}"/>
          </ac:spMkLst>
        </pc:spChg>
        <pc:spChg chg="add del mod modVis">
          <ac:chgData name="Yudi Zhu" userId="571e1a55-055f-4c28-8b35-fca6dd1c1369" providerId="ADAL" clId="{75A88773-6EE1-484E-AADE-FE631E01463B}" dt="2025-11-21T07:55:38.296" v="297903"/>
          <ac:spMkLst>
            <pc:docMk/>
            <pc:sldMk cId="755828523" sldId="2147483089"/>
            <ac:spMk id="1354" creationId="{B3A8ACB3-B470-9D1C-FED1-2C125DC5EFFE}"/>
          </ac:spMkLst>
        </pc:spChg>
        <pc:spChg chg="add del mod modVis">
          <ac:chgData name="Yudi Zhu" userId="571e1a55-055f-4c28-8b35-fca6dd1c1369" providerId="ADAL" clId="{75A88773-6EE1-484E-AADE-FE631E01463B}" dt="2025-11-21T07:55:45.448" v="298171"/>
          <ac:spMkLst>
            <pc:docMk/>
            <pc:sldMk cId="755828523" sldId="2147483089"/>
            <ac:spMk id="1360" creationId="{5E48C2BB-9134-1936-75D4-BD34512E4A3A}"/>
          </ac:spMkLst>
        </pc:spChg>
        <pc:spChg chg="add del mod modVis">
          <ac:chgData name="Yudi Zhu" userId="571e1a55-055f-4c28-8b35-fca6dd1c1369" providerId="ADAL" clId="{75A88773-6EE1-484E-AADE-FE631E01463B}" dt="2025-11-21T07:56:05.380" v="298481"/>
          <ac:spMkLst>
            <pc:docMk/>
            <pc:sldMk cId="755828523" sldId="2147483089"/>
            <ac:spMk id="1362" creationId="{79A169E0-2504-E3F1-AE62-5C87C2942327}"/>
          </ac:spMkLst>
        </pc:spChg>
        <pc:spChg chg="add del mod modVis">
          <ac:chgData name="Yudi Zhu" userId="571e1a55-055f-4c28-8b35-fca6dd1c1369" providerId="ADAL" clId="{75A88773-6EE1-484E-AADE-FE631E01463B}" dt="2025-11-21T07:56:16.946" v="298692"/>
          <ac:spMkLst>
            <pc:docMk/>
            <pc:sldMk cId="755828523" sldId="2147483089"/>
            <ac:spMk id="1364" creationId="{D2A09D8E-BCF5-82F6-6B92-7BA8AFC55738}"/>
          </ac:spMkLst>
        </pc:spChg>
        <pc:spChg chg="add del mod modVis">
          <ac:chgData name="Yudi Zhu" userId="571e1a55-055f-4c28-8b35-fca6dd1c1369" providerId="ADAL" clId="{75A88773-6EE1-484E-AADE-FE631E01463B}" dt="2025-11-21T07:56:22.492" v="298890"/>
          <ac:spMkLst>
            <pc:docMk/>
            <pc:sldMk cId="755828523" sldId="2147483089"/>
            <ac:spMk id="1366" creationId="{1BA6D8F3-DBD1-4C60-77D3-BDDB07CB7157}"/>
          </ac:spMkLst>
        </pc:spChg>
        <pc:spChg chg="add del mod modVis">
          <ac:chgData name="Yudi Zhu" userId="571e1a55-055f-4c28-8b35-fca6dd1c1369" providerId="ADAL" clId="{75A88773-6EE1-484E-AADE-FE631E01463B}" dt="2025-11-21T07:56:25.299" v="299086"/>
          <ac:spMkLst>
            <pc:docMk/>
            <pc:sldMk cId="755828523" sldId="2147483089"/>
            <ac:spMk id="1368" creationId="{AE79C7F5-526B-0028-B2C7-A3BA936306F7}"/>
          </ac:spMkLst>
        </pc:spChg>
        <pc:spChg chg="add del mod modVis">
          <ac:chgData name="Yudi Zhu" userId="571e1a55-055f-4c28-8b35-fca6dd1c1369" providerId="ADAL" clId="{75A88773-6EE1-484E-AADE-FE631E01463B}" dt="2025-11-21T07:56:30.032" v="299282"/>
          <ac:spMkLst>
            <pc:docMk/>
            <pc:sldMk cId="755828523" sldId="2147483089"/>
            <ac:spMk id="1370" creationId="{17663927-5E8B-6767-D000-D1E62D950A4A}"/>
          </ac:spMkLst>
        </pc:spChg>
        <pc:spChg chg="add mod">
          <ac:chgData name="Yudi Zhu" userId="571e1a55-055f-4c28-8b35-fca6dd1c1369" providerId="ADAL" clId="{75A88773-6EE1-484E-AADE-FE631E01463B}" dt="2025-11-21T09:22:52.710" v="406737"/>
          <ac:spMkLst>
            <pc:docMk/>
            <pc:sldMk cId="755828523" sldId="2147483089"/>
            <ac:spMk id="1376" creationId="{2B4EDBBB-72E6-B151-182E-B189521C5BAC}"/>
          </ac:spMkLst>
        </pc:spChg>
        <pc:spChg chg="add del mod modVis">
          <ac:chgData name="Yudi Zhu" userId="571e1a55-055f-4c28-8b35-fca6dd1c1369" providerId="ADAL" clId="{75A88773-6EE1-484E-AADE-FE631E01463B}" dt="2025-11-21T07:56:46.742" v="300352"/>
          <ac:spMkLst>
            <pc:docMk/>
            <pc:sldMk cId="755828523" sldId="2147483089"/>
            <ac:spMk id="1377" creationId="{35DF7081-DCA8-B779-1556-0D4E7FF11B55}"/>
          </ac:spMkLst>
        </pc:spChg>
        <pc:spChg chg="add mod">
          <ac:chgData name="Yudi Zhu" userId="571e1a55-055f-4c28-8b35-fca6dd1c1369" providerId="ADAL" clId="{75A88773-6EE1-484E-AADE-FE631E01463B}" dt="2025-11-21T09:22:52.710" v="406738"/>
          <ac:spMkLst>
            <pc:docMk/>
            <pc:sldMk cId="755828523" sldId="2147483089"/>
            <ac:spMk id="1378" creationId="{BD933162-8B62-1004-8AE5-8CA06E5D7DE9}"/>
          </ac:spMkLst>
        </pc:spChg>
        <pc:spChg chg="add mod">
          <ac:chgData name="Yudi Zhu" userId="571e1a55-055f-4c28-8b35-fca6dd1c1369" providerId="ADAL" clId="{75A88773-6EE1-484E-AADE-FE631E01463B}" dt="2025-11-21T09:22:52.711" v="406739"/>
          <ac:spMkLst>
            <pc:docMk/>
            <pc:sldMk cId="755828523" sldId="2147483089"/>
            <ac:spMk id="1379" creationId="{9ECFB1DA-48A2-EF26-C44B-C3EC1ABE4988}"/>
          </ac:spMkLst>
        </pc:spChg>
        <pc:spChg chg="add del mod modVis">
          <ac:chgData name="Yudi Zhu" userId="571e1a55-055f-4c28-8b35-fca6dd1c1369" providerId="ADAL" clId="{75A88773-6EE1-484E-AADE-FE631E01463B}" dt="2025-11-21T07:57:06.066" v="300937"/>
          <ac:spMkLst>
            <pc:docMk/>
            <pc:sldMk cId="755828523" sldId="2147483089"/>
            <ac:spMk id="1384" creationId="{FC49944F-55F5-3520-F477-E19F7F41F214}"/>
          </ac:spMkLst>
        </pc:spChg>
        <pc:spChg chg="add del mod modVis">
          <ac:chgData name="Yudi Zhu" userId="571e1a55-055f-4c28-8b35-fca6dd1c1369" providerId="ADAL" clId="{75A88773-6EE1-484E-AADE-FE631E01463B}" dt="2025-11-21T07:57:36.806" v="302861"/>
          <ac:spMkLst>
            <pc:docMk/>
            <pc:sldMk cId="755828523" sldId="2147483089"/>
            <ac:spMk id="1388" creationId="{5D52C7D8-086C-E43A-D461-9EEF7D7CDB11}"/>
          </ac:spMkLst>
        </pc:spChg>
        <pc:spChg chg="add mod">
          <ac:chgData name="Yudi Zhu" userId="571e1a55-055f-4c28-8b35-fca6dd1c1369" providerId="ADAL" clId="{75A88773-6EE1-484E-AADE-FE631E01463B}" dt="2025-11-21T07:57:36.806" v="302861"/>
          <ac:spMkLst>
            <pc:docMk/>
            <pc:sldMk cId="755828523" sldId="2147483089"/>
            <ac:spMk id="1389" creationId="{A109D2DB-FAF1-1E0A-A552-4FF794908B98}"/>
          </ac:spMkLst>
        </pc:spChg>
        <pc:spChg chg="add mod">
          <ac:chgData name="Yudi Zhu" userId="571e1a55-055f-4c28-8b35-fca6dd1c1369" providerId="ADAL" clId="{75A88773-6EE1-484E-AADE-FE631E01463B}" dt="2025-11-21T07:57:36.806" v="302861"/>
          <ac:spMkLst>
            <pc:docMk/>
            <pc:sldMk cId="755828523" sldId="2147483089"/>
            <ac:spMk id="1390" creationId="{F04A710B-C41E-E269-95D3-1AF865C922C1}"/>
          </ac:spMkLst>
        </pc:spChg>
        <pc:spChg chg="add del mod modVis">
          <ac:chgData name="Yudi Zhu" userId="571e1a55-055f-4c28-8b35-fca6dd1c1369" providerId="ADAL" clId="{75A88773-6EE1-484E-AADE-FE631E01463B}" dt="2025-11-21T07:57:35.105" v="302632"/>
          <ac:spMkLst>
            <pc:docMk/>
            <pc:sldMk cId="755828523" sldId="2147483089"/>
            <ac:spMk id="1393" creationId="{4987EE40-A032-FCEA-33B7-3A919F78880F}"/>
          </ac:spMkLst>
        </pc:spChg>
        <pc:spChg chg="add del mod modVis">
          <ac:chgData name="Yudi Zhu" userId="571e1a55-055f-4c28-8b35-fca6dd1c1369" providerId="ADAL" clId="{75A88773-6EE1-484E-AADE-FE631E01463B}" dt="2025-11-21T07:57:40.410" v="303078"/>
          <ac:spMkLst>
            <pc:docMk/>
            <pc:sldMk cId="755828523" sldId="2147483089"/>
            <ac:spMk id="1396" creationId="{7F47C03B-C215-4A5A-237D-DFCF6C672F43}"/>
          </ac:spMkLst>
        </pc:spChg>
        <pc:spChg chg="add del mod modVis">
          <ac:chgData name="Yudi Zhu" userId="571e1a55-055f-4c28-8b35-fca6dd1c1369" providerId="ADAL" clId="{75A88773-6EE1-484E-AADE-FE631E01463B}" dt="2025-11-21T07:58:08.853" v="304591"/>
          <ac:spMkLst>
            <pc:docMk/>
            <pc:sldMk cId="755828523" sldId="2147483089"/>
            <ac:spMk id="1399" creationId="{D67BE232-70ED-F84C-2717-9682F2B2EC11}"/>
          </ac:spMkLst>
        </pc:spChg>
        <pc:spChg chg="add del mod modVis">
          <ac:chgData name="Yudi Zhu" userId="571e1a55-055f-4c28-8b35-fca6dd1c1369" providerId="ADAL" clId="{75A88773-6EE1-484E-AADE-FE631E01463B}" dt="2025-11-21T07:58:12.819" v="305465"/>
          <ac:spMkLst>
            <pc:docMk/>
            <pc:sldMk cId="755828523" sldId="2147483089"/>
            <ac:spMk id="1401" creationId="{2E38D8F5-FBA4-DD14-129A-1A3A000491FF}"/>
          </ac:spMkLst>
        </pc:spChg>
        <pc:spChg chg="add del mod modVis">
          <ac:chgData name="Yudi Zhu" userId="571e1a55-055f-4c28-8b35-fca6dd1c1369" providerId="ADAL" clId="{75A88773-6EE1-484E-AADE-FE631E01463B}" dt="2025-11-21T07:58:16.610" v="306264"/>
          <ac:spMkLst>
            <pc:docMk/>
            <pc:sldMk cId="755828523" sldId="2147483089"/>
            <ac:spMk id="1403" creationId="{B842623A-11CF-5767-9EDC-3A8DC4218AE1}"/>
          </ac:spMkLst>
        </pc:spChg>
        <pc:spChg chg="add del mod">
          <ac:chgData name="Yudi Zhu" userId="571e1a55-055f-4c28-8b35-fca6dd1c1369" providerId="ADAL" clId="{75A88773-6EE1-484E-AADE-FE631E01463B}" dt="2025-11-21T08:01:34.689" v="314252"/>
          <ac:spMkLst>
            <pc:docMk/>
            <pc:sldMk cId="755828523" sldId="2147483089"/>
            <ac:spMk id="1404" creationId="{13BD76CA-6DA8-3432-3554-3FC456976881}"/>
          </ac:spMkLst>
        </pc:spChg>
        <pc:spChg chg="add del mod">
          <ac:chgData name="Yudi Zhu" userId="571e1a55-055f-4c28-8b35-fca6dd1c1369" providerId="ADAL" clId="{75A88773-6EE1-484E-AADE-FE631E01463B}" dt="2025-11-21T08:01:34.689" v="314251"/>
          <ac:spMkLst>
            <pc:docMk/>
            <pc:sldMk cId="755828523" sldId="2147483089"/>
            <ac:spMk id="1405" creationId="{896348D9-F8B7-F663-701D-834BD49A9718}"/>
          </ac:spMkLst>
        </pc:spChg>
        <pc:spChg chg="add del mod">
          <ac:chgData name="Yudi Zhu" userId="571e1a55-055f-4c28-8b35-fca6dd1c1369" providerId="ADAL" clId="{75A88773-6EE1-484E-AADE-FE631E01463B}" dt="2025-11-21T08:01:34.688" v="314250"/>
          <ac:spMkLst>
            <pc:docMk/>
            <pc:sldMk cId="755828523" sldId="2147483089"/>
            <ac:spMk id="1406" creationId="{A68959D5-1A85-C467-43A2-E8192C3D56E9}"/>
          </ac:spMkLst>
        </pc:spChg>
        <pc:spChg chg="add del mod">
          <ac:chgData name="Yudi Zhu" userId="571e1a55-055f-4c28-8b35-fca6dd1c1369" providerId="ADAL" clId="{75A88773-6EE1-484E-AADE-FE631E01463B}" dt="2025-11-21T08:01:34.687" v="314249"/>
          <ac:spMkLst>
            <pc:docMk/>
            <pc:sldMk cId="755828523" sldId="2147483089"/>
            <ac:spMk id="1407" creationId="{68D9D183-A610-2177-3396-A1DAAC8AD6E0}"/>
          </ac:spMkLst>
        </pc:spChg>
        <pc:spChg chg="add del mod">
          <ac:chgData name="Yudi Zhu" userId="571e1a55-055f-4c28-8b35-fca6dd1c1369" providerId="ADAL" clId="{75A88773-6EE1-484E-AADE-FE631E01463B}" dt="2025-11-21T08:02:27.777" v="317475"/>
          <ac:spMkLst>
            <pc:docMk/>
            <pc:sldMk cId="755828523" sldId="2147483089"/>
            <ac:spMk id="1413" creationId="{5372387B-9C1A-4CB7-2072-B8BE8A8695D9}"/>
          </ac:spMkLst>
        </pc:spChg>
        <pc:spChg chg="add del mod modVis">
          <ac:chgData name="Yudi Zhu" userId="571e1a55-055f-4c28-8b35-fca6dd1c1369" providerId="ADAL" clId="{75A88773-6EE1-484E-AADE-FE631E01463B}" dt="2025-11-21T07:59:25.683" v="307411"/>
          <ac:spMkLst>
            <pc:docMk/>
            <pc:sldMk cId="755828523" sldId="2147483089"/>
            <ac:spMk id="1414" creationId="{9C0DF4FC-25EA-A442-6D47-BA5400ADCEC7}"/>
          </ac:spMkLst>
        </pc:spChg>
        <pc:spChg chg="add del mod">
          <ac:chgData name="Yudi Zhu" userId="571e1a55-055f-4c28-8b35-fca6dd1c1369" providerId="ADAL" clId="{75A88773-6EE1-484E-AADE-FE631E01463B}" dt="2025-11-21T08:02:27.777" v="317474"/>
          <ac:spMkLst>
            <pc:docMk/>
            <pc:sldMk cId="755828523" sldId="2147483089"/>
            <ac:spMk id="1415" creationId="{72F87048-19E8-7183-1F44-2415CAC28B3A}"/>
          </ac:spMkLst>
        </pc:spChg>
        <pc:spChg chg="add del mod modVis">
          <ac:chgData name="Yudi Zhu" userId="571e1a55-055f-4c28-8b35-fca6dd1c1369" providerId="ADAL" clId="{75A88773-6EE1-484E-AADE-FE631E01463B}" dt="2025-11-21T07:59:38.133" v="307689"/>
          <ac:spMkLst>
            <pc:docMk/>
            <pc:sldMk cId="755828523" sldId="2147483089"/>
            <ac:spMk id="1418" creationId="{5F3F7E62-E075-A7D7-68F2-DE5417896A2E}"/>
          </ac:spMkLst>
        </pc:spChg>
        <pc:spChg chg="add del mod modVis">
          <ac:chgData name="Yudi Zhu" userId="571e1a55-055f-4c28-8b35-fca6dd1c1369" providerId="ADAL" clId="{75A88773-6EE1-484E-AADE-FE631E01463B}" dt="2025-11-21T07:59:50.569" v="307986"/>
          <ac:spMkLst>
            <pc:docMk/>
            <pc:sldMk cId="755828523" sldId="2147483089"/>
            <ac:spMk id="1420" creationId="{53E18C2F-BAB0-2CDE-44EE-FCAE12C7E5AD}"/>
          </ac:spMkLst>
        </pc:spChg>
        <pc:spChg chg="add del mod modVis">
          <ac:chgData name="Yudi Zhu" userId="571e1a55-055f-4c28-8b35-fca6dd1c1369" providerId="ADAL" clId="{75A88773-6EE1-484E-AADE-FE631E01463B}" dt="2025-11-21T08:00:01.954" v="308249"/>
          <ac:spMkLst>
            <pc:docMk/>
            <pc:sldMk cId="755828523" sldId="2147483089"/>
            <ac:spMk id="1422" creationId="{DBA061B0-8F61-539D-BDC1-6355C2F00E24}"/>
          </ac:spMkLst>
        </pc:spChg>
        <pc:spChg chg="add del mod">
          <ac:chgData name="Yudi Zhu" userId="571e1a55-055f-4c28-8b35-fca6dd1c1369" providerId="ADAL" clId="{75A88773-6EE1-484E-AADE-FE631E01463B}" dt="2025-11-21T08:02:25.740" v="317227"/>
          <ac:spMkLst>
            <pc:docMk/>
            <pc:sldMk cId="755828523" sldId="2147483089"/>
            <ac:spMk id="1424" creationId="{62628B1F-BF13-F26F-E669-1E425FA4CE26}"/>
          </ac:spMkLst>
        </pc:spChg>
        <pc:spChg chg="add del mod modVis">
          <ac:chgData name="Yudi Zhu" userId="571e1a55-055f-4c28-8b35-fca6dd1c1369" providerId="ADAL" clId="{75A88773-6EE1-484E-AADE-FE631E01463B}" dt="2025-11-21T08:00:10.799" v="308589"/>
          <ac:spMkLst>
            <pc:docMk/>
            <pc:sldMk cId="755828523" sldId="2147483089"/>
            <ac:spMk id="1425" creationId="{765701C0-FBB5-4270-0629-973F75A8E432}"/>
          </ac:spMkLst>
        </pc:spChg>
        <pc:spChg chg="add del mod">
          <ac:chgData name="Yudi Zhu" userId="571e1a55-055f-4c28-8b35-fca6dd1c1369" providerId="ADAL" clId="{75A88773-6EE1-484E-AADE-FE631E01463B}" dt="2025-11-21T08:02:25.740" v="317226"/>
          <ac:spMkLst>
            <pc:docMk/>
            <pc:sldMk cId="755828523" sldId="2147483089"/>
            <ac:spMk id="1426" creationId="{83931248-566D-FACA-4ED4-C1F12869E583}"/>
          </ac:spMkLst>
        </pc:spChg>
        <pc:spChg chg="add del mod modVis">
          <ac:chgData name="Yudi Zhu" userId="571e1a55-055f-4c28-8b35-fca6dd1c1369" providerId="ADAL" clId="{75A88773-6EE1-484E-AADE-FE631E01463B}" dt="2025-11-21T08:00:16.221" v="308873"/>
          <ac:spMkLst>
            <pc:docMk/>
            <pc:sldMk cId="755828523" sldId="2147483089"/>
            <ac:spMk id="1429" creationId="{E6E47A15-2CA5-DF83-0809-0FFBE13BBA49}"/>
          </ac:spMkLst>
        </pc:spChg>
        <pc:spChg chg="add del mod modVis">
          <ac:chgData name="Yudi Zhu" userId="571e1a55-055f-4c28-8b35-fca6dd1c1369" providerId="ADAL" clId="{75A88773-6EE1-484E-AADE-FE631E01463B}" dt="2025-11-21T08:00:24.751" v="309140"/>
          <ac:spMkLst>
            <pc:docMk/>
            <pc:sldMk cId="755828523" sldId="2147483089"/>
            <ac:spMk id="1431" creationId="{AF0AB7C0-8A99-CCA1-9173-1B9BA6F3B3AB}"/>
          </ac:spMkLst>
        </pc:spChg>
        <pc:spChg chg="add del mod modVis">
          <ac:chgData name="Yudi Zhu" userId="571e1a55-055f-4c28-8b35-fca6dd1c1369" providerId="ADAL" clId="{75A88773-6EE1-484E-AADE-FE631E01463B}" dt="2025-11-21T08:01:00.146" v="311963"/>
          <ac:spMkLst>
            <pc:docMk/>
            <pc:sldMk cId="755828523" sldId="2147483089"/>
            <ac:spMk id="1441" creationId="{9ECE04AA-9D44-24D1-9999-FD215199D2C8}"/>
          </ac:spMkLst>
        </pc:spChg>
        <pc:spChg chg="add del mod ord">
          <ac:chgData name="Yudi Zhu" userId="571e1a55-055f-4c28-8b35-fca6dd1c1369" providerId="ADAL" clId="{75A88773-6EE1-484E-AADE-FE631E01463B}" dt="2025-11-21T09:22:52.691" v="406703"/>
          <ac:spMkLst>
            <pc:docMk/>
            <pc:sldMk cId="755828523" sldId="2147483089"/>
            <ac:spMk id="1442" creationId="{00445C12-10C4-A371-D4EA-BD360FAE32DA}"/>
          </ac:spMkLst>
        </pc:spChg>
        <pc:spChg chg="add del mod ord">
          <ac:chgData name="Yudi Zhu" userId="571e1a55-055f-4c28-8b35-fca6dd1c1369" providerId="ADAL" clId="{75A88773-6EE1-484E-AADE-FE631E01463B}" dt="2025-11-21T08:49:35.383" v="349265"/>
          <ac:spMkLst>
            <pc:docMk/>
            <pc:sldMk cId="755828523" sldId="2147483089"/>
            <ac:spMk id="1443" creationId="{E068EC4D-A2D4-6897-A95C-DB68E8397B59}"/>
          </ac:spMkLst>
        </pc:spChg>
        <pc:spChg chg="add del mod ord">
          <ac:chgData name="Yudi Zhu" userId="571e1a55-055f-4c28-8b35-fca6dd1c1369" providerId="ADAL" clId="{75A88773-6EE1-484E-AADE-FE631E01463B}" dt="2025-11-21T09:22:52.696" v="406710"/>
          <ac:spMkLst>
            <pc:docMk/>
            <pc:sldMk cId="755828523" sldId="2147483089"/>
            <ac:spMk id="1444" creationId="{E51A9A38-9D24-173A-E197-E054AC1DE8BD}"/>
          </ac:spMkLst>
        </pc:spChg>
        <pc:spChg chg="add del mod ord">
          <ac:chgData name="Yudi Zhu" userId="571e1a55-055f-4c28-8b35-fca6dd1c1369" providerId="ADAL" clId="{75A88773-6EE1-484E-AADE-FE631E01463B}" dt="2025-11-21T09:22:52.696" v="406715"/>
          <ac:spMkLst>
            <pc:docMk/>
            <pc:sldMk cId="755828523" sldId="2147483089"/>
            <ac:spMk id="1445" creationId="{21FACF64-F525-BF83-8FEC-9303D9B5C1C8}"/>
          </ac:spMkLst>
        </pc:spChg>
        <pc:spChg chg="add del mod ord">
          <ac:chgData name="Yudi Zhu" userId="571e1a55-055f-4c28-8b35-fca6dd1c1369" providerId="ADAL" clId="{75A88773-6EE1-484E-AADE-FE631E01463B}" dt="2025-11-21T09:22:52.696" v="406721"/>
          <ac:spMkLst>
            <pc:docMk/>
            <pc:sldMk cId="755828523" sldId="2147483089"/>
            <ac:spMk id="1446" creationId="{26759265-0ED0-1340-C201-021A91CDFA5D}"/>
          </ac:spMkLst>
        </pc:spChg>
        <pc:spChg chg="add del mod ord">
          <ac:chgData name="Yudi Zhu" userId="571e1a55-055f-4c28-8b35-fca6dd1c1369" providerId="ADAL" clId="{75A88773-6EE1-484E-AADE-FE631E01463B}" dt="2025-11-21T09:22:52.705" v="406725"/>
          <ac:spMkLst>
            <pc:docMk/>
            <pc:sldMk cId="755828523" sldId="2147483089"/>
            <ac:spMk id="1447" creationId="{48D0F9A5-DD32-F4C0-182F-532AF180C2D8}"/>
          </ac:spMkLst>
        </pc:spChg>
        <pc:spChg chg="add del mod ord">
          <ac:chgData name="Yudi Zhu" userId="571e1a55-055f-4c28-8b35-fca6dd1c1369" providerId="ADAL" clId="{75A88773-6EE1-484E-AADE-FE631E01463B}" dt="2025-11-21T09:22:52.706" v="406728"/>
          <ac:spMkLst>
            <pc:docMk/>
            <pc:sldMk cId="755828523" sldId="2147483089"/>
            <ac:spMk id="1448" creationId="{4B5199C3-733A-0C7B-68DE-9506962E69B0}"/>
          </ac:spMkLst>
        </pc:spChg>
        <pc:spChg chg="add del mod ord">
          <ac:chgData name="Yudi Zhu" userId="571e1a55-055f-4c28-8b35-fca6dd1c1369" providerId="ADAL" clId="{75A88773-6EE1-484E-AADE-FE631E01463B}" dt="2025-11-21T09:22:52.696" v="406708"/>
          <ac:spMkLst>
            <pc:docMk/>
            <pc:sldMk cId="755828523" sldId="2147483089"/>
            <ac:spMk id="1449" creationId="{300E10D2-719E-3D82-5CBF-5A612C09A088}"/>
          </ac:spMkLst>
        </pc:spChg>
        <pc:spChg chg="add del mod ord">
          <ac:chgData name="Yudi Zhu" userId="571e1a55-055f-4c28-8b35-fca6dd1c1369" providerId="ADAL" clId="{75A88773-6EE1-484E-AADE-FE631E01463B}" dt="2025-11-21T09:22:52.696" v="406713"/>
          <ac:spMkLst>
            <pc:docMk/>
            <pc:sldMk cId="755828523" sldId="2147483089"/>
            <ac:spMk id="1450" creationId="{B0EBF798-81F1-1362-0977-73152228C84F}"/>
          </ac:spMkLst>
        </pc:spChg>
        <pc:spChg chg="add del mod ord">
          <ac:chgData name="Yudi Zhu" userId="571e1a55-055f-4c28-8b35-fca6dd1c1369" providerId="ADAL" clId="{75A88773-6EE1-484E-AADE-FE631E01463B}" dt="2025-11-21T09:22:52.696" v="406717"/>
          <ac:spMkLst>
            <pc:docMk/>
            <pc:sldMk cId="755828523" sldId="2147483089"/>
            <ac:spMk id="1451" creationId="{3BED6355-5683-B228-BCF9-0FFDD02D5F63}"/>
          </ac:spMkLst>
        </pc:spChg>
        <pc:spChg chg="add del mod ord">
          <ac:chgData name="Yudi Zhu" userId="571e1a55-055f-4c28-8b35-fca6dd1c1369" providerId="ADAL" clId="{75A88773-6EE1-484E-AADE-FE631E01463B}" dt="2025-11-21T08:01:24.200" v="313492"/>
          <ac:spMkLst>
            <pc:docMk/>
            <pc:sldMk cId="755828523" sldId="2147483089"/>
            <ac:spMk id="1452" creationId="{DDCE2C2D-FCC3-21A9-BB76-9EBC9B4F73B1}"/>
          </ac:spMkLst>
        </pc:spChg>
        <pc:spChg chg="add del mod modVis">
          <ac:chgData name="Yudi Zhu" userId="571e1a55-055f-4c28-8b35-fca6dd1c1369" providerId="ADAL" clId="{75A88773-6EE1-484E-AADE-FE631E01463B}" dt="2025-11-21T08:01:17.082" v="313294"/>
          <ac:spMkLst>
            <pc:docMk/>
            <pc:sldMk cId="755828523" sldId="2147483089"/>
            <ac:spMk id="1478" creationId="{781F5D08-0BB5-87A5-271E-F6AA3AEB07D8}"/>
          </ac:spMkLst>
        </pc:spChg>
        <pc:spChg chg="add del mod ord">
          <ac:chgData name="Yudi Zhu" userId="571e1a55-055f-4c28-8b35-fca6dd1c1369" providerId="ADAL" clId="{75A88773-6EE1-484E-AADE-FE631E01463B}" dt="2025-11-21T09:22:52.691" v="406699"/>
          <ac:spMkLst>
            <pc:docMk/>
            <pc:sldMk cId="755828523" sldId="2147483089"/>
            <ac:spMk id="1479" creationId="{49867667-9299-8561-96BD-86DE7284E782}"/>
          </ac:spMkLst>
        </pc:spChg>
        <pc:spChg chg="add del mod ord">
          <ac:chgData name="Yudi Zhu" userId="571e1a55-055f-4c28-8b35-fca6dd1c1369" providerId="ADAL" clId="{75A88773-6EE1-484E-AADE-FE631E01463B}" dt="2025-11-21T09:22:52.707" v="406730"/>
          <ac:spMkLst>
            <pc:docMk/>
            <pc:sldMk cId="755828523" sldId="2147483089"/>
            <ac:spMk id="1480" creationId="{5295C0BA-22F3-96FA-1230-66FF8C5051FC}"/>
          </ac:spMkLst>
        </pc:spChg>
        <pc:spChg chg="add del mod ord">
          <ac:chgData name="Yudi Zhu" userId="571e1a55-055f-4c28-8b35-fca6dd1c1369" providerId="ADAL" clId="{75A88773-6EE1-484E-AADE-FE631E01463B}" dt="2025-11-21T08:01:24.184" v="313458"/>
          <ac:spMkLst>
            <pc:docMk/>
            <pc:sldMk cId="755828523" sldId="2147483089"/>
            <ac:spMk id="1481" creationId="{AB5C5550-C7DB-D542-010D-0F886EEE1257}"/>
          </ac:spMkLst>
        </pc:spChg>
        <pc:spChg chg="add del mod ord">
          <ac:chgData name="Yudi Zhu" userId="571e1a55-055f-4c28-8b35-fca6dd1c1369" providerId="ADAL" clId="{75A88773-6EE1-484E-AADE-FE631E01463B}" dt="2025-11-21T08:49:24.914" v="348401"/>
          <ac:spMkLst>
            <pc:docMk/>
            <pc:sldMk cId="755828523" sldId="2147483089"/>
            <ac:spMk id="1483" creationId="{23218DA6-16B4-8430-5558-12483060E9A6}"/>
          </ac:spMkLst>
        </pc:spChg>
        <pc:spChg chg="add del mod modVis">
          <ac:chgData name="Yudi Zhu" userId="571e1a55-055f-4c28-8b35-fca6dd1c1369" providerId="ADAL" clId="{75A88773-6EE1-484E-AADE-FE631E01463B}" dt="2025-11-21T08:01:24.431" v="313811"/>
          <ac:spMkLst>
            <pc:docMk/>
            <pc:sldMk cId="755828523" sldId="2147483089"/>
            <ac:spMk id="1484" creationId="{98D2E1C7-FB01-6A65-11F6-56608913063C}"/>
          </ac:spMkLst>
        </pc:spChg>
        <pc:spChg chg="add del mod modVis">
          <ac:chgData name="Yudi Zhu" userId="571e1a55-055f-4c28-8b35-fca6dd1c1369" providerId="ADAL" clId="{75A88773-6EE1-484E-AADE-FE631E01463B}" dt="2025-11-21T08:01:35.003" v="314589"/>
          <ac:spMkLst>
            <pc:docMk/>
            <pc:sldMk cId="755828523" sldId="2147483089"/>
            <ac:spMk id="1489" creationId="{8BDE6B82-DB87-AB35-60E6-351087E2C941}"/>
          </ac:spMkLst>
        </pc:spChg>
        <pc:spChg chg="add del mod modVis">
          <ac:chgData name="Yudi Zhu" userId="571e1a55-055f-4c28-8b35-fca6dd1c1369" providerId="ADAL" clId="{75A88773-6EE1-484E-AADE-FE631E01463B}" dt="2025-11-21T08:01:38.110" v="315215"/>
          <ac:spMkLst>
            <pc:docMk/>
            <pc:sldMk cId="755828523" sldId="2147483089"/>
            <ac:spMk id="1491" creationId="{0F54C0FC-E774-1E01-C5EF-6F077A75FDB9}"/>
          </ac:spMkLst>
        </pc:spChg>
        <pc:spChg chg="add del mod">
          <ac:chgData name="Yudi Zhu" userId="571e1a55-055f-4c28-8b35-fca6dd1c1369" providerId="ADAL" clId="{75A88773-6EE1-484E-AADE-FE631E01463B}" dt="2025-11-21T08:01:45.398" v="315541"/>
          <ac:spMkLst>
            <pc:docMk/>
            <pc:sldMk cId="755828523" sldId="2147483089"/>
            <ac:spMk id="1493" creationId="{6149B805-9DDB-D6B1-B621-310A76D94DDF}"/>
          </ac:spMkLst>
        </pc:spChg>
        <pc:spChg chg="add del mod modVis">
          <ac:chgData name="Yudi Zhu" userId="571e1a55-055f-4c28-8b35-fca6dd1c1369" providerId="ADAL" clId="{75A88773-6EE1-484E-AADE-FE631E01463B}" dt="2025-11-21T08:01:44.196" v="315538"/>
          <ac:spMkLst>
            <pc:docMk/>
            <pc:sldMk cId="755828523" sldId="2147483089"/>
            <ac:spMk id="1494" creationId="{E2041BB2-03CE-3560-E020-C83CD243E05C}"/>
          </ac:spMkLst>
        </pc:spChg>
        <pc:spChg chg="add del mod modVis">
          <ac:chgData name="Yudi Zhu" userId="571e1a55-055f-4c28-8b35-fca6dd1c1369" providerId="ADAL" clId="{75A88773-6EE1-484E-AADE-FE631E01463B}" dt="2025-11-21T08:02:22.909" v="316655"/>
          <ac:spMkLst>
            <pc:docMk/>
            <pc:sldMk cId="755828523" sldId="2147483089"/>
            <ac:spMk id="1498" creationId="{283AFE3B-174A-3C18-116B-16EE604A3F56}"/>
          </ac:spMkLst>
        </pc:spChg>
        <pc:spChg chg="add del mod">
          <ac:chgData name="Yudi Zhu" userId="571e1a55-055f-4c28-8b35-fca6dd1c1369" providerId="ADAL" clId="{75A88773-6EE1-484E-AADE-FE631E01463B}" dt="2025-11-21T08:02:24.596" v="316981"/>
          <ac:spMkLst>
            <pc:docMk/>
            <pc:sldMk cId="755828523" sldId="2147483089"/>
            <ac:spMk id="1500" creationId="{5F600208-9A15-C99F-3B9D-EB1733E81EE0}"/>
          </ac:spMkLst>
        </pc:spChg>
        <pc:spChg chg="add del mod modVis">
          <ac:chgData name="Yudi Zhu" userId="571e1a55-055f-4c28-8b35-fca6dd1c1369" providerId="ADAL" clId="{75A88773-6EE1-484E-AADE-FE631E01463B}" dt="2025-11-21T08:02:23.359" v="316978"/>
          <ac:spMkLst>
            <pc:docMk/>
            <pc:sldMk cId="755828523" sldId="2147483089"/>
            <ac:spMk id="1501" creationId="{BC313E04-9019-691C-E267-43F1C180A3F9}"/>
          </ac:spMkLst>
        </pc:spChg>
        <pc:spChg chg="add del mod">
          <ac:chgData name="Yudi Zhu" userId="571e1a55-055f-4c28-8b35-fca6dd1c1369" providerId="ADAL" clId="{75A88773-6EE1-484E-AADE-FE631E01463B}" dt="2025-11-21T08:03:59.958" v="318642"/>
          <ac:spMkLst>
            <pc:docMk/>
            <pc:sldMk cId="755828523" sldId="2147483089"/>
            <ac:spMk id="1507" creationId="{363224DD-FDDE-CFAD-AFD9-EC7E6C97104D}"/>
          </ac:spMkLst>
        </pc:spChg>
        <pc:spChg chg="add del mod">
          <ac:chgData name="Yudi Zhu" userId="571e1a55-055f-4c28-8b35-fca6dd1c1369" providerId="ADAL" clId="{75A88773-6EE1-484E-AADE-FE631E01463B}" dt="2025-11-21T08:03:59.955" v="318639"/>
          <ac:spMkLst>
            <pc:docMk/>
            <pc:sldMk cId="755828523" sldId="2147483089"/>
            <ac:spMk id="1508" creationId="{639F817C-5B42-D58D-FAA8-53FF32209534}"/>
          </ac:spMkLst>
        </pc:spChg>
        <pc:spChg chg="add del mod modVis">
          <ac:chgData name="Yudi Zhu" userId="571e1a55-055f-4c28-8b35-fca6dd1c1369" providerId="ADAL" clId="{75A88773-6EE1-484E-AADE-FE631E01463B}" dt="2025-11-21T08:03:59.927" v="318636"/>
          <ac:spMkLst>
            <pc:docMk/>
            <pc:sldMk cId="755828523" sldId="2147483089"/>
            <ac:spMk id="1509" creationId="{5351AEC9-B2D7-0CF2-2409-427CD8325374}"/>
          </ac:spMkLst>
        </pc:spChg>
        <pc:spChg chg="add del mod ord">
          <ac:chgData name="Yudi Zhu" userId="571e1a55-055f-4c28-8b35-fca6dd1c1369" providerId="ADAL" clId="{75A88773-6EE1-484E-AADE-FE631E01463B}" dt="2025-11-21T08:03:59.957" v="318641"/>
          <ac:spMkLst>
            <pc:docMk/>
            <pc:sldMk cId="755828523" sldId="2147483089"/>
            <ac:spMk id="1511" creationId="{7A96C65F-CB2A-FBCA-BE51-584E0670B382}"/>
          </ac:spMkLst>
        </pc:spChg>
        <pc:spChg chg="add del mod">
          <ac:chgData name="Yudi Zhu" userId="571e1a55-055f-4c28-8b35-fca6dd1c1369" providerId="ADAL" clId="{75A88773-6EE1-484E-AADE-FE631E01463B}" dt="2025-11-21T09:22:52.617" v="406545"/>
          <ac:spMkLst>
            <pc:docMk/>
            <pc:sldMk cId="755828523" sldId="2147483089"/>
            <ac:spMk id="1512" creationId="{9012D06D-30C8-3209-7913-C48B67C3E815}"/>
          </ac:spMkLst>
        </pc:spChg>
        <pc:spChg chg="add del mod modVis">
          <ac:chgData name="Yudi Zhu" userId="571e1a55-055f-4c28-8b35-fca6dd1c1369" providerId="ADAL" clId="{75A88773-6EE1-484E-AADE-FE631E01463B}" dt="2025-11-21T08:04:00.237" v="318968"/>
          <ac:spMkLst>
            <pc:docMk/>
            <pc:sldMk cId="755828523" sldId="2147483089"/>
            <ac:spMk id="1513" creationId="{BB079915-BA15-A91A-3781-E2503E2FF007}"/>
          </ac:spMkLst>
        </pc:spChg>
        <pc:spChg chg="add del mod modVis">
          <ac:chgData name="Yudi Zhu" userId="571e1a55-055f-4c28-8b35-fca6dd1c1369" providerId="ADAL" clId="{75A88773-6EE1-484E-AADE-FE631E01463B}" dt="2025-11-21T08:33:54.982" v="319907"/>
          <ac:spMkLst>
            <pc:docMk/>
            <pc:sldMk cId="755828523" sldId="2147483089"/>
            <ac:spMk id="1516" creationId="{39CBFC08-C9DC-A64A-64BD-F36BF60C1B6F}"/>
          </ac:spMkLst>
        </pc:spChg>
        <pc:spChg chg="add del mod">
          <ac:chgData name="Yudi Zhu" userId="571e1a55-055f-4c28-8b35-fca6dd1c1369" providerId="ADAL" clId="{75A88773-6EE1-484E-AADE-FE631E01463B}" dt="2025-11-21T08:35:29.330" v="324879"/>
          <ac:spMkLst>
            <pc:docMk/>
            <pc:sldMk cId="755828523" sldId="2147483089"/>
            <ac:spMk id="1518" creationId="{46EE52A3-43A7-9679-AD2A-45B0F903CFE2}"/>
          </ac:spMkLst>
        </pc:spChg>
        <pc:spChg chg="add del mod modVis">
          <ac:chgData name="Yudi Zhu" userId="571e1a55-055f-4c28-8b35-fca6dd1c1369" providerId="ADAL" clId="{75A88773-6EE1-484E-AADE-FE631E01463B}" dt="2025-11-21T08:33:59.864" v="320224"/>
          <ac:spMkLst>
            <pc:docMk/>
            <pc:sldMk cId="755828523" sldId="2147483089"/>
            <ac:spMk id="1519" creationId="{357BDD26-B713-0FFB-B4F8-D286C59C9AAD}"/>
          </ac:spMkLst>
        </pc:spChg>
        <pc:spChg chg="add del mod">
          <ac:chgData name="Yudi Zhu" userId="571e1a55-055f-4c28-8b35-fca6dd1c1369" providerId="ADAL" clId="{75A88773-6EE1-484E-AADE-FE631E01463B}" dt="2025-11-21T08:35:29.330" v="324878"/>
          <ac:spMkLst>
            <pc:docMk/>
            <pc:sldMk cId="755828523" sldId="2147483089"/>
            <ac:spMk id="1520" creationId="{427D22CF-078C-FE15-15C8-297ABD531CF9}"/>
          </ac:spMkLst>
        </pc:spChg>
        <pc:spChg chg="add mod">
          <ac:chgData name="Yudi Zhu" userId="571e1a55-055f-4c28-8b35-fca6dd1c1369" providerId="ADAL" clId="{75A88773-6EE1-484E-AADE-FE631E01463B}" dt="2025-11-21T08:34:18.977" v="320734"/>
          <ac:spMkLst>
            <pc:docMk/>
            <pc:sldMk cId="755828523" sldId="2147483089"/>
            <ac:spMk id="1522" creationId="{5D6CE732-1457-FE4B-9D53-C08A132D73A8}"/>
          </ac:spMkLst>
        </pc:spChg>
        <pc:spChg chg="add del mod modVis">
          <ac:chgData name="Yudi Zhu" userId="571e1a55-055f-4c28-8b35-fca6dd1c1369" providerId="ADAL" clId="{75A88773-6EE1-484E-AADE-FE631E01463B}" dt="2025-11-21T08:34:18.977" v="320734"/>
          <ac:spMkLst>
            <pc:docMk/>
            <pc:sldMk cId="755828523" sldId="2147483089"/>
            <ac:spMk id="1523" creationId="{E2421968-CF56-D348-0503-F3E9183858FB}"/>
          </ac:spMkLst>
        </pc:spChg>
        <pc:spChg chg="add mod">
          <ac:chgData name="Yudi Zhu" userId="571e1a55-055f-4c28-8b35-fca6dd1c1369" providerId="ADAL" clId="{75A88773-6EE1-484E-AADE-FE631E01463B}" dt="2025-11-21T08:34:18.977" v="320734"/>
          <ac:spMkLst>
            <pc:docMk/>
            <pc:sldMk cId="755828523" sldId="2147483089"/>
            <ac:spMk id="1524" creationId="{B07EA852-830D-C686-D3F7-3EE7C9AFBF62}"/>
          </ac:spMkLst>
        </pc:spChg>
        <pc:spChg chg="add del mod modVis">
          <ac:chgData name="Yudi Zhu" userId="571e1a55-055f-4c28-8b35-fca6dd1c1369" providerId="ADAL" clId="{75A88773-6EE1-484E-AADE-FE631E01463B}" dt="2025-11-21T08:34:35.495" v="321583"/>
          <ac:spMkLst>
            <pc:docMk/>
            <pc:sldMk cId="755828523" sldId="2147483089"/>
            <ac:spMk id="1527" creationId="{AE880E4B-57DE-1986-B9E1-4F20C45AE7DC}"/>
          </ac:spMkLst>
        </pc:spChg>
        <pc:spChg chg="add del mod modVis">
          <ac:chgData name="Yudi Zhu" userId="571e1a55-055f-4c28-8b35-fca6dd1c1369" providerId="ADAL" clId="{75A88773-6EE1-484E-AADE-FE631E01463B}" dt="2025-11-21T08:35:06.011" v="324007"/>
          <ac:spMkLst>
            <pc:docMk/>
            <pc:sldMk cId="755828523" sldId="2147483089"/>
            <ac:spMk id="1529" creationId="{2B7449FE-3E35-0EFD-91C8-0DACCAFC4507}"/>
          </ac:spMkLst>
        </pc:spChg>
        <pc:spChg chg="add mod">
          <ac:chgData name="Yudi Zhu" userId="571e1a55-055f-4c28-8b35-fca6dd1c1369" providerId="ADAL" clId="{75A88773-6EE1-484E-AADE-FE631E01463B}" dt="2025-11-21T08:35:05.264" v="323771"/>
          <ac:spMkLst>
            <pc:docMk/>
            <pc:sldMk cId="755828523" sldId="2147483089"/>
            <ac:spMk id="1531" creationId="{80EB4C27-D797-44C7-4C37-2B97289E5F4F}"/>
          </ac:spMkLst>
        </pc:spChg>
        <pc:spChg chg="add del mod modVis">
          <ac:chgData name="Yudi Zhu" userId="571e1a55-055f-4c28-8b35-fca6dd1c1369" providerId="ADAL" clId="{75A88773-6EE1-484E-AADE-FE631E01463B}" dt="2025-11-21T08:35:05.264" v="323771"/>
          <ac:spMkLst>
            <pc:docMk/>
            <pc:sldMk cId="755828523" sldId="2147483089"/>
            <ac:spMk id="1532" creationId="{04BEC3A7-D8AE-CD7E-0F93-6F1096D1B0D9}"/>
          </ac:spMkLst>
        </pc:spChg>
        <pc:spChg chg="add mod">
          <ac:chgData name="Yudi Zhu" userId="571e1a55-055f-4c28-8b35-fca6dd1c1369" providerId="ADAL" clId="{75A88773-6EE1-484E-AADE-FE631E01463B}" dt="2025-11-21T08:35:05.264" v="323771"/>
          <ac:spMkLst>
            <pc:docMk/>
            <pc:sldMk cId="755828523" sldId="2147483089"/>
            <ac:spMk id="1533" creationId="{C2FB0380-6443-804B-8082-64734013D7FF}"/>
          </ac:spMkLst>
        </pc:spChg>
        <pc:spChg chg="add mod">
          <ac:chgData name="Yudi Zhu" userId="571e1a55-055f-4c28-8b35-fca6dd1c1369" providerId="ADAL" clId="{75A88773-6EE1-484E-AADE-FE631E01463B}" dt="2025-11-21T08:35:04.543" v="323617"/>
          <ac:spMkLst>
            <pc:docMk/>
            <pc:sldMk cId="755828523" sldId="2147483089"/>
            <ac:spMk id="1537" creationId="{5AA7B9D0-F926-A960-2DD5-5C5C93CFEE24}"/>
          </ac:spMkLst>
        </pc:spChg>
        <pc:spChg chg="add del mod modVis">
          <ac:chgData name="Yudi Zhu" userId="571e1a55-055f-4c28-8b35-fca6dd1c1369" providerId="ADAL" clId="{75A88773-6EE1-484E-AADE-FE631E01463B}" dt="2025-11-21T08:35:04.543" v="323617"/>
          <ac:spMkLst>
            <pc:docMk/>
            <pc:sldMk cId="755828523" sldId="2147483089"/>
            <ac:spMk id="1538" creationId="{D35928AA-4AC2-BF5A-122E-A86C3D1A0590}"/>
          </ac:spMkLst>
        </pc:spChg>
        <pc:spChg chg="add mod">
          <ac:chgData name="Yudi Zhu" userId="571e1a55-055f-4c28-8b35-fca6dd1c1369" providerId="ADAL" clId="{75A88773-6EE1-484E-AADE-FE631E01463B}" dt="2025-11-21T08:35:04.543" v="323617"/>
          <ac:spMkLst>
            <pc:docMk/>
            <pc:sldMk cId="755828523" sldId="2147483089"/>
            <ac:spMk id="1539" creationId="{C59EC108-A833-A9F1-5E33-DE3F73E1D481}"/>
          </ac:spMkLst>
        </pc:spChg>
        <pc:spChg chg="add mod">
          <ac:chgData name="Yudi Zhu" userId="571e1a55-055f-4c28-8b35-fca6dd1c1369" providerId="ADAL" clId="{75A88773-6EE1-484E-AADE-FE631E01463B}" dt="2025-11-21T08:35:03.978" v="323461"/>
          <ac:spMkLst>
            <pc:docMk/>
            <pc:sldMk cId="755828523" sldId="2147483089"/>
            <ac:spMk id="1543" creationId="{5EFA65A9-15B8-3E5F-D360-1553494ACC24}"/>
          </ac:spMkLst>
        </pc:spChg>
        <pc:spChg chg="add del mod modVis">
          <ac:chgData name="Yudi Zhu" userId="571e1a55-055f-4c28-8b35-fca6dd1c1369" providerId="ADAL" clId="{75A88773-6EE1-484E-AADE-FE631E01463B}" dt="2025-11-21T08:35:03.978" v="323461"/>
          <ac:spMkLst>
            <pc:docMk/>
            <pc:sldMk cId="755828523" sldId="2147483089"/>
            <ac:spMk id="1544" creationId="{90502897-C364-FD84-D87E-87E3ED0473CC}"/>
          </ac:spMkLst>
        </pc:spChg>
        <pc:spChg chg="add mod">
          <ac:chgData name="Yudi Zhu" userId="571e1a55-055f-4c28-8b35-fca6dd1c1369" providerId="ADAL" clId="{75A88773-6EE1-484E-AADE-FE631E01463B}" dt="2025-11-21T08:35:03.978" v="323461"/>
          <ac:spMkLst>
            <pc:docMk/>
            <pc:sldMk cId="755828523" sldId="2147483089"/>
            <ac:spMk id="1545" creationId="{5AE9C1D6-73E6-F5A0-C706-2FE230E41145}"/>
          </ac:spMkLst>
        </pc:spChg>
        <pc:spChg chg="add del mod modVis">
          <ac:chgData name="Yudi Zhu" userId="571e1a55-055f-4c28-8b35-fca6dd1c1369" providerId="ADAL" clId="{75A88773-6EE1-484E-AADE-FE631E01463B}" dt="2025-11-21T08:35:10.829" v="324498"/>
          <ac:spMkLst>
            <pc:docMk/>
            <pc:sldMk cId="755828523" sldId="2147483089"/>
            <ac:spMk id="1549" creationId="{1E1FAEE5-B855-3FC4-B568-73ADBED2B397}"/>
          </ac:spMkLst>
        </pc:spChg>
        <pc:spChg chg="add del mod modVis">
          <ac:chgData name="Yudi Zhu" userId="571e1a55-055f-4c28-8b35-fca6dd1c1369" providerId="ADAL" clId="{75A88773-6EE1-484E-AADE-FE631E01463B}" dt="2025-11-21T08:35:29.833" v="325359"/>
          <ac:spMkLst>
            <pc:docMk/>
            <pc:sldMk cId="755828523" sldId="2147483089"/>
            <ac:spMk id="1552" creationId="{3AD78F3E-818F-180E-D9E9-7BC8336DF89B}"/>
          </ac:spMkLst>
        </pc:spChg>
        <pc:spChg chg="add del mod">
          <ac:chgData name="Yudi Zhu" userId="571e1a55-055f-4c28-8b35-fca6dd1c1369" providerId="ADAL" clId="{75A88773-6EE1-484E-AADE-FE631E01463B}" dt="2025-11-21T08:35:39.940" v="325680"/>
          <ac:spMkLst>
            <pc:docMk/>
            <pc:sldMk cId="755828523" sldId="2147483089"/>
            <ac:spMk id="1554" creationId="{4CE472E2-6E31-B750-1C58-A4C22BB2E7D2}"/>
          </ac:spMkLst>
        </pc:spChg>
        <pc:spChg chg="add del mod modVis">
          <ac:chgData name="Yudi Zhu" userId="571e1a55-055f-4c28-8b35-fca6dd1c1369" providerId="ADAL" clId="{75A88773-6EE1-484E-AADE-FE631E01463B}" dt="2025-11-21T08:35:35.416" v="325676"/>
          <ac:spMkLst>
            <pc:docMk/>
            <pc:sldMk cId="755828523" sldId="2147483089"/>
            <ac:spMk id="1555" creationId="{015E6B8A-6D54-EBD5-D0D6-FDB4A3A7AEF3}"/>
          </ac:spMkLst>
        </pc:spChg>
        <pc:spChg chg="add del mod">
          <ac:chgData name="Yudi Zhu" userId="571e1a55-055f-4c28-8b35-fca6dd1c1369" providerId="ADAL" clId="{75A88773-6EE1-484E-AADE-FE631E01463B}" dt="2025-11-21T08:35:39.939" v="325679"/>
          <ac:spMkLst>
            <pc:docMk/>
            <pc:sldMk cId="755828523" sldId="2147483089"/>
            <ac:spMk id="1556" creationId="{E7ADDDF8-8D2E-374A-2C5D-9C22E38B8A15}"/>
          </ac:spMkLst>
        </pc:spChg>
        <pc:spChg chg="add mod ord">
          <ac:chgData name="Yudi Zhu" userId="571e1a55-055f-4c28-8b35-fca6dd1c1369" providerId="ADAL" clId="{75A88773-6EE1-484E-AADE-FE631E01463B}" dt="2025-11-21T09:22:52.585" v="406502"/>
          <ac:spMkLst>
            <pc:docMk/>
            <pc:sldMk cId="755828523" sldId="2147483089"/>
            <ac:spMk id="1559" creationId="{DA313038-A570-BB8A-ACAE-25EF10131FB8}"/>
          </ac:spMkLst>
        </pc:spChg>
        <pc:spChg chg="add del mod modVis">
          <ac:chgData name="Yudi Zhu" userId="571e1a55-055f-4c28-8b35-fca6dd1c1369" providerId="ADAL" clId="{75A88773-6EE1-484E-AADE-FE631E01463B}" dt="2025-11-21T08:38:24.647" v="327549"/>
          <ac:spMkLst>
            <pc:docMk/>
            <pc:sldMk cId="755828523" sldId="2147483089"/>
            <ac:spMk id="1560" creationId="{898F7826-F7F6-7504-D6EC-1C3CD68F355C}"/>
          </ac:spMkLst>
        </pc:spChg>
        <pc:spChg chg="add del mod modVis">
          <ac:chgData name="Yudi Zhu" userId="571e1a55-055f-4c28-8b35-fca6dd1c1369" providerId="ADAL" clId="{75A88773-6EE1-484E-AADE-FE631E01463B}" dt="2025-11-21T08:38:31.155" v="328215"/>
          <ac:spMkLst>
            <pc:docMk/>
            <pc:sldMk cId="755828523" sldId="2147483089"/>
            <ac:spMk id="1563" creationId="{CDAF33F1-E106-5991-8B74-A3C115CF1E63}"/>
          </ac:spMkLst>
        </pc:spChg>
        <pc:spChg chg="add del mod modVis">
          <ac:chgData name="Yudi Zhu" userId="571e1a55-055f-4c28-8b35-fca6dd1c1369" providerId="ADAL" clId="{75A88773-6EE1-484E-AADE-FE631E01463B}" dt="2025-11-21T08:38:38.453" v="329361"/>
          <ac:spMkLst>
            <pc:docMk/>
            <pc:sldMk cId="755828523" sldId="2147483089"/>
            <ac:spMk id="1566" creationId="{EBB917C3-A042-BA6A-5D79-A0FE393AEB8F}"/>
          </ac:spMkLst>
        </pc:spChg>
        <pc:spChg chg="add del mod modVis">
          <ac:chgData name="Yudi Zhu" userId="571e1a55-055f-4c28-8b35-fca6dd1c1369" providerId="ADAL" clId="{75A88773-6EE1-484E-AADE-FE631E01463B}" dt="2025-11-21T08:38:43.456" v="330010"/>
          <ac:spMkLst>
            <pc:docMk/>
            <pc:sldMk cId="755828523" sldId="2147483089"/>
            <ac:spMk id="1568" creationId="{43769EB4-7427-ACA4-7D11-3D847F729244}"/>
          </ac:spMkLst>
        </pc:spChg>
        <pc:spChg chg="add del mod modVis">
          <ac:chgData name="Yudi Zhu" userId="571e1a55-055f-4c28-8b35-fca6dd1c1369" providerId="ADAL" clId="{75A88773-6EE1-484E-AADE-FE631E01463B}" dt="2025-11-21T08:38:47.543" v="330676"/>
          <ac:spMkLst>
            <pc:docMk/>
            <pc:sldMk cId="755828523" sldId="2147483089"/>
            <ac:spMk id="1570" creationId="{90166449-5DCA-D0C3-8C5A-B2691F72274C}"/>
          </ac:spMkLst>
        </pc:spChg>
        <pc:spChg chg="add del mod modVis">
          <ac:chgData name="Yudi Zhu" userId="571e1a55-055f-4c28-8b35-fca6dd1c1369" providerId="ADAL" clId="{75A88773-6EE1-484E-AADE-FE631E01463B}" dt="2025-11-21T08:39:26.925" v="333115"/>
          <ac:spMkLst>
            <pc:docMk/>
            <pc:sldMk cId="755828523" sldId="2147483089"/>
            <ac:spMk id="1575" creationId="{480D2635-8B9D-B9C1-8FC7-FF725F71E430}"/>
          </ac:spMkLst>
        </pc:spChg>
        <pc:spChg chg="add del mod ord">
          <ac:chgData name="Yudi Zhu" userId="571e1a55-055f-4c28-8b35-fca6dd1c1369" providerId="ADAL" clId="{75A88773-6EE1-484E-AADE-FE631E01463B}" dt="2025-11-21T08:49:24.987" v="348555"/>
          <ac:spMkLst>
            <pc:docMk/>
            <pc:sldMk cId="755828523" sldId="2147483089"/>
            <ac:spMk id="1576" creationId="{09F6872E-384C-E050-6B11-C93DA4CC95F0}"/>
          </ac:spMkLst>
        </pc:spChg>
        <pc:spChg chg="add mod ord">
          <ac:chgData name="Yudi Zhu" userId="571e1a55-055f-4c28-8b35-fca6dd1c1369" providerId="ADAL" clId="{75A88773-6EE1-484E-AADE-FE631E01463B}" dt="2025-11-21T09:16:51.982" v="387467" actId="20577"/>
          <ac:spMkLst>
            <pc:docMk/>
            <pc:sldMk cId="755828523" sldId="2147483089"/>
            <ac:spMk id="1578" creationId="{7900D605-FFA7-E8F5-8494-4FDDE17D3C2B}"/>
          </ac:spMkLst>
        </pc:spChg>
        <pc:spChg chg="add del mod modVis">
          <ac:chgData name="Yudi Zhu" userId="571e1a55-055f-4c28-8b35-fca6dd1c1369" providerId="ADAL" clId="{75A88773-6EE1-484E-AADE-FE631E01463B}" dt="2025-11-21T08:40:13.444" v="333784"/>
          <ac:spMkLst>
            <pc:docMk/>
            <pc:sldMk cId="755828523" sldId="2147483089"/>
            <ac:spMk id="1580" creationId="{0C2B8A7B-49F5-3D1E-A6AC-3CD508C6787A}"/>
          </ac:spMkLst>
        </pc:spChg>
        <pc:spChg chg="add del mod modVis">
          <ac:chgData name="Yudi Zhu" userId="571e1a55-055f-4c28-8b35-fca6dd1c1369" providerId="ADAL" clId="{75A88773-6EE1-484E-AADE-FE631E01463B}" dt="2025-11-21T08:40:18.981" v="334800"/>
          <ac:spMkLst>
            <pc:docMk/>
            <pc:sldMk cId="755828523" sldId="2147483089"/>
            <ac:spMk id="1583" creationId="{5E58681A-96A0-A84E-7E20-7A64D6D628E8}"/>
          </ac:spMkLst>
        </pc:spChg>
        <pc:spChg chg="mod">
          <ac:chgData name="Yudi Zhu" userId="571e1a55-055f-4c28-8b35-fca6dd1c1369" providerId="ADAL" clId="{75A88773-6EE1-484E-AADE-FE631E01463B}" dt="2025-11-21T09:16:38.856" v="387453"/>
          <ac:spMkLst>
            <pc:docMk/>
            <pc:sldMk cId="755828523" sldId="2147483089"/>
            <ac:spMk id="1589" creationId="{08F3CF51-65F2-8F3A-1522-C930B9FC8F63}"/>
          </ac:spMkLst>
        </pc:spChg>
        <pc:spChg chg="add del mod modVis">
          <ac:chgData name="Yudi Zhu" userId="571e1a55-055f-4c28-8b35-fca6dd1c1369" providerId="ADAL" clId="{75A88773-6EE1-484E-AADE-FE631E01463B}" dt="2025-11-21T08:42:46.602" v="336573"/>
          <ac:spMkLst>
            <pc:docMk/>
            <pc:sldMk cId="755828523" sldId="2147483089"/>
            <ac:spMk id="1592" creationId="{85018DB3-9074-C42F-2815-3F701C2F83A9}"/>
          </ac:spMkLst>
        </pc:spChg>
        <pc:spChg chg="add del mod modVis">
          <ac:chgData name="Yudi Zhu" userId="571e1a55-055f-4c28-8b35-fca6dd1c1369" providerId="ADAL" clId="{75A88773-6EE1-484E-AADE-FE631E01463B}" dt="2025-11-21T08:42:59.310" v="337555"/>
          <ac:spMkLst>
            <pc:docMk/>
            <pc:sldMk cId="755828523" sldId="2147483089"/>
            <ac:spMk id="1593" creationId="{C4B7801B-3A14-97CC-FCA8-671E32A2A3FC}"/>
          </ac:spMkLst>
        </pc:spChg>
        <pc:spChg chg="add del mod modVis">
          <ac:chgData name="Yudi Zhu" userId="571e1a55-055f-4c28-8b35-fca6dd1c1369" providerId="ADAL" clId="{75A88773-6EE1-484E-AADE-FE631E01463B}" dt="2025-11-21T08:43:03.398" v="338215"/>
          <ac:spMkLst>
            <pc:docMk/>
            <pc:sldMk cId="755828523" sldId="2147483089"/>
            <ac:spMk id="1595" creationId="{0A4AE941-8F3A-577C-E39C-6E553AED5D2B}"/>
          </ac:spMkLst>
        </pc:spChg>
        <pc:spChg chg="add del mod modVis">
          <ac:chgData name="Yudi Zhu" userId="571e1a55-055f-4c28-8b35-fca6dd1c1369" providerId="ADAL" clId="{75A88773-6EE1-484E-AADE-FE631E01463B}" dt="2025-11-21T08:44:11.258" v="340310"/>
          <ac:spMkLst>
            <pc:docMk/>
            <pc:sldMk cId="755828523" sldId="2147483089"/>
            <ac:spMk id="1601" creationId="{EE44885B-F49E-BC5E-4804-EDD434E901CE}"/>
          </ac:spMkLst>
        </pc:spChg>
        <pc:spChg chg="mod">
          <ac:chgData name="Yudi Zhu" userId="571e1a55-055f-4c28-8b35-fca6dd1c1369" providerId="ADAL" clId="{75A88773-6EE1-484E-AADE-FE631E01463B}" dt="2025-11-21T09:16:57.386" v="387468" actId="1076"/>
          <ac:spMkLst>
            <pc:docMk/>
            <pc:sldMk cId="755828523" sldId="2147483089"/>
            <ac:spMk id="1605" creationId="{3E8A6A9C-8A93-C9A9-290D-B8600D71C480}"/>
          </ac:spMkLst>
        </pc:spChg>
        <pc:spChg chg="add del mod modVis">
          <ac:chgData name="Yudi Zhu" userId="571e1a55-055f-4c28-8b35-fca6dd1c1369" providerId="ADAL" clId="{75A88773-6EE1-484E-AADE-FE631E01463B}" dt="2025-11-21T08:46:06.348" v="343767"/>
          <ac:spMkLst>
            <pc:docMk/>
            <pc:sldMk cId="755828523" sldId="2147483089"/>
            <ac:spMk id="1619" creationId="{BC3D7337-5BE7-F705-4C23-F074BD5A110B}"/>
          </ac:spMkLst>
        </pc:spChg>
        <pc:spChg chg="add del mod modVis">
          <ac:chgData name="Yudi Zhu" userId="571e1a55-055f-4c28-8b35-fca6dd1c1369" providerId="ADAL" clId="{75A88773-6EE1-484E-AADE-FE631E01463B}" dt="2025-11-21T08:47:12.404" v="344617"/>
          <ac:spMkLst>
            <pc:docMk/>
            <pc:sldMk cId="755828523" sldId="2147483089"/>
            <ac:spMk id="1621" creationId="{45B080EC-73FC-9D94-42CB-A8ADCB040263}"/>
          </ac:spMkLst>
        </pc:spChg>
        <pc:spChg chg="add del mod modVis">
          <ac:chgData name="Yudi Zhu" userId="571e1a55-055f-4c28-8b35-fca6dd1c1369" providerId="ADAL" clId="{75A88773-6EE1-484E-AADE-FE631E01463B}" dt="2025-11-21T08:47:15.141" v="344947"/>
          <ac:spMkLst>
            <pc:docMk/>
            <pc:sldMk cId="755828523" sldId="2147483089"/>
            <ac:spMk id="1623" creationId="{B1F04D86-1BFF-8F01-FEC5-3565FF4D00D4}"/>
          </ac:spMkLst>
        </pc:spChg>
        <pc:spChg chg="add del mod modVis">
          <ac:chgData name="Yudi Zhu" userId="571e1a55-055f-4c28-8b35-fca6dd1c1369" providerId="ADAL" clId="{75A88773-6EE1-484E-AADE-FE631E01463B}" dt="2025-11-21T08:47:33.310" v="345421"/>
          <ac:spMkLst>
            <pc:docMk/>
            <pc:sldMk cId="755828523" sldId="2147483089"/>
            <ac:spMk id="1625" creationId="{36E4F26E-5B80-739B-A90C-5C8CBA39DE4D}"/>
          </ac:spMkLst>
        </pc:spChg>
        <pc:spChg chg="add del mod modVis">
          <ac:chgData name="Yudi Zhu" userId="571e1a55-055f-4c28-8b35-fca6dd1c1369" providerId="ADAL" clId="{75A88773-6EE1-484E-AADE-FE631E01463B}" dt="2025-11-21T08:47:36.229" v="345765"/>
          <ac:spMkLst>
            <pc:docMk/>
            <pc:sldMk cId="755828523" sldId="2147483089"/>
            <ac:spMk id="1627" creationId="{46C79100-D841-BF03-9F9E-A29DF5D34D3E}"/>
          </ac:spMkLst>
        </pc:spChg>
        <pc:spChg chg="add del mod modVis">
          <ac:chgData name="Yudi Zhu" userId="571e1a55-055f-4c28-8b35-fca6dd1c1369" providerId="ADAL" clId="{75A88773-6EE1-484E-AADE-FE631E01463B}" dt="2025-11-21T08:48:00.337" v="346157"/>
          <ac:spMkLst>
            <pc:docMk/>
            <pc:sldMk cId="755828523" sldId="2147483089"/>
            <ac:spMk id="1629" creationId="{AAB631B9-19F9-F3F0-186A-EEFC31F683F1}"/>
          </ac:spMkLst>
        </pc:spChg>
        <pc:spChg chg="add del mod modVis">
          <ac:chgData name="Yudi Zhu" userId="571e1a55-055f-4c28-8b35-fca6dd1c1369" providerId="ADAL" clId="{75A88773-6EE1-484E-AADE-FE631E01463B}" dt="2025-11-21T08:48:01.490" v="346469"/>
          <ac:spMkLst>
            <pc:docMk/>
            <pc:sldMk cId="755828523" sldId="2147483089"/>
            <ac:spMk id="1631" creationId="{C26AA7C1-23B6-54DB-394D-9B3FF503B5B6}"/>
          </ac:spMkLst>
        </pc:spChg>
        <pc:spChg chg="add del mod modVis">
          <ac:chgData name="Yudi Zhu" userId="571e1a55-055f-4c28-8b35-fca6dd1c1369" providerId="ADAL" clId="{75A88773-6EE1-484E-AADE-FE631E01463B}" dt="2025-11-21T08:48:02.394" v="346781"/>
          <ac:spMkLst>
            <pc:docMk/>
            <pc:sldMk cId="755828523" sldId="2147483089"/>
            <ac:spMk id="1633" creationId="{784AA808-00BA-A7C3-2FEF-5BDAD44C5271}"/>
          </ac:spMkLst>
        </pc:spChg>
        <pc:spChg chg="add del mod modVis">
          <ac:chgData name="Yudi Zhu" userId="571e1a55-055f-4c28-8b35-fca6dd1c1369" providerId="ADAL" clId="{75A88773-6EE1-484E-AADE-FE631E01463B}" dt="2025-11-21T08:49:25.119" v="348791"/>
          <ac:spMkLst>
            <pc:docMk/>
            <pc:sldMk cId="755828523" sldId="2147483089"/>
            <ac:spMk id="1640" creationId="{2A5F40BD-7B6D-7D07-D88F-6E7A79B642C5}"/>
          </ac:spMkLst>
        </pc:spChg>
        <pc:spChg chg="add del mod">
          <ac:chgData name="Yudi Zhu" userId="571e1a55-055f-4c28-8b35-fca6dd1c1369" providerId="ADAL" clId="{75A88773-6EE1-484E-AADE-FE631E01463B}" dt="2025-11-21T08:49:38.925" v="349793"/>
          <ac:spMkLst>
            <pc:docMk/>
            <pc:sldMk cId="755828523" sldId="2147483089"/>
            <ac:spMk id="1646" creationId="{1D575E67-B355-DAA2-B6DE-7B27A64684AA}"/>
          </ac:spMkLst>
        </pc:spChg>
        <pc:spChg chg="add del mod modVis">
          <ac:chgData name="Yudi Zhu" userId="571e1a55-055f-4c28-8b35-fca6dd1c1369" providerId="ADAL" clId="{75A88773-6EE1-484E-AADE-FE631E01463B}" dt="2025-11-21T08:49:37.754" v="349790"/>
          <ac:spMkLst>
            <pc:docMk/>
            <pc:sldMk cId="755828523" sldId="2147483089"/>
            <ac:spMk id="1647" creationId="{A48B26B2-CAFB-CCA0-7E3A-71EB4319AEFE}"/>
          </ac:spMkLst>
        </pc:spChg>
        <pc:spChg chg="add del mod">
          <ac:chgData name="Yudi Zhu" userId="571e1a55-055f-4c28-8b35-fca6dd1c1369" providerId="ADAL" clId="{75A88773-6EE1-484E-AADE-FE631E01463B}" dt="2025-11-21T08:49:44.054" v="350999"/>
          <ac:spMkLst>
            <pc:docMk/>
            <pc:sldMk cId="755828523" sldId="2147483089"/>
            <ac:spMk id="1653" creationId="{4A609A7A-8610-C01B-7DA8-D10C506B6680}"/>
          </ac:spMkLst>
        </pc:spChg>
        <pc:spChg chg="add del mod modVis">
          <ac:chgData name="Yudi Zhu" userId="571e1a55-055f-4c28-8b35-fca6dd1c1369" providerId="ADAL" clId="{75A88773-6EE1-484E-AADE-FE631E01463B}" dt="2025-11-21T08:49:43.407" v="350996"/>
          <ac:spMkLst>
            <pc:docMk/>
            <pc:sldMk cId="755828523" sldId="2147483089"/>
            <ac:spMk id="1654" creationId="{04E8C829-1F74-2A8D-BF90-FF4837A948F7}"/>
          </ac:spMkLst>
        </pc:spChg>
        <pc:spChg chg="add del mod">
          <ac:chgData name="Yudi Zhu" userId="571e1a55-055f-4c28-8b35-fca6dd1c1369" providerId="ADAL" clId="{75A88773-6EE1-484E-AADE-FE631E01463B}" dt="2025-11-21T08:49:54.937" v="351522"/>
          <ac:spMkLst>
            <pc:docMk/>
            <pc:sldMk cId="755828523" sldId="2147483089"/>
            <ac:spMk id="1657" creationId="{88CF07D8-E350-1CF2-0949-DA37C70DAF07}"/>
          </ac:spMkLst>
        </pc:spChg>
        <pc:spChg chg="add del mod modVis">
          <ac:chgData name="Yudi Zhu" userId="571e1a55-055f-4c28-8b35-fca6dd1c1369" providerId="ADAL" clId="{75A88773-6EE1-484E-AADE-FE631E01463B}" dt="2025-11-21T08:49:53.034" v="351519"/>
          <ac:spMkLst>
            <pc:docMk/>
            <pc:sldMk cId="755828523" sldId="2147483089"/>
            <ac:spMk id="1658" creationId="{948305F5-03DE-8103-4A77-8529C121D22C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1" creationId="{B3A49D51-6D55-7C9A-4F09-64CCA1B5445A}"/>
          </ac:spMkLst>
        </pc:spChg>
        <pc:spChg chg="add del mod modVis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2" creationId="{8AD86CCC-07C6-E9DC-74A9-17143E8F54C3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3" creationId="{E3241C0B-A851-107A-E63F-2BB9416A4198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4" creationId="{BAE11A6C-6387-4B1B-F708-09F95FBDCA5C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5" creationId="{0D931D09-F4B6-5B06-0663-4648FAB21410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6" creationId="{177608F2-3571-8DAE-3BF7-91F5C5B4182F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7" creationId="{0F39FC36-5460-3EFD-E00A-0DBA661B0119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8" creationId="{C305BE45-8937-136B-1BF8-E671331036DF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69" creationId="{068B4404-F06F-8BD3-6267-FA26020BC3F8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70" creationId="{6240F35A-B56B-2DF4-943F-F4E667A0D753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71" creationId="{BD188BDD-60D7-B1F1-2465-1DE33CA33A69}"/>
          </ac:spMkLst>
        </pc:spChg>
        <pc:spChg chg="add mod">
          <ac:chgData name="Yudi Zhu" userId="571e1a55-055f-4c28-8b35-fca6dd1c1369" providerId="ADAL" clId="{75A88773-6EE1-484E-AADE-FE631E01463B}" dt="2025-11-21T08:50:15.753" v="352989"/>
          <ac:spMkLst>
            <pc:docMk/>
            <pc:sldMk cId="755828523" sldId="2147483089"/>
            <ac:spMk id="1672" creationId="{BB020937-2D82-E604-9A02-E9DCC3390819}"/>
          </ac:spMkLst>
        </pc:spChg>
        <pc:spChg chg="add del mod modVis">
          <ac:chgData name="Yudi Zhu" userId="571e1a55-055f-4c28-8b35-fca6dd1c1369" providerId="ADAL" clId="{75A88773-6EE1-484E-AADE-FE631E01463B}" dt="2025-11-21T08:50:20.171" v="353582"/>
          <ac:spMkLst>
            <pc:docMk/>
            <pc:sldMk cId="755828523" sldId="2147483089"/>
            <ac:spMk id="1674" creationId="{49E958F3-94A3-B01D-673D-264E06B9BEAC}"/>
          </ac:spMkLst>
        </pc:spChg>
        <pc:spChg chg="add del mod ord">
          <ac:chgData name="Yudi Zhu" userId="571e1a55-055f-4c28-8b35-fca6dd1c1369" providerId="ADAL" clId="{75A88773-6EE1-484E-AADE-FE631E01463B}" dt="2025-11-21T09:14:20.674" v="380573"/>
          <ac:spMkLst>
            <pc:docMk/>
            <pc:sldMk cId="755828523" sldId="2147483089"/>
            <ac:spMk id="1675" creationId="{E48F0CE2-F953-8B48-E3BF-BC65DBD3D7EC}"/>
          </ac:spMkLst>
        </pc:spChg>
        <pc:spChg chg="add del mod modVis">
          <ac:chgData name="Yudi Zhu" userId="571e1a55-055f-4c28-8b35-fca6dd1c1369" providerId="ADAL" clId="{75A88773-6EE1-484E-AADE-FE631E01463B}" dt="2025-11-21T08:50:34.803" v="354373"/>
          <ac:spMkLst>
            <pc:docMk/>
            <pc:sldMk cId="755828523" sldId="2147483089"/>
            <ac:spMk id="1678" creationId="{913DC9E6-509A-D8D5-0303-1E4D0320DA7C}"/>
          </ac:spMkLst>
        </pc:spChg>
        <pc:spChg chg="add del mod modVis">
          <ac:chgData name="Yudi Zhu" userId="571e1a55-055f-4c28-8b35-fca6dd1c1369" providerId="ADAL" clId="{75A88773-6EE1-484E-AADE-FE631E01463B}" dt="2025-11-21T08:50:41.301" v="355565"/>
          <ac:spMkLst>
            <pc:docMk/>
            <pc:sldMk cId="755828523" sldId="2147483089"/>
            <ac:spMk id="1680" creationId="{D3620103-B855-9309-8B96-B70ECB20DB65}"/>
          </ac:spMkLst>
        </pc:spChg>
        <pc:spChg chg="add del mod">
          <ac:chgData name="Yudi Zhu" userId="571e1a55-055f-4c28-8b35-fca6dd1c1369" providerId="ADAL" clId="{75A88773-6EE1-484E-AADE-FE631E01463B}" dt="2025-11-21T09:22:52.691" v="406705"/>
          <ac:spMkLst>
            <pc:docMk/>
            <pc:sldMk cId="755828523" sldId="2147483089"/>
            <ac:spMk id="1681" creationId="{AD047B8F-920B-5600-6840-3C274E6980C6}"/>
          </ac:spMkLst>
        </pc:spChg>
        <pc:spChg chg="add del mod">
          <ac:chgData name="Yudi Zhu" userId="571e1a55-055f-4c28-8b35-fca6dd1c1369" providerId="ADAL" clId="{75A88773-6EE1-484E-AADE-FE631E01463B}" dt="2025-11-21T09:22:52.696" v="406718"/>
          <ac:spMkLst>
            <pc:docMk/>
            <pc:sldMk cId="755828523" sldId="2147483089"/>
            <ac:spMk id="1682" creationId="{6DC21B57-A2D3-D89A-22E6-3EBF752375C8}"/>
          </ac:spMkLst>
        </pc:spChg>
        <pc:spChg chg="add del mod">
          <ac:chgData name="Yudi Zhu" userId="571e1a55-055f-4c28-8b35-fca6dd1c1369" providerId="ADAL" clId="{75A88773-6EE1-484E-AADE-FE631E01463B}" dt="2025-11-21T09:22:52.696" v="406722"/>
          <ac:spMkLst>
            <pc:docMk/>
            <pc:sldMk cId="755828523" sldId="2147483089"/>
            <ac:spMk id="1683" creationId="{3EDE77E4-6C85-3185-A84F-4AA13F641CDB}"/>
          </ac:spMkLst>
        </pc:spChg>
        <pc:spChg chg="add del mod">
          <ac:chgData name="Yudi Zhu" userId="571e1a55-055f-4c28-8b35-fca6dd1c1369" providerId="ADAL" clId="{75A88773-6EE1-484E-AADE-FE631E01463B}" dt="2025-11-21T09:22:52.705" v="406726"/>
          <ac:spMkLst>
            <pc:docMk/>
            <pc:sldMk cId="755828523" sldId="2147483089"/>
            <ac:spMk id="1684" creationId="{BF771EE0-A3E5-68C6-1A6D-0EFEE0E2CFC9}"/>
          </ac:spMkLst>
        </pc:spChg>
        <pc:spChg chg="add del mod">
          <ac:chgData name="Yudi Zhu" userId="571e1a55-055f-4c28-8b35-fca6dd1c1369" providerId="ADAL" clId="{75A88773-6EE1-484E-AADE-FE631E01463B}" dt="2025-11-21T09:22:52.688" v="406697"/>
          <ac:spMkLst>
            <pc:docMk/>
            <pc:sldMk cId="755828523" sldId="2147483089"/>
            <ac:spMk id="1685" creationId="{AB1D084B-48F0-C954-DD65-F56B3845EBA5}"/>
          </ac:spMkLst>
        </pc:spChg>
        <pc:spChg chg="add del mod">
          <ac:chgData name="Yudi Zhu" userId="571e1a55-055f-4c28-8b35-fca6dd1c1369" providerId="ADAL" clId="{75A88773-6EE1-484E-AADE-FE631E01463B}" dt="2025-11-21T09:22:52.691" v="406700"/>
          <ac:spMkLst>
            <pc:docMk/>
            <pc:sldMk cId="755828523" sldId="2147483089"/>
            <ac:spMk id="1686" creationId="{2C544DAD-0BC2-0C32-FDFD-31AC14873EF1}"/>
          </ac:spMkLst>
        </pc:spChg>
        <pc:spChg chg="add del mod">
          <ac:chgData name="Yudi Zhu" userId="571e1a55-055f-4c28-8b35-fca6dd1c1369" providerId="ADAL" clId="{75A88773-6EE1-484E-AADE-FE631E01463B}" dt="2025-11-21T09:22:52.691" v="406704"/>
          <ac:spMkLst>
            <pc:docMk/>
            <pc:sldMk cId="755828523" sldId="2147483089"/>
            <ac:spMk id="1687" creationId="{807F5679-15B8-4C76-DCA3-2ED29ECFCF51}"/>
          </ac:spMkLst>
        </pc:spChg>
        <pc:spChg chg="add del mod">
          <ac:chgData name="Yudi Zhu" userId="571e1a55-055f-4c28-8b35-fca6dd1c1369" providerId="ADAL" clId="{75A88773-6EE1-484E-AADE-FE631E01463B}" dt="2025-11-21T09:22:52.691" v="406706"/>
          <ac:spMkLst>
            <pc:docMk/>
            <pc:sldMk cId="755828523" sldId="2147483089"/>
            <ac:spMk id="1688" creationId="{03480C23-7FC1-2FF7-BC97-25519BB18339}"/>
          </ac:spMkLst>
        </pc:spChg>
        <pc:spChg chg="add del mod">
          <ac:chgData name="Yudi Zhu" userId="571e1a55-055f-4c28-8b35-fca6dd1c1369" providerId="ADAL" clId="{75A88773-6EE1-484E-AADE-FE631E01463B}" dt="2025-11-21T09:22:52.696" v="406711"/>
          <ac:spMkLst>
            <pc:docMk/>
            <pc:sldMk cId="755828523" sldId="2147483089"/>
            <ac:spMk id="1689" creationId="{C5C70E6E-BFEB-1045-1E13-15AAB372D0B9}"/>
          </ac:spMkLst>
        </pc:spChg>
        <pc:spChg chg="add del mod">
          <ac:chgData name="Yudi Zhu" userId="571e1a55-055f-4c28-8b35-fca6dd1c1369" providerId="ADAL" clId="{75A88773-6EE1-484E-AADE-FE631E01463B}" dt="2025-11-21T09:22:52.696" v="406719"/>
          <ac:spMkLst>
            <pc:docMk/>
            <pc:sldMk cId="755828523" sldId="2147483089"/>
            <ac:spMk id="1690" creationId="{91F5A5A7-2825-7668-8E0A-E582189F05C5}"/>
          </ac:spMkLst>
        </pc:spChg>
        <pc:spChg chg="add del mod">
          <ac:chgData name="Yudi Zhu" userId="571e1a55-055f-4c28-8b35-fca6dd1c1369" providerId="ADAL" clId="{75A88773-6EE1-484E-AADE-FE631E01463B}" dt="2025-11-21T09:22:52.703" v="406723"/>
          <ac:spMkLst>
            <pc:docMk/>
            <pc:sldMk cId="755828523" sldId="2147483089"/>
            <ac:spMk id="1691" creationId="{C50F3DAA-EFE1-8572-5206-F1A4416A7C6F}"/>
          </ac:spMkLst>
        </pc:spChg>
        <pc:spChg chg="add del mod modVis">
          <ac:chgData name="Yudi Zhu" userId="571e1a55-055f-4c28-8b35-fca6dd1c1369" providerId="ADAL" clId="{75A88773-6EE1-484E-AADE-FE631E01463B}" dt="2025-11-21T08:50:46.799" v="356016"/>
          <ac:spMkLst>
            <pc:docMk/>
            <pc:sldMk cId="755828523" sldId="2147483089"/>
            <ac:spMk id="1693" creationId="{AD020F77-EFF0-9D74-DE8B-0843A5D866BF}"/>
          </ac:spMkLst>
        </pc:spChg>
        <pc:spChg chg="add del mod">
          <ac:chgData name="Yudi Zhu" userId="571e1a55-055f-4c28-8b35-fca6dd1c1369" providerId="ADAL" clId="{75A88773-6EE1-484E-AADE-FE631E01463B}" dt="2025-11-21T08:51:36.007" v="360374"/>
          <ac:spMkLst>
            <pc:docMk/>
            <pc:sldMk cId="755828523" sldId="2147483089"/>
            <ac:spMk id="1704" creationId="{0FEF9CA1-4740-109E-6D69-36133379832B}"/>
          </ac:spMkLst>
        </pc:spChg>
        <pc:spChg chg="add del mod modVis">
          <ac:chgData name="Yudi Zhu" userId="571e1a55-055f-4c28-8b35-fca6dd1c1369" providerId="ADAL" clId="{75A88773-6EE1-484E-AADE-FE631E01463B}" dt="2025-11-21T08:51:28.812" v="360367"/>
          <ac:spMkLst>
            <pc:docMk/>
            <pc:sldMk cId="755828523" sldId="2147483089"/>
            <ac:spMk id="1705" creationId="{A6AB13FD-2563-D9A2-2ECE-14CB0DCBBEA9}"/>
          </ac:spMkLst>
        </pc:spChg>
        <pc:spChg chg="add del mod">
          <ac:chgData name="Yudi Zhu" userId="571e1a55-055f-4c28-8b35-fca6dd1c1369" providerId="ADAL" clId="{75A88773-6EE1-484E-AADE-FE631E01463B}" dt="2025-11-21T08:51:36.008" v="360376"/>
          <ac:spMkLst>
            <pc:docMk/>
            <pc:sldMk cId="755828523" sldId="2147483089"/>
            <ac:spMk id="1706" creationId="{D3F794EC-08F3-3C39-CC01-74ECDE124814}"/>
          </ac:spMkLst>
        </pc:spChg>
        <pc:spChg chg="add del mod">
          <ac:chgData name="Yudi Zhu" userId="571e1a55-055f-4c28-8b35-fca6dd1c1369" providerId="ADAL" clId="{75A88773-6EE1-484E-AADE-FE631E01463B}" dt="2025-11-21T08:51:36.007" v="360375"/>
          <ac:spMkLst>
            <pc:docMk/>
            <pc:sldMk cId="755828523" sldId="2147483089"/>
            <ac:spMk id="1707" creationId="{7739CD24-AE4B-8A68-9AA4-6E93EC9B1D71}"/>
          </ac:spMkLst>
        </pc:spChg>
        <pc:spChg chg="add del mod">
          <ac:chgData name="Yudi Zhu" userId="571e1a55-055f-4c28-8b35-fca6dd1c1369" providerId="ADAL" clId="{75A88773-6EE1-484E-AADE-FE631E01463B}" dt="2025-11-21T08:51:36.006" v="360372"/>
          <ac:spMkLst>
            <pc:docMk/>
            <pc:sldMk cId="755828523" sldId="2147483089"/>
            <ac:spMk id="1708" creationId="{B37EB36F-835A-BDDE-1C58-0601D1189A77}"/>
          </ac:spMkLst>
        </pc:spChg>
        <pc:spChg chg="add del mod">
          <ac:chgData name="Yudi Zhu" userId="571e1a55-055f-4c28-8b35-fca6dd1c1369" providerId="ADAL" clId="{75A88773-6EE1-484E-AADE-FE631E01463B}" dt="2025-11-21T08:51:36.008" v="360377"/>
          <ac:spMkLst>
            <pc:docMk/>
            <pc:sldMk cId="755828523" sldId="2147483089"/>
            <ac:spMk id="1709" creationId="{55ED49A1-2E8D-FD7A-33EC-1ACF6147B062}"/>
          </ac:spMkLst>
        </pc:spChg>
        <pc:spChg chg="add del mod">
          <ac:chgData name="Yudi Zhu" userId="571e1a55-055f-4c28-8b35-fca6dd1c1369" providerId="ADAL" clId="{75A88773-6EE1-484E-AADE-FE631E01463B}" dt="2025-11-21T08:51:36.007" v="360373"/>
          <ac:spMkLst>
            <pc:docMk/>
            <pc:sldMk cId="755828523" sldId="2147483089"/>
            <ac:spMk id="1710" creationId="{1FF329EF-0424-6FF6-49CB-E4B587EB2CDC}"/>
          </ac:spMkLst>
        </pc:spChg>
        <pc:spChg chg="add del mod">
          <ac:chgData name="Yudi Zhu" userId="571e1a55-055f-4c28-8b35-fca6dd1c1369" providerId="ADAL" clId="{75A88773-6EE1-484E-AADE-FE631E01463B}" dt="2025-11-21T08:51:36.005" v="360371"/>
          <ac:spMkLst>
            <pc:docMk/>
            <pc:sldMk cId="755828523" sldId="2147483089"/>
            <ac:spMk id="1711" creationId="{0754B37F-DB23-1DF7-EE86-DB57880717F1}"/>
          </ac:spMkLst>
        </pc:spChg>
        <pc:spChg chg="add del mod">
          <ac:chgData name="Yudi Zhu" userId="571e1a55-055f-4c28-8b35-fca6dd1c1369" providerId="ADAL" clId="{75A88773-6EE1-484E-AADE-FE631E01463B}" dt="2025-11-21T08:51:36.008" v="360378"/>
          <ac:spMkLst>
            <pc:docMk/>
            <pc:sldMk cId="755828523" sldId="2147483089"/>
            <ac:spMk id="1712" creationId="{904E1AF6-5832-3DD7-178C-05305207E968}"/>
          </ac:spMkLst>
        </pc:spChg>
        <pc:spChg chg="add del mod">
          <ac:chgData name="Yudi Zhu" userId="571e1a55-055f-4c28-8b35-fca6dd1c1369" providerId="ADAL" clId="{75A88773-6EE1-484E-AADE-FE631E01463B}" dt="2025-11-21T08:51:36.009" v="360379"/>
          <ac:spMkLst>
            <pc:docMk/>
            <pc:sldMk cId="755828523" sldId="2147483089"/>
            <ac:spMk id="1713" creationId="{6B84CEAA-442B-4DD6-5939-8EC1009C0906}"/>
          </ac:spMkLst>
        </pc:spChg>
        <pc:spChg chg="add del mod">
          <ac:chgData name="Yudi Zhu" userId="571e1a55-055f-4c28-8b35-fca6dd1c1369" providerId="ADAL" clId="{75A88773-6EE1-484E-AADE-FE631E01463B}" dt="2025-11-21T08:51:36.009" v="360380"/>
          <ac:spMkLst>
            <pc:docMk/>
            <pc:sldMk cId="755828523" sldId="2147483089"/>
            <ac:spMk id="1714" creationId="{587506F9-1773-B78D-162F-FF8063DCCF6A}"/>
          </ac:spMkLst>
        </pc:spChg>
        <pc:spChg chg="add del mod">
          <ac:chgData name="Yudi Zhu" userId="571e1a55-055f-4c28-8b35-fca6dd1c1369" providerId="ADAL" clId="{75A88773-6EE1-484E-AADE-FE631E01463B}" dt="2025-11-21T08:51:36.003" v="360370"/>
          <ac:spMkLst>
            <pc:docMk/>
            <pc:sldMk cId="755828523" sldId="2147483089"/>
            <ac:spMk id="1715" creationId="{1C152E84-7481-5F67-D746-BD1E627B3D82}"/>
          </ac:spMkLst>
        </pc:spChg>
        <pc:spChg chg="add del mod">
          <ac:chgData name="Yudi Zhu" userId="571e1a55-055f-4c28-8b35-fca6dd1c1369" providerId="ADAL" clId="{75A88773-6EE1-484E-AADE-FE631E01463B}" dt="2025-11-21T08:51:59.730" v="361273"/>
          <ac:spMkLst>
            <pc:docMk/>
            <pc:sldMk cId="755828523" sldId="2147483089"/>
            <ac:spMk id="1716" creationId="{B90B0A71-E1BE-C62D-497D-0D70C073D0BC}"/>
          </ac:spMkLst>
        </pc:spChg>
        <pc:spChg chg="add mod">
          <ac:chgData name="Yudi Zhu" userId="571e1a55-055f-4c28-8b35-fca6dd1c1369" providerId="ADAL" clId="{75A88773-6EE1-484E-AADE-FE631E01463B}" dt="2025-11-21T09:22:52.713" v="406746"/>
          <ac:spMkLst>
            <pc:docMk/>
            <pc:sldMk cId="755828523" sldId="2147483089"/>
            <ac:spMk id="1723" creationId="{4500BE63-029C-8CC6-1A95-233F327A1EC8}"/>
          </ac:spMkLst>
        </pc:spChg>
        <pc:spChg chg="add del mod modVis">
          <ac:chgData name="Yudi Zhu" userId="571e1a55-055f-4c28-8b35-fca6dd1c1369" providerId="ADAL" clId="{75A88773-6EE1-484E-AADE-FE631E01463B}" dt="2025-11-21T08:53:25.279" v="362488"/>
          <ac:spMkLst>
            <pc:docMk/>
            <pc:sldMk cId="755828523" sldId="2147483089"/>
            <ac:spMk id="1725" creationId="{E83E3BB2-59C8-FE30-26AC-4E5413013C04}"/>
          </ac:spMkLst>
        </pc:spChg>
        <pc:spChg chg="add del mod modVis">
          <ac:chgData name="Yudi Zhu" userId="571e1a55-055f-4c28-8b35-fca6dd1c1369" providerId="ADAL" clId="{75A88773-6EE1-484E-AADE-FE631E01463B}" dt="2025-11-21T08:54:44.696" v="365668"/>
          <ac:spMkLst>
            <pc:docMk/>
            <pc:sldMk cId="755828523" sldId="2147483089"/>
            <ac:spMk id="1737" creationId="{CAD1B28F-BBD3-F589-843A-7A55B397A17E}"/>
          </ac:spMkLst>
        </pc:spChg>
        <pc:spChg chg="add del mod modVis">
          <ac:chgData name="Yudi Zhu" userId="571e1a55-055f-4c28-8b35-fca6dd1c1369" providerId="ADAL" clId="{75A88773-6EE1-484E-AADE-FE631E01463B}" dt="2025-11-21T08:54:46.629" v="366113"/>
          <ac:spMkLst>
            <pc:docMk/>
            <pc:sldMk cId="755828523" sldId="2147483089"/>
            <ac:spMk id="1739" creationId="{FED224EE-4D02-6C4D-C8EA-2801AD13D6BF}"/>
          </ac:spMkLst>
        </pc:spChg>
        <pc:spChg chg="add del mod modVis">
          <ac:chgData name="Yudi Zhu" userId="571e1a55-055f-4c28-8b35-fca6dd1c1369" providerId="ADAL" clId="{75A88773-6EE1-484E-AADE-FE631E01463B}" dt="2025-11-21T08:55:34.545" v="367315"/>
          <ac:spMkLst>
            <pc:docMk/>
            <pc:sldMk cId="755828523" sldId="2147483089"/>
            <ac:spMk id="1741" creationId="{75573C0F-0348-DD60-80F0-6E0F0E3C76F0}"/>
          </ac:spMkLst>
        </pc:spChg>
        <pc:spChg chg="add del mod modVis">
          <ac:chgData name="Yudi Zhu" userId="571e1a55-055f-4c28-8b35-fca6dd1c1369" providerId="ADAL" clId="{75A88773-6EE1-484E-AADE-FE631E01463B}" dt="2025-11-21T08:59:02.684" v="373518"/>
          <ac:spMkLst>
            <pc:docMk/>
            <pc:sldMk cId="755828523" sldId="2147483089"/>
            <ac:spMk id="1767" creationId="{6D29A5C2-BDFB-69B6-9E7E-54084958CDE4}"/>
          </ac:spMkLst>
        </pc:spChg>
        <pc:spChg chg="add del mod">
          <ac:chgData name="Yudi Zhu" userId="571e1a55-055f-4c28-8b35-fca6dd1c1369" providerId="ADAL" clId="{75A88773-6EE1-484E-AADE-FE631E01463B}" dt="2025-11-21T08:59:39.949" v="374729"/>
          <ac:spMkLst>
            <pc:docMk/>
            <pc:sldMk cId="755828523" sldId="2147483089"/>
            <ac:spMk id="1768" creationId="{8ACEC23B-8701-727A-201A-F4C85A5530E8}"/>
          </ac:spMkLst>
        </pc:spChg>
        <pc:spChg chg="add del mod">
          <ac:chgData name="Yudi Zhu" userId="571e1a55-055f-4c28-8b35-fca6dd1c1369" providerId="ADAL" clId="{75A88773-6EE1-484E-AADE-FE631E01463B}" dt="2025-11-21T08:59:39.949" v="374728"/>
          <ac:spMkLst>
            <pc:docMk/>
            <pc:sldMk cId="755828523" sldId="2147483089"/>
            <ac:spMk id="1769" creationId="{D1B17323-46C8-80D0-39BE-94195A12F427}"/>
          </ac:spMkLst>
        </pc:spChg>
        <pc:spChg chg="add del mod">
          <ac:chgData name="Yudi Zhu" userId="571e1a55-055f-4c28-8b35-fca6dd1c1369" providerId="ADAL" clId="{75A88773-6EE1-484E-AADE-FE631E01463B}" dt="2025-11-21T08:59:34.001" v="374215"/>
          <ac:spMkLst>
            <pc:docMk/>
            <pc:sldMk cId="755828523" sldId="2147483089"/>
            <ac:spMk id="1770" creationId="{6DC576D7-271F-60D2-168B-C9566C784F3A}"/>
          </ac:spMkLst>
        </pc:spChg>
        <pc:spChg chg="add del mod ord">
          <ac:chgData name="Yudi Zhu" userId="571e1a55-055f-4c28-8b35-fca6dd1c1369" providerId="ADAL" clId="{75A88773-6EE1-484E-AADE-FE631E01463B}" dt="2025-11-21T08:59:39.949" v="374731"/>
          <ac:spMkLst>
            <pc:docMk/>
            <pc:sldMk cId="755828523" sldId="2147483089"/>
            <ac:spMk id="1771" creationId="{CA58D2AE-AAFC-0EF5-DF80-14D7F142E71A}"/>
          </ac:spMkLst>
        </pc:spChg>
        <pc:spChg chg="add del mod">
          <ac:chgData name="Yudi Zhu" userId="571e1a55-055f-4c28-8b35-fca6dd1c1369" providerId="ADAL" clId="{75A88773-6EE1-484E-AADE-FE631E01463B}" dt="2025-11-21T08:59:39.949" v="374735"/>
          <ac:spMkLst>
            <pc:docMk/>
            <pc:sldMk cId="755828523" sldId="2147483089"/>
            <ac:spMk id="1772" creationId="{A73D8D28-A91F-89E5-870E-F7015EE21ACE}"/>
          </ac:spMkLst>
        </pc:spChg>
        <pc:spChg chg="add del mod">
          <ac:chgData name="Yudi Zhu" userId="571e1a55-055f-4c28-8b35-fca6dd1c1369" providerId="ADAL" clId="{75A88773-6EE1-484E-AADE-FE631E01463B}" dt="2025-11-21T08:59:39.949" v="374727"/>
          <ac:spMkLst>
            <pc:docMk/>
            <pc:sldMk cId="755828523" sldId="2147483089"/>
            <ac:spMk id="1773" creationId="{836895B3-8552-219A-E304-2615974511FF}"/>
          </ac:spMkLst>
        </pc:spChg>
        <pc:spChg chg="add del mod">
          <ac:chgData name="Yudi Zhu" userId="571e1a55-055f-4c28-8b35-fca6dd1c1369" providerId="ADAL" clId="{75A88773-6EE1-484E-AADE-FE631E01463B}" dt="2025-11-21T08:59:39.949" v="374736"/>
          <ac:spMkLst>
            <pc:docMk/>
            <pc:sldMk cId="755828523" sldId="2147483089"/>
            <ac:spMk id="1774" creationId="{58883DAF-0502-84AD-9739-E23548DA9BCE}"/>
          </ac:spMkLst>
        </pc:spChg>
        <pc:spChg chg="add del mod">
          <ac:chgData name="Yudi Zhu" userId="571e1a55-055f-4c28-8b35-fca6dd1c1369" providerId="ADAL" clId="{75A88773-6EE1-484E-AADE-FE631E01463B}" dt="2025-11-21T08:59:39.949" v="374726"/>
          <ac:spMkLst>
            <pc:docMk/>
            <pc:sldMk cId="755828523" sldId="2147483089"/>
            <ac:spMk id="1775" creationId="{56B97B9D-A917-5BA7-04B5-7211192C94A7}"/>
          </ac:spMkLst>
        </pc:spChg>
        <pc:spChg chg="add del mod">
          <ac:chgData name="Yudi Zhu" userId="571e1a55-055f-4c28-8b35-fca6dd1c1369" providerId="ADAL" clId="{75A88773-6EE1-484E-AADE-FE631E01463B}" dt="2025-11-21T08:59:39.949" v="374732"/>
          <ac:spMkLst>
            <pc:docMk/>
            <pc:sldMk cId="755828523" sldId="2147483089"/>
            <ac:spMk id="1776" creationId="{346AB6CF-1F85-02B0-B1DD-C2A4EFA95BA0}"/>
          </ac:spMkLst>
        </pc:spChg>
        <pc:spChg chg="add del mod ord">
          <ac:chgData name="Yudi Zhu" userId="571e1a55-055f-4c28-8b35-fca6dd1c1369" providerId="ADAL" clId="{75A88773-6EE1-484E-AADE-FE631E01463B}" dt="2025-11-21T08:59:39.949" v="374734"/>
          <ac:spMkLst>
            <pc:docMk/>
            <pc:sldMk cId="755828523" sldId="2147483089"/>
            <ac:spMk id="1777" creationId="{7BFA9E74-6E96-BAE6-4139-959832674387}"/>
          </ac:spMkLst>
        </pc:spChg>
        <pc:spChg chg="add del mod">
          <ac:chgData name="Yudi Zhu" userId="571e1a55-055f-4c28-8b35-fca6dd1c1369" providerId="ADAL" clId="{75A88773-6EE1-484E-AADE-FE631E01463B}" dt="2025-11-21T08:59:39.949" v="374737"/>
          <ac:spMkLst>
            <pc:docMk/>
            <pc:sldMk cId="755828523" sldId="2147483089"/>
            <ac:spMk id="1778" creationId="{EEC52B5B-25DD-4CFA-C863-10407516CE3F}"/>
          </ac:spMkLst>
        </pc:spChg>
        <pc:spChg chg="add del mod">
          <ac:chgData name="Yudi Zhu" userId="571e1a55-055f-4c28-8b35-fca6dd1c1369" providerId="ADAL" clId="{75A88773-6EE1-484E-AADE-FE631E01463B}" dt="2025-11-21T08:59:39.949" v="374738"/>
          <ac:spMkLst>
            <pc:docMk/>
            <pc:sldMk cId="755828523" sldId="2147483089"/>
            <ac:spMk id="1779" creationId="{AF4AD1CC-5535-593A-9D63-7073B8CAB8BF}"/>
          </ac:spMkLst>
        </pc:spChg>
        <pc:spChg chg="add del mod modVis">
          <ac:chgData name="Yudi Zhu" userId="571e1a55-055f-4c28-8b35-fca6dd1c1369" providerId="ADAL" clId="{75A88773-6EE1-484E-AADE-FE631E01463B}" dt="2025-11-21T08:59:27.152" v="373772"/>
          <ac:spMkLst>
            <pc:docMk/>
            <pc:sldMk cId="755828523" sldId="2147483089"/>
            <ac:spMk id="1781" creationId="{67CCEAC8-E772-82C6-C54F-CA8308DD1403}"/>
          </ac:spMkLst>
        </pc:spChg>
        <pc:spChg chg="add del mod modVis">
          <ac:chgData name="Yudi Zhu" userId="571e1a55-055f-4c28-8b35-fca6dd1c1369" providerId="ADAL" clId="{75A88773-6EE1-484E-AADE-FE631E01463B}" dt="2025-11-21T08:59:40.252" v="375059"/>
          <ac:spMkLst>
            <pc:docMk/>
            <pc:sldMk cId="755828523" sldId="2147483089"/>
            <ac:spMk id="1787" creationId="{A0ECC13D-FFFD-8644-1854-E3B23CD38AE1}"/>
          </ac:spMkLst>
        </pc:spChg>
        <pc:spChg chg="add del mod modVis">
          <ac:chgData name="Yudi Zhu" userId="571e1a55-055f-4c28-8b35-fca6dd1c1369" providerId="ADAL" clId="{75A88773-6EE1-484E-AADE-FE631E01463B}" dt="2025-11-21T08:59:43.923" v="376025"/>
          <ac:spMkLst>
            <pc:docMk/>
            <pc:sldMk cId="755828523" sldId="2147483089"/>
            <ac:spMk id="1789" creationId="{94F8F075-3B1D-7E10-DB08-5DE9999AC6F1}"/>
          </ac:spMkLst>
        </pc:spChg>
        <pc:spChg chg="add mod">
          <ac:chgData name="Yudi Zhu" userId="571e1a55-055f-4c28-8b35-fca6dd1c1369" providerId="ADAL" clId="{75A88773-6EE1-484E-AADE-FE631E01463B}" dt="2025-11-21T09:22:52.621" v="406559"/>
          <ac:spMkLst>
            <pc:docMk/>
            <pc:sldMk cId="755828523" sldId="2147483089"/>
            <ac:spMk id="1790" creationId="{097625FA-5686-DCF5-B817-A29F9D4727EA}"/>
          </ac:spMkLst>
        </pc:spChg>
        <pc:spChg chg="add mod">
          <ac:chgData name="Yudi Zhu" userId="571e1a55-055f-4c28-8b35-fca6dd1c1369" providerId="ADAL" clId="{75A88773-6EE1-484E-AADE-FE631E01463B}" dt="2025-11-21T09:22:52.621" v="406560"/>
          <ac:spMkLst>
            <pc:docMk/>
            <pc:sldMk cId="755828523" sldId="2147483089"/>
            <ac:spMk id="1791" creationId="{DEF9D83D-D4C4-4027-4A1D-F5596539654C}"/>
          </ac:spMkLst>
        </pc:spChg>
        <pc:spChg chg="add mod">
          <ac:chgData name="Yudi Zhu" userId="571e1a55-055f-4c28-8b35-fca6dd1c1369" providerId="ADAL" clId="{75A88773-6EE1-484E-AADE-FE631E01463B}" dt="2025-11-21T09:22:52.621" v="406567"/>
          <ac:spMkLst>
            <pc:docMk/>
            <pc:sldMk cId="755828523" sldId="2147483089"/>
            <ac:spMk id="1792" creationId="{457AA552-7E43-4131-3939-67AF0903A526}"/>
          </ac:spMkLst>
        </pc:spChg>
        <pc:spChg chg="add mod ord">
          <ac:chgData name="Yudi Zhu" userId="571e1a55-055f-4c28-8b35-fca6dd1c1369" providerId="ADAL" clId="{75A88773-6EE1-484E-AADE-FE631E01463B}" dt="2025-11-21T09:22:52.621" v="406563"/>
          <ac:spMkLst>
            <pc:docMk/>
            <pc:sldMk cId="755828523" sldId="2147483089"/>
            <ac:spMk id="1793" creationId="{49B7EED3-55F2-EC31-271D-C5C5BE26DD37}"/>
          </ac:spMkLst>
        </pc:spChg>
        <pc:spChg chg="add mod">
          <ac:chgData name="Yudi Zhu" userId="571e1a55-055f-4c28-8b35-fca6dd1c1369" providerId="ADAL" clId="{75A88773-6EE1-484E-AADE-FE631E01463B}" dt="2025-11-21T09:22:52.621" v="406564"/>
          <ac:spMkLst>
            <pc:docMk/>
            <pc:sldMk cId="755828523" sldId="2147483089"/>
            <ac:spMk id="1794" creationId="{C46898E2-09A3-DE10-6BB4-419D080C0C97}"/>
          </ac:spMkLst>
        </pc:spChg>
        <pc:spChg chg="add mod">
          <ac:chgData name="Yudi Zhu" userId="571e1a55-055f-4c28-8b35-fca6dd1c1369" providerId="ADAL" clId="{75A88773-6EE1-484E-AADE-FE631E01463B}" dt="2025-11-21T09:22:52.621" v="406565"/>
          <ac:spMkLst>
            <pc:docMk/>
            <pc:sldMk cId="755828523" sldId="2147483089"/>
            <ac:spMk id="1795" creationId="{56231662-B4A5-BFA4-F972-D6312D2A7DFA}"/>
          </ac:spMkLst>
        </pc:spChg>
        <pc:spChg chg="add mod">
          <ac:chgData name="Yudi Zhu" userId="571e1a55-055f-4c28-8b35-fca6dd1c1369" providerId="ADAL" clId="{75A88773-6EE1-484E-AADE-FE631E01463B}" dt="2025-11-21T09:22:52.621" v="406566"/>
          <ac:spMkLst>
            <pc:docMk/>
            <pc:sldMk cId="755828523" sldId="2147483089"/>
            <ac:spMk id="1796" creationId="{B96FE47B-79DC-89A5-2C60-01F5168C6F48}"/>
          </ac:spMkLst>
        </pc:spChg>
        <pc:spChg chg="add mod">
          <ac:chgData name="Yudi Zhu" userId="571e1a55-055f-4c28-8b35-fca6dd1c1369" providerId="ADAL" clId="{75A88773-6EE1-484E-AADE-FE631E01463B}" dt="2025-11-21T09:22:52.621" v="406573"/>
          <ac:spMkLst>
            <pc:docMk/>
            <pc:sldMk cId="755828523" sldId="2147483089"/>
            <ac:spMk id="1797" creationId="{0B25F4BA-5FF3-F040-8305-7A2E2C6277DC}"/>
          </ac:spMkLst>
        </pc:spChg>
        <pc:spChg chg="add mod">
          <ac:chgData name="Yudi Zhu" userId="571e1a55-055f-4c28-8b35-fca6dd1c1369" providerId="ADAL" clId="{75A88773-6EE1-484E-AADE-FE631E01463B}" dt="2025-11-21T09:22:52.621" v="406568"/>
          <ac:spMkLst>
            <pc:docMk/>
            <pc:sldMk cId="755828523" sldId="2147483089"/>
            <ac:spMk id="1798" creationId="{BAF78A19-A084-6BDB-AF15-EEDDA69BD191}"/>
          </ac:spMkLst>
        </pc:spChg>
        <pc:spChg chg="add mod ord">
          <ac:chgData name="Yudi Zhu" userId="571e1a55-055f-4c28-8b35-fca6dd1c1369" providerId="ADAL" clId="{75A88773-6EE1-484E-AADE-FE631E01463B}" dt="2025-11-21T09:22:52.621" v="406570"/>
          <ac:spMkLst>
            <pc:docMk/>
            <pc:sldMk cId="755828523" sldId="2147483089"/>
            <ac:spMk id="1799" creationId="{B9719039-1DC2-ED72-5DB7-C91F2F087453}"/>
          </ac:spMkLst>
        </pc:spChg>
        <pc:spChg chg="add mod">
          <ac:chgData name="Yudi Zhu" userId="571e1a55-055f-4c28-8b35-fca6dd1c1369" providerId="ADAL" clId="{75A88773-6EE1-484E-AADE-FE631E01463B}" dt="2025-11-21T09:22:52.621" v="406571"/>
          <ac:spMkLst>
            <pc:docMk/>
            <pc:sldMk cId="755828523" sldId="2147483089"/>
            <ac:spMk id="1800" creationId="{75FE1217-CF43-2C19-09C9-A9FAED99A004}"/>
          </ac:spMkLst>
        </pc:spChg>
        <pc:spChg chg="add mod">
          <ac:chgData name="Yudi Zhu" userId="571e1a55-055f-4c28-8b35-fca6dd1c1369" providerId="ADAL" clId="{75A88773-6EE1-484E-AADE-FE631E01463B}" dt="2025-11-21T09:22:52.621" v="406572"/>
          <ac:spMkLst>
            <pc:docMk/>
            <pc:sldMk cId="755828523" sldId="2147483089"/>
            <ac:spMk id="1801" creationId="{E8C41538-DD19-A841-9118-B8BC74499792}"/>
          </ac:spMkLst>
        </pc:spChg>
        <pc:spChg chg="add del mod modVis">
          <ac:chgData name="Yudi Zhu" userId="571e1a55-055f-4c28-8b35-fca6dd1c1369" providerId="ADAL" clId="{75A88773-6EE1-484E-AADE-FE631E01463B}" dt="2025-11-21T09:00:13.277" v="377900"/>
          <ac:spMkLst>
            <pc:docMk/>
            <pc:sldMk cId="755828523" sldId="2147483089"/>
            <ac:spMk id="1805" creationId="{D1FAF555-9687-7261-2B50-F569C2E9247D}"/>
          </ac:spMkLst>
        </pc:spChg>
        <pc:spChg chg="add del mod modVis">
          <ac:chgData name="Yudi Zhu" userId="571e1a55-055f-4c28-8b35-fca6dd1c1369" providerId="ADAL" clId="{75A88773-6EE1-484E-AADE-FE631E01463B}" dt="2025-11-21T09:00:20.142" v="378371"/>
          <ac:spMkLst>
            <pc:docMk/>
            <pc:sldMk cId="755828523" sldId="2147483089"/>
            <ac:spMk id="1810" creationId="{95F953A5-556F-0747-E857-0B3F6884BCD0}"/>
          </ac:spMkLst>
        </pc:spChg>
        <pc:spChg chg="add del mod modVis">
          <ac:chgData name="Yudi Zhu" userId="571e1a55-055f-4c28-8b35-fca6dd1c1369" providerId="ADAL" clId="{75A88773-6EE1-484E-AADE-FE631E01463B}" dt="2025-11-21T09:00:37.912" v="379375"/>
          <ac:spMkLst>
            <pc:docMk/>
            <pc:sldMk cId="755828523" sldId="2147483089"/>
            <ac:spMk id="1814" creationId="{31803EDB-6739-19AF-7AA8-71D8A60A493B}"/>
          </ac:spMkLst>
        </pc:spChg>
        <pc:spChg chg="add del mod modVis">
          <ac:chgData name="Yudi Zhu" userId="571e1a55-055f-4c28-8b35-fca6dd1c1369" providerId="ADAL" clId="{75A88773-6EE1-484E-AADE-FE631E01463B}" dt="2025-11-21T09:00:57.432" v="379442"/>
          <ac:spMkLst>
            <pc:docMk/>
            <pc:sldMk cId="755828523" sldId="2147483089"/>
            <ac:spMk id="1816" creationId="{A651DDC4-F0E5-4DB6-92D8-40693D323690}"/>
          </ac:spMkLst>
        </pc:spChg>
        <pc:spChg chg="add del mod modVis">
          <ac:chgData name="Yudi Zhu" userId="571e1a55-055f-4c28-8b35-fca6dd1c1369" providerId="ADAL" clId="{75A88773-6EE1-484E-AADE-FE631E01463B}" dt="2025-11-21T09:14:12.281" v="380290"/>
          <ac:spMkLst>
            <pc:docMk/>
            <pc:sldMk cId="755828523" sldId="2147483089"/>
            <ac:spMk id="1817" creationId="{EB9A5B86-EBCE-8762-73DB-3C05884FEAE8}"/>
          </ac:spMkLst>
        </pc:spChg>
        <pc:spChg chg="add del mod modVis">
          <ac:chgData name="Yudi Zhu" userId="571e1a55-055f-4c28-8b35-fca6dd1c1369" providerId="ADAL" clId="{75A88773-6EE1-484E-AADE-FE631E01463B}" dt="2025-11-21T09:14:20.862" v="380931"/>
          <ac:spMkLst>
            <pc:docMk/>
            <pc:sldMk cId="755828523" sldId="2147483089"/>
            <ac:spMk id="1818" creationId="{128A64E7-420E-452E-F728-B8DB9D146529}"/>
          </ac:spMkLst>
        </pc:spChg>
        <pc:spChg chg="add del mod modVis">
          <ac:chgData name="Yudi Zhu" userId="571e1a55-055f-4c28-8b35-fca6dd1c1369" providerId="ADAL" clId="{75A88773-6EE1-484E-AADE-FE631E01463B}" dt="2025-11-21T09:14:45.878" v="384507"/>
          <ac:spMkLst>
            <pc:docMk/>
            <pc:sldMk cId="755828523" sldId="2147483089"/>
            <ac:spMk id="1828" creationId="{AE2E1CF4-9CC0-DA7E-7C7A-F5D3610F8250}"/>
          </ac:spMkLst>
        </pc:spChg>
        <pc:spChg chg="add del mod modVis">
          <ac:chgData name="Yudi Zhu" userId="571e1a55-055f-4c28-8b35-fca6dd1c1369" providerId="ADAL" clId="{75A88773-6EE1-484E-AADE-FE631E01463B}" dt="2025-11-21T09:15:24.791" v="387384"/>
          <ac:spMkLst>
            <pc:docMk/>
            <pc:sldMk cId="755828523" sldId="2147483089"/>
            <ac:spMk id="1844" creationId="{6C75D12A-9049-D789-6CDA-0327E77A514C}"/>
          </ac:spMkLst>
        </pc:spChg>
        <pc:spChg chg="add del mod modVis">
          <ac:chgData name="Yudi Zhu" userId="571e1a55-055f-4c28-8b35-fca6dd1c1369" providerId="ADAL" clId="{75A88773-6EE1-484E-AADE-FE631E01463B}" dt="2025-11-21T09:17:13.984" v="388057"/>
          <ac:spMkLst>
            <pc:docMk/>
            <pc:sldMk cId="755828523" sldId="2147483089"/>
            <ac:spMk id="1845" creationId="{EE54227F-7326-9845-084D-C8EE9F51846F}"/>
          </ac:spMkLst>
        </pc:spChg>
        <pc:spChg chg="add del mod modVis">
          <ac:chgData name="Yudi Zhu" userId="571e1a55-055f-4c28-8b35-fca6dd1c1369" providerId="ADAL" clId="{75A88773-6EE1-484E-AADE-FE631E01463B}" dt="2025-11-21T09:17:19.464" v="388618"/>
          <ac:spMkLst>
            <pc:docMk/>
            <pc:sldMk cId="755828523" sldId="2147483089"/>
            <ac:spMk id="1847" creationId="{E75C550B-A0AA-37E9-7AE4-3A0D126FA762}"/>
          </ac:spMkLst>
        </pc:spChg>
        <pc:spChg chg="add del mod modVis">
          <ac:chgData name="Yudi Zhu" userId="571e1a55-055f-4c28-8b35-fca6dd1c1369" providerId="ADAL" clId="{75A88773-6EE1-484E-AADE-FE631E01463B}" dt="2025-11-21T09:17:27.649" v="389563"/>
          <ac:spMkLst>
            <pc:docMk/>
            <pc:sldMk cId="755828523" sldId="2147483089"/>
            <ac:spMk id="1850" creationId="{E912CBB1-B8EB-77BC-1CD6-36782F011C44}"/>
          </ac:spMkLst>
        </pc:spChg>
        <pc:spChg chg="add mod">
          <ac:chgData name="Yudi Zhu" userId="571e1a55-055f-4c28-8b35-fca6dd1c1369" providerId="ADAL" clId="{75A88773-6EE1-484E-AADE-FE631E01463B}" dt="2025-11-21T09:22:52.691" v="406701"/>
          <ac:spMkLst>
            <pc:docMk/>
            <pc:sldMk cId="755828523" sldId="2147483089"/>
            <ac:spMk id="1851" creationId="{55435E9D-DD6B-12E6-3E01-6C50EF33F500}"/>
          </ac:spMkLst>
        </pc:spChg>
        <pc:spChg chg="add del mod modVis">
          <ac:chgData name="Yudi Zhu" userId="571e1a55-055f-4c28-8b35-fca6dd1c1369" providerId="ADAL" clId="{75A88773-6EE1-484E-AADE-FE631E01463B}" dt="2025-11-21T09:18:10.698" v="391066"/>
          <ac:spMkLst>
            <pc:docMk/>
            <pc:sldMk cId="755828523" sldId="2147483089"/>
            <ac:spMk id="1857" creationId="{9BD4CDCA-93F6-6507-4CF6-CDADFCB78136}"/>
          </ac:spMkLst>
        </pc:spChg>
        <pc:spChg chg="add del mod modVis">
          <ac:chgData name="Yudi Zhu" userId="571e1a55-055f-4c28-8b35-fca6dd1c1369" providerId="ADAL" clId="{75A88773-6EE1-484E-AADE-FE631E01463B}" dt="2025-11-21T09:20:57.076" v="396343"/>
          <ac:spMkLst>
            <pc:docMk/>
            <pc:sldMk cId="755828523" sldId="2147483089"/>
            <ac:spMk id="1879" creationId="{F86F3D4B-DC4F-1834-6B40-E20779290D25}"/>
          </ac:spMkLst>
        </pc:spChg>
        <pc:spChg chg="add del mod modVis">
          <ac:chgData name="Yudi Zhu" userId="571e1a55-055f-4c28-8b35-fca6dd1c1369" providerId="ADAL" clId="{75A88773-6EE1-484E-AADE-FE631E01463B}" dt="2025-11-21T09:21:02.126" v="397019"/>
          <ac:spMkLst>
            <pc:docMk/>
            <pc:sldMk cId="755828523" sldId="2147483089"/>
            <ac:spMk id="1884" creationId="{9BF8B5DE-3CEE-D5AC-D9D0-6A379B2D145C}"/>
          </ac:spMkLst>
        </pc:spChg>
        <pc:spChg chg="add del mod modVis">
          <ac:chgData name="Yudi Zhu" userId="571e1a55-055f-4c28-8b35-fca6dd1c1369" providerId="ADAL" clId="{75A88773-6EE1-484E-AADE-FE631E01463B}" dt="2025-11-21T09:21:10.773" v="397587"/>
          <ac:spMkLst>
            <pc:docMk/>
            <pc:sldMk cId="755828523" sldId="2147483089"/>
            <ac:spMk id="1894" creationId="{7F7765D8-C62A-A5B3-C850-45670BCEBA71}"/>
          </ac:spMkLst>
        </pc:spChg>
        <pc:spChg chg="add del mod modVis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896" creationId="{98696E6D-E0A0-05A1-8E1D-0201480EA51E}"/>
          </ac:spMkLst>
        </pc:spChg>
        <pc:spChg chg="add mod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897" creationId="{F9D0E606-8DDD-8A9F-F549-F6DADCD8B109}"/>
          </ac:spMkLst>
        </pc:spChg>
        <pc:spChg chg="add mod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898" creationId="{9AA9B403-FECA-06FF-6B2B-C667ECF46B33}"/>
          </ac:spMkLst>
        </pc:spChg>
        <pc:spChg chg="add mod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899" creationId="{3DE66220-0587-F70A-3BAF-967FD40C28CE}"/>
          </ac:spMkLst>
        </pc:spChg>
        <pc:spChg chg="add mod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900" creationId="{48FBFEAF-F8A4-B9FB-CAC9-46378F7125E0}"/>
          </ac:spMkLst>
        </pc:spChg>
        <pc:spChg chg="add mod">
          <ac:chgData name="Yudi Zhu" userId="571e1a55-055f-4c28-8b35-fca6dd1c1369" providerId="ADAL" clId="{75A88773-6EE1-484E-AADE-FE631E01463B}" dt="2025-11-21T09:21:28.087" v="398612"/>
          <ac:spMkLst>
            <pc:docMk/>
            <pc:sldMk cId="755828523" sldId="2147483089"/>
            <ac:spMk id="1901" creationId="{59F45F41-53EB-1472-6D39-0F966B99F26B}"/>
          </ac:spMkLst>
        </pc:spChg>
        <pc:spChg chg="add del mod modVis">
          <ac:chgData name="Yudi Zhu" userId="571e1a55-055f-4c28-8b35-fca6dd1c1369" providerId="ADAL" clId="{75A88773-6EE1-484E-AADE-FE631E01463B}" dt="2025-11-21T09:21:44.448" v="400162"/>
          <ac:spMkLst>
            <pc:docMk/>
            <pc:sldMk cId="755828523" sldId="2147483089"/>
            <ac:spMk id="1903" creationId="{47B5C8B5-FD4F-BAE5-24F7-E9731A9920E1}"/>
          </ac:spMkLst>
        </pc:spChg>
        <pc:spChg chg="add del mod">
          <ac:chgData name="Yudi Zhu" userId="571e1a55-055f-4c28-8b35-fca6dd1c1369" providerId="ADAL" clId="{75A88773-6EE1-484E-AADE-FE631E01463B}" dt="2025-11-21T09:22:26.916" v="402806"/>
          <ac:spMkLst>
            <pc:docMk/>
            <pc:sldMk cId="755828523" sldId="2147483089"/>
            <ac:spMk id="1904" creationId="{03B76106-0379-6A85-382B-E29F3DD0BA05}"/>
          </ac:spMkLst>
        </pc:spChg>
        <pc:spChg chg="add del mod">
          <ac:chgData name="Yudi Zhu" userId="571e1a55-055f-4c28-8b35-fca6dd1c1369" providerId="ADAL" clId="{75A88773-6EE1-484E-AADE-FE631E01463B}" dt="2025-11-21T09:22:26.916" v="402805"/>
          <ac:spMkLst>
            <pc:docMk/>
            <pc:sldMk cId="755828523" sldId="2147483089"/>
            <ac:spMk id="1905" creationId="{27555EFF-4A21-490E-76EB-A17F95F3A5D8}"/>
          </ac:spMkLst>
        </pc:spChg>
        <pc:spChg chg="add del mod">
          <ac:chgData name="Yudi Zhu" userId="571e1a55-055f-4c28-8b35-fca6dd1c1369" providerId="ADAL" clId="{75A88773-6EE1-484E-AADE-FE631E01463B}" dt="2025-11-21T09:22:26.916" v="402804"/>
          <ac:spMkLst>
            <pc:docMk/>
            <pc:sldMk cId="755828523" sldId="2147483089"/>
            <ac:spMk id="1906" creationId="{B11A0453-2370-405E-9C4B-9090D072A66D}"/>
          </ac:spMkLst>
        </pc:spChg>
        <pc:spChg chg="add del mod">
          <ac:chgData name="Yudi Zhu" userId="571e1a55-055f-4c28-8b35-fca6dd1c1369" providerId="ADAL" clId="{75A88773-6EE1-484E-AADE-FE631E01463B}" dt="2025-11-21T09:22:26.916" v="402803"/>
          <ac:spMkLst>
            <pc:docMk/>
            <pc:sldMk cId="755828523" sldId="2147483089"/>
            <ac:spMk id="1907" creationId="{CD94FBD2-097B-93B7-E7D6-14A7A3774C26}"/>
          </ac:spMkLst>
        </pc:spChg>
        <pc:spChg chg="add del mod">
          <ac:chgData name="Yudi Zhu" userId="571e1a55-055f-4c28-8b35-fca6dd1c1369" providerId="ADAL" clId="{75A88773-6EE1-484E-AADE-FE631E01463B}" dt="2025-11-21T09:22:26.916" v="402802"/>
          <ac:spMkLst>
            <pc:docMk/>
            <pc:sldMk cId="755828523" sldId="2147483089"/>
            <ac:spMk id="1908" creationId="{50DDA713-D8F3-4FC7-E0C5-277D6D813CB2}"/>
          </ac:spMkLst>
        </pc:spChg>
        <pc:spChg chg="add del mod">
          <ac:chgData name="Yudi Zhu" userId="571e1a55-055f-4c28-8b35-fca6dd1c1369" providerId="ADAL" clId="{75A88773-6EE1-484E-AADE-FE631E01463B}" dt="2025-11-21T09:22:26.916" v="402801"/>
          <ac:spMkLst>
            <pc:docMk/>
            <pc:sldMk cId="755828523" sldId="2147483089"/>
            <ac:spMk id="1909" creationId="{008DB1B0-D4B0-78DE-A1C1-6777A6A0F26E}"/>
          </ac:spMkLst>
        </pc:spChg>
        <pc:spChg chg="add del mod">
          <ac:chgData name="Yudi Zhu" userId="571e1a55-055f-4c28-8b35-fca6dd1c1369" providerId="ADAL" clId="{75A88773-6EE1-484E-AADE-FE631E01463B}" dt="2025-11-21T09:22:26.916" v="402800"/>
          <ac:spMkLst>
            <pc:docMk/>
            <pc:sldMk cId="755828523" sldId="2147483089"/>
            <ac:spMk id="1910" creationId="{958AC608-6031-62A3-6A52-E20FA8D5DB4C}"/>
          </ac:spMkLst>
        </pc:spChg>
        <pc:spChg chg="add del mod">
          <ac:chgData name="Yudi Zhu" userId="571e1a55-055f-4c28-8b35-fca6dd1c1369" providerId="ADAL" clId="{75A88773-6EE1-484E-AADE-FE631E01463B}" dt="2025-11-21T09:22:34.146" v="403749"/>
          <ac:spMkLst>
            <pc:docMk/>
            <pc:sldMk cId="755828523" sldId="2147483089"/>
            <ac:spMk id="1911" creationId="{D7C57326-061A-4A61-EA35-EF2A7907AA26}"/>
          </ac:spMkLst>
        </pc:spChg>
        <pc:spChg chg="add del mod">
          <ac:chgData name="Yudi Zhu" userId="571e1a55-055f-4c28-8b35-fca6dd1c1369" providerId="ADAL" clId="{75A88773-6EE1-484E-AADE-FE631E01463B}" dt="2025-11-21T09:22:27.021" v="402873"/>
          <ac:spMkLst>
            <pc:docMk/>
            <pc:sldMk cId="755828523" sldId="2147483089"/>
            <ac:spMk id="1912" creationId="{B943B738-2D69-F9E4-861A-DEFD5E972813}"/>
          </ac:spMkLst>
        </pc:spChg>
        <pc:spChg chg="add del mod">
          <ac:chgData name="Yudi Zhu" userId="571e1a55-055f-4c28-8b35-fca6dd1c1369" providerId="ADAL" clId="{75A88773-6EE1-484E-AADE-FE631E01463B}" dt="2025-11-21T09:22:27.021" v="402872"/>
          <ac:spMkLst>
            <pc:docMk/>
            <pc:sldMk cId="755828523" sldId="2147483089"/>
            <ac:spMk id="1913" creationId="{D8049749-D2F1-5645-958A-6EF07E585618}"/>
          </ac:spMkLst>
        </pc:spChg>
        <pc:spChg chg="add del mod">
          <ac:chgData name="Yudi Zhu" userId="571e1a55-055f-4c28-8b35-fca6dd1c1369" providerId="ADAL" clId="{75A88773-6EE1-484E-AADE-FE631E01463B}" dt="2025-11-21T09:22:27.021" v="402871"/>
          <ac:spMkLst>
            <pc:docMk/>
            <pc:sldMk cId="755828523" sldId="2147483089"/>
            <ac:spMk id="1914" creationId="{83F7DCBA-2C1A-B007-FF98-77AAF00513EB}"/>
          </ac:spMkLst>
        </pc:spChg>
        <pc:spChg chg="add del mod">
          <ac:chgData name="Yudi Zhu" userId="571e1a55-055f-4c28-8b35-fca6dd1c1369" providerId="ADAL" clId="{75A88773-6EE1-484E-AADE-FE631E01463B}" dt="2025-11-21T09:22:27.021" v="402870"/>
          <ac:spMkLst>
            <pc:docMk/>
            <pc:sldMk cId="755828523" sldId="2147483089"/>
            <ac:spMk id="1915" creationId="{D2B1D6D5-ED6A-D02E-AB25-7C9F780B59DA}"/>
          </ac:spMkLst>
        </pc:spChg>
        <pc:spChg chg="add del mod">
          <ac:chgData name="Yudi Zhu" userId="571e1a55-055f-4c28-8b35-fca6dd1c1369" providerId="ADAL" clId="{75A88773-6EE1-484E-AADE-FE631E01463B}" dt="2025-11-21T09:22:27.021" v="402869"/>
          <ac:spMkLst>
            <pc:docMk/>
            <pc:sldMk cId="755828523" sldId="2147483089"/>
            <ac:spMk id="1916" creationId="{60C6273D-63BD-44BE-B3D9-04A98C9F0199}"/>
          </ac:spMkLst>
        </pc:spChg>
        <pc:spChg chg="add del mod">
          <ac:chgData name="Yudi Zhu" userId="571e1a55-055f-4c28-8b35-fca6dd1c1369" providerId="ADAL" clId="{75A88773-6EE1-484E-AADE-FE631E01463B}" dt="2025-11-21T09:22:27.021" v="402868"/>
          <ac:spMkLst>
            <pc:docMk/>
            <pc:sldMk cId="755828523" sldId="2147483089"/>
            <ac:spMk id="1917" creationId="{5E578242-B1C8-DCBF-F7D3-1FF3E6665E19}"/>
          </ac:spMkLst>
        </pc:spChg>
        <pc:spChg chg="add del mod modVis">
          <ac:chgData name="Yudi Zhu" userId="571e1a55-055f-4c28-8b35-fca6dd1c1369" providerId="ADAL" clId="{75A88773-6EE1-484E-AADE-FE631E01463B}" dt="2025-11-21T09:21:56.405" v="401037"/>
          <ac:spMkLst>
            <pc:docMk/>
            <pc:sldMk cId="755828523" sldId="2147483089"/>
            <ac:spMk id="1919" creationId="{C8C295EE-DC8A-8396-4008-E6650A38E616}"/>
          </ac:spMkLst>
        </pc:spChg>
        <pc:spChg chg="add mod">
          <ac:chgData name="Yudi Zhu" userId="571e1a55-055f-4c28-8b35-fca6dd1c1369" providerId="ADAL" clId="{75A88773-6EE1-484E-AADE-FE631E01463B}" dt="2025-11-21T09:21:56.405" v="401037"/>
          <ac:spMkLst>
            <pc:docMk/>
            <pc:sldMk cId="755828523" sldId="2147483089"/>
            <ac:spMk id="1920" creationId="{D7E9B382-3BC9-C5A2-B380-F48E36F7FC95}"/>
          </ac:spMkLst>
        </pc:spChg>
        <pc:spChg chg="add mod">
          <ac:chgData name="Yudi Zhu" userId="571e1a55-055f-4c28-8b35-fca6dd1c1369" providerId="ADAL" clId="{75A88773-6EE1-484E-AADE-FE631E01463B}" dt="2025-11-21T09:21:56.405" v="401037"/>
          <ac:spMkLst>
            <pc:docMk/>
            <pc:sldMk cId="755828523" sldId="2147483089"/>
            <ac:spMk id="1921" creationId="{E077ECA8-C7FD-6003-4F17-28202D21314E}"/>
          </ac:spMkLst>
        </pc:spChg>
        <pc:spChg chg="add mod">
          <ac:chgData name="Yudi Zhu" userId="571e1a55-055f-4c28-8b35-fca6dd1c1369" providerId="ADAL" clId="{75A88773-6EE1-484E-AADE-FE631E01463B}" dt="2025-11-21T09:21:56.405" v="401037"/>
          <ac:spMkLst>
            <pc:docMk/>
            <pc:sldMk cId="755828523" sldId="2147483089"/>
            <ac:spMk id="1922" creationId="{19AD1E8F-14D7-1A3C-4989-5C3FD7F13610}"/>
          </ac:spMkLst>
        </pc:spChg>
        <pc:spChg chg="add del mod modVis">
          <ac:chgData name="Yudi Zhu" userId="571e1a55-055f-4c28-8b35-fca6dd1c1369" providerId="ADAL" clId="{75A88773-6EE1-484E-AADE-FE631E01463B}" dt="2025-11-21T09:22:06.831" v="401675"/>
          <ac:spMkLst>
            <pc:docMk/>
            <pc:sldMk cId="755828523" sldId="2147483089"/>
            <ac:spMk id="1924" creationId="{FD91C227-28A7-FDC7-7C4B-1F7D6D4AF61B}"/>
          </ac:spMkLst>
        </pc:spChg>
        <pc:spChg chg="add del mod">
          <ac:chgData name="Yudi Zhu" userId="571e1a55-055f-4c28-8b35-fca6dd1c1369" providerId="ADAL" clId="{75A88773-6EE1-484E-AADE-FE631E01463B}" dt="2025-11-21T09:22:08.169" v="401678"/>
          <ac:spMkLst>
            <pc:docMk/>
            <pc:sldMk cId="755828523" sldId="2147483089"/>
            <ac:spMk id="1925" creationId="{B696D354-C628-5DC0-9EF1-030BF080DF6C}"/>
          </ac:spMkLst>
        </pc:spChg>
        <pc:spChg chg="add del mod modVis">
          <ac:chgData name="Yudi Zhu" userId="571e1a55-055f-4c28-8b35-fca6dd1c1369" providerId="ADAL" clId="{75A88773-6EE1-484E-AADE-FE631E01463B}" dt="2025-11-21T09:22:08.399" v="401969"/>
          <ac:spMkLst>
            <pc:docMk/>
            <pc:sldMk cId="755828523" sldId="2147483089"/>
            <ac:spMk id="1927" creationId="{3B2F4437-6A1D-A103-CEF2-4F46B9CEB483}"/>
          </ac:spMkLst>
        </pc:spChg>
        <pc:spChg chg="add del mod modVis">
          <ac:chgData name="Yudi Zhu" userId="571e1a55-055f-4c28-8b35-fca6dd1c1369" providerId="ADAL" clId="{75A88773-6EE1-484E-AADE-FE631E01463B}" dt="2025-11-21T09:22:19.133" v="402797"/>
          <ac:spMkLst>
            <pc:docMk/>
            <pc:sldMk cId="755828523" sldId="2147483089"/>
            <ac:spMk id="1929" creationId="{1AA4B534-FAB9-F86F-7E87-7CE89C852BB5}"/>
          </ac:spMkLst>
        </pc:spChg>
        <pc:spChg chg="add mod">
          <ac:chgData name="Yudi Zhu" userId="571e1a55-055f-4c28-8b35-fca6dd1c1369" providerId="ADAL" clId="{75A88773-6EE1-484E-AADE-FE631E01463B}" dt="2025-11-21T09:22:19.002" v="402667" actId="207"/>
          <ac:spMkLst>
            <pc:docMk/>
            <pc:sldMk cId="755828523" sldId="2147483089"/>
            <ac:spMk id="1931" creationId="{7E0DF5BB-BD83-B78F-99B5-DA8353B708E6}"/>
          </ac:spMkLst>
        </pc:spChg>
        <pc:spChg chg="add del mod modVis">
          <ac:chgData name="Yudi Zhu" userId="571e1a55-055f-4c28-8b35-fca6dd1c1369" providerId="ADAL" clId="{75A88773-6EE1-484E-AADE-FE631E01463B}" dt="2025-11-21T09:22:28.165" v="403742"/>
          <ac:spMkLst>
            <pc:docMk/>
            <pc:sldMk cId="755828523" sldId="2147483089"/>
            <ac:spMk id="1932" creationId="{F102ADFE-7506-FE4B-0796-82A3C291701B}"/>
          </ac:spMkLst>
        </pc:spChg>
        <pc:spChg chg="add del mod">
          <ac:chgData name="Yudi Zhu" userId="571e1a55-055f-4c28-8b35-fca6dd1c1369" providerId="ADAL" clId="{75A88773-6EE1-484E-AADE-FE631E01463B}" dt="2025-11-21T09:22:34.131" v="403748"/>
          <ac:spMkLst>
            <pc:docMk/>
            <pc:sldMk cId="755828523" sldId="2147483089"/>
            <ac:spMk id="1933" creationId="{16E83CD1-4BB8-DE0B-7C3E-C4465208B8A7}"/>
          </ac:spMkLst>
        </pc:spChg>
        <pc:spChg chg="add del mod">
          <ac:chgData name="Yudi Zhu" userId="571e1a55-055f-4c28-8b35-fca6dd1c1369" providerId="ADAL" clId="{75A88773-6EE1-484E-AADE-FE631E01463B}" dt="2025-11-21T09:22:34.131" v="403747"/>
          <ac:spMkLst>
            <pc:docMk/>
            <pc:sldMk cId="755828523" sldId="2147483089"/>
            <ac:spMk id="1934" creationId="{96B72EF9-09D3-E84A-D9CE-570B5226794C}"/>
          </ac:spMkLst>
        </pc:spChg>
        <pc:spChg chg="add del mod">
          <ac:chgData name="Yudi Zhu" userId="571e1a55-055f-4c28-8b35-fca6dd1c1369" providerId="ADAL" clId="{75A88773-6EE1-484E-AADE-FE631E01463B}" dt="2025-11-21T09:22:34.131" v="403746"/>
          <ac:spMkLst>
            <pc:docMk/>
            <pc:sldMk cId="755828523" sldId="2147483089"/>
            <ac:spMk id="1935" creationId="{CF3EECF7-9861-32F4-6568-ED2AB423746F}"/>
          </ac:spMkLst>
        </pc:spChg>
        <pc:spChg chg="add del mod">
          <ac:chgData name="Yudi Zhu" userId="571e1a55-055f-4c28-8b35-fca6dd1c1369" providerId="ADAL" clId="{75A88773-6EE1-484E-AADE-FE631E01463B}" dt="2025-11-21T09:22:34.131" v="403745"/>
          <ac:spMkLst>
            <pc:docMk/>
            <pc:sldMk cId="755828523" sldId="2147483089"/>
            <ac:spMk id="1936" creationId="{42B5D405-ADBA-177B-1C95-A07BCD88C3EC}"/>
          </ac:spMkLst>
        </pc:spChg>
        <pc:spChg chg="add del mod modVis">
          <ac:chgData name="Yudi Zhu" userId="571e1a55-055f-4c28-8b35-fca6dd1c1369" providerId="ADAL" clId="{75A88773-6EE1-484E-AADE-FE631E01463B}" dt="2025-11-21T09:22:52.714" v="406748"/>
          <ac:spMkLst>
            <pc:docMk/>
            <pc:sldMk cId="755828523" sldId="2147483089"/>
            <ac:spMk id="1942" creationId="{22836014-B499-1098-4ED8-E557396B7CAF}"/>
          </ac:spMkLst>
        </pc:spChg>
        <pc:spChg chg="add mod">
          <ac:chgData name="Yudi Zhu" userId="571e1a55-055f-4c28-8b35-fca6dd1c1369" providerId="ADAL" clId="{75A88773-6EE1-484E-AADE-FE631E01463B}" dt="2025-11-21T09:22:52.633" v="406582"/>
          <ac:spMkLst>
            <pc:docMk/>
            <pc:sldMk cId="755828523" sldId="2147483089"/>
            <ac:spMk id="1943" creationId="{69E4B67C-3B6F-D016-EA05-24CF6DCA5031}"/>
          </ac:spMkLst>
        </pc:spChg>
        <pc:spChg chg="add mod">
          <ac:chgData name="Yudi Zhu" userId="571e1a55-055f-4c28-8b35-fca6dd1c1369" providerId="ADAL" clId="{75A88773-6EE1-484E-AADE-FE631E01463B}" dt="2025-11-21T09:22:52.633" v="406588"/>
          <ac:spMkLst>
            <pc:docMk/>
            <pc:sldMk cId="755828523" sldId="2147483089"/>
            <ac:spMk id="1944" creationId="{253BEE48-32AA-0F0A-BDD6-D24F1377E327}"/>
          </ac:spMkLst>
        </pc:spChg>
        <pc:spChg chg="add mod">
          <ac:chgData name="Yudi Zhu" userId="571e1a55-055f-4c28-8b35-fca6dd1c1369" providerId="ADAL" clId="{75A88773-6EE1-484E-AADE-FE631E01463B}" dt="2025-11-21T09:22:52.633" v="406587"/>
          <ac:spMkLst>
            <pc:docMk/>
            <pc:sldMk cId="755828523" sldId="2147483089"/>
            <ac:spMk id="1945" creationId="{5BC9C5AB-1C88-C34B-4557-FFBB3D7C7F19}"/>
          </ac:spMkLst>
        </pc:spChg>
        <pc:spChg chg="add mod">
          <ac:chgData name="Yudi Zhu" userId="571e1a55-055f-4c28-8b35-fca6dd1c1369" providerId="ADAL" clId="{75A88773-6EE1-484E-AADE-FE631E01463B}" dt="2025-11-21T09:22:52.633" v="406586"/>
          <ac:spMkLst>
            <pc:docMk/>
            <pc:sldMk cId="755828523" sldId="2147483089"/>
            <ac:spMk id="1946" creationId="{4AC085C4-164B-EC0B-62CB-8225F22BDFA2}"/>
          </ac:spMkLst>
        </pc:spChg>
        <pc:spChg chg="add mod">
          <ac:chgData name="Yudi Zhu" userId="571e1a55-055f-4c28-8b35-fca6dd1c1369" providerId="ADAL" clId="{75A88773-6EE1-484E-AADE-FE631E01463B}" dt="2025-11-21T09:22:52.633" v="406585"/>
          <ac:spMkLst>
            <pc:docMk/>
            <pc:sldMk cId="755828523" sldId="2147483089"/>
            <ac:spMk id="1947" creationId="{450615DB-8532-C3D1-4326-AB8ED318E492}"/>
          </ac:spMkLst>
        </pc:spChg>
        <pc:spChg chg="add mod">
          <ac:chgData name="Yudi Zhu" userId="571e1a55-055f-4c28-8b35-fca6dd1c1369" providerId="ADAL" clId="{75A88773-6EE1-484E-AADE-FE631E01463B}" dt="2025-11-21T09:22:52.633" v="406584"/>
          <ac:spMkLst>
            <pc:docMk/>
            <pc:sldMk cId="755828523" sldId="2147483089"/>
            <ac:spMk id="1948" creationId="{9C38A7EB-9F35-0946-7D25-5DA8670BB4AA}"/>
          </ac:spMkLst>
        </pc:spChg>
        <pc:spChg chg="add mod">
          <ac:chgData name="Yudi Zhu" userId="571e1a55-055f-4c28-8b35-fca6dd1c1369" providerId="ADAL" clId="{75A88773-6EE1-484E-AADE-FE631E01463B}" dt="2025-11-21T09:22:52.633" v="406583"/>
          <ac:spMkLst>
            <pc:docMk/>
            <pc:sldMk cId="755828523" sldId="2147483089"/>
            <ac:spMk id="1949" creationId="{E29D9ADA-DE74-8383-359A-095360BBB518}"/>
          </ac:spMkLst>
        </pc:spChg>
        <pc:spChg chg="add mod">
          <ac:chgData name="Yudi Zhu" userId="571e1a55-055f-4c28-8b35-fca6dd1c1369" providerId="ADAL" clId="{75A88773-6EE1-484E-AADE-FE631E01463B}" dt="2025-11-21T09:22:52.633" v="406575"/>
          <ac:spMkLst>
            <pc:docMk/>
            <pc:sldMk cId="755828523" sldId="2147483089"/>
            <ac:spMk id="1950" creationId="{50564E05-8E2E-E89E-C56A-5FAF63D2E046}"/>
          </ac:spMkLst>
        </pc:spChg>
        <pc:spChg chg="add mod">
          <ac:chgData name="Yudi Zhu" userId="571e1a55-055f-4c28-8b35-fca6dd1c1369" providerId="ADAL" clId="{75A88773-6EE1-484E-AADE-FE631E01463B}" dt="2025-11-21T09:22:52.633" v="406581"/>
          <ac:spMkLst>
            <pc:docMk/>
            <pc:sldMk cId="755828523" sldId="2147483089"/>
            <ac:spMk id="1951" creationId="{3B3ECD52-70AD-6EF4-B2E9-C48E22120EA9}"/>
          </ac:spMkLst>
        </pc:spChg>
        <pc:spChg chg="add mod">
          <ac:chgData name="Yudi Zhu" userId="571e1a55-055f-4c28-8b35-fca6dd1c1369" providerId="ADAL" clId="{75A88773-6EE1-484E-AADE-FE631E01463B}" dt="2025-11-21T09:22:52.633" v="406580"/>
          <ac:spMkLst>
            <pc:docMk/>
            <pc:sldMk cId="755828523" sldId="2147483089"/>
            <ac:spMk id="1952" creationId="{7F54E694-04A4-0849-AB5F-CAB4D9D80EC6}"/>
          </ac:spMkLst>
        </pc:spChg>
        <pc:spChg chg="add mod">
          <ac:chgData name="Yudi Zhu" userId="571e1a55-055f-4c28-8b35-fca6dd1c1369" providerId="ADAL" clId="{75A88773-6EE1-484E-AADE-FE631E01463B}" dt="2025-11-21T09:22:52.633" v="406579"/>
          <ac:spMkLst>
            <pc:docMk/>
            <pc:sldMk cId="755828523" sldId="2147483089"/>
            <ac:spMk id="1953" creationId="{CE90704D-50CF-A9E5-B5E1-E3E1083D86BE}"/>
          </ac:spMkLst>
        </pc:spChg>
        <pc:spChg chg="add mod">
          <ac:chgData name="Yudi Zhu" userId="571e1a55-055f-4c28-8b35-fca6dd1c1369" providerId="ADAL" clId="{75A88773-6EE1-484E-AADE-FE631E01463B}" dt="2025-11-21T09:22:52.633" v="406578"/>
          <ac:spMkLst>
            <pc:docMk/>
            <pc:sldMk cId="755828523" sldId="2147483089"/>
            <ac:spMk id="1954" creationId="{21C50F90-F0E5-D708-13B9-F56EB02DD401}"/>
          </ac:spMkLst>
        </pc:spChg>
        <pc:spChg chg="add mod">
          <ac:chgData name="Yudi Zhu" userId="571e1a55-055f-4c28-8b35-fca6dd1c1369" providerId="ADAL" clId="{75A88773-6EE1-484E-AADE-FE631E01463B}" dt="2025-11-21T09:22:52.633" v="406577"/>
          <ac:spMkLst>
            <pc:docMk/>
            <pc:sldMk cId="755828523" sldId="2147483089"/>
            <ac:spMk id="1955" creationId="{997E6B1C-2EA0-A6A6-DCCB-CF4CD120A94C}"/>
          </ac:spMkLst>
        </pc:spChg>
        <pc:spChg chg="add mod">
          <ac:chgData name="Yudi Zhu" userId="571e1a55-055f-4c28-8b35-fca6dd1c1369" providerId="ADAL" clId="{75A88773-6EE1-484E-AADE-FE631E01463B}" dt="2025-11-21T09:22:52.633" v="406576"/>
          <ac:spMkLst>
            <pc:docMk/>
            <pc:sldMk cId="755828523" sldId="2147483089"/>
            <ac:spMk id="1956" creationId="{729E7307-2DE0-BE21-E76C-CDEC2BFC16C5}"/>
          </ac:spMkLst>
        </pc:spChg>
        <pc:grpChg chg="add mod ord">
          <ac:chgData name="Yudi Zhu" userId="571e1a55-055f-4c28-8b35-fca6dd1c1369" providerId="ADAL" clId="{75A88773-6EE1-484E-AADE-FE631E01463B}" dt="2025-11-21T09:22:52.711" v="406741"/>
          <ac:grpSpMkLst>
            <pc:docMk/>
            <pc:sldMk cId="755828523" sldId="2147483089"/>
            <ac:grpSpMk id="1586" creationId="{17521993-3004-041B-D281-F1D4635F3E5B}"/>
          </ac:grpSpMkLst>
        </pc:grpChg>
        <pc:grpChg chg="add mod ord">
          <ac:chgData name="Yudi Zhu" userId="571e1a55-055f-4c28-8b35-fca6dd1c1369" providerId="ADAL" clId="{75A88773-6EE1-484E-AADE-FE631E01463B}" dt="2025-11-21T09:22:52.712" v="406743"/>
          <ac:grpSpMkLst>
            <pc:docMk/>
            <pc:sldMk cId="755828523" sldId="2147483089"/>
            <ac:grpSpMk id="1588" creationId="{CEB69FB3-FA67-36AE-1790-83E5C8C40DDA}"/>
          </ac:grpSpMkLst>
        </pc:grpChg>
        <pc:grpChg chg="add mod ord">
          <ac:chgData name="Yudi Zhu" userId="571e1a55-055f-4c28-8b35-fca6dd1c1369" providerId="ADAL" clId="{75A88773-6EE1-484E-AADE-FE631E01463B}" dt="2025-11-21T09:22:52.713" v="406745"/>
          <ac:grpSpMkLst>
            <pc:docMk/>
            <pc:sldMk cId="755828523" sldId="2147483089"/>
            <ac:grpSpMk id="1604" creationId="{CAC77667-D6BB-F83B-AA16-FAE5D5B780AA}"/>
          </ac:grpSpMkLst>
        </pc:grpChg>
        <pc:graphicFrameChg chg="add del mod">
          <ac:chgData name="Yudi Zhu" userId="571e1a55-055f-4c28-8b35-fca6dd1c1369" providerId="ADAL" clId="{75A88773-6EE1-484E-AADE-FE631E01463B}" dt="2025-11-21T06:27:47.516" v="146600"/>
          <ac:graphicFrameMkLst>
            <pc:docMk/>
            <pc:sldMk cId="755828523" sldId="2147483089"/>
            <ac:graphicFrameMk id="10" creationId="{7FDF8A37-C9CC-C04D-7E18-B97060B7168B}"/>
          </ac:graphicFrameMkLst>
        </pc:graphicFrameChg>
        <pc:graphicFrameChg chg="add mod ord modVis">
          <ac:chgData name="Yudi Zhu" userId="571e1a55-055f-4c28-8b35-fca6dd1c1369" providerId="ADAL" clId="{75A88773-6EE1-484E-AADE-FE631E01463B}" dt="2025-11-21T09:22:52.716" v="406750"/>
          <ac:graphicFrameMkLst>
            <pc:docMk/>
            <pc:sldMk cId="755828523" sldId="2147483089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7:51.565" v="146647"/>
          <ac:graphicFrameMkLst>
            <pc:docMk/>
            <pc:sldMk cId="755828523" sldId="2147483089"/>
            <ac:graphicFrameMk id="12" creationId="{CA2BBED7-635B-7EEA-4102-A189F7F2B16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02.885" v="147094"/>
          <ac:graphicFrameMkLst>
            <pc:docMk/>
            <pc:sldMk cId="755828523" sldId="2147483089"/>
            <ac:graphicFrameMk id="13" creationId="{6FE83951-3306-4B3D-93B4-C5BFDF0F232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08.657" v="147195"/>
          <ac:graphicFrameMkLst>
            <pc:docMk/>
            <pc:sldMk cId="755828523" sldId="2147483089"/>
            <ac:graphicFrameMk id="39" creationId="{D36B34CA-1403-C743-DB8C-1ABC6AC6410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23.033" v="147350"/>
          <ac:graphicFrameMkLst>
            <pc:docMk/>
            <pc:sldMk cId="755828523" sldId="2147483089"/>
            <ac:graphicFrameMk id="41" creationId="{BDD4427E-2BAF-6D50-8B9E-5C7A01D5DE0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37.459" v="149867"/>
          <ac:graphicFrameMkLst>
            <pc:docMk/>
            <pc:sldMk cId="755828523" sldId="2147483089"/>
            <ac:graphicFrameMk id="42" creationId="{D3B9D65D-E7F4-A840-3A3B-CD8ED6B01FD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38.068" v="150337"/>
          <ac:graphicFrameMkLst>
            <pc:docMk/>
            <pc:sldMk cId="755828523" sldId="2147483089"/>
            <ac:graphicFrameMk id="110" creationId="{10F4A1CD-E7FD-407D-0D51-F682923FD5C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42.148" v="152165"/>
          <ac:graphicFrameMkLst>
            <pc:docMk/>
            <pc:sldMk cId="755828523" sldId="2147483089"/>
            <ac:graphicFrameMk id="120" creationId="{69CC3E0B-C5C2-4318-3698-4AC755E27C3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44.018" v="152382"/>
          <ac:graphicFrameMkLst>
            <pc:docMk/>
            <pc:sldMk cId="755828523" sldId="2147483089"/>
            <ac:graphicFrameMk id="154" creationId="{9A1406FE-1C3D-D0C3-227E-6345FF5B468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50.813" v="152577"/>
          <ac:graphicFrameMkLst>
            <pc:docMk/>
            <pc:sldMk cId="755828523" sldId="2147483089"/>
            <ac:graphicFrameMk id="156" creationId="{414B4165-BD13-1229-F2DE-613A6C9BBEE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8:52.894" v="152849"/>
          <ac:graphicFrameMkLst>
            <pc:docMk/>
            <pc:sldMk cId="755828523" sldId="2147483089"/>
            <ac:graphicFrameMk id="157" creationId="{F1505748-F8AC-B1C9-4969-AC49D1594C9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9:10.997" v="152955"/>
          <ac:graphicFrameMkLst>
            <pc:docMk/>
            <pc:sldMk cId="755828523" sldId="2147483089"/>
            <ac:graphicFrameMk id="158" creationId="{2A73A2FC-77A3-686E-D9D5-49A8D1E4AFD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29:33.899" v="153115"/>
          <ac:graphicFrameMkLst>
            <pc:docMk/>
            <pc:sldMk cId="755828523" sldId="2147483089"/>
            <ac:graphicFrameMk id="160" creationId="{729C99B4-6C5F-983E-8020-C1941E4C99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1:41.093" v="153501"/>
          <ac:graphicFrameMkLst>
            <pc:docMk/>
            <pc:sldMk cId="755828523" sldId="2147483089"/>
            <ac:graphicFrameMk id="166" creationId="{9E4C6603-C7F8-0856-6522-82643E44BD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1:46.338" v="153633"/>
          <ac:graphicFrameMkLst>
            <pc:docMk/>
            <pc:sldMk cId="755828523" sldId="2147483089"/>
            <ac:graphicFrameMk id="173" creationId="{70ED66F3-0E23-AE36-9951-66F6F422130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1:50.243" v="153788"/>
          <ac:graphicFrameMkLst>
            <pc:docMk/>
            <pc:sldMk cId="755828523" sldId="2147483089"/>
            <ac:graphicFrameMk id="177" creationId="{B2D5C8E2-E274-5ACE-3940-B07521480F4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10.528" v="153891"/>
          <ac:graphicFrameMkLst>
            <pc:docMk/>
            <pc:sldMk cId="755828523" sldId="2147483089"/>
            <ac:graphicFrameMk id="180" creationId="{63F58086-AC4B-D244-E5E3-BC55CF6C552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11.216" v="153982"/>
          <ac:graphicFrameMkLst>
            <pc:docMk/>
            <pc:sldMk cId="755828523" sldId="2147483089"/>
            <ac:graphicFrameMk id="182" creationId="{FD88D898-ED07-6A39-C966-8E0243E032A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11.989" v="154049"/>
          <ac:graphicFrameMkLst>
            <pc:docMk/>
            <pc:sldMk cId="755828523" sldId="2147483089"/>
            <ac:graphicFrameMk id="184" creationId="{934887DD-645D-E0FA-BD08-AA2E212213E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17.776" v="154115"/>
          <ac:graphicFrameMkLst>
            <pc:docMk/>
            <pc:sldMk cId="755828523" sldId="2147483089"/>
            <ac:graphicFrameMk id="185" creationId="{5D43945A-11CF-36D8-E84F-3CD4333A1F1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19.037" v="154189"/>
          <ac:graphicFrameMkLst>
            <pc:docMk/>
            <pc:sldMk cId="755828523" sldId="2147483089"/>
            <ac:graphicFrameMk id="186" creationId="{228884C1-1A06-5EB9-154A-281413182BB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34.755" v="155990"/>
          <ac:graphicFrameMkLst>
            <pc:docMk/>
            <pc:sldMk cId="755828523" sldId="2147483089"/>
            <ac:graphicFrameMk id="187" creationId="{C1969D40-EC2C-2ED6-818A-F305A4A3CE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36.759" v="156171"/>
          <ac:graphicFrameMkLst>
            <pc:docMk/>
            <pc:sldMk cId="755828523" sldId="2147483089"/>
            <ac:graphicFrameMk id="253" creationId="{F351A9B0-A935-47B7-CB6D-EA840F7EAD7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48.938" v="156350"/>
          <ac:graphicFrameMkLst>
            <pc:docMk/>
            <pc:sldMk cId="755828523" sldId="2147483089"/>
            <ac:graphicFrameMk id="254" creationId="{0FD67AD3-A8C6-5E74-F445-BD17A081A8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2:55.691" v="156529"/>
          <ac:graphicFrameMkLst>
            <pc:docMk/>
            <pc:sldMk cId="755828523" sldId="2147483089"/>
            <ac:graphicFrameMk id="255" creationId="{55B8D641-A64F-E02E-C60E-ABDCD2E92AE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3:00.416" v="156708"/>
          <ac:graphicFrameMkLst>
            <pc:docMk/>
            <pc:sldMk cId="755828523" sldId="2147483089"/>
            <ac:graphicFrameMk id="256" creationId="{0C8C2213-2BE6-ACE8-C8A2-5AFA5AA5671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3:10.485" v="159203"/>
          <ac:graphicFrameMkLst>
            <pc:docMk/>
            <pc:sldMk cId="755828523" sldId="2147483089"/>
            <ac:graphicFrameMk id="257" creationId="{1371F403-FB6C-86D0-76F4-1627AAF8752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3:46.932" v="159709"/>
          <ac:graphicFrameMkLst>
            <pc:docMk/>
            <pc:sldMk cId="755828523" sldId="2147483089"/>
            <ac:graphicFrameMk id="288" creationId="{D40F8AD6-DC02-27AA-8F19-1C5E5116023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06.344" v="162007"/>
          <ac:graphicFrameMkLst>
            <pc:docMk/>
            <pc:sldMk cId="755828523" sldId="2147483089"/>
            <ac:graphicFrameMk id="295" creationId="{A51D3637-C973-D1FD-BB08-69392368A96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3:55.117" v="160686"/>
          <ac:graphicFrameMkLst>
            <pc:docMk/>
            <pc:sldMk cId="755828523" sldId="2147483089"/>
            <ac:graphicFrameMk id="296" creationId="{45018FC3-C41E-AC05-19BF-DFC4A5DDBCB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3:58.696" v="161097"/>
          <ac:graphicFrameMkLst>
            <pc:docMk/>
            <pc:sldMk cId="755828523" sldId="2147483089"/>
            <ac:graphicFrameMk id="357" creationId="{2DB3738C-F600-BCE4-5E8B-6AA8E0ED839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24.667" v="164050"/>
          <ac:graphicFrameMkLst>
            <pc:docMk/>
            <pc:sldMk cId="755828523" sldId="2147483089"/>
            <ac:graphicFrameMk id="359" creationId="{548432C7-C5A6-A697-9D29-BE1A3752FA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12.041" v="162550"/>
          <ac:graphicFrameMkLst>
            <pc:docMk/>
            <pc:sldMk cId="755828523" sldId="2147483089"/>
            <ac:graphicFrameMk id="372" creationId="{942882E3-B2AA-9A4B-DBF5-5280D35D26F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17.120" v="163078"/>
          <ac:graphicFrameMkLst>
            <pc:docMk/>
            <pc:sldMk cId="755828523" sldId="2147483089"/>
            <ac:graphicFrameMk id="375" creationId="{806C6384-9749-FB15-627B-8FE1C6B8E8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20.904" v="163678"/>
          <ac:graphicFrameMkLst>
            <pc:docMk/>
            <pc:sldMk cId="755828523" sldId="2147483089"/>
            <ac:graphicFrameMk id="377" creationId="{9D6CDD32-3F49-7249-B013-0A8A9D1A25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30.489" v="164883"/>
          <ac:graphicFrameMkLst>
            <pc:docMk/>
            <pc:sldMk cId="755828523" sldId="2147483089"/>
            <ac:graphicFrameMk id="379" creationId="{5A8DBDBA-EE26-A314-C5B7-6A7FA44D49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27.525" v="164422"/>
          <ac:graphicFrameMkLst>
            <pc:docMk/>
            <pc:sldMk cId="755828523" sldId="2147483089"/>
            <ac:graphicFrameMk id="381" creationId="{9012F1CD-7487-E307-7CEA-E2829313D54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9:03.573" v="171248"/>
          <ac:graphicFrameMkLst>
            <pc:docMk/>
            <pc:sldMk cId="755828523" sldId="2147483089"/>
            <ac:graphicFrameMk id="383" creationId="{2684FD93-BE50-E8D9-C722-229D6209B09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4:33.552" v="165316"/>
          <ac:graphicFrameMkLst>
            <pc:docMk/>
            <pc:sldMk cId="755828523" sldId="2147483089"/>
            <ac:graphicFrameMk id="384" creationId="{A38009F2-85A8-1F27-09FB-760CF90C60C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7:06.876" v="169254"/>
          <ac:graphicFrameMkLst>
            <pc:docMk/>
            <pc:sldMk cId="755828523" sldId="2147483089"/>
            <ac:graphicFrameMk id="385" creationId="{19B24007-B2E9-480E-716E-1F0AD7DDF7A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6:03.913" v="168711"/>
          <ac:graphicFrameMkLst>
            <pc:docMk/>
            <pc:sldMk cId="755828523" sldId="2147483089"/>
            <ac:graphicFrameMk id="389" creationId="{955CEB87-91B0-2BFF-C017-599F9C8F750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6:02.912" v="168530"/>
          <ac:graphicFrameMkLst>
            <pc:docMk/>
            <pc:sldMk cId="755828523" sldId="2147483089"/>
            <ac:graphicFrameMk id="391" creationId="{DE3A06BE-046D-CD5F-2F51-5C8BFE1F56E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6:01.962" v="168336"/>
          <ac:graphicFrameMkLst>
            <pc:docMk/>
            <pc:sldMk cId="755828523" sldId="2147483089"/>
            <ac:graphicFrameMk id="394" creationId="{05AE5AF3-C374-D75C-1B29-7C49268770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6:00.769" v="168189"/>
          <ac:graphicFrameMkLst>
            <pc:docMk/>
            <pc:sldMk cId="755828523" sldId="2147483089"/>
            <ac:graphicFrameMk id="395" creationId="{691DCD88-0FC1-24C2-DE0F-537C8077A3B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5:59.785" v="168084"/>
          <ac:graphicFrameMkLst>
            <pc:docMk/>
            <pc:sldMk cId="755828523" sldId="2147483089"/>
            <ac:graphicFrameMk id="399" creationId="{31833E18-4282-A119-F5EA-7A3554A88147}"/>
          </ac:graphicFrameMkLst>
        </pc:graphicFrameChg>
        <pc:graphicFrameChg chg="add mod">
          <ac:chgData name="Yudi Zhu" userId="571e1a55-055f-4c28-8b35-fca6dd1c1369" providerId="ADAL" clId="{75A88773-6EE1-484E-AADE-FE631E01463B}" dt="2025-11-21T06:35:58.933" v="167986"/>
          <ac:graphicFrameMkLst>
            <pc:docMk/>
            <pc:sldMk cId="755828523" sldId="2147483089"/>
            <ac:graphicFrameMk id="400" creationId="{3F8D76C5-1E7B-78C3-35A7-8E932A05D84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7:11.864" v="169628"/>
          <ac:graphicFrameMkLst>
            <pc:docMk/>
            <pc:sldMk cId="755828523" sldId="2147483089"/>
            <ac:graphicFrameMk id="405" creationId="{3B74445F-7695-FEEA-908D-EE0492D933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7:33.949" v="169986"/>
          <ac:graphicFrameMkLst>
            <pc:docMk/>
            <pc:sldMk cId="755828523" sldId="2147483089"/>
            <ac:graphicFrameMk id="412" creationId="{83FB705E-4F7E-9A0F-5518-0EF3D32F627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7:44.191" v="170260"/>
          <ac:graphicFrameMkLst>
            <pc:docMk/>
            <pc:sldMk cId="755828523" sldId="2147483089"/>
            <ac:graphicFrameMk id="414" creationId="{2D132405-8710-86CF-3DB9-BCC71E2A1F1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0:16.513" v="172364"/>
          <ac:graphicFrameMkLst>
            <pc:docMk/>
            <pc:sldMk cId="755828523" sldId="2147483089"/>
            <ac:graphicFrameMk id="416" creationId="{01D34976-7BD4-5640-46D5-49194941F1F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39:05.617" v="171537"/>
          <ac:graphicFrameMkLst>
            <pc:docMk/>
            <pc:sldMk cId="755828523" sldId="2147483089"/>
            <ac:graphicFrameMk id="421" creationId="{8DB83967-49BA-AE8C-B7C7-CCE7118701B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17.509" v="178381"/>
          <ac:graphicFrameMkLst>
            <pc:docMk/>
            <pc:sldMk cId="755828523" sldId="2147483089"/>
            <ac:graphicFrameMk id="422" creationId="{6B40DABA-4CEB-0B50-8FDB-80860C14A0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1:00.580" v="172658"/>
          <ac:graphicFrameMkLst>
            <pc:docMk/>
            <pc:sldMk cId="755828523" sldId="2147483089"/>
            <ac:graphicFrameMk id="429" creationId="{B767A6EB-3CB7-1B4F-D38C-D57932C1D9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1:42.237" v="172963"/>
          <ac:graphicFrameMkLst>
            <pc:docMk/>
            <pc:sldMk cId="755828523" sldId="2147483089"/>
            <ac:graphicFrameMk id="432" creationId="{CCD33547-0410-0952-4C25-A6666976CC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2:50.976" v="173967"/>
          <ac:graphicFrameMkLst>
            <pc:docMk/>
            <pc:sldMk cId="755828523" sldId="2147483089"/>
            <ac:graphicFrameMk id="436" creationId="{9091F60E-753C-8A22-1C1F-6BCA4BE1036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2:57.413" v="174198"/>
          <ac:graphicFrameMkLst>
            <pc:docMk/>
            <pc:sldMk cId="755828523" sldId="2147483089"/>
            <ac:graphicFrameMk id="453" creationId="{DA17D6DC-66F3-E32D-F6D3-80D5063ABA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00.110" v="174427"/>
          <ac:graphicFrameMkLst>
            <pc:docMk/>
            <pc:sldMk cId="755828523" sldId="2147483089"/>
            <ac:graphicFrameMk id="454" creationId="{D52F9F2E-FF1F-6022-AD9A-066D8127377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01.141" v="174656"/>
          <ac:graphicFrameMkLst>
            <pc:docMk/>
            <pc:sldMk cId="755828523" sldId="2147483089"/>
            <ac:graphicFrameMk id="455" creationId="{76F58B15-17D8-61D3-94FF-7A254B4D57A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03.894" v="174885"/>
          <ac:graphicFrameMkLst>
            <pc:docMk/>
            <pc:sldMk cId="755828523" sldId="2147483089"/>
            <ac:graphicFrameMk id="456" creationId="{D81C708F-9632-624B-FF4D-950F0BC9B41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31.401" v="175675"/>
          <ac:graphicFrameMkLst>
            <pc:docMk/>
            <pc:sldMk cId="755828523" sldId="2147483089"/>
            <ac:graphicFrameMk id="457" creationId="{151B4A33-8214-8BDF-3ECF-1E06CC913981}"/>
          </ac:graphicFrameMkLst>
        </pc:graphicFrameChg>
        <pc:graphicFrameChg chg="add mod">
          <ac:chgData name="Yudi Zhu" userId="571e1a55-055f-4c28-8b35-fca6dd1c1369" providerId="ADAL" clId="{75A88773-6EE1-484E-AADE-FE631E01463B}" dt="2025-11-21T06:43:25.928" v="175432"/>
          <ac:graphicFrameMkLst>
            <pc:docMk/>
            <pc:sldMk cId="755828523" sldId="2147483089"/>
            <ac:graphicFrameMk id="458" creationId="{F07898BF-A913-3C2F-2F49-8225AE44966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33.630" v="175906"/>
          <ac:graphicFrameMkLst>
            <pc:docMk/>
            <pc:sldMk cId="755828523" sldId="2147483089"/>
            <ac:graphicFrameMk id="460" creationId="{EFC6CDF1-92A8-407B-DE3A-F74FEE353D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37.049" v="176149"/>
          <ac:graphicFrameMkLst>
            <pc:docMk/>
            <pc:sldMk cId="755828523" sldId="2147483089"/>
            <ac:graphicFrameMk id="461" creationId="{D41BCCF0-6486-8FFF-5481-3CF8F9DBAF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42.133" v="176392"/>
          <ac:graphicFrameMkLst>
            <pc:docMk/>
            <pc:sldMk cId="755828523" sldId="2147483089"/>
            <ac:graphicFrameMk id="462" creationId="{9C33E2A1-AF04-9B52-1FCF-FAB318ACA9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43.529" v="176621"/>
          <ac:graphicFrameMkLst>
            <pc:docMk/>
            <pc:sldMk cId="755828523" sldId="2147483089"/>
            <ac:graphicFrameMk id="463" creationId="{E714C7AB-076F-25B4-B685-22A3330A8D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45.563" v="176850"/>
          <ac:graphicFrameMkLst>
            <pc:docMk/>
            <pc:sldMk cId="755828523" sldId="2147483089"/>
            <ac:graphicFrameMk id="464" creationId="{F918A7B2-DD6B-5FB8-FAB6-1CD55351E2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3:48.844" v="177089"/>
          <ac:graphicFrameMkLst>
            <pc:docMk/>
            <pc:sldMk cId="755828523" sldId="2147483089"/>
            <ac:graphicFrameMk id="465" creationId="{3B9F2727-D908-3D91-22DB-4409E8E4360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33.562" v="180435"/>
          <ac:graphicFrameMkLst>
            <pc:docMk/>
            <pc:sldMk cId="755828523" sldId="2147483089"/>
            <ac:graphicFrameMk id="466" creationId="{5E5EFCD5-CDC5-0367-B5A7-CCFCD34928F5}"/>
          </ac:graphicFrameMkLst>
        </pc:graphicFrameChg>
        <pc:graphicFrameChg chg="add mod">
          <ac:chgData name="Yudi Zhu" userId="571e1a55-055f-4c28-8b35-fca6dd1c1369" providerId="ADAL" clId="{75A88773-6EE1-484E-AADE-FE631E01463B}" dt="2025-11-21T06:44:14.776" v="178068"/>
          <ac:graphicFrameMkLst>
            <pc:docMk/>
            <pc:sldMk cId="755828523" sldId="2147483089"/>
            <ac:graphicFrameMk id="468" creationId="{36539391-009C-9766-7961-8F9F74926DF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21.531" v="178647"/>
          <ac:graphicFrameMkLst>
            <pc:docMk/>
            <pc:sldMk cId="755828523" sldId="2147483089"/>
            <ac:graphicFrameMk id="470" creationId="{ADF54C92-63A4-B71E-9BDB-0C6567DACD9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25.672" v="179226"/>
          <ac:graphicFrameMkLst>
            <pc:docMk/>
            <pc:sldMk cId="755828523" sldId="2147483089"/>
            <ac:graphicFrameMk id="472" creationId="{5DF82BE0-5935-D3C0-8E9F-10EEFAF0867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8:25.441" v="192244"/>
          <ac:graphicFrameMkLst>
            <pc:docMk/>
            <pc:sldMk cId="755828523" sldId="2147483089"/>
            <ac:graphicFrameMk id="479" creationId="{485A7381-C4F1-B165-B682-AA6E6593B24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36.732" v="181344"/>
          <ac:graphicFrameMkLst>
            <pc:docMk/>
            <pc:sldMk cId="755828523" sldId="2147483089"/>
            <ac:graphicFrameMk id="490" creationId="{080EA62A-3E4D-C5A2-B1EB-4ED1C5F51CC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43" v="182371"/>
          <ac:graphicFrameMkLst>
            <pc:docMk/>
            <pc:sldMk cId="755828523" sldId="2147483089"/>
            <ac:graphicFrameMk id="492" creationId="{305026FB-7FF3-B694-44B7-B47B2CC61DB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4:57.930" v="183443"/>
          <ac:graphicFrameMkLst>
            <pc:docMk/>
            <pc:sldMk cId="755828523" sldId="2147483089"/>
            <ac:graphicFrameMk id="509" creationId="{72C8FBC5-7EDA-F71B-D927-E1295C1ED7D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07.125" v="183718"/>
          <ac:graphicFrameMkLst>
            <pc:docMk/>
            <pc:sldMk cId="755828523" sldId="2147483089"/>
            <ac:graphicFrameMk id="511" creationId="{83B7CCEE-607B-1490-B6C0-550DFED0EE9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14.635" v="183981"/>
          <ac:graphicFrameMkLst>
            <pc:docMk/>
            <pc:sldMk cId="755828523" sldId="2147483089"/>
            <ac:graphicFrameMk id="512" creationId="{17CF90AE-E75C-1C7A-3199-F20C6E6777C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17.975" v="184244"/>
          <ac:graphicFrameMkLst>
            <pc:docMk/>
            <pc:sldMk cId="755828523" sldId="2147483089"/>
            <ac:graphicFrameMk id="513" creationId="{4C3E316F-F204-F8E6-7E7E-C9B9E371A59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25.200" v="185026"/>
          <ac:graphicFrameMkLst>
            <pc:docMk/>
            <pc:sldMk cId="755828523" sldId="2147483089"/>
            <ac:graphicFrameMk id="514" creationId="{C7323065-B689-F792-263E-A6432D6DBE9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31.822" v="185856"/>
          <ac:graphicFrameMkLst>
            <pc:docMk/>
            <pc:sldMk cId="755828523" sldId="2147483089"/>
            <ac:graphicFrameMk id="516" creationId="{815C6312-F281-4B1A-1DB0-2263A9ABF7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35.896" v="186840"/>
          <ac:graphicFrameMkLst>
            <pc:docMk/>
            <pc:sldMk cId="755828523" sldId="2147483089"/>
            <ac:graphicFrameMk id="518" creationId="{15FACB25-CE43-10B2-D87B-9DA375791D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46.521" v="187434"/>
          <ac:graphicFrameMkLst>
            <pc:docMk/>
            <pc:sldMk cId="755828523" sldId="2147483089"/>
            <ac:graphicFrameMk id="520" creationId="{16C382A8-B5DE-0F3B-F7C3-51FAD7FBF7B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5:49.927" v="187988"/>
          <ac:graphicFrameMkLst>
            <pc:docMk/>
            <pc:sldMk cId="755828523" sldId="2147483089"/>
            <ac:graphicFrameMk id="521" creationId="{DA7FC8B2-9011-DE06-1AAD-8B8D5F802C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8:23.134" v="191867"/>
          <ac:graphicFrameMkLst>
            <pc:docMk/>
            <pc:sldMk cId="755828523" sldId="2147483089"/>
            <ac:graphicFrameMk id="522" creationId="{18E9EC9A-43C2-E52D-6C4A-779B7749B7FD}"/>
          </ac:graphicFrameMkLst>
        </pc:graphicFrameChg>
        <pc:graphicFrameChg chg="add del mod ord modGraphic">
          <ac:chgData name="Yudi Zhu" userId="571e1a55-055f-4c28-8b35-fca6dd1c1369" providerId="ADAL" clId="{75A88773-6EE1-484E-AADE-FE631E01463B}" dt="2025-11-21T07:24:13.446" v="236001" actId="478"/>
          <ac:graphicFrameMkLst>
            <pc:docMk/>
            <pc:sldMk cId="755828523" sldId="2147483089"/>
            <ac:graphicFrameMk id="523" creationId="{7BE15C71-6EDB-9423-3D24-CB44A16525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8:27.789" v="193197"/>
          <ac:graphicFrameMkLst>
            <pc:docMk/>
            <pc:sldMk cId="755828523" sldId="2147483089"/>
            <ac:graphicFrameMk id="524" creationId="{83BAA873-3574-D2AA-8088-49FF743F470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9:47.886" v="193678"/>
          <ac:graphicFrameMkLst>
            <pc:docMk/>
            <pc:sldMk cId="755828523" sldId="2147483089"/>
            <ac:graphicFrameMk id="526" creationId="{04964B05-880E-EE67-5A8E-0D007434AF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9:49.686" v="194631"/>
          <ac:graphicFrameMkLst>
            <pc:docMk/>
            <pc:sldMk cId="755828523" sldId="2147483089"/>
            <ac:graphicFrameMk id="527" creationId="{77A0EDB2-CB65-C785-5B77-CBE1C6E3298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2:40.448" v="196883"/>
          <ac:graphicFrameMkLst>
            <pc:docMk/>
            <pc:sldMk cId="755828523" sldId="2147483089"/>
            <ac:graphicFrameMk id="529" creationId="{7A2C6514-6637-C060-E93B-A641A76FAF8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0:11.338" v="195315"/>
          <ac:graphicFrameMkLst>
            <pc:docMk/>
            <pc:sldMk cId="755828523" sldId="2147483089"/>
            <ac:graphicFrameMk id="530" creationId="{36B6DEA9-08B3-AAEE-BB43-9E95C26BAE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0:17.749" v="195576"/>
          <ac:graphicFrameMkLst>
            <pc:docMk/>
            <pc:sldMk cId="755828523" sldId="2147483089"/>
            <ac:graphicFrameMk id="531" creationId="{7E9DB420-09AD-9CBF-9439-C8915809E7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0:26.603" v="196290"/>
          <ac:graphicFrameMkLst>
            <pc:docMk/>
            <pc:sldMk cId="755828523" sldId="2147483089"/>
            <ac:graphicFrameMk id="532" creationId="{69834520-897C-C2BF-4F78-6B91184FA3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2:42.825" v="197496"/>
          <ac:graphicFrameMkLst>
            <pc:docMk/>
            <pc:sldMk cId="755828523" sldId="2147483089"/>
            <ac:graphicFrameMk id="539" creationId="{37D979FE-A574-9F91-EF07-B731E23816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6:54.837" v="200381"/>
          <ac:graphicFrameMkLst>
            <pc:docMk/>
            <pc:sldMk cId="755828523" sldId="2147483089"/>
            <ac:graphicFrameMk id="541" creationId="{CC7D84D0-577A-78CB-9A6F-46E2EF9941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2:45.322" v="198107"/>
          <ac:graphicFrameMkLst>
            <pc:docMk/>
            <pc:sldMk cId="755828523" sldId="2147483089"/>
            <ac:graphicFrameMk id="542" creationId="{6360B6BB-5E25-750C-016A-0DD2815C90A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2:47.966" v="198718"/>
          <ac:graphicFrameMkLst>
            <pc:docMk/>
            <pc:sldMk cId="755828523" sldId="2147483089"/>
            <ac:graphicFrameMk id="543" creationId="{57516245-467E-AEFD-4B5D-F3CD030B97F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3:05.081" v="199341"/>
          <ac:graphicFrameMkLst>
            <pc:docMk/>
            <pc:sldMk cId="755828523" sldId="2147483089"/>
            <ac:graphicFrameMk id="544" creationId="{78146863-7B8F-ADB0-303C-C7F8883B43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53:06.895" v="199960"/>
          <ac:graphicFrameMkLst>
            <pc:docMk/>
            <pc:sldMk cId="755828523" sldId="2147483089"/>
            <ac:graphicFrameMk id="545" creationId="{24D7B870-5A9C-9444-70DD-B192957AA71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19.782" v="206346"/>
          <ac:graphicFrameMkLst>
            <pc:docMk/>
            <pc:sldMk cId="755828523" sldId="2147483089"/>
            <ac:graphicFrameMk id="546" creationId="{13A3CB80-2BC6-A227-C307-EF0B2BCF63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00.483" v="200798"/>
          <ac:graphicFrameMkLst>
            <pc:docMk/>
            <pc:sldMk cId="755828523" sldId="2147483089"/>
            <ac:graphicFrameMk id="551" creationId="{40E7E986-4165-66F4-D7FB-E6EFC0E508D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20.951" v="203631"/>
          <ac:graphicFrameMkLst>
            <pc:docMk/>
            <pc:sldMk cId="755828523" sldId="2147483089"/>
            <ac:graphicFrameMk id="556" creationId="{6912E29A-2F7E-245A-EDB9-8A9A1BC7869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15.947" v="203306"/>
          <ac:graphicFrameMkLst>
            <pc:docMk/>
            <pc:sldMk cId="755828523" sldId="2147483089"/>
            <ac:graphicFrameMk id="564" creationId="{1EA47916-0EA3-FF24-BFA4-947EC3BCA7F9}"/>
          </ac:graphicFrameMkLst>
        </pc:graphicFrameChg>
        <pc:graphicFrameChg chg="add mod">
          <ac:chgData name="Yudi Zhu" userId="571e1a55-055f-4c28-8b35-fca6dd1c1369" providerId="ADAL" clId="{75A88773-6EE1-484E-AADE-FE631E01463B}" dt="2025-11-21T07:07:15.413" v="202960"/>
          <ac:graphicFrameMkLst>
            <pc:docMk/>
            <pc:sldMk cId="755828523" sldId="2147483089"/>
            <ac:graphicFrameMk id="576" creationId="{74D236DA-7658-6412-C0EA-E3D9546D4C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29.985" v="203962"/>
          <ac:graphicFrameMkLst>
            <pc:docMk/>
            <pc:sldMk cId="755828523" sldId="2147483089"/>
            <ac:graphicFrameMk id="581" creationId="{50749C61-C081-B79D-A854-DF9E1877955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32.286" v="204275"/>
          <ac:graphicFrameMkLst>
            <pc:docMk/>
            <pc:sldMk cId="755828523" sldId="2147483089"/>
            <ac:graphicFrameMk id="583" creationId="{2CD3D134-3941-6525-8F46-859C45F0116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7:34.296" v="204618"/>
          <ac:graphicFrameMkLst>
            <pc:docMk/>
            <pc:sldMk cId="755828523" sldId="2147483089"/>
            <ac:graphicFrameMk id="585" creationId="{2796D043-4BC3-6CD6-9F3A-D6E35BBD9BC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06.330" v="205668"/>
          <ac:graphicFrameMkLst>
            <pc:docMk/>
            <pc:sldMk cId="755828523" sldId="2147483089"/>
            <ac:graphicFrameMk id="587" creationId="{2D68FF87-D220-745D-1076-424951A487F4}"/>
          </ac:graphicFrameMkLst>
        </pc:graphicFrameChg>
        <pc:graphicFrameChg chg="add mod">
          <ac:chgData name="Yudi Zhu" userId="571e1a55-055f-4c28-8b35-fca6dd1c1369" providerId="ADAL" clId="{75A88773-6EE1-484E-AADE-FE631E01463B}" dt="2025-11-21T07:07:55.934" v="205390"/>
          <ac:graphicFrameMkLst>
            <pc:docMk/>
            <pc:sldMk cId="755828523" sldId="2147483089"/>
            <ac:graphicFrameMk id="589" creationId="{A9B7FE1D-9007-E794-6EA2-CF9A2CBA960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6:09.229" v="235238"/>
          <ac:graphicFrameMkLst>
            <pc:docMk/>
            <pc:sldMk cId="755828523" sldId="2147483089"/>
            <ac:graphicFrameMk id="591" creationId="{9E782374-10B6-E38F-64EE-8FFD5F179AA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29.646" v="206761"/>
          <ac:graphicFrameMkLst>
            <pc:docMk/>
            <pc:sldMk cId="755828523" sldId="2147483089"/>
            <ac:graphicFrameMk id="593" creationId="{C3A8A9D9-AB28-3710-A290-8BCF2E98F0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41.249" v="207166"/>
          <ac:graphicFrameMkLst>
            <pc:docMk/>
            <pc:sldMk cId="755828523" sldId="2147483089"/>
            <ac:graphicFrameMk id="594" creationId="{F89A48CE-2E79-72BE-071F-7A3F1B88CD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48.049" v="207487"/>
          <ac:graphicFrameMkLst>
            <pc:docMk/>
            <pc:sldMk cId="755828523" sldId="2147483089"/>
            <ac:graphicFrameMk id="595" creationId="{A648229B-09B7-3F36-E303-2EE0C21B77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8:52.878" v="207794"/>
          <ac:graphicFrameMkLst>
            <pc:docMk/>
            <pc:sldMk cId="755828523" sldId="2147483089"/>
            <ac:graphicFrameMk id="596" creationId="{BF171E92-36F2-7AE8-BC66-D09E5E30FDA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00.394" v="208095"/>
          <ac:graphicFrameMkLst>
            <pc:docMk/>
            <pc:sldMk cId="755828523" sldId="2147483089"/>
            <ac:graphicFrameMk id="597" creationId="{0966CBAF-679A-E689-E8E8-F5C34A76661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02.598" v="208378"/>
          <ac:graphicFrameMkLst>
            <pc:docMk/>
            <pc:sldMk cId="755828523" sldId="2147483089"/>
            <ac:graphicFrameMk id="598" creationId="{25920514-5028-526C-02AD-C0F93DBD74E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04.896" v="208933"/>
          <ac:graphicFrameMkLst>
            <pc:docMk/>
            <pc:sldMk cId="755828523" sldId="2147483089"/>
            <ac:graphicFrameMk id="599" creationId="{93853C21-6954-0273-578B-BB4B3734805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31.026" v="209215"/>
          <ac:graphicFrameMkLst>
            <pc:docMk/>
            <pc:sldMk cId="755828523" sldId="2147483089"/>
            <ac:graphicFrameMk id="601" creationId="{D1284130-25CD-76FB-CEC5-AC7F05CF392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32.697" v="209495"/>
          <ac:graphicFrameMkLst>
            <pc:docMk/>
            <pc:sldMk cId="755828523" sldId="2147483089"/>
            <ac:graphicFrameMk id="602" creationId="{497264A3-1C46-E1AF-4DE3-99576E3B14A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45.741" v="214081"/>
          <ac:graphicFrameMkLst>
            <pc:docMk/>
            <pc:sldMk cId="755828523" sldId="2147483089"/>
            <ac:graphicFrameMk id="603" creationId="{0021D5E3-123D-45D0-CBDA-9D37F1CB1CE7}"/>
          </ac:graphicFrameMkLst>
        </pc:graphicFrameChg>
        <pc:graphicFrameChg chg="add mod">
          <ac:chgData name="Yudi Zhu" userId="571e1a55-055f-4c28-8b35-fca6dd1c1369" providerId="ADAL" clId="{75A88773-6EE1-484E-AADE-FE631E01463B}" dt="2025-11-21T07:09:42.298" v="213744"/>
          <ac:graphicFrameMkLst>
            <pc:docMk/>
            <pc:sldMk cId="755828523" sldId="2147483089"/>
            <ac:graphicFrameMk id="660" creationId="{B3CDA1E1-6F3F-1203-5CE7-10470EA5CC2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09:49.248" v="214363"/>
          <ac:graphicFrameMkLst>
            <pc:docMk/>
            <pc:sldMk cId="755828523" sldId="2147483089"/>
            <ac:graphicFrameMk id="662" creationId="{57C69377-8004-2764-F534-CB28503888E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3:24.586" v="227804"/>
          <ac:graphicFrameMkLst>
            <pc:docMk/>
            <pc:sldMk cId="755828523" sldId="2147483089"/>
            <ac:graphicFrameMk id="663" creationId="{2D1F331F-6F2C-DDDD-6C01-64C09FED880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0:50.927" v="215184"/>
          <ac:graphicFrameMkLst>
            <pc:docMk/>
            <pc:sldMk cId="755828523" sldId="2147483089"/>
            <ac:graphicFrameMk id="670" creationId="{8F6E6689-AD5D-5656-06E2-C166EA075C3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3:26.837" v="228084"/>
          <ac:graphicFrameMkLst>
            <pc:docMk/>
            <pc:sldMk cId="755828523" sldId="2147483089"/>
            <ac:graphicFrameMk id="671" creationId="{28AAC5B2-B0EA-964C-B704-FA578C9724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3:45.084" v="228364"/>
          <ac:graphicFrameMkLst>
            <pc:docMk/>
            <pc:sldMk cId="755828523" sldId="2147483089"/>
            <ac:graphicFrameMk id="672" creationId="{28964B81-35DD-B539-D2D7-55ADE549DBD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4:26.094" v="228644"/>
          <ac:graphicFrameMkLst>
            <pc:docMk/>
            <pc:sldMk cId="755828523" sldId="2147483089"/>
            <ac:graphicFrameMk id="673" creationId="{1088FA38-0590-26F8-F7A9-F6F79EF72D6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4:28.057" v="228924"/>
          <ac:graphicFrameMkLst>
            <pc:docMk/>
            <pc:sldMk cId="755828523" sldId="2147483089"/>
            <ac:graphicFrameMk id="674" creationId="{BD1C347D-5E8F-7C7E-D167-CB82E7C96CE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4:29.002" v="229204"/>
          <ac:graphicFrameMkLst>
            <pc:docMk/>
            <pc:sldMk cId="755828523" sldId="2147483089"/>
            <ac:graphicFrameMk id="675" creationId="{98F76D43-6D60-E467-2177-1E97838AE3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4:36.483" v="229484"/>
          <ac:graphicFrameMkLst>
            <pc:docMk/>
            <pc:sldMk cId="755828523" sldId="2147483089"/>
            <ac:graphicFrameMk id="676" creationId="{91FD8706-00AE-8C30-1760-A28642CD251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5:36.226" v="234591"/>
          <ac:graphicFrameMkLst>
            <pc:docMk/>
            <pc:sldMk cId="755828523" sldId="2147483089"/>
            <ac:graphicFrameMk id="677" creationId="{F8EA0FED-F23E-005C-7CF1-33C7D9550FC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4:52.629" v="233119" actId="1076"/>
          <ac:graphicFrameMkLst>
            <pc:docMk/>
            <pc:sldMk cId="755828523" sldId="2147483089"/>
            <ac:graphicFrameMk id="731" creationId="{44389D00-10CC-08EF-5936-8A8E369FAB44}"/>
          </ac:graphicFrameMkLst>
        </pc:graphicFrameChg>
        <pc:graphicFrameChg chg="add mod">
          <ac:chgData name="Yudi Zhu" userId="571e1a55-055f-4c28-8b35-fca6dd1c1369" providerId="ADAL" clId="{75A88773-6EE1-484E-AADE-FE631E01463B}" dt="2025-11-21T07:14:52.544" v="232925" actId="1076"/>
          <ac:graphicFrameMkLst>
            <pc:docMk/>
            <pc:sldMk cId="755828523" sldId="2147483089"/>
            <ac:graphicFrameMk id="733" creationId="{4C521191-6AF9-2C9D-FC41-483DB6A9E4D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4:16.216" v="236371"/>
          <ac:graphicFrameMkLst>
            <pc:docMk/>
            <pc:sldMk cId="755828523" sldId="2147483089"/>
            <ac:graphicFrameMk id="735" creationId="{BCB23B61-E1B3-B4B8-7C62-259AAD1FAF6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6:12.378" v="235718"/>
          <ac:graphicFrameMkLst>
            <pc:docMk/>
            <pc:sldMk cId="755828523" sldId="2147483089"/>
            <ac:graphicFrameMk id="737" creationId="{1CD09B46-3F15-DDEA-7AA1-0CF264CE62D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45.885" v="269742"/>
          <ac:graphicFrameMkLst>
            <pc:docMk/>
            <pc:sldMk cId="755828523" sldId="2147483089"/>
            <ac:graphicFrameMk id="740" creationId="{B5558148-4A5F-7697-6503-AD538D9AE84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4:18.630" v="237189"/>
          <ac:graphicFrameMkLst>
            <pc:docMk/>
            <pc:sldMk cId="755828523" sldId="2147483089"/>
            <ac:graphicFrameMk id="741" creationId="{5D2A53F2-060B-E34B-4F89-17D6F3B56DC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5:58.442" v="237420"/>
          <ac:graphicFrameMkLst>
            <pc:docMk/>
            <pc:sldMk cId="755828523" sldId="2147483089"/>
            <ac:graphicFrameMk id="742" creationId="{A2A29063-9B02-5E03-E395-51DDDC450DD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5:59.442" v="237651"/>
          <ac:graphicFrameMkLst>
            <pc:docMk/>
            <pc:sldMk cId="755828523" sldId="2147483089"/>
            <ac:graphicFrameMk id="743" creationId="{C1FBE1C7-1220-EBA4-C33F-31B66B93719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02.980" v="237882"/>
          <ac:graphicFrameMkLst>
            <pc:docMk/>
            <pc:sldMk cId="755828523" sldId="2147483089"/>
            <ac:graphicFrameMk id="744" creationId="{0E0C2827-AB8D-B210-1B76-BEAA7BF2964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29.587" v="242456"/>
          <ac:graphicFrameMkLst>
            <pc:docMk/>
            <pc:sldMk cId="755828523" sldId="2147483089"/>
            <ac:graphicFrameMk id="745" creationId="{0D59FDE2-C1D8-D346-25AD-338120EBD905}"/>
          </ac:graphicFrameMkLst>
        </pc:graphicFrameChg>
        <pc:graphicFrameChg chg="add mod">
          <ac:chgData name="Yudi Zhu" userId="571e1a55-055f-4c28-8b35-fca6dd1c1369" providerId="ADAL" clId="{75A88773-6EE1-484E-AADE-FE631E01463B}" dt="2025-11-21T07:26:25.459" v="241033" actId="1076"/>
          <ac:graphicFrameMkLst>
            <pc:docMk/>
            <pc:sldMk cId="755828523" sldId="2147483089"/>
            <ac:graphicFrameMk id="807" creationId="{2A431348-F84D-D264-14AD-82419BA4A1B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32.595" v="242689"/>
          <ac:graphicFrameMkLst>
            <pc:docMk/>
            <pc:sldMk cId="755828523" sldId="2147483089"/>
            <ac:graphicFrameMk id="809" creationId="{69CC83D5-59E0-0301-0424-F6CA61144E9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44.546" v="242920"/>
          <ac:graphicFrameMkLst>
            <pc:docMk/>
            <pc:sldMk cId="755828523" sldId="2147483089"/>
            <ac:graphicFrameMk id="810" creationId="{31367CAF-C304-FC8E-8DA5-009D6E3CE6C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47.464" v="243151"/>
          <ac:graphicFrameMkLst>
            <pc:docMk/>
            <pc:sldMk cId="755828523" sldId="2147483089"/>
            <ac:graphicFrameMk id="811" creationId="{6E0F8B25-0EFB-BCE5-AB30-A5D30D6B9D2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48.543" v="243382"/>
          <ac:graphicFrameMkLst>
            <pc:docMk/>
            <pc:sldMk cId="755828523" sldId="2147483089"/>
            <ac:graphicFrameMk id="812" creationId="{6F57B5E9-E351-C9C4-6462-58CC30B208A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49.530" v="243614"/>
          <ac:graphicFrameMkLst>
            <pc:docMk/>
            <pc:sldMk cId="755828523" sldId="2147483089"/>
            <ac:graphicFrameMk id="813" creationId="{2F3C25D1-4751-8EB3-00CC-68F0C055C77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51.995" v="243846"/>
          <ac:graphicFrameMkLst>
            <pc:docMk/>
            <pc:sldMk cId="755828523" sldId="2147483089"/>
            <ac:graphicFrameMk id="815" creationId="{A5EE55D8-950C-8259-BFAA-A1B9FF2125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6:54.322" v="244078"/>
          <ac:graphicFrameMkLst>
            <pc:docMk/>
            <pc:sldMk cId="755828523" sldId="2147483089"/>
            <ac:graphicFrameMk id="816" creationId="{059ECAF3-0332-3397-7F6D-5AB01405CAB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7:21.963" v="248543"/>
          <ac:graphicFrameMkLst>
            <pc:docMk/>
            <pc:sldMk cId="755828523" sldId="2147483089"/>
            <ac:graphicFrameMk id="817" creationId="{D3EB7EDB-29CF-82FC-D246-D592A5377607}"/>
          </ac:graphicFrameMkLst>
        </pc:graphicFrameChg>
        <pc:graphicFrameChg chg="add mod">
          <ac:chgData name="Yudi Zhu" userId="571e1a55-055f-4c28-8b35-fca6dd1c1369" providerId="ADAL" clId="{75A88773-6EE1-484E-AADE-FE631E01463B}" dt="2025-11-21T07:27:19.279" v="248206"/>
          <ac:graphicFrameMkLst>
            <pc:docMk/>
            <pc:sldMk cId="755828523" sldId="2147483089"/>
            <ac:graphicFrameMk id="879" creationId="{A3F12F8F-F17C-DC66-D404-D8071798BF8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7:23.120" v="248777"/>
          <ac:graphicFrameMkLst>
            <pc:docMk/>
            <pc:sldMk cId="755828523" sldId="2147483089"/>
            <ac:graphicFrameMk id="881" creationId="{08D57691-844F-854F-18F8-AB0E22C417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7:25.154" v="249009"/>
          <ac:graphicFrameMkLst>
            <pc:docMk/>
            <pc:sldMk cId="755828523" sldId="2147483089"/>
            <ac:graphicFrameMk id="882" creationId="{0AAD017E-F21C-0810-6F28-ABA1E22B94D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4:20.928" v="255695"/>
          <ac:graphicFrameMkLst>
            <pc:docMk/>
            <pc:sldMk cId="755828523" sldId="2147483089"/>
            <ac:graphicFrameMk id="883" creationId="{77BC8811-C7B1-D293-E75B-EEC0D0589B1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27:49.572" v="255164"/>
          <ac:graphicFrameMkLst>
            <pc:docMk/>
            <pc:sldMk cId="755828523" sldId="2147483089"/>
            <ac:graphicFrameMk id="938" creationId="{D6C35511-3A8A-41C0-2D24-1F079DE5C53A}"/>
          </ac:graphicFrameMkLst>
        </pc:graphicFrameChg>
        <pc:graphicFrameChg chg="add mod">
          <ac:chgData name="Yudi Zhu" userId="571e1a55-055f-4c28-8b35-fca6dd1c1369" providerId="ADAL" clId="{75A88773-6EE1-484E-AADE-FE631E01463B}" dt="2025-11-21T07:27:46.926" v="253458" actId="1076"/>
          <ac:graphicFrameMkLst>
            <pc:docMk/>
            <pc:sldMk cId="755828523" sldId="2147483089"/>
            <ac:graphicFrameMk id="948" creationId="{63EC5117-5475-A9B9-B8E9-A22688B5FE6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4:22.303" v="255881"/>
          <ac:graphicFrameMkLst>
            <pc:docMk/>
            <pc:sldMk cId="755828523" sldId="2147483089"/>
            <ac:graphicFrameMk id="953" creationId="{23D05AAE-4B22-41A9-23FA-C8171585A8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4:25.829" v="256088"/>
          <ac:graphicFrameMkLst>
            <pc:docMk/>
            <pc:sldMk cId="755828523" sldId="2147483089"/>
            <ac:graphicFrameMk id="954" creationId="{4A6B54F7-9AB7-1F6D-0CCF-6AC8A7B51D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4:37.527" v="257481"/>
          <ac:graphicFrameMkLst>
            <pc:docMk/>
            <pc:sldMk cId="755828523" sldId="2147483089"/>
            <ac:graphicFrameMk id="957" creationId="{5FDDBE5A-DA53-796A-8DEF-04763930417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4:44.242" v="258171"/>
          <ac:graphicFrameMkLst>
            <pc:docMk/>
            <pc:sldMk cId="755828523" sldId="2147483089"/>
            <ac:graphicFrameMk id="980" creationId="{4BF32617-6F85-D5F4-620E-B5FC9FD05BF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5:18.899" v="258677"/>
          <ac:graphicFrameMkLst>
            <pc:docMk/>
            <pc:sldMk cId="755828523" sldId="2147483089"/>
            <ac:graphicFrameMk id="982" creationId="{3CD71F85-17EF-D4B5-6BD8-B1C5825C942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5:45.445" v="258988"/>
          <ac:graphicFrameMkLst>
            <pc:docMk/>
            <pc:sldMk cId="755828523" sldId="2147483089"/>
            <ac:graphicFrameMk id="989" creationId="{4C2ACFE9-8529-CAA3-45F9-0501E626921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5:52.752" v="259221"/>
          <ac:graphicFrameMkLst>
            <pc:docMk/>
            <pc:sldMk cId="755828523" sldId="2147483089"/>
            <ac:graphicFrameMk id="993" creationId="{79C81A24-A95B-A1E4-9D14-51DA457EB19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02.310" v="259412"/>
          <ac:graphicFrameMkLst>
            <pc:docMk/>
            <pc:sldMk cId="755828523" sldId="2147483089"/>
            <ac:graphicFrameMk id="996" creationId="{3601C8CA-A2F1-699F-2E71-F81B4DD621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08.227" v="259605"/>
          <ac:graphicFrameMkLst>
            <pc:docMk/>
            <pc:sldMk cId="755828523" sldId="2147483089"/>
            <ac:graphicFrameMk id="997" creationId="{D4E5B31E-4CC5-1EE8-0F38-BF1F29E58C3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17.160" v="259796"/>
          <ac:graphicFrameMkLst>
            <pc:docMk/>
            <pc:sldMk cId="755828523" sldId="2147483089"/>
            <ac:graphicFrameMk id="998" creationId="{802409A9-2076-31F6-257D-6DB33446F42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36.599" v="259989"/>
          <ac:graphicFrameMkLst>
            <pc:docMk/>
            <pc:sldMk cId="755828523" sldId="2147483089"/>
            <ac:graphicFrameMk id="999" creationId="{A3188E3B-1EA1-57A2-3FD0-206222B9B7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40.732" v="260180"/>
          <ac:graphicFrameMkLst>
            <pc:docMk/>
            <pc:sldMk cId="755828523" sldId="2147483089"/>
            <ac:graphicFrameMk id="1000" creationId="{69667876-1013-FEF6-56E6-0D09F64BDC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6:46.426" v="260371"/>
          <ac:graphicFrameMkLst>
            <pc:docMk/>
            <pc:sldMk cId="755828523" sldId="2147483089"/>
            <ac:graphicFrameMk id="1001" creationId="{38E85AF5-78EE-DE20-5DE2-58046C99E0E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03.199" v="260562"/>
          <ac:graphicFrameMkLst>
            <pc:docMk/>
            <pc:sldMk cId="755828523" sldId="2147483089"/>
            <ac:graphicFrameMk id="1002" creationId="{270EE8EB-F7E4-4541-51EB-56E58CD7D5D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14.206" v="260807"/>
          <ac:graphicFrameMkLst>
            <pc:docMk/>
            <pc:sldMk cId="755828523" sldId="2147483089"/>
            <ac:graphicFrameMk id="1003" creationId="{ECDEC8E5-EBF0-C8E9-BFE0-D589FF0F2C9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20.229" v="261099"/>
          <ac:graphicFrameMkLst>
            <pc:docMk/>
            <pc:sldMk cId="755828523" sldId="2147483089"/>
            <ac:graphicFrameMk id="1004" creationId="{155A7C19-9862-422D-681F-5D8D2EC4CE3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21.532" v="261377"/>
          <ac:graphicFrameMkLst>
            <pc:docMk/>
            <pc:sldMk cId="755828523" sldId="2147483089"/>
            <ac:graphicFrameMk id="1009" creationId="{E74C0068-E336-2595-56BB-E1BF9286844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21.845" v="261558"/>
          <ac:graphicFrameMkLst>
            <pc:docMk/>
            <pc:sldMk cId="755828523" sldId="2147483089"/>
            <ac:graphicFrameMk id="1012" creationId="{A8097DC2-194D-02F6-5E72-A271EB465BF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31.455" v="261888"/>
          <ac:graphicFrameMkLst>
            <pc:docMk/>
            <pc:sldMk cId="755828523" sldId="2147483089"/>
            <ac:graphicFrameMk id="1013" creationId="{3991D4F2-F040-A276-54AD-7EF8424DFB2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37.156" v="262632"/>
          <ac:graphicFrameMkLst>
            <pc:docMk/>
            <pc:sldMk cId="755828523" sldId="2147483089"/>
            <ac:graphicFrameMk id="1014" creationId="{F22D638F-38C9-E09D-FC3E-CE2619B85D4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41.343" v="263010"/>
          <ac:graphicFrameMkLst>
            <pc:docMk/>
            <pc:sldMk cId="755828523" sldId="2147483089"/>
            <ac:graphicFrameMk id="1025" creationId="{582609AF-FD8D-E0E6-9DCD-CB62FC9FD04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7:50.746" v="263582"/>
          <ac:graphicFrameMkLst>
            <pc:docMk/>
            <pc:sldMk cId="755828523" sldId="2147483089"/>
            <ac:graphicFrameMk id="1027" creationId="{1D5378E1-3789-577B-AC40-315A8A31130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8:39.610" v="263837"/>
          <ac:graphicFrameMkLst>
            <pc:docMk/>
            <pc:sldMk cId="755828523" sldId="2147483089"/>
            <ac:graphicFrameMk id="1032" creationId="{383D961F-A59E-D9B2-351D-5C7E78964F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8:41.876" v="264018"/>
          <ac:graphicFrameMkLst>
            <pc:docMk/>
            <pc:sldMk cId="755828523" sldId="2147483089"/>
            <ac:graphicFrameMk id="1034" creationId="{81B35E56-EC92-9466-B2BC-341631EF987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8:46.378" v="265669"/>
          <ac:graphicFrameMkLst>
            <pc:docMk/>
            <pc:sldMk cId="755828523" sldId="2147483089"/>
            <ac:graphicFrameMk id="1036" creationId="{4A2CBD1A-4B0A-B35E-A7E1-320BEBA2FA1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09.803" v="266805"/>
          <ac:graphicFrameMkLst>
            <pc:docMk/>
            <pc:sldMk cId="755828523" sldId="2147483089"/>
            <ac:graphicFrameMk id="1065" creationId="{C447E8AB-D38B-4194-E67D-CD94677472F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39:30.587" v="266568"/>
          <ac:graphicFrameMkLst>
            <pc:docMk/>
            <pc:sldMk cId="755828523" sldId="2147483089"/>
            <ac:graphicFrameMk id="1068" creationId="{2742F6BC-350A-3F0D-AD0A-E47EA6D0CED0}"/>
          </ac:graphicFrameMkLst>
        </pc:graphicFrameChg>
        <pc:graphicFrameChg chg="add mod">
          <ac:chgData name="Yudi Zhu" userId="571e1a55-055f-4c28-8b35-fca6dd1c1369" providerId="ADAL" clId="{75A88773-6EE1-484E-AADE-FE631E01463B}" dt="2025-11-21T07:39:29.049" v="266453"/>
          <ac:graphicFrameMkLst>
            <pc:docMk/>
            <pc:sldMk cId="755828523" sldId="2147483089"/>
            <ac:graphicFrameMk id="1070" creationId="{929A7762-B2DA-2043-A740-82B44EDB261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11.989" v="267054"/>
          <ac:graphicFrameMkLst>
            <pc:docMk/>
            <pc:sldMk cId="755828523" sldId="2147483089"/>
            <ac:graphicFrameMk id="1073" creationId="{DE44B291-876D-EF1E-4A88-4DCFB8A765F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26.204" v="268072"/>
          <ac:graphicFrameMkLst>
            <pc:docMk/>
            <pc:sldMk cId="755828523" sldId="2147483089"/>
            <ac:graphicFrameMk id="1075" creationId="{8B116905-456B-4345-9FD4-F1AA5D7E4D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26.204" v="268072"/>
          <ac:graphicFrameMkLst>
            <pc:docMk/>
            <pc:sldMk cId="755828523" sldId="2147483089"/>
            <ac:graphicFrameMk id="1077" creationId="{00F96E66-F540-A27E-BB2A-B47703104C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32.624" v="268261"/>
          <ac:graphicFrameMkLst>
            <pc:docMk/>
            <pc:sldMk cId="755828523" sldId="2147483089"/>
            <ac:graphicFrameMk id="1079" creationId="{2F074CEB-24DE-024B-F42B-7978A1C099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33.705" v="268480"/>
          <ac:graphicFrameMkLst>
            <pc:docMk/>
            <pc:sldMk cId="755828523" sldId="2147483089"/>
            <ac:graphicFrameMk id="1081" creationId="{5DA5C41C-6FED-55E8-53EF-298A6FB4157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35.168" v="268703"/>
          <ac:graphicFrameMkLst>
            <pc:docMk/>
            <pc:sldMk cId="755828523" sldId="2147483089"/>
            <ac:graphicFrameMk id="1083" creationId="{B8B5F427-B95E-DD86-FEB6-E8543F9C84F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0:35.991" v="268923"/>
          <ac:graphicFrameMkLst>
            <pc:docMk/>
            <pc:sldMk cId="755828523" sldId="2147483089"/>
            <ac:graphicFrameMk id="1085" creationId="{1B119D38-E907-229D-F59A-182FFC2D5B4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05.156" v="272710"/>
          <ac:graphicFrameMkLst>
            <pc:docMk/>
            <pc:sldMk cId="755828523" sldId="2147483089"/>
            <ac:graphicFrameMk id="1087" creationId="{6B3B6648-569D-27E4-AD29-C609F2F7CD0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03.072" v="270252"/>
          <ac:graphicFrameMkLst>
            <pc:docMk/>
            <pc:sldMk cId="755828523" sldId="2147483089"/>
            <ac:graphicFrameMk id="1093" creationId="{F55D4C1F-C78A-35E0-45F5-62FF5FB93F7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10.867" v="270508"/>
          <ac:graphicFrameMkLst>
            <pc:docMk/>
            <pc:sldMk cId="755828523" sldId="2147483089"/>
            <ac:graphicFrameMk id="1101" creationId="{604A9EEB-E33F-FA64-44F9-461AD4CF333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16.506" v="270776"/>
          <ac:graphicFrameMkLst>
            <pc:docMk/>
            <pc:sldMk cId="755828523" sldId="2147483089"/>
            <ac:graphicFrameMk id="1103" creationId="{C26FC5D9-6427-7C96-6CEF-B2EA58C8DA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20.723" v="271044"/>
          <ac:graphicFrameMkLst>
            <pc:docMk/>
            <pc:sldMk cId="755828523" sldId="2147483089"/>
            <ac:graphicFrameMk id="1105" creationId="{61F7CBE4-BAE5-15B7-2138-809E0D9A301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23.449" v="271312"/>
          <ac:graphicFrameMkLst>
            <pc:docMk/>
            <pc:sldMk cId="755828523" sldId="2147483089"/>
            <ac:graphicFrameMk id="1107" creationId="{E996A1C4-5C72-C3BA-EA0B-1B98FE5C393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26.136" v="271588"/>
          <ac:graphicFrameMkLst>
            <pc:docMk/>
            <pc:sldMk cId="755828523" sldId="2147483089"/>
            <ac:graphicFrameMk id="1109" creationId="{9FA771CF-C82D-8B57-98B6-2F3116BF61D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1:28.988" v="271822"/>
          <ac:graphicFrameMkLst>
            <pc:docMk/>
            <pc:sldMk cId="755828523" sldId="2147483089"/>
            <ac:graphicFrameMk id="1111" creationId="{5A08AEA9-8FE4-2C7E-E41D-929CDE8EC84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8:13.069" v="284570"/>
          <ac:graphicFrameMkLst>
            <pc:docMk/>
            <pc:sldMk cId="755828523" sldId="2147483089"/>
            <ac:graphicFrameMk id="1113" creationId="{46EDDEDB-546C-DF31-96E2-EC1A9EEF71B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10.286" v="272952"/>
          <ac:graphicFrameMkLst>
            <pc:docMk/>
            <pc:sldMk cId="755828523" sldId="2147483089"/>
            <ac:graphicFrameMk id="1127" creationId="{5A9FDACC-3D61-9DB2-76F3-8AD2DF01686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13.451" v="273342"/>
          <ac:graphicFrameMkLst>
            <pc:docMk/>
            <pc:sldMk cId="755828523" sldId="2147483089"/>
            <ac:graphicFrameMk id="1129" creationId="{4E020D82-749C-3425-8194-8774A30AD51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15.902" v="273564"/>
          <ac:graphicFrameMkLst>
            <pc:docMk/>
            <pc:sldMk cId="755828523" sldId="2147483089"/>
            <ac:graphicFrameMk id="1131" creationId="{515CEB78-D42A-2A0C-62F7-0055F73685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45.321" v="273819"/>
          <ac:graphicFrameMkLst>
            <pc:docMk/>
            <pc:sldMk cId="755828523" sldId="2147483089"/>
            <ac:graphicFrameMk id="1133" creationId="{A7CC021C-09A0-3BC9-3E61-F4A497B84E5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46.248" v="274042"/>
          <ac:graphicFrameMkLst>
            <pc:docMk/>
            <pc:sldMk cId="755828523" sldId="2147483089"/>
            <ac:graphicFrameMk id="1136" creationId="{82C9D979-BBF0-4F9B-FA73-6A9CC7A94C6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48.374" v="274275"/>
          <ac:graphicFrameMkLst>
            <pc:docMk/>
            <pc:sldMk cId="755828523" sldId="2147483089"/>
            <ac:graphicFrameMk id="1138" creationId="{1300FA75-76FD-881F-59E8-A03F76DFC61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50.032" v="274498"/>
          <ac:graphicFrameMkLst>
            <pc:docMk/>
            <pc:sldMk cId="755828523" sldId="2147483089"/>
            <ac:graphicFrameMk id="1140" creationId="{F27EDF56-DBCB-273E-1500-1AD449E9380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55.465" v="274733"/>
          <ac:graphicFrameMkLst>
            <pc:docMk/>
            <pc:sldMk cId="755828523" sldId="2147483089"/>
            <ac:graphicFrameMk id="1142" creationId="{D16576F9-6EA8-5AB7-7F5B-44D0585D29A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58.113" v="274956"/>
          <ac:graphicFrameMkLst>
            <pc:docMk/>
            <pc:sldMk cId="755828523" sldId="2147483089"/>
            <ac:graphicFrameMk id="1144" creationId="{EE5F4132-C6B3-1E2A-D063-94648DDE1DA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2:59.253" v="275189"/>
          <ac:graphicFrameMkLst>
            <pc:docMk/>
            <pc:sldMk cId="755828523" sldId="2147483089"/>
            <ac:graphicFrameMk id="1146" creationId="{5E7C7999-9C50-0136-09D1-8D187ED58B4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01.677" v="275412"/>
          <ac:graphicFrameMkLst>
            <pc:docMk/>
            <pc:sldMk cId="755828523" sldId="2147483089"/>
            <ac:graphicFrameMk id="1148" creationId="{42CDA7AE-C726-CB31-3F6D-A64419BED2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02.739" v="275647"/>
          <ac:graphicFrameMkLst>
            <pc:docMk/>
            <pc:sldMk cId="755828523" sldId="2147483089"/>
            <ac:graphicFrameMk id="1150" creationId="{CEB1CF77-38FF-D06A-86D3-59BD02F3AD3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04.203" v="275870"/>
          <ac:graphicFrameMkLst>
            <pc:docMk/>
            <pc:sldMk cId="755828523" sldId="2147483089"/>
            <ac:graphicFrameMk id="1152" creationId="{83304F9C-DCC0-19A7-5F85-740A976A4ED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06.085" v="276126"/>
          <ac:graphicFrameMkLst>
            <pc:docMk/>
            <pc:sldMk cId="755828523" sldId="2147483089"/>
            <ac:graphicFrameMk id="1154" creationId="{03A0F189-B8D4-879A-8DBC-34A0887847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08.232" v="276350"/>
          <ac:graphicFrameMkLst>
            <pc:docMk/>
            <pc:sldMk cId="755828523" sldId="2147483089"/>
            <ac:graphicFrameMk id="1157" creationId="{B2DB8523-592E-6969-1ACB-AE7DA6AD2BB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18.883" v="276574"/>
          <ac:graphicFrameMkLst>
            <pc:docMk/>
            <pc:sldMk cId="755828523" sldId="2147483089"/>
            <ac:graphicFrameMk id="1159" creationId="{65C942CE-4418-2FDA-31B4-3A871E4678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19.813" v="276798"/>
          <ac:graphicFrameMkLst>
            <pc:docMk/>
            <pc:sldMk cId="755828523" sldId="2147483089"/>
            <ac:graphicFrameMk id="1161" creationId="{00CBCF89-A974-46AE-C1A3-32D661185C3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26.434" v="277022"/>
          <ac:graphicFrameMkLst>
            <pc:docMk/>
            <pc:sldMk cId="755828523" sldId="2147483089"/>
            <ac:graphicFrameMk id="1163" creationId="{7A1DC205-0CAE-4A9D-15EA-F987521536F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30.646" v="277258"/>
          <ac:graphicFrameMkLst>
            <pc:docMk/>
            <pc:sldMk cId="755828523" sldId="2147483089"/>
            <ac:graphicFrameMk id="1165" creationId="{DC85216A-69B8-A03A-6A47-7BA62CB611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34.390" v="277482"/>
          <ac:graphicFrameMkLst>
            <pc:docMk/>
            <pc:sldMk cId="755828523" sldId="2147483089"/>
            <ac:graphicFrameMk id="1167" creationId="{B8231204-4626-F4CB-ADC5-F781090796D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36.565" v="277706"/>
          <ac:graphicFrameMkLst>
            <pc:docMk/>
            <pc:sldMk cId="755828523" sldId="2147483089"/>
            <ac:graphicFrameMk id="1169" creationId="{10B17664-6597-4519-D209-43E918FE553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39.987" v="277940"/>
          <ac:graphicFrameMkLst>
            <pc:docMk/>
            <pc:sldMk cId="755828523" sldId="2147483089"/>
            <ac:graphicFrameMk id="1171" creationId="{AF9BD40A-ADF4-CE60-3953-D128A9D29D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42.795" v="278164"/>
          <ac:graphicFrameMkLst>
            <pc:docMk/>
            <pc:sldMk cId="755828523" sldId="2147483089"/>
            <ac:graphicFrameMk id="1173" creationId="{2A25A7B1-82EA-600D-045E-79FE79FEA50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45.946" v="278388"/>
          <ac:graphicFrameMkLst>
            <pc:docMk/>
            <pc:sldMk cId="755828523" sldId="2147483089"/>
            <ac:graphicFrameMk id="1175" creationId="{0D01B1D9-9690-ACD7-9BAD-CDEA7E72DC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3:54.064" v="278647"/>
          <ac:graphicFrameMkLst>
            <pc:docMk/>
            <pc:sldMk cId="755828523" sldId="2147483089"/>
            <ac:graphicFrameMk id="1177" creationId="{B8F203B7-27B9-975A-0528-CB144703834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08.734" v="278902"/>
          <ac:graphicFrameMkLst>
            <pc:docMk/>
            <pc:sldMk cId="755828523" sldId="2147483089"/>
            <ac:graphicFrameMk id="1180" creationId="{541A514B-0728-B13B-E67E-A291EEC0E16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10.425" v="279160"/>
          <ac:graphicFrameMkLst>
            <pc:docMk/>
            <pc:sldMk cId="755828523" sldId="2147483089"/>
            <ac:graphicFrameMk id="1182" creationId="{5AF9A577-B0AD-1825-559A-3CFA3BB5311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18.881" v="279391"/>
          <ac:graphicFrameMkLst>
            <pc:docMk/>
            <pc:sldMk cId="755828523" sldId="2147483089"/>
            <ac:graphicFrameMk id="1184" creationId="{9DCFCD81-D856-49E2-455F-F983B73DDFD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21.490" v="279614"/>
          <ac:graphicFrameMkLst>
            <pc:docMk/>
            <pc:sldMk cId="755828523" sldId="2147483089"/>
            <ac:graphicFrameMk id="1186" creationId="{3D93214D-0516-3795-BB48-BEECEEBBCBB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44.375" v="279837"/>
          <ac:graphicFrameMkLst>
            <pc:docMk/>
            <pc:sldMk cId="755828523" sldId="2147483089"/>
            <ac:graphicFrameMk id="1188" creationId="{4663D99C-F15B-A06A-3337-047CB1718B3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48.466" v="280128"/>
          <ac:graphicFrameMkLst>
            <pc:docMk/>
            <pc:sldMk cId="755828523" sldId="2147483089"/>
            <ac:graphicFrameMk id="1190" creationId="{C6E52FDD-72AA-7F29-60DE-1950BEFED06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55.115" v="281841"/>
          <ac:graphicFrameMkLst>
            <pc:docMk/>
            <pc:sldMk cId="755828523" sldId="2147483089"/>
            <ac:graphicFrameMk id="1192" creationId="{653DF588-A148-8855-6952-7BD3C4AC135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4:58.215" v="282062"/>
          <ac:graphicFrameMkLst>
            <pc:docMk/>
            <pc:sldMk cId="755828523" sldId="2147483089"/>
            <ac:graphicFrameMk id="1222" creationId="{FB3C47C0-969C-6B1F-DDBA-8EEFF66CFA9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5:01.628" v="282283"/>
          <ac:graphicFrameMkLst>
            <pc:docMk/>
            <pc:sldMk cId="755828523" sldId="2147483089"/>
            <ac:graphicFrameMk id="1224" creationId="{2287A62F-52A4-F882-1812-4EA71F4F903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5:03.834" v="282896"/>
          <ac:graphicFrameMkLst>
            <pc:docMk/>
            <pc:sldMk cId="755828523" sldId="2147483089"/>
            <ac:graphicFrameMk id="1226" creationId="{4B3E8F18-AD7F-EA8B-4FC5-5B50BBAA00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5:28.070" v="283284"/>
          <ac:graphicFrameMkLst>
            <pc:docMk/>
            <pc:sldMk cId="755828523" sldId="2147483089"/>
            <ac:graphicFrameMk id="1228" creationId="{99E7AA0F-CD38-3386-1817-6843082416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5:42.856" v="283655"/>
          <ac:graphicFrameMkLst>
            <pc:docMk/>
            <pc:sldMk cId="755828523" sldId="2147483089"/>
            <ac:graphicFrameMk id="1230" creationId="{4EAB3544-9823-BE70-2B78-FE8001018A8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5:44.692" v="284036"/>
          <ac:graphicFrameMkLst>
            <pc:docMk/>
            <pc:sldMk cId="755828523" sldId="2147483089"/>
            <ac:graphicFrameMk id="1232" creationId="{6B306CB0-0ADA-83E0-C753-4BBE80CFD80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8:16.473" v="284946"/>
          <ac:graphicFrameMkLst>
            <pc:docMk/>
            <pc:sldMk cId="755828523" sldId="2147483089"/>
            <ac:graphicFrameMk id="1234" creationId="{2E0F7CD4-366E-4C15-9CA2-5E8C4C57AC5B}"/>
          </ac:graphicFrameMkLst>
        </pc:graphicFrameChg>
        <pc:graphicFrameChg chg="add del mod modGraphic">
          <ac:chgData name="Yudi Zhu" userId="571e1a55-055f-4c28-8b35-fca6dd1c1369" providerId="ADAL" clId="{75A88773-6EE1-484E-AADE-FE631E01463B}" dt="2025-11-21T07:48:09.255" v="284342" actId="478"/>
          <ac:graphicFrameMkLst>
            <pc:docMk/>
            <pc:sldMk cId="755828523" sldId="2147483089"/>
            <ac:graphicFrameMk id="1235" creationId="{F70A2AFB-634B-4CE3-24AA-D7AC080F4216}"/>
          </ac:graphicFrameMkLst>
        </pc:graphicFrameChg>
        <pc:graphicFrameChg chg="add del mod ord modGraphic">
          <ac:chgData name="Yudi Zhu" userId="571e1a55-055f-4c28-8b35-fca6dd1c1369" providerId="ADAL" clId="{75A88773-6EE1-484E-AADE-FE631E01463B}" dt="2025-11-21T07:53:48.899" v="293159" actId="478"/>
          <ac:graphicFrameMkLst>
            <pc:docMk/>
            <pc:sldMk cId="755828523" sldId="2147483089"/>
            <ac:graphicFrameMk id="1236" creationId="{FCF9E12D-24A5-A86F-C1B0-202CA925C1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8:20.085" v="285160"/>
          <ac:graphicFrameMkLst>
            <pc:docMk/>
            <pc:sldMk cId="755828523" sldId="2147483089"/>
            <ac:graphicFrameMk id="1240" creationId="{AEBC584C-AD87-F6A5-E272-4B7E1471A6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9:41.251" v="285980"/>
          <ac:graphicFrameMkLst>
            <pc:docMk/>
            <pc:sldMk cId="755828523" sldId="2147483089"/>
            <ac:graphicFrameMk id="1242" creationId="{1B256512-9178-E7BE-7853-86D4CBE762C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8:22.336" v="285746"/>
          <ac:graphicFrameMkLst>
            <pc:docMk/>
            <pc:sldMk cId="755828523" sldId="2147483089"/>
            <ac:graphicFrameMk id="1244" creationId="{D69B8151-3415-0B91-F2E2-C941B9A2D7E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13.496" v="288564"/>
          <ac:graphicFrameMkLst>
            <pc:docMk/>
            <pc:sldMk cId="755828523" sldId="2147483089"/>
            <ac:graphicFrameMk id="1246" creationId="{61CD6D71-7358-CC25-1D2E-B80BCBFE3F1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9:54.231" v="286180"/>
          <ac:graphicFrameMkLst>
            <pc:docMk/>
            <pc:sldMk cId="755828523" sldId="2147483089"/>
            <ac:graphicFrameMk id="1248" creationId="{14E6A3E4-3B61-2912-F6C7-12BA8E09E6B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49:56.943" v="287044"/>
          <ac:graphicFrameMkLst>
            <pc:docMk/>
            <pc:sldMk cId="755828523" sldId="2147483089"/>
            <ac:graphicFrameMk id="1250" creationId="{75092A03-0C44-95F9-4A86-33766170DC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31.041" v="292756"/>
          <ac:graphicFrameMkLst>
            <pc:docMk/>
            <pc:sldMk cId="755828523" sldId="2147483089"/>
            <ac:graphicFrameMk id="1264" creationId="{6FE7884A-6AE5-61E1-F9E6-0BF606650F03}"/>
          </ac:graphicFrameMkLst>
        </pc:graphicFrameChg>
        <pc:graphicFrameChg chg="add mod">
          <ac:chgData name="Yudi Zhu" userId="571e1a55-055f-4c28-8b35-fca6dd1c1369" providerId="ADAL" clId="{75A88773-6EE1-484E-AADE-FE631E01463B}" dt="2025-11-21T07:50:01.734" v="287486"/>
          <ac:graphicFrameMkLst>
            <pc:docMk/>
            <pc:sldMk cId="755828523" sldId="2147483089"/>
            <ac:graphicFrameMk id="1266" creationId="{EB825011-1D26-62ED-4854-A2E879659C90}"/>
          </ac:graphicFrameMkLst>
        </pc:graphicFrameChg>
        <pc:graphicFrameChg chg="add mod">
          <ac:chgData name="Yudi Zhu" userId="571e1a55-055f-4c28-8b35-fca6dd1c1369" providerId="ADAL" clId="{75A88773-6EE1-484E-AADE-FE631E01463B}" dt="2025-11-21T07:50:07.944" v="288135"/>
          <ac:graphicFrameMkLst>
            <pc:docMk/>
            <pc:sldMk cId="755828523" sldId="2147483089"/>
            <ac:graphicFrameMk id="1268" creationId="{C95C7704-8188-F80D-0367-8E847FBD779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16.812" v="288880"/>
          <ac:graphicFrameMkLst>
            <pc:docMk/>
            <pc:sldMk cId="755828523" sldId="2147483089"/>
            <ac:graphicFrameMk id="1270" creationId="{60AD966F-6F76-F052-A8BA-EB73588EC53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20.130" v="289196"/>
          <ac:graphicFrameMkLst>
            <pc:docMk/>
            <pc:sldMk cId="755828523" sldId="2147483089"/>
            <ac:graphicFrameMk id="1272" creationId="{3D1E8FA7-CE56-1FC7-9BA5-870D982CCDE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23.693" v="289512"/>
          <ac:graphicFrameMkLst>
            <pc:docMk/>
            <pc:sldMk cId="755828523" sldId="2147483089"/>
            <ac:graphicFrameMk id="1274" creationId="{79FF589D-2954-2CB5-615F-4865C5D6202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1.392" v="289830"/>
          <ac:graphicFrameMkLst>
            <pc:docMk/>
            <pc:sldMk cId="755828523" sldId="2147483089"/>
            <ac:graphicFrameMk id="1276" creationId="{8A736514-6754-530F-7439-D6F1409EE8E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3.013" v="290148"/>
          <ac:graphicFrameMkLst>
            <pc:docMk/>
            <pc:sldMk cId="755828523" sldId="2147483089"/>
            <ac:graphicFrameMk id="1278" creationId="{E1AAF4C9-79E7-2477-97B4-F4C4BFAFE4D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4.678" v="290466"/>
          <ac:graphicFrameMkLst>
            <pc:docMk/>
            <pc:sldMk cId="755828523" sldId="2147483089"/>
            <ac:graphicFrameMk id="1280" creationId="{B2C60BEB-92B7-D2C0-54E5-1DCBE62C457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6.047" v="290784"/>
          <ac:graphicFrameMkLst>
            <pc:docMk/>
            <pc:sldMk cId="755828523" sldId="2147483089"/>
            <ac:graphicFrameMk id="1282" creationId="{CE29B73E-B6FE-8AE5-B87C-6FA072E9BBE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8.633" v="291102"/>
          <ac:graphicFrameMkLst>
            <pc:docMk/>
            <pc:sldMk cId="755828523" sldId="2147483089"/>
            <ac:graphicFrameMk id="1284" creationId="{3EA49FF7-9F28-560C-D02C-66AE417C92D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0:39.975" v="291420"/>
          <ac:graphicFrameMkLst>
            <pc:docMk/>
            <pc:sldMk cId="755828523" sldId="2147483089"/>
            <ac:graphicFrameMk id="1286" creationId="{D59248C2-3DDC-84D6-FDD6-0ADB7B726F5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03.748" v="291636"/>
          <ac:graphicFrameMkLst>
            <pc:docMk/>
            <pc:sldMk cId="755828523" sldId="2147483089"/>
            <ac:graphicFrameMk id="1288" creationId="{69816717-B9B3-32F8-C6A3-82EBE3FAD17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15.626" v="291832"/>
          <ac:graphicFrameMkLst>
            <pc:docMk/>
            <pc:sldMk cId="755828523" sldId="2147483089"/>
            <ac:graphicFrameMk id="1290" creationId="{5CFBD8F5-85B6-0104-1283-367795936A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17.789" v="292073"/>
          <ac:graphicFrameMkLst>
            <pc:docMk/>
            <pc:sldMk cId="755828523" sldId="2147483089"/>
            <ac:graphicFrameMk id="1292" creationId="{35A31403-C439-DD5A-4FB8-07DAD7DA8EF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18.998" v="292270"/>
          <ac:graphicFrameMkLst>
            <pc:docMk/>
            <pc:sldMk cId="755828523" sldId="2147483089"/>
            <ac:graphicFrameMk id="1294" creationId="{6A907404-E984-21F4-7B71-A1AB6FA229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16.489" v="306093"/>
          <ac:graphicFrameMkLst>
            <pc:docMk/>
            <pc:sldMk cId="755828523" sldId="2147483089"/>
            <ac:graphicFrameMk id="1296" creationId="{8AEBBC8C-17C6-22A7-8766-2791BFF527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1:44.111" v="292971"/>
          <ac:graphicFrameMkLst>
            <pc:docMk/>
            <pc:sldMk cId="755828523" sldId="2147483089"/>
            <ac:graphicFrameMk id="1298" creationId="{C216C268-3964-3059-38C9-AE80C4A44C7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05.961" v="300771"/>
          <ac:graphicFrameMkLst>
            <pc:docMk/>
            <pc:sldMk cId="755828523" sldId="2147483089"/>
            <ac:graphicFrameMk id="1300" creationId="{DCD708DC-C077-1AEC-AC55-E6E838B6B610}"/>
          </ac:graphicFrameMkLst>
        </pc:graphicFrameChg>
        <pc:graphicFrameChg chg="add del mod ord modGraphic">
          <ac:chgData name="Yudi Zhu" userId="571e1a55-055f-4c28-8b35-fca6dd1c1369" providerId="ADAL" clId="{75A88773-6EE1-484E-AADE-FE631E01463B}" dt="2025-11-21T07:55:22.932" v="296932" actId="478"/>
          <ac:graphicFrameMkLst>
            <pc:docMk/>
            <pc:sldMk cId="755828523" sldId="2147483089"/>
            <ac:graphicFrameMk id="1301" creationId="{D2C276D8-49B9-982B-3EF0-8BE5BB7C51A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08" v="293558"/>
          <ac:graphicFrameMkLst>
            <pc:docMk/>
            <pc:sldMk cId="755828523" sldId="2147483089"/>
            <ac:graphicFrameMk id="1305" creationId="{4C6FEB21-703E-60E4-BD35-20EFAC690E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09.266" v="293764"/>
          <ac:graphicFrameMkLst>
            <pc:docMk/>
            <pc:sldMk cId="755828523" sldId="2147483089"/>
            <ac:graphicFrameMk id="1307" creationId="{7609B583-2CB8-99A1-D65B-A5EB2FE86B0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27.283" v="294377"/>
          <ac:graphicFrameMkLst>
            <pc:docMk/>
            <pc:sldMk cId="755828523" sldId="2147483089"/>
            <ac:graphicFrameMk id="1309" creationId="{F54300D6-A1A3-D87A-4C49-5A9E62370F8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28.655" v="294605"/>
          <ac:graphicFrameMkLst>
            <pc:docMk/>
            <pc:sldMk cId="755828523" sldId="2147483089"/>
            <ac:graphicFrameMk id="1318" creationId="{69082454-4E03-3269-A2ED-D1294B49B49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42.269" v="295424"/>
          <ac:graphicFrameMkLst>
            <pc:docMk/>
            <pc:sldMk cId="755828523" sldId="2147483089"/>
            <ac:graphicFrameMk id="1320" creationId="{60686C32-45E5-9023-084C-9BA3E5D6103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49.834" v="295745"/>
          <ac:graphicFrameMkLst>
            <pc:docMk/>
            <pc:sldMk cId="755828523" sldId="2147483089"/>
            <ac:graphicFrameMk id="1333" creationId="{FDAD2E6A-069C-E6F7-3AE7-96F4E8957E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56.230" v="295988"/>
          <ac:graphicFrameMkLst>
            <pc:docMk/>
            <pc:sldMk cId="755828523" sldId="2147483089"/>
            <ac:graphicFrameMk id="1340" creationId="{C74C80CF-A95C-3469-41BB-0CE79B7586A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4:57.958" v="296237"/>
          <ac:graphicFrameMkLst>
            <pc:docMk/>
            <pc:sldMk cId="755828523" sldId="2147483089"/>
            <ac:graphicFrameMk id="1342" creationId="{02FEB0A0-FD0A-15F8-5079-C43A6742EE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01.115" v="296486"/>
          <ac:graphicFrameMkLst>
            <pc:docMk/>
            <pc:sldMk cId="755828523" sldId="2147483089"/>
            <ac:graphicFrameMk id="1344" creationId="{5AA7FA27-623A-57DC-9A55-E041F0B5851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05.281" v="296735"/>
          <ac:graphicFrameMkLst>
            <pc:docMk/>
            <pc:sldMk cId="755828523" sldId="2147483089"/>
            <ac:graphicFrameMk id="1346" creationId="{C8790907-633C-C3D7-E974-857B1193B5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27.032" v="296979"/>
          <ac:graphicFrameMkLst>
            <pc:docMk/>
            <pc:sldMk cId="755828523" sldId="2147483089"/>
            <ac:graphicFrameMk id="1348" creationId="{35A99D78-6088-44FA-5F85-C8FB5F6E0C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28.649" v="297207"/>
          <ac:graphicFrameMkLst>
            <pc:docMk/>
            <pc:sldMk cId="755828523" sldId="2147483089"/>
            <ac:graphicFrameMk id="1350" creationId="{F8B8F3D3-5C6C-EA4E-5D4A-983AAD7D3AA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32.834" v="297401"/>
          <ac:graphicFrameMkLst>
            <pc:docMk/>
            <pc:sldMk cId="755828523" sldId="2147483089"/>
            <ac:graphicFrameMk id="1352" creationId="{8F60E838-65AB-E4C3-C207-9A93384487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38.113" v="297621"/>
          <ac:graphicFrameMkLst>
            <pc:docMk/>
            <pc:sldMk cId="755828523" sldId="2147483089"/>
            <ac:graphicFrameMk id="1353" creationId="{749F7D3E-2EF9-A84B-453E-A3D62455887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45.204" v="297943"/>
          <ac:graphicFrameMkLst>
            <pc:docMk/>
            <pc:sldMk cId="755828523" sldId="2147483089"/>
            <ac:graphicFrameMk id="1355" creationId="{435CFCEE-F499-F246-84BC-0331FD6397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04.993" v="298270"/>
          <ac:graphicFrameMkLst>
            <pc:docMk/>
            <pc:sldMk cId="755828523" sldId="2147483089"/>
            <ac:graphicFrameMk id="1361" creationId="{F8E97224-9DD5-F3D5-BAF1-B44ADE9D0C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16.828" v="298532"/>
          <ac:graphicFrameMkLst>
            <pc:docMk/>
            <pc:sldMk cId="755828523" sldId="2147483089"/>
            <ac:graphicFrameMk id="1363" creationId="{8788B824-2F4C-2FE6-76FB-5E80043A3CB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22.364" v="298730"/>
          <ac:graphicFrameMkLst>
            <pc:docMk/>
            <pc:sldMk cId="755828523" sldId="2147483089"/>
            <ac:graphicFrameMk id="1365" creationId="{B683966A-4377-181E-4B5C-9D658E752F1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25.179" v="298926"/>
          <ac:graphicFrameMkLst>
            <pc:docMk/>
            <pc:sldMk cId="755828523" sldId="2147483089"/>
            <ac:graphicFrameMk id="1367" creationId="{A703CEA7-C0DE-1C1F-915F-A98A9CFF7F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29.927" v="299122"/>
          <ac:graphicFrameMkLst>
            <pc:docMk/>
            <pc:sldMk cId="755828523" sldId="2147483089"/>
            <ac:graphicFrameMk id="1369" creationId="{7AEFFC6A-3010-B5B3-69F7-A3F4ABFBCF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33.173" v="299286"/>
          <ac:graphicFrameMkLst>
            <pc:docMk/>
            <pc:sldMk cId="755828523" sldId="2147483089"/>
            <ac:graphicFrameMk id="1371" creationId="{0D6470F2-64C6-C118-5DCB-34C2031CDA0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37.094" v="299448"/>
          <ac:graphicFrameMkLst>
            <pc:docMk/>
            <pc:sldMk cId="755828523" sldId="2147483089"/>
            <ac:graphicFrameMk id="1372" creationId="{2538EC35-5F97-BF42-2388-536D086E517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40.292" v="299610"/>
          <ac:graphicFrameMkLst>
            <pc:docMk/>
            <pc:sldMk cId="755828523" sldId="2147483089"/>
            <ac:graphicFrameMk id="1373" creationId="{271DD487-06E2-F89F-4069-FBBB460415D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44.142" v="299772"/>
          <ac:graphicFrameMkLst>
            <pc:docMk/>
            <pc:sldMk cId="755828523" sldId="2147483089"/>
            <ac:graphicFrameMk id="1374" creationId="{83845355-FD25-9B5F-061B-C6781A2AC5A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6:46.576" v="300087"/>
          <ac:graphicFrameMkLst>
            <pc:docMk/>
            <pc:sldMk cId="755828523" sldId="2147483089"/>
            <ac:graphicFrameMk id="1375" creationId="{49AEE893-FEDC-E95F-38C2-B035B4FEC54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12.323" v="300941"/>
          <ac:graphicFrameMkLst>
            <pc:docMk/>
            <pc:sldMk cId="755828523" sldId="2147483089"/>
            <ac:graphicFrameMk id="1380" creationId="{BEA75DDD-3A54-B755-A73A-29B402FB5A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12.703" v="305279"/>
          <ac:graphicFrameMkLst>
            <pc:docMk/>
            <pc:sldMk cId="755828523" sldId="2147483089"/>
            <ac:graphicFrameMk id="1385" creationId="{4F995818-58B5-2B5B-E5C6-A3ABED1EAFC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16.509" v="301109"/>
          <ac:graphicFrameMkLst>
            <pc:docMk/>
            <pc:sldMk cId="755828523" sldId="2147483089"/>
            <ac:graphicFrameMk id="1386" creationId="{8B662B1A-F249-B99C-ED5F-30D8491627D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40.290" v="302912"/>
          <ac:graphicFrameMkLst>
            <pc:docMk/>
            <pc:sldMk cId="755828523" sldId="2147483089"/>
            <ac:graphicFrameMk id="1387" creationId="{C19AE5D9-6494-E429-0DC1-2C29E024614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36.806" v="302861"/>
          <ac:graphicFrameMkLst>
            <pc:docMk/>
            <pc:sldMk cId="755828523" sldId="2147483089"/>
            <ac:graphicFrameMk id="1391" creationId="{BD269E53-B1E6-C038-15B3-39CE9F0760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35.875" v="302677"/>
          <ac:graphicFrameMkLst>
            <pc:docMk/>
            <pc:sldMk cId="755828523" sldId="2147483089"/>
            <ac:graphicFrameMk id="1392" creationId="{96346279-7039-0915-B8CA-EDBDF931B0FE}"/>
          </ac:graphicFrameMkLst>
        </pc:graphicFrameChg>
        <pc:graphicFrameChg chg="add mod">
          <ac:chgData name="Yudi Zhu" userId="571e1a55-055f-4c28-8b35-fca6dd1c1369" providerId="ADAL" clId="{75A88773-6EE1-484E-AADE-FE631E01463B}" dt="2025-11-21T07:57:35.105" v="302632"/>
          <ac:graphicFrameMkLst>
            <pc:docMk/>
            <pc:sldMk cId="755828523" sldId="2147483089"/>
            <ac:graphicFrameMk id="1394" creationId="{99D6E8A7-94EB-9B74-9671-AFB473D95E80}"/>
          </ac:graphicFrameMkLst>
        </pc:graphicFrameChg>
        <pc:graphicFrameChg chg="add mod">
          <ac:chgData name="Yudi Zhu" userId="571e1a55-055f-4c28-8b35-fca6dd1c1369" providerId="ADAL" clId="{75A88773-6EE1-484E-AADE-FE631E01463B}" dt="2025-11-21T07:57:34.492" v="302515"/>
          <ac:graphicFrameMkLst>
            <pc:docMk/>
            <pc:sldMk cId="755828523" sldId="2147483089"/>
            <ac:graphicFrameMk id="1395" creationId="{322C4B11-DD93-EB66-AA63-F27E04E693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7:42.828" v="303082"/>
          <ac:graphicFrameMkLst>
            <pc:docMk/>
            <pc:sldMk cId="755828523" sldId="2147483089"/>
            <ac:graphicFrameMk id="1397" creationId="{956504B9-F3D8-0899-E356-CF621A58966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18.529" v="306268"/>
          <ac:graphicFrameMkLst>
            <pc:docMk/>
            <pc:sldMk cId="755828523" sldId="2147483089"/>
            <ac:graphicFrameMk id="1398" creationId="{4175AD53-2938-82CF-3291-A7382DB1C29C}"/>
          </ac:graphicFrameMkLst>
        </pc:graphicFrameChg>
        <pc:graphicFrameChg chg="add mod">
          <ac:chgData name="Yudi Zhu" userId="571e1a55-055f-4c28-8b35-fca6dd1c1369" providerId="ADAL" clId="{75A88773-6EE1-484E-AADE-FE631E01463B}" dt="2025-11-21T07:58:08.853" v="304591"/>
          <ac:graphicFrameMkLst>
            <pc:docMk/>
            <pc:sldMk cId="755828523" sldId="2147483089"/>
            <ac:graphicFrameMk id="1400" creationId="{B4ACBAE4-1F2A-9780-D625-8283DF1D8AD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37.943" v="314973"/>
          <ac:graphicFrameMkLst>
            <pc:docMk/>
            <pc:sldMk cId="755828523" sldId="2147483089"/>
            <ac:graphicFrameMk id="1402" creationId="{B4472F0F-6143-3F73-2DF7-651BB39906C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34.810" v="314347"/>
          <ac:graphicFrameMkLst>
            <pc:docMk/>
            <pc:sldMk cId="755828523" sldId="2147483089"/>
            <ac:graphicFrameMk id="1408" creationId="{E7513495-98BE-5A73-FAB7-7145898ED9C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21.669" v="306441"/>
          <ac:graphicFrameMkLst>
            <pc:docMk/>
            <pc:sldMk cId="755828523" sldId="2147483089"/>
            <ac:graphicFrameMk id="1409" creationId="{51BC4FEE-3728-8D4D-6CAA-7401FE2D7F9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23.456" v="306614"/>
          <ac:graphicFrameMkLst>
            <pc:docMk/>
            <pc:sldMk cId="755828523" sldId="2147483089"/>
            <ac:graphicFrameMk id="1410" creationId="{92E613EF-BD2E-ACF2-1EFC-7009F0D1C6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8:27.841" v="306787"/>
          <ac:graphicFrameMkLst>
            <pc:docMk/>
            <pc:sldMk cId="755828523" sldId="2147483089"/>
            <ac:graphicFrameMk id="1411" creationId="{BC352A93-4C5D-5F32-9895-E53E58E3934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9:25.544" v="307194"/>
          <ac:graphicFrameMkLst>
            <pc:docMk/>
            <pc:sldMk cId="755828523" sldId="2147483089"/>
            <ac:graphicFrameMk id="1412" creationId="{0D6AEED7-34A8-E09D-21B7-3B52EFE672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9:37.968" v="307472"/>
          <ac:graphicFrameMkLst>
            <pc:docMk/>
            <pc:sldMk cId="755828523" sldId="2147483089"/>
            <ac:graphicFrameMk id="1417" creationId="{010CD0E6-5D28-92A8-D141-FAF1E07A8C0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9:50.405" v="307769"/>
          <ac:graphicFrameMkLst>
            <pc:docMk/>
            <pc:sldMk cId="755828523" sldId="2147483089"/>
            <ac:graphicFrameMk id="1419" creationId="{69562C73-4BDC-2477-1F56-5934970BB87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01.756" v="308032"/>
          <ac:graphicFrameMkLst>
            <pc:docMk/>
            <pc:sldMk cId="755828523" sldId="2147483089"/>
            <ac:graphicFrameMk id="1421" creationId="{09E995C7-4309-D713-71C5-3A4973CB1EB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10.651" v="308368"/>
          <ac:graphicFrameMkLst>
            <pc:docMk/>
            <pc:sldMk cId="755828523" sldId="2147483089"/>
            <ac:graphicFrameMk id="1423" creationId="{36AE3B0C-455F-22C1-D25E-9FC1CD88D67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16.088" v="308652"/>
          <ac:graphicFrameMkLst>
            <pc:docMk/>
            <pc:sldMk cId="755828523" sldId="2147483089"/>
            <ac:graphicFrameMk id="1428" creationId="{D5209169-6611-F9FC-9BBA-40B84E82A4C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24.615" v="308919"/>
          <ac:graphicFrameMkLst>
            <pc:docMk/>
            <pc:sldMk cId="755828523" sldId="2147483089"/>
            <ac:graphicFrameMk id="1430" creationId="{3A545E86-8197-2D93-AF0D-458CAFA5353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36.065" v="309153"/>
          <ac:graphicFrameMkLst>
            <pc:docMk/>
            <pc:sldMk cId="755828523" sldId="2147483089"/>
            <ac:graphicFrameMk id="1432" creationId="{109EDAE0-B9A9-6171-B63E-A976EC30861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37.931" v="309348"/>
          <ac:graphicFrameMkLst>
            <pc:docMk/>
            <pc:sldMk cId="755828523" sldId="2147483089"/>
            <ac:graphicFrameMk id="1433" creationId="{6D3137E9-64A8-5003-66F9-4C40138829B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1.231" v="309535"/>
          <ac:graphicFrameMkLst>
            <pc:docMk/>
            <pc:sldMk cId="755828523" sldId="2147483089"/>
            <ac:graphicFrameMk id="1434" creationId="{3F8FCD9A-7E9F-333C-D3C8-58B213840A4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2.678" v="309718"/>
          <ac:graphicFrameMkLst>
            <pc:docMk/>
            <pc:sldMk cId="755828523" sldId="2147483089"/>
            <ac:graphicFrameMk id="1435" creationId="{31056E99-E7B8-1C47-EE7B-C1856CD80D4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5.951" v="309903"/>
          <ac:graphicFrameMkLst>
            <pc:docMk/>
            <pc:sldMk cId="755828523" sldId="2147483089"/>
            <ac:graphicFrameMk id="1436" creationId="{01867FA0-3F79-FF63-951A-C9E7AF8F66A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7.714" v="310088"/>
          <ac:graphicFrameMkLst>
            <pc:docMk/>
            <pc:sldMk cId="755828523" sldId="2147483089"/>
            <ac:graphicFrameMk id="1437" creationId="{0E097C96-50A3-A472-B7D4-0485949FF09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8.518" v="310274"/>
          <ac:graphicFrameMkLst>
            <pc:docMk/>
            <pc:sldMk cId="755828523" sldId="2147483089"/>
            <ac:graphicFrameMk id="1438" creationId="{4D6658AC-9405-49D4-78C4-8ACAE62DB1E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49.356" v="310459"/>
          <ac:graphicFrameMkLst>
            <pc:docMk/>
            <pc:sldMk cId="755828523" sldId="2147483089"/>
            <ac:graphicFrameMk id="1439" creationId="{9DA8046A-3C28-DA26-385E-B02B5F460B8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0:59.995" v="311718"/>
          <ac:graphicFrameMkLst>
            <pc:docMk/>
            <pc:sldMk cId="755828523" sldId="2147483089"/>
            <ac:graphicFrameMk id="1440" creationId="{82577E9A-ABE8-447F-04BC-A94E4C809A5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05.789" v="311967"/>
          <ac:graphicFrameMkLst>
            <pc:docMk/>
            <pc:sldMk cId="755828523" sldId="2147483089"/>
            <ac:graphicFrameMk id="1475" creationId="{48B5CEA6-3A23-80DD-7973-1B418471BC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10.185" v="312214"/>
          <ac:graphicFrameMkLst>
            <pc:docMk/>
            <pc:sldMk cId="755828523" sldId="2147483089"/>
            <ac:graphicFrameMk id="1476" creationId="{C489E7D4-7075-0D41-81D4-A5DACDFE030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16.903" v="313005"/>
          <ac:graphicFrameMkLst>
            <pc:docMk/>
            <pc:sldMk cId="755828523" sldId="2147483089"/>
            <ac:graphicFrameMk id="1477" creationId="{3833FBF9-8850-5ED8-38DE-3B53A0CF732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24.247" v="313564"/>
          <ac:graphicFrameMkLst>
            <pc:docMk/>
            <pc:sldMk cId="755828523" sldId="2147483089"/>
            <ac:graphicFrameMk id="1482" creationId="{1FB905BB-3119-89FC-2446-26593899B1C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29.815" v="313971"/>
          <ac:graphicFrameMkLst>
            <pc:docMk/>
            <pc:sldMk cId="755828523" sldId="2147483089"/>
            <ac:graphicFrameMk id="1487" creationId="{C22A476C-4A45-BE51-96E9-6376E5B1F5A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44.046" v="315295"/>
          <ac:graphicFrameMkLst>
            <pc:docMk/>
            <pc:sldMk cId="755828523" sldId="2147483089"/>
            <ac:graphicFrameMk id="1488" creationId="{24D932A0-8B5D-E28D-6B96-611731CD869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3:54.861" v="319684"/>
          <ac:graphicFrameMkLst>
            <pc:docMk/>
            <pc:sldMk cId="755828523" sldId="2147483089"/>
            <ac:graphicFrameMk id="1490" creationId="{6989FCFA-9E1A-CF6D-D0DA-C400E7A675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3:59.586" v="318371"/>
          <ac:graphicFrameMkLst>
            <pc:docMk/>
            <pc:sldMk cId="755828523" sldId="2147483089"/>
            <ac:graphicFrameMk id="1492" creationId="{049BF3AB-844C-0F25-77CC-00D436EB86F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1:45.398" v="315543"/>
          <ac:graphicFrameMkLst>
            <pc:docMk/>
            <pc:sldMk cId="755828523" sldId="2147483089"/>
            <ac:graphicFrameMk id="1495" creationId="{47499368-E5B9-06EB-525F-49AAACE3E7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22.775" v="316413"/>
          <ac:graphicFrameMkLst>
            <pc:docMk/>
            <pc:sldMk cId="755828523" sldId="2147483089"/>
            <ac:graphicFrameMk id="1496" creationId="{844B22A4-A259-7ED4-0ED2-6560827B2696}"/>
          </ac:graphicFrameMkLst>
        </pc:graphicFrameChg>
        <pc:graphicFrameChg chg="add mod">
          <ac:chgData name="Yudi Zhu" userId="571e1a55-055f-4c28-8b35-fca6dd1c1369" providerId="ADAL" clId="{75A88773-6EE1-484E-AADE-FE631E01463B}" dt="2025-11-21T08:01:52.931" v="316209"/>
          <ac:graphicFrameMkLst>
            <pc:docMk/>
            <pc:sldMk cId="755828523" sldId="2147483089"/>
            <ac:graphicFrameMk id="1497" creationId="{EAF60821-A980-A6FF-8D52-D619A7015A2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23.212" v="316735"/>
          <ac:graphicFrameMkLst>
            <pc:docMk/>
            <pc:sldMk cId="755828523" sldId="2147483089"/>
            <ac:graphicFrameMk id="1499" creationId="{0DD75792-6ACB-EF8F-07EE-475E11115E9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24.596" v="316983"/>
          <ac:graphicFrameMkLst>
            <pc:docMk/>
            <pc:sldMk cId="755828523" sldId="2147483089"/>
            <ac:graphicFrameMk id="1502" creationId="{BD2D1121-4D67-AD2E-B859-CF9011107A4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25.756" v="317233"/>
          <ac:graphicFrameMkLst>
            <pc:docMk/>
            <pc:sldMk cId="755828523" sldId="2147483089"/>
            <ac:graphicFrameMk id="1503" creationId="{117F40D9-8633-AAA6-86A2-CA44BC4D317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27.793" v="317477"/>
          <ac:graphicFrameMkLst>
            <pc:docMk/>
            <pc:sldMk cId="755828523" sldId="2147483089"/>
            <ac:graphicFrameMk id="1504" creationId="{21AD915B-1665-EADA-BF87-84824F6B133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2:34.731" v="317737"/>
          <ac:graphicFrameMkLst>
            <pc:docMk/>
            <pc:sldMk cId="755828523" sldId="2147483089"/>
            <ac:graphicFrameMk id="1505" creationId="{2142D93D-C1B6-6120-675E-13CF9D2EF1C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31.040" v="327990"/>
          <ac:graphicFrameMkLst>
            <pc:docMk/>
            <pc:sldMk cId="755828523" sldId="2147483089"/>
            <ac:graphicFrameMk id="1506" creationId="{F89BA4A3-5E46-3F5B-E7B1-E2076A088E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04:00.106" v="318726"/>
          <ac:graphicFrameMkLst>
            <pc:docMk/>
            <pc:sldMk cId="755828523" sldId="2147483089"/>
            <ac:graphicFrameMk id="1510" creationId="{684914B6-47A6-41FB-49A2-512EA376265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3:48.790" v="319147"/>
          <ac:graphicFrameMkLst>
            <pc:docMk/>
            <pc:sldMk cId="755828523" sldId="2147483089"/>
            <ac:graphicFrameMk id="1514" creationId="{30950905-2CC4-3CE8-8DA3-49F683910C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24.333" v="327139"/>
          <ac:graphicFrameMkLst>
            <pc:docMk/>
            <pc:sldMk cId="755828523" sldId="2147483089"/>
            <ac:graphicFrameMk id="1515" creationId="{B5FDFCF3-14DE-865D-CAF4-629DF247DEC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3:59.729" v="319999"/>
          <ac:graphicFrameMkLst>
            <pc:docMk/>
            <pc:sldMk cId="755828523" sldId="2147483089"/>
            <ac:graphicFrameMk id="1517" creationId="{AA7735DB-3163-F6A6-24A9-F1B1A2A533A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10.691" v="324273"/>
          <ac:graphicFrameMkLst>
            <pc:docMk/>
            <pc:sldMk cId="755828523" sldId="2147483089"/>
            <ac:graphicFrameMk id="1521" creationId="{671975F7-1B19-2E14-6905-3B42AC38FB69}"/>
          </ac:graphicFrameMkLst>
        </pc:graphicFrameChg>
        <pc:graphicFrameChg chg="add mod">
          <ac:chgData name="Yudi Zhu" userId="571e1a55-055f-4c28-8b35-fca6dd1c1369" providerId="ADAL" clId="{75A88773-6EE1-484E-AADE-FE631E01463B}" dt="2025-11-21T08:34:18.977" v="320734"/>
          <ac:graphicFrameMkLst>
            <pc:docMk/>
            <pc:sldMk cId="755828523" sldId="2147483089"/>
            <ac:graphicFrameMk id="1526" creationId="{0A2B6482-5FDC-1920-6225-4BA8CDE2C75C}"/>
          </ac:graphicFrameMkLst>
        </pc:graphicFrameChg>
        <pc:graphicFrameChg chg="add mod">
          <ac:chgData name="Yudi Zhu" userId="571e1a55-055f-4c28-8b35-fca6dd1c1369" providerId="ADAL" clId="{75A88773-6EE1-484E-AADE-FE631E01463B}" dt="2025-11-21T08:34:35.495" v="321583"/>
          <ac:graphicFrameMkLst>
            <pc:docMk/>
            <pc:sldMk cId="755828523" sldId="2147483089"/>
            <ac:graphicFrameMk id="1528" creationId="{38AE73B2-98B5-4917-2968-544BC6B33F6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06.011" v="324007"/>
          <ac:graphicFrameMkLst>
            <pc:docMk/>
            <pc:sldMk cId="755828523" sldId="2147483089"/>
            <ac:graphicFrameMk id="1530" creationId="{D8072DFA-70BE-1A3F-DF6C-151BD403D6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05.264" v="323771"/>
          <ac:graphicFrameMkLst>
            <pc:docMk/>
            <pc:sldMk cId="755828523" sldId="2147483089"/>
            <ac:graphicFrameMk id="1536" creationId="{E5743858-2BA6-CF6F-2825-D4BF53680F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04.543" v="323617"/>
          <ac:graphicFrameMkLst>
            <pc:docMk/>
            <pc:sldMk cId="755828523" sldId="2147483089"/>
            <ac:graphicFrameMk id="1542" creationId="{51985416-14CD-8740-2D0F-B69CD8CD2DCE}"/>
          </ac:graphicFrameMkLst>
        </pc:graphicFrameChg>
        <pc:graphicFrameChg chg="add mod">
          <ac:chgData name="Yudi Zhu" userId="571e1a55-055f-4c28-8b35-fca6dd1c1369" providerId="ADAL" clId="{75A88773-6EE1-484E-AADE-FE631E01463B}" dt="2025-11-21T08:35:03.978" v="323461"/>
          <ac:graphicFrameMkLst>
            <pc:docMk/>
            <pc:sldMk cId="755828523" sldId="2147483089"/>
            <ac:graphicFrameMk id="1548" creationId="{D7A0D9E8-2BB2-8C8D-5687-0001B4AC247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29.696" v="325136"/>
          <ac:graphicFrameMkLst>
            <pc:docMk/>
            <pc:sldMk cId="755828523" sldId="2147483089"/>
            <ac:graphicFrameMk id="1550" creationId="{B38E359D-70A2-EB42-48AE-7857FA98A1AB}"/>
          </ac:graphicFrameMkLst>
        </pc:graphicFrameChg>
        <pc:graphicFrameChg chg="add mod">
          <ac:chgData name="Yudi Zhu" userId="571e1a55-055f-4c28-8b35-fca6dd1c1369" providerId="ADAL" clId="{75A88773-6EE1-484E-AADE-FE631E01463B}" dt="2025-11-21T08:35:27.428" v="324875"/>
          <ac:graphicFrameMkLst>
            <pc:docMk/>
            <pc:sldMk cId="755828523" sldId="2147483089"/>
            <ac:graphicFrameMk id="1551" creationId="{0AC1F866-E0A0-CAFB-057E-9092F29D23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35.280" v="325451"/>
          <ac:graphicFrameMkLst>
            <pc:docMk/>
            <pc:sldMk cId="755828523" sldId="2147483089"/>
            <ac:graphicFrameMk id="1553" creationId="{BC43B131-5A4C-D242-F201-CE86D430EE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5:39.957" v="325682"/>
          <ac:graphicFrameMkLst>
            <pc:docMk/>
            <pc:sldMk cId="755828523" sldId="2147483089"/>
            <ac:graphicFrameMk id="1557" creationId="{33FFCD1A-99D9-E818-C8AC-D940D471DFB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24.475" v="327310"/>
          <ac:graphicFrameMkLst>
            <pc:docMk/>
            <pc:sldMk cId="755828523" sldId="2147483089"/>
            <ac:graphicFrameMk id="1558" creationId="{B97BA941-F5C1-AE8C-81A1-BE5CFAA6735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43.335" v="329785"/>
          <ac:graphicFrameMkLst>
            <pc:docMk/>
            <pc:sldMk cId="755828523" sldId="2147483089"/>
            <ac:graphicFrameMk id="1561" creationId="{846DE3F4-5ED8-E6D6-B25B-2DF8297F0E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38.323" v="329136"/>
          <ac:graphicFrameMkLst>
            <pc:docMk/>
            <pc:sldMk cId="755828523" sldId="2147483089"/>
            <ac:graphicFrameMk id="1562" creationId="{336FC114-D1E2-0740-5690-0B2F4F1A17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47.407" v="330451"/>
          <ac:graphicFrameMkLst>
            <pc:docMk/>
            <pc:sldMk cId="755828523" sldId="2147483089"/>
            <ac:graphicFrameMk id="1564" creationId="{DC81C1AF-B1E7-870F-A87E-7CC4F4BBAF7F}"/>
          </ac:graphicFrameMkLst>
        </pc:graphicFrameChg>
        <pc:graphicFrameChg chg="add mod">
          <ac:chgData name="Yudi Zhu" userId="571e1a55-055f-4c28-8b35-fca6dd1c1369" providerId="ADAL" clId="{75A88773-6EE1-484E-AADE-FE631E01463B}" dt="2025-11-21T08:38:35.601" v="328713"/>
          <ac:graphicFrameMkLst>
            <pc:docMk/>
            <pc:sldMk cId="755828523" sldId="2147483089"/>
            <ac:graphicFrameMk id="1565" creationId="{E3E25B5A-7DB2-6354-AF0E-5EA8C4106B3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0:18.845" v="334569"/>
          <ac:graphicFrameMkLst>
            <pc:docMk/>
            <pc:sldMk cId="755828523" sldId="2147483089"/>
            <ac:graphicFrameMk id="1567" creationId="{02673B24-E61E-24F5-1001-BDEB6E605B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0:13.317" v="333553"/>
          <ac:graphicFrameMkLst>
            <pc:docMk/>
            <pc:sldMk cId="755828523" sldId="2147483089"/>
            <ac:graphicFrameMk id="1569" creationId="{077A90B7-9DA3-DCDD-BEA6-FE427DA7E22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49.600" v="330952"/>
          <ac:graphicFrameMkLst>
            <pc:docMk/>
            <pc:sldMk cId="755828523" sldId="2147483089"/>
            <ac:graphicFrameMk id="1571" creationId="{773DB66B-30C9-ACFE-573B-76885A8A5DC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8:52.635" v="331315"/>
          <ac:graphicFrameMkLst>
            <pc:docMk/>
            <pc:sldMk cId="755828523" sldId="2147483089"/>
            <ac:graphicFrameMk id="1572" creationId="{4C955D34-4306-C9AB-C659-70F0C999FF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39:26.786" v="332888"/>
          <ac:graphicFrameMkLst>
            <pc:docMk/>
            <pc:sldMk cId="755828523" sldId="2147483089"/>
            <ac:graphicFrameMk id="1573" creationId="{36B14D62-8FC9-2481-FA46-7B1960D54275}"/>
          </ac:graphicFrameMkLst>
        </pc:graphicFrameChg>
        <pc:graphicFrameChg chg="add mod">
          <ac:chgData name="Yudi Zhu" userId="571e1a55-055f-4c28-8b35-fca6dd1c1369" providerId="ADAL" clId="{75A88773-6EE1-484E-AADE-FE631E01463B}" dt="2025-11-21T08:39:23.721" v="332490"/>
          <ac:graphicFrameMkLst>
            <pc:docMk/>
            <pc:sldMk cId="755828523" sldId="2147483089"/>
            <ac:graphicFrameMk id="1574" creationId="{DF75F286-03D2-55E6-D1D8-43962FCB2E8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4:11.147" v="340078"/>
          <ac:graphicFrameMkLst>
            <pc:docMk/>
            <pc:sldMk cId="755828523" sldId="2147483089"/>
            <ac:graphicFrameMk id="1577" creationId="{188BC61A-FE86-B8E6-87D4-C0BC03606D3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0:14.598" v="333950"/>
          <ac:graphicFrameMkLst>
            <pc:docMk/>
            <pc:sldMk cId="755828523" sldId="2147483089"/>
            <ac:graphicFrameMk id="1581" creationId="{297F8473-2F48-0DDF-CD6E-B487ECE5EA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3:03.247" v="337983"/>
          <ac:graphicFrameMkLst>
            <pc:docMk/>
            <pc:sldMk cId="755828523" sldId="2147483089"/>
            <ac:graphicFrameMk id="1582" creationId="{3E31754B-74C8-7589-ACA4-43BF56D121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0:23.014" v="334968"/>
          <ac:graphicFrameMkLst>
            <pc:docMk/>
            <pc:sldMk cId="755828523" sldId="2147483089"/>
            <ac:graphicFrameMk id="1584" creationId="{2F1BAA3F-EF62-6C5F-2F82-B5D876145F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0:51.825" v="335371"/>
          <ac:graphicFrameMkLst>
            <pc:docMk/>
            <pc:sldMk cId="755828523" sldId="2147483089"/>
            <ac:graphicFrameMk id="1585" creationId="{0E448AD0-127D-F066-9C5C-81432F9DFB3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2:59.175" v="337323"/>
          <ac:graphicFrameMkLst>
            <pc:docMk/>
            <pc:sldMk cId="755828523" sldId="2147483089"/>
            <ac:graphicFrameMk id="1587" creationId="{0C98A9B6-0D69-7068-58ED-E6524DCB9C76}"/>
          </ac:graphicFrameMkLst>
        </pc:graphicFrameChg>
        <pc:graphicFrameChg chg="add mod">
          <ac:chgData name="Yudi Zhu" userId="571e1a55-055f-4c28-8b35-fca6dd1c1369" providerId="ADAL" clId="{75A88773-6EE1-484E-AADE-FE631E01463B}" dt="2025-11-21T08:41:56.112" v="336363"/>
          <ac:graphicFrameMkLst>
            <pc:docMk/>
            <pc:sldMk cId="755828523" sldId="2147483089"/>
            <ac:graphicFrameMk id="1591" creationId="{3518326E-F5F1-C8D6-B4CB-89ECCCF9927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3:08.258" v="338303"/>
          <ac:graphicFrameMkLst>
            <pc:docMk/>
            <pc:sldMk cId="755828523" sldId="2147483089"/>
            <ac:graphicFrameMk id="1594" creationId="{BAD74D5E-A912-06BF-464B-6F67E01927A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3:18.926" v="339493"/>
          <ac:graphicFrameMkLst>
            <pc:docMk/>
            <pc:sldMk cId="755828523" sldId="2147483089"/>
            <ac:graphicFrameMk id="1596" creationId="{8F6E3D44-293C-CA3B-F230-07BC78CCA1B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3:11.910" v="338621"/>
          <ac:graphicFrameMkLst>
            <pc:docMk/>
            <pc:sldMk cId="755828523" sldId="2147483089"/>
            <ac:graphicFrameMk id="1597" creationId="{BE4591AA-EBA3-E330-6877-5EA3E1DC7B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3:14.893" v="338939"/>
          <ac:graphicFrameMkLst>
            <pc:docMk/>
            <pc:sldMk cId="755828523" sldId="2147483089"/>
            <ac:graphicFrameMk id="1598" creationId="{A0AF0FCA-1535-D64F-3482-D2E1F0A930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38.772" v="341044"/>
          <ac:graphicFrameMkLst>
            <pc:docMk/>
            <pc:sldMk cId="755828523" sldId="2147483089"/>
            <ac:graphicFrameMk id="1599" creationId="{29486C34-B7A2-5EE8-0738-F7522CF35C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38.657" v="340953"/>
          <ac:graphicFrameMkLst>
            <pc:docMk/>
            <pc:sldMk cId="755828523" sldId="2147483089"/>
            <ac:graphicFrameMk id="1600" creationId="{B86D8A2E-A752-A5CE-1D7B-EFCB293D06D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4:12.856" v="340442"/>
          <ac:graphicFrameMkLst>
            <pc:docMk/>
            <pc:sldMk cId="755828523" sldId="2147483089"/>
            <ac:graphicFrameMk id="1602" creationId="{B36F402C-9A5C-57F4-CA8C-0787E3FEB2A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38.876" v="341191"/>
          <ac:graphicFrameMkLst>
            <pc:docMk/>
            <pc:sldMk cId="755828523" sldId="2147483089"/>
            <ac:graphicFrameMk id="1603" creationId="{D47A8DE8-94FF-0D0D-51A1-CEBA7462AA8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1.279" v="341603"/>
          <ac:graphicFrameMkLst>
            <pc:docMk/>
            <pc:sldMk cId="755828523" sldId="2147483089"/>
            <ac:graphicFrameMk id="1607" creationId="{20416BEB-EE83-0DCF-D8EE-D3852768F6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1.420" v="341694"/>
          <ac:graphicFrameMkLst>
            <pc:docMk/>
            <pc:sldMk cId="755828523" sldId="2147483089"/>
            <ac:graphicFrameMk id="1608" creationId="{C1EB2113-0D54-AA20-1D31-43305427674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1.526" v="341841"/>
          <ac:graphicFrameMkLst>
            <pc:docMk/>
            <pc:sldMk cId="755828523" sldId="2147483089"/>
            <ac:graphicFrameMk id="1609" creationId="{7EB4213D-32AB-7539-437C-0B53008D321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3.776" v="342253"/>
          <ac:graphicFrameMkLst>
            <pc:docMk/>
            <pc:sldMk cId="755828523" sldId="2147483089"/>
            <ac:graphicFrameMk id="1610" creationId="{E68D4408-E35C-5C11-6B31-180E7ABDF2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3.880" v="342344"/>
          <ac:graphicFrameMkLst>
            <pc:docMk/>
            <pc:sldMk cId="755828523" sldId="2147483089"/>
            <ac:graphicFrameMk id="1611" creationId="{D4244EF9-2F68-1D9C-1600-9CF081A745C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3.974" v="342491"/>
          <ac:graphicFrameMkLst>
            <pc:docMk/>
            <pc:sldMk cId="755828523" sldId="2147483089"/>
            <ac:graphicFrameMk id="1612" creationId="{C06F96F5-6D7E-01BB-31E3-50E0A49B91A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4.858" v="342903"/>
          <ac:graphicFrameMkLst>
            <pc:docMk/>
            <pc:sldMk cId="755828523" sldId="2147483089"/>
            <ac:graphicFrameMk id="1613" creationId="{8B3EBDC3-268F-6585-572D-B01A6DA357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4.946" v="342994"/>
          <ac:graphicFrameMkLst>
            <pc:docMk/>
            <pc:sldMk cId="755828523" sldId="2147483089"/>
            <ac:graphicFrameMk id="1614" creationId="{ED91C35A-8CF1-85F4-1FA7-6443AA8DE6F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5:45.025" v="343141"/>
          <ac:graphicFrameMkLst>
            <pc:docMk/>
            <pc:sldMk cId="755828523" sldId="2147483089"/>
            <ac:graphicFrameMk id="1615" creationId="{6F9067B1-56AB-2D75-5080-9448A6D00B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6:05.941" v="343513"/>
          <ac:graphicFrameMkLst>
            <pc:docMk/>
            <pc:sldMk cId="755828523" sldId="2147483089"/>
            <ac:graphicFrameMk id="1616" creationId="{B125310C-30AA-1E03-1505-CB628AA68DC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4.977" v="362008"/>
          <ac:graphicFrameMkLst>
            <pc:docMk/>
            <pc:sldMk cId="755828523" sldId="2147483089"/>
            <ac:graphicFrameMk id="1617" creationId="{4022DB70-B343-86FA-D36B-D92AE311A09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7:11.885" v="344323"/>
          <ac:graphicFrameMkLst>
            <pc:docMk/>
            <pc:sldMk cId="755828523" sldId="2147483089"/>
            <ac:graphicFrameMk id="1618" creationId="{DC776BD5-7B4C-E17B-4187-A79C18DA154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8:52.075" v="346963"/>
          <ac:graphicFrameMkLst>
            <pc:docMk/>
            <pc:sldMk cId="755828523" sldId="2147483089"/>
            <ac:graphicFrameMk id="1620" creationId="{595CFC84-9A19-C3AF-53F7-16F41061FA9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7:14.712" v="344667"/>
          <ac:graphicFrameMkLst>
            <pc:docMk/>
            <pc:sldMk cId="755828523" sldId="2147483089"/>
            <ac:graphicFrameMk id="1622" creationId="{74FF9E70-06CD-7616-08BC-590C02FE8D8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7:32.791" v="345143"/>
          <ac:graphicFrameMkLst>
            <pc:docMk/>
            <pc:sldMk cId="755828523" sldId="2147483089"/>
            <ac:graphicFrameMk id="1624" creationId="{C622F298-3C36-899B-5D37-986E5AF48A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7:35.604" v="345471"/>
          <ac:graphicFrameMkLst>
            <pc:docMk/>
            <pc:sldMk cId="755828523" sldId="2147483089"/>
            <ac:graphicFrameMk id="1626" creationId="{2CE95EC3-D5F3-9455-BCA6-C854948A289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7:59.821" v="345881"/>
          <ac:graphicFrameMkLst>
            <pc:docMk/>
            <pc:sldMk cId="755828523" sldId="2147483089"/>
            <ac:graphicFrameMk id="1628" creationId="{98B652C1-AD70-6C5C-A584-860D1B34A00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8:01.086" v="346193"/>
          <ac:graphicFrameMkLst>
            <pc:docMk/>
            <pc:sldMk cId="755828523" sldId="2147483089"/>
            <ac:graphicFrameMk id="1630" creationId="{74E3EFD3-DEA0-5024-86BA-3CF38454842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8:01.920" v="346505"/>
          <ac:graphicFrameMkLst>
            <pc:docMk/>
            <pc:sldMk cId="755828523" sldId="2147483089"/>
            <ac:graphicFrameMk id="1632" creationId="{2F5B8725-7141-2E54-C354-85FE794ED63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20.653" v="347671"/>
          <ac:graphicFrameMkLst>
            <pc:docMk/>
            <pc:sldMk cId="755828523" sldId="2147483089"/>
            <ac:graphicFrameMk id="1634" creationId="{2144E7D9-84FB-7A42-6663-C85F3625108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8:53.019" v="347199"/>
          <ac:graphicFrameMkLst>
            <pc:docMk/>
            <pc:sldMk cId="755828523" sldId="2147483089"/>
            <ac:graphicFrameMk id="1635" creationId="{3460D11C-9215-D0E0-95A4-B38AD99A12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8:55.588" v="347435"/>
          <ac:graphicFrameMkLst>
            <pc:docMk/>
            <pc:sldMk cId="755828523" sldId="2147483089"/>
            <ac:graphicFrameMk id="1636" creationId="{1EA802C3-B519-9FDB-141F-8415020B133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46.682" v="355799"/>
          <ac:graphicFrameMkLst>
            <pc:docMk/>
            <pc:sldMk cId="755828523" sldId="2147483089"/>
            <ac:graphicFrameMk id="1637" creationId="{1FF57BA1-4C75-1072-BD6A-90CEB59D5A5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22.856" v="347907"/>
          <ac:graphicFrameMkLst>
            <pc:docMk/>
            <pc:sldMk cId="755828523" sldId="2147483089"/>
            <ac:graphicFrameMk id="1638" creationId="{B9F4805F-1FBE-6D58-6CA1-D0B60A0A746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24.987" v="348569"/>
          <ac:graphicFrameMkLst>
            <pc:docMk/>
            <pc:sldMk cId="755828523" sldId="2147483089"/>
            <ac:graphicFrameMk id="1639" creationId="{E798508B-993F-AD5E-67D6-E6A5AB1A15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1.517" v="348813"/>
          <ac:graphicFrameMkLst>
            <pc:docMk/>
            <pc:sldMk cId="755828523" sldId="2147483089"/>
            <ac:graphicFrameMk id="1641" creationId="{9D4DD817-B319-7368-501D-3945A2DEEE2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5.190" v="349039"/>
          <ac:graphicFrameMkLst>
            <pc:docMk/>
            <pc:sldMk cId="755828523" sldId="2147483089"/>
            <ac:graphicFrameMk id="1643" creationId="{7A673AF6-B96C-06AF-6BC7-99E8E03FB2C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5.383" v="349269"/>
          <ac:graphicFrameMkLst>
            <pc:docMk/>
            <pc:sldMk cId="755828523" sldId="2147483089"/>
            <ac:graphicFrameMk id="1644" creationId="{C47EB592-6963-F0D9-22AA-4E2D7D7A3CE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7.618" v="349569"/>
          <ac:graphicFrameMkLst>
            <pc:docMk/>
            <pc:sldMk cId="755828523" sldId="2147483089"/>
            <ac:graphicFrameMk id="1645" creationId="{655771CA-7DCE-63BB-F5F9-39C64F8E789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8.930" v="349795"/>
          <ac:graphicFrameMkLst>
            <pc:docMk/>
            <pc:sldMk cId="755828523" sldId="2147483089"/>
            <ac:graphicFrameMk id="1648" creationId="{A17E2064-29FC-B77C-110E-BB3B0680A80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39.232" v="350027"/>
          <ac:graphicFrameMkLst>
            <pc:docMk/>
            <pc:sldMk cId="755828523" sldId="2147483089"/>
            <ac:graphicFrameMk id="1649" creationId="{7C35AE96-A52B-66F1-A502-339028AAB1F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40.252" v="350249"/>
          <ac:graphicFrameMkLst>
            <pc:docMk/>
            <pc:sldMk cId="755828523" sldId="2147483089"/>
            <ac:graphicFrameMk id="1650" creationId="{8516A38C-951D-D617-F822-5A8FB10D450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41.453" v="350479"/>
          <ac:graphicFrameMkLst>
            <pc:docMk/>
            <pc:sldMk cId="755828523" sldId="2147483089"/>
            <ac:graphicFrameMk id="1651" creationId="{AE583ABB-6A69-ABCA-CA9A-A41BEDBE96A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43.249" v="350777"/>
          <ac:graphicFrameMkLst>
            <pc:docMk/>
            <pc:sldMk cId="755828523" sldId="2147483089"/>
            <ac:graphicFrameMk id="1652" creationId="{5A4BEF93-1129-9928-87A7-1470A6F9A8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44.069" v="351007"/>
          <ac:graphicFrameMkLst>
            <pc:docMk/>
            <pc:sldMk cId="755828523" sldId="2147483089"/>
            <ac:graphicFrameMk id="1655" creationId="{6C387635-9B18-54DD-AB4D-BAC6AE3999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52.913" v="351302"/>
          <ac:graphicFrameMkLst>
            <pc:docMk/>
            <pc:sldMk cId="755828523" sldId="2147483089"/>
            <ac:graphicFrameMk id="1656" creationId="{0DCA4DC8-C689-5C88-787A-46D6FA6B2E9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49:54.937" v="351524"/>
          <ac:graphicFrameMkLst>
            <pc:docMk/>
            <pc:sldMk cId="755828523" sldId="2147483089"/>
            <ac:graphicFrameMk id="1659" creationId="{147DB1D0-6457-17D2-C3C8-D7A08809B08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20.053" v="353364"/>
          <ac:graphicFrameMkLst>
            <pc:docMk/>
            <pc:sldMk cId="755828523" sldId="2147483089"/>
            <ac:graphicFrameMk id="1660" creationId="{9BDCDD94-E285-1CCB-A519-31999B1A3E35}"/>
          </ac:graphicFrameMkLst>
        </pc:graphicFrameChg>
        <pc:graphicFrameChg chg="add mod">
          <ac:chgData name="Yudi Zhu" userId="571e1a55-055f-4c28-8b35-fca6dd1c1369" providerId="ADAL" clId="{75A88773-6EE1-484E-AADE-FE631E01463B}" dt="2025-11-21T08:50:15.753" v="352989"/>
          <ac:graphicFrameMkLst>
            <pc:docMk/>
            <pc:sldMk cId="755828523" sldId="2147483089"/>
            <ac:graphicFrameMk id="1673" creationId="{54CD7105-55F7-A913-44BE-88857BAB723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41.168" v="355336"/>
          <ac:graphicFrameMkLst>
            <pc:docMk/>
            <pc:sldMk cId="755828523" sldId="2147483089"/>
            <ac:graphicFrameMk id="1676" creationId="{694CA8DD-E070-568F-FD55-5851532B6B25}"/>
          </ac:graphicFrameMkLst>
        </pc:graphicFrameChg>
        <pc:graphicFrameChg chg="add mod">
          <ac:chgData name="Yudi Zhu" userId="571e1a55-055f-4c28-8b35-fca6dd1c1369" providerId="ADAL" clId="{75A88773-6EE1-484E-AADE-FE631E01463B}" dt="2025-11-21T08:50:35.822" v="354456"/>
          <ac:graphicFrameMkLst>
            <pc:docMk/>
            <pc:sldMk cId="755828523" sldId="2147483089"/>
            <ac:graphicFrameMk id="1677" creationId="{3AB9EE8A-A56E-B0E5-C07C-6F1AB0BE5006}"/>
          </ac:graphicFrameMkLst>
        </pc:graphicFrameChg>
        <pc:graphicFrameChg chg="add mod">
          <ac:chgData name="Yudi Zhu" userId="571e1a55-055f-4c28-8b35-fca6dd1c1369" providerId="ADAL" clId="{75A88773-6EE1-484E-AADE-FE631E01463B}" dt="2025-11-21T08:50:34.803" v="354373"/>
          <ac:graphicFrameMkLst>
            <pc:docMk/>
            <pc:sldMk cId="755828523" sldId="2147483089"/>
            <ac:graphicFrameMk id="1679" creationId="{A69EAD2E-92BC-74C2-34D4-FB46D0BD55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03.351" v="357225"/>
          <ac:graphicFrameMkLst>
            <pc:docMk/>
            <pc:sldMk cId="755828523" sldId="2147483089"/>
            <ac:graphicFrameMk id="1692" creationId="{5A52698F-5739-6003-457A-EB78FC2795A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56.781" v="356156"/>
          <ac:graphicFrameMkLst>
            <pc:docMk/>
            <pc:sldMk cId="755828523" sldId="2147483089"/>
            <ac:graphicFrameMk id="1694" creationId="{FC006F1B-F01B-7868-4D1E-131DD0A2686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57.568" v="356511"/>
          <ac:graphicFrameMkLst>
            <pc:docMk/>
            <pc:sldMk cId="755828523" sldId="2147483089"/>
            <ac:graphicFrameMk id="1695" creationId="{29AAAF79-400F-68F8-D445-2886FE268F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0:59.614" v="356866"/>
          <ac:graphicFrameMkLst>
            <pc:docMk/>
            <pc:sldMk cId="755828523" sldId="2147483089"/>
            <ac:graphicFrameMk id="1696" creationId="{C74F0F94-5E82-D15D-9B96-37EAE3E095B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28.657" v="360138"/>
          <ac:graphicFrameMkLst>
            <pc:docMk/>
            <pc:sldMk cId="755828523" sldId="2147483089"/>
            <ac:graphicFrameMk id="1697" creationId="{5487C973-1981-7A70-F169-5EC4542721F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04.347" v="357574"/>
          <ac:graphicFrameMkLst>
            <pc:docMk/>
            <pc:sldMk cId="755828523" sldId="2147483089"/>
            <ac:graphicFrameMk id="1698" creationId="{A17E45ED-392A-CFDC-AF87-DFA8C54BC62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06.602" v="357923"/>
          <ac:graphicFrameMkLst>
            <pc:docMk/>
            <pc:sldMk cId="755828523" sldId="2147483089"/>
            <ac:graphicFrameMk id="1699" creationId="{DF3D9FC9-7F9B-8BF4-C010-2F276B23622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20.668" v="358539"/>
          <ac:graphicFrameMkLst>
            <pc:docMk/>
            <pc:sldMk cId="755828523" sldId="2147483089"/>
            <ac:graphicFrameMk id="1700" creationId="{E3E191F2-9B4F-1F2C-AAE8-4766EF6B0C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22.184" v="358888"/>
          <ac:graphicFrameMkLst>
            <pc:docMk/>
            <pc:sldMk cId="755828523" sldId="2147483089"/>
            <ac:graphicFrameMk id="1701" creationId="{3DBE8EB0-780D-A023-4487-11DB3157385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23.635" v="359237"/>
          <ac:graphicFrameMkLst>
            <pc:docMk/>
            <pc:sldMk cId="755828523" sldId="2147483089"/>
            <ac:graphicFrameMk id="1702" creationId="{EC35EAD6-1A58-4B6A-CF2D-9798AF6099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5.123" v="362196"/>
          <ac:graphicFrameMkLst>
            <pc:docMk/>
            <pc:sldMk cId="755828523" sldId="2147483089"/>
            <ac:graphicFrameMk id="1703" creationId="{13D70EA8-E70A-5F48-5DF0-B47E518320A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36.020" v="360382"/>
          <ac:graphicFrameMkLst>
            <pc:docMk/>
            <pc:sldMk cId="755828523" sldId="2147483089"/>
            <ac:graphicFrameMk id="1717" creationId="{838BEC2E-4E8E-6511-2ABF-C6DE92BBA3D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39.349" v="360606"/>
          <ac:graphicFrameMkLst>
            <pc:docMk/>
            <pc:sldMk cId="755828523" sldId="2147483089"/>
            <ac:graphicFrameMk id="1718" creationId="{833CFAD8-31DC-81ED-251E-9517FD4AFAD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44.100" v="360830"/>
          <ac:graphicFrameMkLst>
            <pc:docMk/>
            <pc:sldMk cId="755828523" sldId="2147483089"/>
            <ac:graphicFrameMk id="1719" creationId="{15DCDCFB-916B-B880-4F3E-786D0EC27F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58.953" v="361054"/>
          <ac:graphicFrameMkLst>
            <pc:docMk/>
            <pc:sldMk cId="755828523" sldId="2147483089"/>
            <ac:graphicFrameMk id="1720" creationId="{2774735E-6332-3E4B-076F-DE51A0C68D7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1:59.753" v="361275"/>
          <ac:graphicFrameMkLst>
            <pc:docMk/>
            <pc:sldMk cId="755828523" sldId="2147483089"/>
            <ac:graphicFrameMk id="1721" creationId="{A9ADDD7C-FBC3-5378-4201-EC3E3A23391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4.580" v="361695"/>
          <ac:graphicFrameMkLst>
            <pc:docMk/>
            <pc:sldMk cId="755828523" sldId="2147483089"/>
            <ac:graphicFrameMk id="1722" creationId="{E15A2241-A4CA-A02E-2600-E733A1FA12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6.078" v="362632"/>
          <ac:graphicFrameMkLst>
            <pc:docMk/>
            <pc:sldMk cId="755828523" sldId="2147483089"/>
            <ac:graphicFrameMk id="1724" creationId="{FA84BC8A-66B8-514A-D4B6-2C5B0E57B40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6.162" v="362723"/>
          <ac:graphicFrameMkLst>
            <pc:docMk/>
            <pc:sldMk cId="755828523" sldId="2147483089"/>
            <ac:graphicFrameMk id="1726" creationId="{A32E6B2C-C65F-E000-B69D-4E200FD38FA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26.314" v="362908"/>
          <ac:graphicFrameMkLst>
            <pc:docMk/>
            <pc:sldMk cId="755828523" sldId="2147483089"/>
            <ac:graphicFrameMk id="1727" creationId="{0C9F69CD-3CF3-F7E3-A652-6AA1DA75E20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0.806" v="363342"/>
          <ac:graphicFrameMkLst>
            <pc:docMk/>
            <pc:sldMk cId="755828523" sldId="2147483089"/>
            <ac:graphicFrameMk id="1728" creationId="{16F49C05-7DC1-F220-A034-B658CF5AE4B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0.881" v="363433"/>
          <ac:graphicFrameMkLst>
            <pc:docMk/>
            <pc:sldMk cId="755828523" sldId="2147483089"/>
            <ac:graphicFrameMk id="1729" creationId="{B62B9462-385B-D22B-F6DA-9A8F2F3DB3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1.032" v="363618"/>
          <ac:graphicFrameMkLst>
            <pc:docMk/>
            <pc:sldMk cId="755828523" sldId="2147483089"/>
            <ac:graphicFrameMk id="1730" creationId="{EB436B39-8A2F-1C43-73A5-B74D7515DD2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2.431" v="364052"/>
          <ac:graphicFrameMkLst>
            <pc:docMk/>
            <pc:sldMk cId="755828523" sldId="2147483089"/>
            <ac:graphicFrameMk id="1731" creationId="{0C1A8EF0-347A-AE24-8356-DD78027A0F5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2.510" v="364143"/>
          <ac:graphicFrameMkLst>
            <pc:docMk/>
            <pc:sldMk cId="755828523" sldId="2147483089"/>
            <ac:graphicFrameMk id="1732" creationId="{C36A4E86-E7BA-513D-96D3-42827488AD1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3:32.654" v="364328"/>
          <ac:graphicFrameMkLst>
            <pc:docMk/>
            <pc:sldMk cId="755828523" sldId="2147483089"/>
            <ac:graphicFrameMk id="1733" creationId="{1F23E904-8FE9-5AF6-4892-24CBD21282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3.676" v="366491"/>
          <ac:graphicFrameMkLst>
            <pc:docMk/>
            <pc:sldMk cId="755828523" sldId="2147483089"/>
            <ac:graphicFrameMk id="1734" creationId="{20B05990-37F6-926C-E407-27B0653A131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4:44.559" v="365450"/>
          <ac:graphicFrameMkLst>
            <pc:docMk/>
            <pc:sldMk cId="755828523" sldId="2147483089"/>
            <ac:graphicFrameMk id="1735" creationId="{26874743-1E66-CF32-66FF-98CD7CA11E5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4.371" v="367022"/>
          <ac:graphicFrameMkLst>
            <pc:docMk/>
            <pc:sldMk cId="755828523" sldId="2147483089"/>
            <ac:graphicFrameMk id="1736" creationId="{C1F17751-A8F3-A742-1BC8-AAF2230E1A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4:46.497" v="365880"/>
          <ac:graphicFrameMkLst>
            <pc:docMk/>
            <pc:sldMk cId="755828523" sldId="2147483089"/>
            <ac:graphicFrameMk id="1738" creationId="{98EC4684-674F-262E-287F-0C5306E347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3.789" v="366578"/>
          <ac:graphicFrameMkLst>
            <pc:docMk/>
            <pc:sldMk cId="755828523" sldId="2147483089"/>
            <ac:graphicFrameMk id="1740" creationId="{792B7720-77F0-0F1B-252F-6FA88F4DA3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5.308" v="367459"/>
          <ac:graphicFrameMkLst>
            <pc:docMk/>
            <pc:sldMk cId="755828523" sldId="2147483089"/>
            <ac:graphicFrameMk id="1742" creationId="{45289426-3741-2D14-EC9B-873F8043915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5.444" v="367546"/>
          <ac:graphicFrameMkLst>
            <pc:docMk/>
            <pc:sldMk cId="755828523" sldId="2147483089"/>
            <ac:graphicFrameMk id="1743" creationId="{E52BF4A3-B397-B92B-7422-285CC6D4637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5.584" v="367731"/>
          <ac:graphicFrameMkLst>
            <pc:docMk/>
            <pc:sldMk cId="755828523" sldId="2147483089"/>
            <ac:graphicFrameMk id="1744" creationId="{C78F8371-2187-B9CB-64AE-300E191751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7.026" v="368163"/>
          <ac:graphicFrameMkLst>
            <pc:docMk/>
            <pc:sldMk cId="755828523" sldId="2147483089"/>
            <ac:graphicFrameMk id="1745" creationId="{E5F3D109-D4AC-856E-A780-4F2A8E53A70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7.209" v="368250"/>
          <ac:graphicFrameMkLst>
            <pc:docMk/>
            <pc:sldMk cId="755828523" sldId="2147483089"/>
            <ac:graphicFrameMk id="1746" creationId="{116EF07D-B393-58ED-1EEF-17DC01E4BF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7.345" v="368435"/>
          <ac:graphicFrameMkLst>
            <pc:docMk/>
            <pc:sldMk cId="755828523" sldId="2147483089"/>
            <ac:graphicFrameMk id="1747" creationId="{47FE688D-04EA-3784-673F-FFCE2CD4E90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8.372" v="368867"/>
          <ac:graphicFrameMkLst>
            <pc:docMk/>
            <pc:sldMk cId="755828523" sldId="2147483089"/>
            <ac:graphicFrameMk id="1748" creationId="{A81016FD-65DA-9977-F1CA-8C1DE3BA026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8.594" v="368954"/>
          <ac:graphicFrameMkLst>
            <pc:docMk/>
            <pc:sldMk cId="755828523" sldId="2147483089"/>
            <ac:graphicFrameMk id="1749" creationId="{B5F62F85-87FA-B72C-13CB-20E1B161939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8.724" v="369139"/>
          <ac:graphicFrameMkLst>
            <pc:docMk/>
            <pc:sldMk cId="755828523" sldId="2147483089"/>
            <ac:graphicFrameMk id="1750" creationId="{E5AA06DE-1734-D710-8338-6FCF042E26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9.722" v="369571"/>
          <ac:graphicFrameMkLst>
            <pc:docMk/>
            <pc:sldMk cId="755828523" sldId="2147483089"/>
            <ac:graphicFrameMk id="1751" creationId="{DBE4CACC-5AE5-B5E1-0CFA-C0E50ED1521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9.812" v="369658"/>
          <ac:graphicFrameMkLst>
            <pc:docMk/>
            <pc:sldMk cId="755828523" sldId="2147483089"/>
            <ac:graphicFrameMk id="1752" creationId="{A2E261E4-6DCE-FC0B-5175-13A70B8644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39.958" v="369843"/>
          <ac:graphicFrameMkLst>
            <pc:docMk/>
            <pc:sldMk cId="755828523" sldId="2147483089"/>
            <ac:graphicFrameMk id="1753" creationId="{79E582BF-5F26-B2ED-6845-74425375D77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45.834" v="370275"/>
          <ac:graphicFrameMkLst>
            <pc:docMk/>
            <pc:sldMk cId="755828523" sldId="2147483089"/>
            <ac:graphicFrameMk id="1754" creationId="{1C9C1DB2-E73F-FF3D-4891-8757A03F5C6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45.928" v="370362"/>
          <ac:graphicFrameMkLst>
            <pc:docMk/>
            <pc:sldMk cId="755828523" sldId="2147483089"/>
            <ac:graphicFrameMk id="1755" creationId="{5CF073A1-2C2F-2BF7-6B57-0C9FC6BB51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5:46.083" v="370547"/>
          <ac:graphicFrameMkLst>
            <pc:docMk/>
            <pc:sldMk cId="755828523" sldId="2147483089"/>
            <ac:graphicFrameMk id="1756" creationId="{2A2014D5-A0AB-8BB1-6E51-E14CA05DDF9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8:38.831" v="371454"/>
          <ac:graphicFrameMkLst>
            <pc:docMk/>
            <pc:sldMk cId="755828523" sldId="2147483089"/>
            <ac:graphicFrameMk id="1757" creationId="{1FE1EBF7-26F2-CD87-0A6F-D8277E31DED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6:24.254" v="370845"/>
          <ac:graphicFrameMkLst>
            <pc:docMk/>
            <pc:sldMk cId="755828523" sldId="2147483089"/>
            <ac:graphicFrameMk id="1758" creationId="{752A3052-FDD8-E5ED-ED0C-DCE8FACC362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20.743" v="380715"/>
          <ac:graphicFrameMkLst>
            <pc:docMk/>
            <pc:sldMk cId="755828523" sldId="2147483089"/>
            <ac:graphicFrameMk id="1759" creationId="{A9F14B32-928F-83EA-B585-951D856796B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6:25.555" v="371063"/>
          <ac:graphicFrameMkLst>
            <pc:docMk/>
            <pc:sldMk cId="755828523" sldId="2147483089"/>
            <ac:graphicFrameMk id="1760" creationId="{0080BC3A-EF64-DB84-93FC-7C0727E411D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5.576" v="384024"/>
          <ac:graphicFrameMkLst>
            <pc:docMk/>
            <pc:sldMk cId="755828523" sldId="2147483089"/>
            <ac:graphicFrameMk id="1761" creationId="{2916D07F-61FD-2637-1740-815E6EA6A83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8:45.885" v="371672"/>
          <ac:graphicFrameMkLst>
            <pc:docMk/>
            <pc:sldMk cId="755828523" sldId="2147483089"/>
            <ac:graphicFrameMk id="1762" creationId="{3D131E93-F3E5-F930-CA72-BA8D361792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8:49.018" v="371902"/>
          <ac:graphicFrameMkLst>
            <pc:docMk/>
            <pc:sldMk cId="755828523" sldId="2147483089"/>
            <ac:graphicFrameMk id="1763" creationId="{636DC1D8-B482-B24F-2D1F-0BBFBB83637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8:52.779" v="372120"/>
          <ac:graphicFrameMkLst>
            <pc:docMk/>
            <pc:sldMk cId="755828523" sldId="2147483089"/>
            <ac:graphicFrameMk id="1764" creationId="{09317DA7-9297-6BD7-96F9-752BD1F3C89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8:57.069" v="372352"/>
          <ac:graphicFrameMkLst>
            <pc:docMk/>
            <pc:sldMk cId="755828523" sldId="2147483089"/>
            <ac:graphicFrameMk id="1765" creationId="{48EC078E-82D7-0C06-143E-23878679E84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02.532" v="373302"/>
          <ac:graphicFrameMkLst>
            <pc:docMk/>
            <pc:sldMk cId="755828523" sldId="2147483089"/>
            <ac:graphicFrameMk id="1766" creationId="{E4E95D8C-434A-536D-39C2-9D06E852CF5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26.918" v="373556"/>
          <ac:graphicFrameMkLst>
            <pc:docMk/>
            <pc:sldMk cId="755828523" sldId="2147483089"/>
            <ac:graphicFrameMk id="1780" creationId="{5637D249-C67A-A707-C098-925B6B91FBE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28.599" v="373776"/>
          <ac:graphicFrameMkLst>
            <pc:docMk/>
            <pc:sldMk cId="755828523" sldId="2147483089"/>
            <ac:graphicFrameMk id="1782" creationId="{4F2A77A0-0983-EC3C-40D2-0E79F1D177C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33.203" v="373998"/>
          <ac:graphicFrameMkLst>
            <pc:docMk/>
            <pc:sldMk cId="755828523" sldId="2147483089"/>
            <ac:graphicFrameMk id="1783" creationId="{E2B9CF89-D296-6C43-BCBD-EF60CA685C8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34.016" v="374217"/>
          <ac:graphicFrameMkLst>
            <pc:docMk/>
            <pc:sldMk cId="755828523" sldId="2147483089"/>
            <ac:graphicFrameMk id="1784" creationId="{53A96C1E-BACE-8FB7-DBF8-668ED694F9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40.150" v="374857"/>
          <ac:graphicFrameMkLst>
            <pc:docMk/>
            <pc:sldMk cId="755828523" sldId="2147483089"/>
            <ac:graphicFrameMk id="1785" creationId="{129BCF02-B0F9-7654-9CC8-5572D00AD795}"/>
          </ac:graphicFrameMkLst>
        </pc:graphicFrameChg>
        <pc:graphicFrameChg chg="add mod">
          <ac:chgData name="Yudi Zhu" userId="571e1a55-055f-4c28-8b35-fca6dd1c1369" providerId="ADAL" clId="{75A88773-6EE1-484E-AADE-FE631E01463B}" dt="2025-11-21T08:59:38.336" v="374723"/>
          <ac:graphicFrameMkLst>
            <pc:docMk/>
            <pc:sldMk cId="755828523" sldId="2147483089"/>
            <ac:graphicFrameMk id="1786" creationId="{1E39A27B-2564-4363-FF49-7704865A0A7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43.783" v="375809"/>
          <ac:graphicFrameMkLst>
            <pc:docMk/>
            <pc:sldMk cId="755828523" sldId="2147483089"/>
            <ac:graphicFrameMk id="1788" creationId="{F6CD71CE-FD3C-3085-4597-1415C45EAFE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50.927" v="376029"/>
          <ac:graphicFrameMkLst>
            <pc:docMk/>
            <pc:sldMk cId="755828523" sldId="2147483089"/>
            <ac:graphicFrameMk id="1802" creationId="{9AEEF5DD-7762-3494-4EE7-A0844D0F14E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8:59:53.548" v="376247"/>
          <ac:graphicFrameMkLst>
            <pc:docMk/>
            <pc:sldMk cId="755828523" sldId="2147483089"/>
            <ac:graphicFrameMk id="1803" creationId="{59CE9C06-F75A-87DD-95D6-DACBA48F77A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20.001" v="378155"/>
          <ac:graphicFrameMkLst>
            <pc:docMk/>
            <pc:sldMk cId="755828523" sldId="2147483089"/>
            <ac:graphicFrameMk id="1804" creationId="{554115D0-45B2-7A23-D5E3-B4A29C5896C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13.277" v="377900"/>
          <ac:graphicFrameMkLst>
            <pc:docMk/>
            <pc:sldMk cId="755828523" sldId="2147483089"/>
            <ac:graphicFrameMk id="1806" creationId="{50E58C07-F2BD-0D86-1F0C-D2386E679E4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13.277" v="377900"/>
          <ac:graphicFrameMkLst>
            <pc:docMk/>
            <pc:sldMk cId="755828523" sldId="2147483089"/>
            <ac:graphicFrameMk id="1807" creationId="{DB7602BE-0ABF-E8A7-2944-B2A7FEBFDA7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10.916" v="377690"/>
          <ac:graphicFrameMkLst>
            <pc:docMk/>
            <pc:sldMk cId="755828523" sldId="2147483089"/>
            <ac:graphicFrameMk id="1808" creationId="{A9488FBC-67FE-6EA3-03FC-023E845FEF5C}"/>
          </ac:graphicFrameMkLst>
        </pc:graphicFrameChg>
        <pc:graphicFrameChg chg="add mod">
          <ac:chgData name="Yudi Zhu" userId="571e1a55-055f-4c28-8b35-fca6dd1c1369" providerId="ADAL" clId="{75A88773-6EE1-484E-AADE-FE631E01463B}" dt="2025-11-21T09:00:10.916" v="377690"/>
          <ac:graphicFrameMkLst>
            <pc:docMk/>
            <pc:sldMk cId="755828523" sldId="2147483089"/>
            <ac:graphicFrameMk id="1809" creationId="{A69BBB61-A132-7519-0318-BD059CF96C6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23.913" v="378375"/>
          <ac:graphicFrameMkLst>
            <pc:docMk/>
            <pc:sldMk cId="755828523" sldId="2147483089"/>
            <ac:graphicFrameMk id="1811" creationId="{3B4EC675-985C-FCB3-85C8-6257FA9E711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00:29.422" v="378593"/>
          <ac:graphicFrameMkLst>
            <pc:docMk/>
            <pc:sldMk cId="755828523" sldId="2147483089"/>
            <ac:graphicFrameMk id="1812" creationId="{874305E9-8F1B-D3B9-240C-570B5DA25D9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5.189" v="383729"/>
          <ac:graphicFrameMkLst>
            <pc:docMk/>
            <pc:sldMk cId="755828523" sldId="2147483089"/>
            <ac:graphicFrameMk id="1813" creationId="{34DFF5F9-1B5C-44F0-A754-1BF00B3F9BBA}"/>
          </ac:graphicFrameMkLst>
        </pc:graphicFrameChg>
        <pc:graphicFrameChg chg="add mod">
          <ac:chgData name="Yudi Zhu" userId="571e1a55-055f-4c28-8b35-fca6dd1c1369" providerId="ADAL" clId="{75A88773-6EE1-484E-AADE-FE631E01463B}" dt="2025-11-21T09:00:37.912" v="379375"/>
          <ac:graphicFrameMkLst>
            <pc:docMk/>
            <pc:sldMk cId="755828523" sldId="2147483089"/>
            <ac:graphicFrameMk id="1815" creationId="{6F3B3A17-FD56-3001-06B5-7D59C033316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26.686" v="381065"/>
          <ac:graphicFrameMkLst>
            <pc:docMk/>
            <pc:sldMk cId="755828523" sldId="2147483089"/>
            <ac:graphicFrameMk id="1820" creationId="{43DFE727-16BB-55D3-677B-BBE41436312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1.306" v="381413"/>
          <ac:graphicFrameMkLst>
            <pc:docMk/>
            <pc:sldMk cId="755828523" sldId="2147483089"/>
            <ac:graphicFrameMk id="1821" creationId="{3706DB29-8B56-7720-A614-80EDFE97927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2.675" v="381761"/>
          <ac:graphicFrameMkLst>
            <pc:docMk/>
            <pc:sldMk cId="755828523" sldId="2147483089"/>
            <ac:graphicFrameMk id="1822" creationId="{5A89A8BD-7210-9BC7-47DE-A237B514C5A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3.523" v="382109"/>
          <ac:graphicFrameMkLst>
            <pc:docMk/>
            <pc:sldMk cId="755828523" sldId="2147483089"/>
            <ac:graphicFrameMk id="1823" creationId="{A729BF2F-E5B7-11D0-418F-002F504A0AC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4.393" v="382457"/>
          <ac:graphicFrameMkLst>
            <pc:docMk/>
            <pc:sldMk cId="755828523" sldId="2147483089"/>
            <ac:graphicFrameMk id="1824" creationId="{92D0FE7B-71E3-8F92-A984-3E829EFCF37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5.443" v="382805"/>
          <ac:graphicFrameMkLst>
            <pc:docMk/>
            <pc:sldMk cId="755828523" sldId="2147483089"/>
            <ac:graphicFrameMk id="1825" creationId="{29783111-474C-F0F3-6112-CEA8D372164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36.324" v="383153"/>
          <ac:graphicFrameMkLst>
            <pc:docMk/>
            <pc:sldMk cId="755828523" sldId="2147483089"/>
            <ac:graphicFrameMk id="1826" creationId="{58AE2EA4-8099-CC15-7914-86F4DCB398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5.711" v="384214"/>
          <ac:graphicFrameMkLst>
            <pc:docMk/>
            <pc:sldMk cId="755828523" sldId="2147483089"/>
            <ac:graphicFrameMk id="1827" creationId="{AEB1E13C-09D4-9E47-F345-2868A4391BE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7.053" v="384651"/>
          <ac:graphicFrameMkLst>
            <pc:docMk/>
            <pc:sldMk cId="755828523" sldId="2147483089"/>
            <ac:graphicFrameMk id="1829" creationId="{DDE7B4A3-2D22-2D37-AB76-6E68EEAD80C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7.283" v="384738"/>
          <ac:graphicFrameMkLst>
            <pc:docMk/>
            <pc:sldMk cId="755828523" sldId="2147483089"/>
            <ac:graphicFrameMk id="1830" creationId="{A6CEF736-00BC-1224-B987-EC10192B26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7.435" v="384923"/>
          <ac:graphicFrameMkLst>
            <pc:docMk/>
            <pc:sldMk cId="755828523" sldId="2147483089"/>
            <ac:graphicFrameMk id="1831" creationId="{CA108107-E9FF-8B12-E607-7D5CB949EC9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8.407" v="385355"/>
          <ac:graphicFrameMkLst>
            <pc:docMk/>
            <pc:sldMk cId="755828523" sldId="2147483089"/>
            <ac:graphicFrameMk id="1832" creationId="{BC99133C-D7AD-5D37-0E7E-C39914D483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8.507" v="385442"/>
          <ac:graphicFrameMkLst>
            <pc:docMk/>
            <pc:sldMk cId="755828523" sldId="2147483089"/>
            <ac:graphicFrameMk id="1833" creationId="{2D3C4A17-0FB9-D879-FB10-DEE1706E296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8.637" v="385627"/>
          <ac:graphicFrameMkLst>
            <pc:docMk/>
            <pc:sldMk cId="755828523" sldId="2147483089"/>
            <ac:graphicFrameMk id="1834" creationId="{C1DC8240-CC7E-4A70-25EE-E775B665AC3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49.942" v="386059"/>
          <ac:graphicFrameMkLst>
            <pc:docMk/>
            <pc:sldMk cId="755828523" sldId="2147483089"/>
            <ac:graphicFrameMk id="1835" creationId="{4F26EF8B-595D-CA53-DD1D-A13749577AF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50.157" v="386146"/>
          <ac:graphicFrameMkLst>
            <pc:docMk/>
            <pc:sldMk cId="755828523" sldId="2147483089"/>
            <ac:graphicFrameMk id="1836" creationId="{B08FD781-DADD-3DBD-B998-14771F73E1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50.293" v="386331"/>
          <ac:graphicFrameMkLst>
            <pc:docMk/>
            <pc:sldMk cId="755828523" sldId="2147483089"/>
            <ac:graphicFrameMk id="1837" creationId="{5FA18980-18A3-52C2-9E8C-637C8D84EAB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55.574" v="386763"/>
          <ac:graphicFrameMkLst>
            <pc:docMk/>
            <pc:sldMk cId="755828523" sldId="2147483089"/>
            <ac:graphicFrameMk id="1838" creationId="{204500D7-AFC5-57C8-38A4-9AB54DF334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55.660" v="386850"/>
          <ac:graphicFrameMkLst>
            <pc:docMk/>
            <pc:sldMk cId="755828523" sldId="2147483089"/>
            <ac:graphicFrameMk id="1839" creationId="{806FD1E9-7E7D-16EC-3EB3-C6B45E62F4F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4:55.772" v="387035"/>
          <ac:graphicFrameMkLst>
            <pc:docMk/>
            <pc:sldMk cId="755828523" sldId="2147483089"/>
            <ac:graphicFrameMk id="1840" creationId="{1CFEC97C-1A58-DC1A-A79E-DCF513867B16}"/>
          </ac:graphicFrameMkLst>
        </pc:graphicFrameChg>
        <pc:graphicFrameChg chg="add mod">
          <ac:chgData name="Yudi Zhu" userId="571e1a55-055f-4c28-8b35-fca6dd1c1369" providerId="ADAL" clId="{75A88773-6EE1-484E-AADE-FE631E01463B}" dt="2025-11-21T09:22:52.601" v="406523"/>
          <ac:graphicFrameMkLst>
            <pc:docMk/>
            <pc:sldMk cId="755828523" sldId="2147483089"/>
            <ac:graphicFrameMk id="1841" creationId="{75CA4059-95BE-974C-1015-A32F93ED226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0:56.620" v="396100"/>
          <ac:graphicFrameMkLst>
            <pc:docMk/>
            <pc:sldMk cId="755828523" sldId="2147483089"/>
            <ac:graphicFrameMk id="1842" creationId="{6017CCC4-E106-6DD9-EAE7-C5CB880BFB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7:19.312" v="388360"/>
          <ac:graphicFrameMkLst>
            <pc:docMk/>
            <pc:sldMk cId="755828523" sldId="2147483089"/>
            <ac:graphicFrameMk id="1843" creationId="{D0F56C95-95B2-3F15-2B1B-CC6B18361803}"/>
          </ac:graphicFrameMkLst>
        </pc:graphicFrameChg>
        <pc:graphicFrameChg chg="add mod">
          <ac:chgData name="Yudi Zhu" userId="571e1a55-055f-4c28-8b35-fca6dd1c1369" providerId="ADAL" clId="{75A88773-6EE1-484E-AADE-FE631E01463B}" dt="2025-11-21T09:17:13.984" v="388057"/>
          <ac:graphicFrameMkLst>
            <pc:docMk/>
            <pc:sldMk cId="755828523" sldId="2147483089"/>
            <ac:graphicFrameMk id="1846" creationId="{A3A83B3A-1042-1C4D-0351-F33052CE040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7:27.513" v="389346"/>
          <ac:graphicFrameMkLst>
            <pc:docMk/>
            <pc:sldMk cId="755828523" sldId="2147483089"/>
            <ac:graphicFrameMk id="1848" creationId="{B6F5FA5C-791D-6CFF-6882-6D0919545A53}"/>
          </ac:graphicFrameMkLst>
        </pc:graphicFrameChg>
        <pc:graphicFrameChg chg="add mod">
          <ac:chgData name="Yudi Zhu" userId="571e1a55-055f-4c28-8b35-fca6dd1c1369" providerId="ADAL" clId="{75A88773-6EE1-484E-AADE-FE631E01463B}" dt="2025-11-21T09:17:25.453" v="388982"/>
          <ac:graphicFrameMkLst>
            <pc:docMk/>
            <pc:sldMk cId="755828523" sldId="2147483089"/>
            <ac:graphicFrameMk id="1849" creationId="{41541C4C-9931-48BD-3F52-1D35A9D5ACD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7:30.990" v="389577"/>
          <ac:graphicFrameMkLst>
            <pc:docMk/>
            <pc:sldMk cId="755828523" sldId="2147483089"/>
            <ac:graphicFrameMk id="1852" creationId="{26AAD057-2579-81DD-1EC2-A206DD3B841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7:53.079" v="389796"/>
          <ac:graphicFrameMkLst>
            <pc:docMk/>
            <pc:sldMk cId="755828523" sldId="2147483089"/>
            <ac:graphicFrameMk id="1853" creationId="{4158C0FD-1858-794A-4F1F-8C1D42FE435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7:58.344" v="390015"/>
          <ac:graphicFrameMkLst>
            <pc:docMk/>
            <pc:sldMk cId="755828523" sldId="2147483089"/>
            <ac:graphicFrameMk id="1854" creationId="{8EBF7435-725A-6B62-6B7A-E440A95D1B6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10.577" v="390849"/>
          <ac:graphicFrameMkLst>
            <pc:docMk/>
            <pc:sldMk cId="755828523" sldId="2147483089"/>
            <ac:graphicFrameMk id="1855" creationId="{98C9B16A-6FA2-7811-00EB-DB8FB818248C}"/>
          </ac:graphicFrameMkLst>
        </pc:graphicFrameChg>
        <pc:graphicFrameChg chg="add mod">
          <ac:chgData name="Yudi Zhu" userId="571e1a55-055f-4c28-8b35-fca6dd1c1369" providerId="ADAL" clId="{75A88773-6EE1-484E-AADE-FE631E01463B}" dt="2025-11-21T09:18:06.118" v="390545"/>
          <ac:graphicFrameMkLst>
            <pc:docMk/>
            <pc:sldMk cId="755828523" sldId="2147483089"/>
            <ac:graphicFrameMk id="1856" creationId="{47FFC4D7-193C-DFC9-F8C0-B834A72626E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42.884" v="391072"/>
          <ac:graphicFrameMkLst>
            <pc:docMk/>
            <pc:sldMk cId="755828523" sldId="2147483089"/>
            <ac:graphicFrameMk id="1858" creationId="{0B89062A-13B3-08D1-4164-0AED7BAB18A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47.644" v="391291"/>
          <ac:graphicFrameMkLst>
            <pc:docMk/>
            <pc:sldMk cId="755828523" sldId="2147483089"/>
            <ac:graphicFrameMk id="1859" creationId="{02B3A7A6-CF0A-1A54-AC34-A6940FD4367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56.033" v="391514"/>
          <ac:graphicFrameMkLst>
            <pc:docMk/>
            <pc:sldMk cId="755828523" sldId="2147483089"/>
            <ac:graphicFrameMk id="1860" creationId="{27BA2803-A588-ABA7-364F-B73A65ACFC2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56.958" v="391737"/>
          <ac:graphicFrameMkLst>
            <pc:docMk/>
            <pc:sldMk cId="755828523" sldId="2147483089"/>
            <ac:graphicFrameMk id="1861" creationId="{0A71EFE6-E83F-CC42-6371-6D049030514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8:59.177" v="391962"/>
          <ac:graphicFrameMkLst>
            <pc:docMk/>
            <pc:sldMk cId="755828523" sldId="2147483089"/>
            <ac:graphicFrameMk id="1862" creationId="{66973149-CB4A-08C9-8708-DBB0765639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0.077" v="392185"/>
          <ac:graphicFrameMkLst>
            <pc:docMk/>
            <pc:sldMk cId="755828523" sldId="2147483089"/>
            <ac:graphicFrameMk id="1863" creationId="{7C26B4B9-A5A1-F64F-24F9-50D3B392FDD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0.949" v="392406"/>
          <ac:graphicFrameMkLst>
            <pc:docMk/>
            <pc:sldMk cId="755828523" sldId="2147483089"/>
            <ac:graphicFrameMk id="1864" creationId="{AA03C19A-A6DF-912B-EA0D-512AA7B544E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1.944" v="392629"/>
          <ac:graphicFrameMkLst>
            <pc:docMk/>
            <pc:sldMk cId="755828523" sldId="2147483089"/>
            <ac:graphicFrameMk id="1865" creationId="{1B394765-6C31-670F-9795-AFAA6D8C44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4.449" v="392858"/>
          <ac:graphicFrameMkLst>
            <pc:docMk/>
            <pc:sldMk cId="755828523" sldId="2147483089"/>
            <ac:graphicFrameMk id="1866" creationId="{B8F0ACD0-118A-E81F-A6E9-9062807D591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6.651" v="393088"/>
          <ac:graphicFrameMkLst>
            <pc:docMk/>
            <pc:sldMk cId="755828523" sldId="2147483089"/>
            <ac:graphicFrameMk id="1867" creationId="{F473DE20-FC61-2C0B-7250-D8E4E19EFC3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09.208" v="393314"/>
          <ac:graphicFrameMkLst>
            <pc:docMk/>
            <pc:sldMk cId="755828523" sldId="2147483089"/>
            <ac:graphicFrameMk id="1868" creationId="{0A1D5566-1160-E3DD-78C7-8A08822AD40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11.093" v="393542"/>
          <ac:graphicFrameMkLst>
            <pc:docMk/>
            <pc:sldMk cId="755828523" sldId="2147483089"/>
            <ac:graphicFrameMk id="1869" creationId="{8BD68277-B3E6-0BC1-A3CC-A07F7075E1A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12.995" v="393771"/>
          <ac:graphicFrameMkLst>
            <pc:docMk/>
            <pc:sldMk cId="755828523" sldId="2147483089"/>
            <ac:graphicFrameMk id="1870" creationId="{036F84F0-58BD-5632-1A18-B77218C970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15.204" v="393997"/>
          <ac:graphicFrameMkLst>
            <pc:docMk/>
            <pc:sldMk cId="755828523" sldId="2147483089"/>
            <ac:graphicFrameMk id="1871" creationId="{C8A3B872-9AE1-57DC-6573-527EEF2C480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19.948" v="394230"/>
          <ac:graphicFrameMkLst>
            <pc:docMk/>
            <pc:sldMk cId="755828523" sldId="2147483089"/>
            <ac:graphicFrameMk id="1872" creationId="{BC1DD49B-7158-2549-8741-AA7EA70BF3D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41.996" v="394453"/>
          <ac:graphicFrameMkLst>
            <pc:docMk/>
            <pc:sldMk cId="755828523" sldId="2147483089"/>
            <ac:graphicFrameMk id="1873" creationId="{6C3AFCDC-5AD2-0D11-15F9-1517F5FD426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42.878" v="394676"/>
          <ac:graphicFrameMkLst>
            <pc:docMk/>
            <pc:sldMk cId="755828523" sldId="2147483089"/>
            <ac:graphicFrameMk id="1874" creationId="{317183DD-FC96-EBFB-A125-2C794D27A2D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48.093" v="394906"/>
          <ac:graphicFrameMkLst>
            <pc:docMk/>
            <pc:sldMk cId="755828523" sldId="2147483089"/>
            <ac:graphicFrameMk id="1875" creationId="{3B9406B2-CE49-E4B9-0F11-2DDEC608412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19:58.722" v="395129"/>
          <ac:graphicFrameMkLst>
            <pc:docMk/>
            <pc:sldMk cId="755828523" sldId="2147483089"/>
            <ac:graphicFrameMk id="1876" creationId="{1A6BAD45-753F-FA58-106A-70466DFC3DA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0:00.393" v="395352"/>
          <ac:graphicFrameMkLst>
            <pc:docMk/>
            <pc:sldMk cId="755828523" sldId="2147483089"/>
            <ac:graphicFrameMk id="1877" creationId="{C3918604-BA4C-9165-1EFF-ABB77BE05AAF}"/>
          </ac:graphicFrameMkLst>
        </pc:graphicFrameChg>
        <pc:graphicFrameChg chg="add mod">
          <ac:chgData name="Yudi Zhu" userId="571e1a55-055f-4c28-8b35-fca6dd1c1369" providerId="ADAL" clId="{75A88773-6EE1-484E-AADE-FE631E01463B}" dt="2025-11-21T09:22:52.679" v="406664"/>
          <ac:graphicFrameMkLst>
            <pc:docMk/>
            <pc:sldMk cId="755828523" sldId="2147483089"/>
            <ac:graphicFrameMk id="1878" creationId="{327F4ECA-FAFB-527F-C5AC-4EC826B3A84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1:01.625" v="396764"/>
          <ac:graphicFrameMkLst>
            <pc:docMk/>
            <pc:sldMk cId="755828523" sldId="2147483089"/>
            <ac:graphicFrameMk id="1883" creationId="{3D0657D5-481A-73CF-456D-90F00BCFA08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1:10.239" v="397331"/>
          <ac:graphicFrameMkLst>
            <pc:docMk/>
            <pc:sldMk cId="755828523" sldId="2147483089"/>
            <ac:graphicFrameMk id="1893" creationId="{D67D33A5-B2BC-DE64-6BFF-B2F5CB6F26A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1:44.266" v="399895"/>
          <ac:graphicFrameMkLst>
            <pc:docMk/>
            <pc:sldMk cId="755828523" sldId="2147483089"/>
            <ac:graphicFrameMk id="1895" creationId="{4C79DE06-4E6D-8931-C105-8D8915DA0F83}"/>
          </ac:graphicFrameMkLst>
        </pc:graphicFrameChg>
        <pc:graphicFrameChg chg="add mod">
          <ac:chgData name="Yudi Zhu" userId="571e1a55-055f-4c28-8b35-fca6dd1c1369" providerId="ADAL" clId="{75A88773-6EE1-484E-AADE-FE631E01463B}" dt="2025-11-21T09:21:28.087" v="398612"/>
          <ac:graphicFrameMkLst>
            <pc:docMk/>
            <pc:sldMk cId="755828523" sldId="2147483089"/>
            <ac:graphicFrameMk id="1902" creationId="{9551BF98-DAF5-FFCC-69E7-B55E0C9969C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06.679" v="401421"/>
          <ac:graphicFrameMkLst>
            <pc:docMk/>
            <pc:sldMk cId="755828523" sldId="2147483089"/>
            <ac:graphicFrameMk id="1918" creationId="{DD9219A9-FB2D-7928-C0CC-3E5A20E2C8BD}"/>
          </ac:graphicFrameMkLst>
        </pc:graphicFrameChg>
        <pc:graphicFrameChg chg="add mod">
          <ac:chgData name="Yudi Zhu" userId="571e1a55-055f-4c28-8b35-fca6dd1c1369" providerId="ADAL" clId="{75A88773-6EE1-484E-AADE-FE631E01463B}" dt="2025-11-21T09:21:56.405" v="401037"/>
          <ac:graphicFrameMkLst>
            <pc:docMk/>
            <pc:sldMk cId="755828523" sldId="2147483089"/>
            <ac:graphicFrameMk id="1923" creationId="{88DD8AD6-7190-39E2-0C5A-61884B2CFE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08.262" v="401716"/>
          <ac:graphicFrameMkLst>
            <pc:docMk/>
            <pc:sldMk cId="755828523" sldId="2147483089"/>
            <ac:graphicFrameMk id="1926" creationId="{62DB4945-B71C-7D4F-B548-763A02ADF15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27.935" v="403482"/>
          <ac:graphicFrameMkLst>
            <pc:docMk/>
            <pc:sldMk cId="755828523" sldId="2147483089"/>
            <ac:graphicFrameMk id="1928" creationId="{C21CD0D7-70A0-E2D0-9E26-CBA302F1E094}"/>
          </ac:graphicFrameMkLst>
        </pc:graphicFrameChg>
        <pc:graphicFrameChg chg="add mod">
          <ac:chgData name="Yudi Zhu" userId="571e1a55-055f-4c28-8b35-fca6dd1c1369" providerId="ADAL" clId="{75A88773-6EE1-484E-AADE-FE631E01463B}" dt="2025-11-21T09:22:19.133" v="402797"/>
          <ac:graphicFrameMkLst>
            <pc:docMk/>
            <pc:sldMk cId="755828523" sldId="2147483089"/>
            <ac:graphicFrameMk id="1930" creationId="{25E8C796-6205-F1A4-03BB-863ABAE657A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34.219" v="403881"/>
          <ac:graphicFrameMkLst>
            <pc:docMk/>
            <pc:sldMk cId="755828523" sldId="2147483089"/>
            <ac:graphicFrameMk id="1937" creationId="{4253147C-80FA-92FC-958F-C3B8B4016D1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52.552" v="406481"/>
          <ac:graphicFrameMkLst>
            <pc:docMk/>
            <pc:sldMk cId="755828523" sldId="2147483089"/>
            <ac:graphicFrameMk id="1938" creationId="{3976E5F9-F629-E81C-E614-6849A8C1258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2:46.471" v="405198"/>
          <ac:graphicFrameMkLst>
            <pc:docMk/>
            <pc:sldMk cId="755828523" sldId="2147483089"/>
            <ac:graphicFrameMk id="1939" creationId="{896DEE72-C629-AED5-C3E1-ABE2AFF6B19A}"/>
          </ac:graphicFrameMkLst>
        </pc:graphicFrameChg>
        <pc:graphicFrameChg chg="add mod">
          <ac:chgData name="Yudi Zhu" userId="571e1a55-055f-4c28-8b35-fca6dd1c1369" providerId="ADAL" clId="{75A88773-6EE1-484E-AADE-FE631E01463B}" dt="2025-11-21T09:22:45.649" v="405068"/>
          <ac:graphicFrameMkLst>
            <pc:docMk/>
            <pc:sldMk cId="755828523" sldId="2147483089"/>
            <ac:graphicFrameMk id="1941" creationId="{BC70BC5D-9AE5-85C3-C62D-DD0267F098E9}"/>
          </ac:graphicFrameMkLst>
        </pc:graphicFrameChg>
        <pc:graphicFrameChg chg="add mod">
          <ac:chgData name="Yudi Zhu" userId="571e1a55-055f-4c28-8b35-fca6dd1c1369" providerId="ADAL" clId="{75A88773-6EE1-484E-AADE-FE631E01463B}" dt="2025-11-21T09:22:52.633" v="406574"/>
          <ac:graphicFrameMkLst>
            <pc:docMk/>
            <pc:sldMk cId="755828523" sldId="2147483089"/>
            <ac:graphicFrameMk id="1957" creationId="{870EA730-586B-64F2-1927-E46CD918DE01}"/>
          </ac:graphicFrameMkLst>
        </pc:graphicFrameChg>
        <pc:cxnChg chg="add del mod ord">
          <ac:chgData name="Yudi Zhu" userId="571e1a55-055f-4c28-8b35-fca6dd1c1369" providerId="ADAL" clId="{75A88773-6EE1-484E-AADE-FE631E01463B}" dt="2025-11-21T06:28:37.404" v="149800"/>
          <ac:cxnSpMkLst>
            <pc:docMk/>
            <pc:sldMk cId="755828523" sldId="2147483089"/>
            <ac:cxnSpMk id="8" creationId="{651DF3AE-4D7C-0574-B3F0-5004906036B0}"/>
          </ac:cxnSpMkLst>
        </pc:cxnChg>
        <pc:cxnChg chg="add del mod ord">
          <ac:chgData name="Yudi Zhu" userId="571e1a55-055f-4c28-8b35-fca6dd1c1369" providerId="ADAL" clId="{75A88773-6EE1-484E-AADE-FE631E01463B}" dt="2025-11-21T06:28:37.404" v="149802"/>
          <ac:cxnSpMkLst>
            <pc:docMk/>
            <pc:sldMk cId="755828523" sldId="2147483089"/>
            <ac:cxnSpMk id="9" creationId="{42DA9607-E7E8-E105-E5E1-2D36F7A74021}"/>
          </ac:cxnSpMkLst>
        </pc:cxnChg>
        <pc:cxnChg chg="add del mod ord">
          <ac:chgData name="Yudi Zhu" userId="571e1a55-055f-4c28-8b35-fca6dd1c1369" providerId="ADAL" clId="{75A88773-6EE1-484E-AADE-FE631E01463B}" dt="2025-11-21T07:24:18.567" v="237061"/>
          <ac:cxnSpMkLst>
            <pc:docMk/>
            <pc:sldMk cId="755828523" sldId="2147483089"/>
            <ac:cxnSpMk id="31" creationId="{D26841A6-9DC3-0740-7551-3075E2B9F93B}"/>
          </ac:cxnSpMkLst>
        </pc:cxnChg>
        <pc:cxnChg chg="add del mod ord">
          <ac:chgData name="Yudi Zhu" userId="571e1a55-055f-4c28-8b35-fca6dd1c1369" providerId="ADAL" clId="{75A88773-6EE1-484E-AADE-FE631E01463B}" dt="2025-11-21T06:34:20.883" v="163634"/>
          <ac:cxnSpMkLst>
            <pc:docMk/>
            <pc:sldMk cId="755828523" sldId="2147483089"/>
            <ac:cxnSpMk id="32" creationId="{0B115EB7-0146-22D5-4DBF-F2AEE5AC3A95}"/>
          </ac:cxnSpMkLst>
        </pc:cxnChg>
        <pc:cxnChg chg="add del mod ord">
          <ac:chgData name="Yudi Zhu" userId="571e1a55-055f-4c28-8b35-fca6dd1c1369" providerId="ADAL" clId="{75A88773-6EE1-484E-AADE-FE631E01463B}" dt="2025-11-21T07:24:18.584" v="237093"/>
          <ac:cxnSpMkLst>
            <pc:docMk/>
            <pc:sldMk cId="755828523" sldId="2147483089"/>
            <ac:cxnSpMk id="33" creationId="{D8CC9065-D422-8648-E1FE-A4AD825FEDF1}"/>
          </ac:cxnSpMkLst>
        </pc:cxnChg>
        <pc:cxnChg chg="add del mod ord">
          <ac:chgData name="Yudi Zhu" userId="571e1a55-055f-4c28-8b35-fca6dd1c1369" providerId="ADAL" clId="{75A88773-6EE1-484E-AADE-FE631E01463B}" dt="2025-11-21T07:44:48.457" v="280104"/>
          <ac:cxnSpMkLst>
            <pc:docMk/>
            <pc:sldMk cId="755828523" sldId="2147483089"/>
            <ac:cxnSpMk id="34" creationId="{7148BD18-26B0-0BC4-5969-6900494D6B7E}"/>
          </ac:cxnSpMkLst>
        </pc:cxnChg>
        <pc:cxnChg chg="add mod ord">
          <ac:chgData name="Yudi Zhu" userId="571e1a55-055f-4c28-8b35-fca6dd1c1369" providerId="ADAL" clId="{75A88773-6EE1-484E-AADE-FE631E01463B}" dt="2025-11-21T09:22:52.601" v="406516"/>
          <ac:cxnSpMkLst>
            <pc:docMk/>
            <pc:sldMk cId="755828523" sldId="2147483089"/>
            <ac:cxnSpMk id="35" creationId="{E6530368-09A5-8CD9-EC3E-C6B7643D79D6}"/>
          </ac:cxnSpMkLst>
        </pc:cxnChg>
        <pc:cxnChg chg="add del mod ord">
          <ac:chgData name="Yudi Zhu" userId="571e1a55-055f-4c28-8b35-fca6dd1c1369" providerId="ADAL" clId="{75A88773-6EE1-484E-AADE-FE631E01463B}" dt="2025-11-21T07:24:18.599" v="237117"/>
          <ac:cxnSpMkLst>
            <pc:docMk/>
            <pc:sldMk cId="755828523" sldId="2147483089"/>
            <ac:cxnSpMk id="36" creationId="{45F631CA-8AA2-38D6-175D-287D78EA1600}"/>
          </ac:cxnSpMkLst>
        </pc:cxnChg>
        <pc:cxnChg chg="add del mod ord">
          <ac:chgData name="Yudi Zhu" userId="571e1a55-055f-4c28-8b35-fca6dd1c1369" providerId="ADAL" clId="{75A88773-6EE1-484E-AADE-FE631E01463B}" dt="2025-11-21T06:40:16.433" v="172316"/>
          <ac:cxnSpMkLst>
            <pc:docMk/>
            <pc:sldMk cId="755828523" sldId="2147483089"/>
            <ac:cxnSpMk id="37" creationId="{B49038A1-40DF-D949-CEB5-289A008E1D44}"/>
          </ac:cxnSpMkLst>
        </pc:cxnChg>
        <pc:cxnChg chg="add del mod ord">
          <ac:chgData name="Yudi Zhu" userId="571e1a55-055f-4c28-8b35-fca6dd1c1369" providerId="ADAL" clId="{75A88773-6EE1-484E-AADE-FE631E01463B}" dt="2025-11-21T06:41:42.208" v="172926"/>
          <ac:cxnSpMkLst>
            <pc:docMk/>
            <pc:sldMk cId="755828523" sldId="2147483089"/>
            <ac:cxnSpMk id="38" creationId="{04ED77A6-A0EC-0A6B-8650-4464D4C10DEA}"/>
          </ac:cxnSpMkLst>
        </pc:cxnChg>
        <pc:cxnChg chg="add del mod ord">
          <ac:chgData name="Yudi Zhu" userId="571e1a55-055f-4c28-8b35-fca6dd1c1369" providerId="ADAL" clId="{75A88773-6EE1-484E-AADE-FE631E01463B}" dt="2025-11-21T06:28:52.846" v="152764"/>
          <ac:cxnSpMkLst>
            <pc:docMk/>
            <pc:sldMk cId="755828523" sldId="2147483089"/>
            <ac:cxnSpMk id="76" creationId="{6E5ED6F5-621E-B9B8-5BEB-7F5978BBCC86}"/>
          </ac:cxnSpMkLst>
        </pc:cxnChg>
        <pc:cxnChg chg="add del mod ord">
          <ac:chgData name="Yudi Zhu" userId="571e1a55-055f-4c28-8b35-fca6dd1c1369" providerId="ADAL" clId="{75A88773-6EE1-484E-AADE-FE631E01463B}" dt="2025-11-21T06:28:52.846" v="152754"/>
          <ac:cxnSpMkLst>
            <pc:docMk/>
            <pc:sldMk cId="755828523" sldId="2147483089"/>
            <ac:cxnSpMk id="77" creationId="{4F7E8350-523B-E97F-31F4-267044DD7D8B}"/>
          </ac:cxnSpMkLst>
        </pc:cxnChg>
        <pc:cxnChg chg="add del mod ord">
          <ac:chgData name="Yudi Zhu" userId="571e1a55-055f-4c28-8b35-fca6dd1c1369" providerId="ADAL" clId="{75A88773-6EE1-484E-AADE-FE631E01463B}" dt="2025-11-21T06:28:52.846" v="152786"/>
          <ac:cxnSpMkLst>
            <pc:docMk/>
            <pc:sldMk cId="755828523" sldId="2147483089"/>
            <ac:cxnSpMk id="78" creationId="{2B97E5BF-D964-B437-3854-D54716C1E912}"/>
          </ac:cxnSpMkLst>
        </pc:cxnChg>
        <pc:cxnChg chg="add del mod ord">
          <ac:chgData name="Yudi Zhu" userId="571e1a55-055f-4c28-8b35-fca6dd1c1369" providerId="ADAL" clId="{75A88773-6EE1-484E-AADE-FE631E01463B}" dt="2025-11-21T06:28:52.846" v="152784"/>
          <ac:cxnSpMkLst>
            <pc:docMk/>
            <pc:sldMk cId="755828523" sldId="2147483089"/>
            <ac:cxnSpMk id="79" creationId="{C5D16DE3-A6C0-26ED-904B-C0394190463B}"/>
          </ac:cxnSpMkLst>
        </pc:cxnChg>
        <pc:cxnChg chg="add del mod ord">
          <ac:chgData name="Yudi Zhu" userId="571e1a55-055f-4c28-8b35-fca6dd1c1369" providerId="ADAL" clId="{75A88773-6EE1-484E-AADE-FE631E01463B}" dt="2025-11-21T06:28:52.862" v="152804"/>
          <ac:cxnSpMkLst>
            <pc:docMk/>
            <pc:sldMk cId="755828523" sldId="2147483089"/>
            <ac:cxnSpMk id="80" creationId="{20BEF315-1592-3BF5-C12A-4EF6D93452F7}"/>
          </ac:cxnSpMkLst>
        </pc:cxnChg>
        <pc:cxnChg chg="add del mod ord">
          <ac:chgData name="Yudi Zhu" userId="571e1a55-055f-4c28-8b35-fca6dd1c1369" providerId="ADAL" clId="{75A88773-6EE1-484E-AADE-FE631E01463B}" dt="2025-11-21T06:28:52.862" v="152800"/>
          <ac:cxnSpMkLst>
            <pc:docMk/>
            <pc:sldMk cId="755828523" sldId="2147483089"/>
            <ac:cxnSpMk id="81" creationId="{CDF5E596-2ACF-E558-47E5-9F88FCC32E1C}"/>
          </ac:cxnSpMkLst>
        </pc:cxnChg>
        <pc:cxnChg chg="add del mod ord">
          <ac:chgData name="Yudi Zhu" userId="571e1a55-055f-4c28-8b35-fca6dd1c1369" providerId="ADAL" clId="{75A88773-6EE1-484E-AADE-FE631E01463B}" dt="2025-11-21T06:28:52.862" v="152798"/>
          <ac:cxnSpMkLst>
            <pc:docMk/>
            <pc:sldMk cId="755828523" sldId="2147483089"/>
            <ac:cxnSpMk id="82" creationId="{C901BFAC-6558-65BE-1B24-FBB1D347A565}"/>
          </ac:cxnSpMkLst>
        </pc:cxnChg>
        <pc:cxnChg chg="add del mod ord">
          <ac:chgData name="Yudi Zhu" userId="571e1a55-055f-4c28-8b35-fca6dd1c1369" providerId="ADAL" clId="{75A88773-6EE1-484E-AADE-FE631E01463B}" dt="2025-11-21T06:28:41.510" v="151655"/>
          <ac:cxnSpMkLst>
            <pc:docMk/>
            <pc:sldMk cId="755828523" sldId="2147483089"/>
            <ac:cxnSpMk id="83" creationId="{B1BEF046-59BC-4BD7-6B07-FE950121CB68}"/>
          </ac:cxnSpMkLst>
        </pc:cxnChg>
        <pc:cxnChg chg="add del mod ord">
          <ac:chgData name="Yudi Zhu" userId="571e1a55-055f-4c28-8b35-fca6dd1c1369" providerId="ADAL" clId="{75A88773-6EE1-484E-AADE-FE631E01463B}" dt="2025-11-21T06:28:52.862" v="152796"/>
          <ac:cxnSpMkLst>
            <pc:docMk/>
            <pc:sldMk cId="755828523" sldId="2147483089"/>
            <ac:cxnSpMk id="84" creationId="{6DB1669B-1634-EF14-F3C0-780D63D51BA9}"/>
          </ac:cxnSpMkLst>
        </pc:cxnChg>
        <pc:cxnChg chg="add del mod ord">
          <ac:chgData name="Yudi Zhu" userId="571e1a55-055f-4c28-8b35-fca6dd1c1369" providerId="ADAL" clId="{75A88773-6EE1-484E-AADE-FE631E01463B}" dt="2025-11-21T06:28:41.542" v="151684"/>
          <ac:cxnSpMkLst>
            <pc:docMk/>
            <pc:sldMk cId="755828523" sldId="2147483089"/>
            <ac:cxnSpMk id="85" creationId="{79268326-8D73-2DBC-46DC-8205D9F46A8D}"/>
          </ac:cxnSpMkLst>
        </pc:cxnChg>
        <pc:cxnChg chg="add del mod ord">
          <ac:chgData name="Yudi Zhu" userId="571e1a55-055f-4c28-8b35-fca6dd1c1369" providerId="ADAL" clId="{75A88773-6EE1-484E-AADE-FE631E01463B}" dt="2025-11-21T06:28:41.541" v="151682"/>
          <ac:cxnSpMkLst>
            <pc:docMk/>
            <pc:sldMk cId="755828523" sldId="2147483089"/>
            <ac:cxnSpMk id="86" creationId="{03FA865F-FF14-8668-028F-3A4B32D54BE7}"/>
          </ac:cxnSpMkLst>
        </pc:cxnChg>
        <pc:cxnChg chg="add del mod ord">
          <ac:chgData name="Yudi Zhu" userId="571e1a55-055f-4c28-8b35-fca6dd1c1369" providerId="ADAL" clId="{75A88773-6EE1-484E-AADE-FE631E01463B}" dt="2025-11-21T06:28:41.558" v="151698"/>
          <ac:cxnSpMkLst>
            <pc:docMk/>
            <pc:sldMk cId="755828523" sldId="2147483089"/>
            <ac:cxnSpMk id="87" creationId="{8D39261B-0C4E-7C66-CC88-E96FA764F899}"/>
          </ac:cxnSpMkLst>
        </pc:cxnChg>
        <pc:cxnChg chg="add del mod ord">
          <ac:chgData name="Yudi Zhu" userId="571e1a55-055f-4c28-8b35-fca6dd1c1369" providerId="ADAL" clId="{75A88773-6EE1-484E-AADE-FE631E01463B}" dt="2025-11-21T06:28:52.862" v="152815"/>
          <ac:cxnSpMkLst>
            <pc:docMk/>
            <pc:sldMk cId="755828523" sldId="2147483089"/>
            <ac:cxnSpMk id="88" creationId="{91BD9138-A356-5D05-7599-7424A7D50EC6}"/>
          </ac:cxnSpMkLst>
        </pc:cxnChg>
        <pc:cxnChg chg="add del mod ord">
          <ac:chgData name="Yudi Zhu" userId="571e1a55-055f-4c28-8b35-fca6dd1c1369" providerId="ADAL" clId="{75A88773-6EE1-484E-AADE-FE631E01463B}" dt="2025-11-21T06:28:41.568" v="151716"/>
          <ac:cxnSpMkLst>
            <pc:docMk/>
            <pc:sldMk cId="755828523" sldId="2147483089"/>
            <ac:cxnSpMk id="89" creationId="{185D4C65-AFFD-7F51-5B10-395CEA47C529}"/>
          </ac:cxnSpMkLst>
        </pc:cxnChg>
        <pc:cxnChg chg="add del mod ord">
          <ac:chgData name="Yudi Zhu" userId="571e1a55-055f-4c28-8b35-fca6dd1c1369" providerId="ADAL" clId="{75A88773-6EE1-484E-AADE-FE631E01463B}" dt="2025-11-21T06:28:52.862" v="152813"/>
          <ac:cxnSpMkLst>
            <pc:docMk/>
            <pc:sldMk cId="755828523" sldId="2147483089"/>
            <ac:cxnSpMk id="90" creationId="{D26BA3EC-65F5-7261-6210-8D7F2BC2D2E5}"/>
          </ac:cxnSpMkLst>
        </pc:cxnChg>
        <pc:cxnChg chg="add del mod ord">
          <ac:chgData name="Yudi Zhu" userId="571e1a55-055f-4c28-8b35-fca6dd1c1369" providerId="ADAL" clId="{75A88773-6EE1-484E-AADE-FE631E01463B}" dt="2025-11-21T06:28:41.583" v="151741"/>
          <ac:cxnSpMkLst>
            <pc:docMk/>
            <pc:sldMk cId="755828523" sldId="2147483089"/>
            <ac:cxnSpMk id="91" creationId="{FCFBF611-A154-2926-9ACA-11A8FECEF0A9}"/>
          </ac:cxnSpMkLst>
        </pc:cxnChg>
        <pc:cxnChg chg="add del mod ord">
          <ac:chgData name="Yudi Zhu" userId="571e1a55-055f-4c28-8b35-fca6dd1c1369" providerId="ADAL" clId="{75A88773-6EE1-484E-AADE-FE631E01463B}" dt="2025-11-21T06:28:52.878" v="152825"/>
          <ac:cxnSpMkLst>
            <pc:docMk/>
            <pc:sldMk cId="755828523" sldId="2147483089"/>
            <ac:cxnSpMk id="92" creationId="{0BA51ACE-500C-6DC4-F259-5148F1DD6F9B}"/>
          </ac:cxnSpMkLst>
        </pc:cxnChg>
        <pc:cxnChg chg="add del mod ord">
          <ac:chgData name="Yudi Zhu" userId="571e1a55-055f-4c28-8b35-fca6dd1c1369" providerId="ADAL" clId="{75A88773-6EE1-484E-AADE-FE631E01463B}" dt="2025-11-21T06:28:52.846" v="152772"/>
          <ac:cxnSpMkLst>
            <pc:docMk/>
            <pc:sldMk cId="755828523" sldId="2147483089"/>
            <ac:cxnSpMk id="93" creationId="{6810EB13-BCF0-8685-3CEA-B2D080D80BF8}"/>
          </ac:cxnSpMkLst>
        </pc:cxnChg>
        <pc:cxnChg chg="add del mod ord">
          <ac:chgData name="Yudi Zhu" userId="571e1a55-055f-4c28-8b35-fca6dd1c1369" providerId="ADAL" clId="{75A88773-6EE1-484E-AADE-FE631E01463B}" dt="2025-11-21T06:28:52.878" v="152839"/>
          <ac:cxnSpMkLst>
            <pc:docMk/>
            <pc:sldMk cId="755828523" sldId="2147483089"/>
            <ac:cxnSpMk id="94" creationId="{B54284DA-9042-0A75-BFA4-EBF5ABE6E3E1}"/>
          </ac:cxnSpMkLst>
        </pc:cxnChg>
        <pc:cxnChg chg="add del mod ord">
          <ac:chgData name="Yudi Zhu" userId="571e1a55-055f-4c28-8b35-fca6dd1c1369" providerId="ADAL" clId="{75A88773-6EE1-484E-AADE-FE631E01463B}" dt="2025-11-21T06:28:52.878" v="152837"/>
          <ac:cxnSpMkLst>
            <pc:docMk/>
            <pc:sldMk cId="755828523" sldId="2147483089"/>
            <ac:cxnSpMk id="95" creationId="{BFA8E1BD-D013-BD08-F534-CEBEC2C321EC}"/>
          </ac:cxnSpMkLst>
        </pc:cxnChg>
        <pc:cxnChg chg="add del mod ord">
          <ac:chgData name="Yudi Zhu" userId="571e1a55-055f-4c28-8b35-fca6dd1c1369" providerId="ADAL" clId="{75A88773-6EE1-484E-AADE-FE631E01463B}" dt="2025-11-21T06:28:52.878" v="152835"/>
          <ac:cxnSpMkLst>
            <pc:docMk/>
            <pc:sldMk cId="755828523" sldId="2147483089"/>
            <ac:cxnSpMk id="96" creationId="{2138DF1E-BC1A-62C1-5111-9ECC20C3E3C7}"/>
          </ac:cxnSpMkLst>
        </pc:cxnChg>
        <pc:cxnChg chg="add del mod ord">
          <ac:chgData name="Yudi Zhu" userId="571e1a55-055f-4c28-8b35-fca6dd1c1369" providerId="ADAL" clId="{75A88773-6EE1-484E-AADE-FE631E01463B}" dt="2025-11-21T06:28:52.878" v="152833"/>
          <ac:cxnSpMkLst>
            <pc:docMk/>
            <pc:sldMk cId="755828523" sldId="2147483089"/>
            <ac:cxnSpMk id="97" creationId="{018DB2C5-20DD-F4E8-5CE9-B8B0C829C425}"/>
          </ac:cxnSpMkLst>
        </pc:cxnChg>
        <pc:cxnChg chg="add del mod ord">
          <ac:chgData name="Yudi Zhu" userId="571e1a55-055f-4c28-8b35-fca6dd1c1369" providerId="ADAL" clId="{75A88773-6EE1-484E-AADE-FE631E01463B}" dt="2025-11-21T06:28:52.878" v="152831"/>
          <ac:cxnSpMkLst>
            <pc:docMk/>
            <pc:sldMk cId="755828523" sldId="2147483089"/>
            <ac:cxnSpMk id="98" creationId="{4F843E55-0DE8-53F2-43DE-E48FC49BAE99}"/>
          </ac:cxnSpMkLst>
        </pc:cxnChg>
        <pc:cxnChg chg="add del mod ord">
          <ac:chgData name="Yudi Zhu" userId="571e1a55-055f-4c28-8b35-fca6dd1c1369" providerId="ADAL" clId="{75A88773-6EE1-484E-AADE-FE631E01463B}" dt="2025-11-21T06:28:41.750" v="151912"/>
          <ac:cxnSpMkLst>
            <pc:docMk/>
            <pc:sldMk cId="755828523" sldId="2147483089"/>
            <ac:cxnSpMk id="99" creationId="{AD9D2E8D-46E5-28E1-F27D-737A5AA6EC08}"/>
          </ac:cxnSpMkLst>
        </pc:cxnChg>
        <pc:cxnChg chg="add del mod ord">
          <ac:chgData name="Yudi Zhu" userId="571e1a55-055f-4c28-8b35-fca6dd1c1369" providerId="ADAL" clId="{75A88773-6EE1-484E-AADE-FE631E01463B}" dt="2025-11-21T06:28:52.878" v="152827"/>
          <ac:cxnSpMkLst>
            <pc:docMk/>
            <pc:sldMk cId="755828523" sldId="2147483089"/>
            <ac:cxnSpMk id="100" creationId="{13CD0A86-EDB6-A614-82EE-2F083A6A4110}"/>
          </ac:cxnSpMkLst>
        </pc:cxnChg>
        <pc:cxnChg chg="add del mod ord">
          <ac:chgData name="Yudi Zhu" userId="571e1a55-055f-4c28-8b35-fca6dd1c1369" providerId="ADAL" clId="{75A88773-6EE1-484E-AADE-FE631E01463B}" dt="2025-11-21T06:28:52.878" v="152843"/>
          <ac:cxnSpMkLst>
            <pc:docMk/>
            <pc:sldMk cId="755828523" sldId="2147483089"/>
            <ac:cxnSpMk id="101" creationId="{6536F267-9FBD-62A3-B676-4F592312CC2A}"/>
          </ac:cxnSpMkLst>
        </pc:cxnChg>
        <pc:cxnChg chg="add del mod ord">
          <ac:chgData name="Yudi Zhu" userId="571e1a55-055f-4c28-8b35-fca6dd1c1369" providerId="ADAL" clId="{75A88773-6EE1-484E-AADE-FE631E01463B}" dt="2025-11-21T06:28:41.797" v="151950"/>
          <ac:cxnSpMkLst>
            <pc:docMk/>
            <pc:sldMk cId="755828523" sldId="2147483089"/>
            <ac:cxnSpMk id="102" creationId="{6BEC68FD-3A2A-DF11-FFB1-BFE86EE8A091}"/>
          </ac:cxnSpMkLst>
        </pc:cxnChg>
        <pc:cxnChg chg="add del mod ord">
          <ac:chgData name="Yudi Zhu" userId="571e1a55-055f-4c28-8b35-fca6dd1c1369" providerId="ADAL" clId="{75A88773-6EE1-484E-AADE-FE631E01463B}" dt="2025-11-21T06:28:41.797" v="151948"/>
          <ac:cxnSpMkLst>
            <pc:docMk/>
            <pc:sldMk cId="755828523" sldId="2147483089"/>
            <ac:cxnSpMk id="103" creationId="{BCFAA306-D6B7-2B85-A0B7-ACDF1F2FE006}"/>
          </ac:cxnSpMkLst>
        </pc:cxnChg>
        <pc:cxnChg chg="add del mod ord">
          <ac:chgData name="Yudi Zhu" userId="571e1a55-055f-4c28-8b35-fca6dd1c1369" providerId="ADAL" clId="{75A88773-6EE1-484E-AADE-FE631E01463B}" dt="2025-11-21T06:28:41.829" v="151969"/>
          <ac:cxnSpMkLst>
            <pc:docMk/>
            <pc:sldMk cId="755828523" sldId="2147483089"/>
            <ac:cxnSpMk id="104" creationId="{6254C48B-6DC8-54BB-81F1-1177797D4194}"/>
          </ac:cxnSpMkLst>
        </pc:cxnChg>
        <pc:cxnChg chg="add del mod ord">
          <ac:chgData name="Yudi Zhu" userId="571e1a55-055f-4c28-8b35-fca6dd1c1369" providerId="ADAL" clId="{75A88773-6EE1-484E-AADE-FE631E01463B}" dt="2025-11-21T06:28:41.829" v="151967"/>
          <ac:cxnSpMkLst>
            <pc:docMk/>
            <pc:sldMk cId="755828523" sldId="2147483089"/>
            <ac:cxnSpMk id="105" creationId="{CC2A3484-5FCB-21D2-1489-430EDAE3C8E7}"/>
          </ac:cxnSpMkLst>
        </pc:cxnChg>
        <pc:cxnChg chg="add del mod ord">
          <ac:chgData name="Yudi Zhu" userId="571e1a55-055f-4c28-8b35-fca6dd1c1369" providerId="ADAL" clId="{75A88773-6EE1-484E-AADE-FE631E01463B}" dt="2025-11-21T06:28:41.860" v="151987"/>
          <ac:cxnSpMkLst>
            <pc:docMk/>
            <pc:sldMk cId="755828523" sldId="2147483089"/>
            <ac:cxnSpMk id="106" creationId="{5502ED1D-9AA4-CFD2-AE6A-3961366B2092}"/>
          </ac:cxnSpMkLst>
        </pc:cxnChg>
        <pc:cxnChg chg="add del mod ord">
          <ac:chgData name="Yudi Zhu" userId="571e1a55-055f-4c28-8b35-fca6dd1c1369" providerId="ADAL" clId="{75A88773-6EE1-484E-AADE-FE631E01463B}" dt="2025-11-21T06:28:52.878" v="152829"/>
          <ac:cxnSpMkLst>
            <pc:docMk/>
            <pc:sldMk cId="755828523" sldId="2147483089"/>
            <ac:cxnSpMk id="107" creationId="{2E956D55-B667-996F-A1BB-05FA65749F17}"/>
          </ac:cxnSpMkLst>
        </pc:cxnChg>
        <pc:cxnChg chg="add del mod ord">
          <ac:chgData name="Yudi Zhu" userId="571e1a55-055f-4c28-8b35-fca6dd1c1369" providerId="ADAL" clId="{75A88773-6EE1-484E-AADE-FE631E01463B}" dt="2025-11-21T06:28:39.933" v="150680"/>
          <ac:cxnSpMkLst>
            <pc:docMk/>
            <pc:sldMk cId="755828523" sldId="2147483089"/>
            <ac:cxnSpMk id="108" creationId="{AB667111-F3E3-B8BD-6ECD-C8C60FD08F9D}"/>
          </ac:cxnSpMkLst>
        </pc:cxnChg>
        <pc:cxnChg chg="add del mod ord">
          <ac:chgData name="Yudi Zhu" userId="571e1a55-055f-4c28-8b35-fca6dd1c1369" providerId="ADAL" clId="{75A88773-6EE1-484E-AADE-FE631E01463B}" dt="2025-11-21T07:37:14.126" v="260765"/>
          <ac:cxnSpMkLst>
            <pc:docMk/>
            <pc:sldMk cId="755828523" sldId="2147483089"/>
            <ac:cxnSpMk id="109" creationId="{704A8212-DD5D-0F92-2E79-11BA243AA1CE}"/>
          </ac:cxnSpMkLst>
        </pc:cxnChg>
        <pc:cxnChg chg="add del mod ord">
          <ac:chgData name="Yudi Zhu" userId="571e1a55-055f-4c28-8b35-fca6dd1c1369" providerId="ADAL" clId="{75A88773-6EE1-484E-AADE-FE631E01463B}" dt="2025-11-21T06:29:11.014" v="152977"/>
          <ac:cxnSpMkLst>
            <pc:docMk/>
            <pc:sldMk cId="755828523" sldId="2147483089"/>
            <ac:cxnSpMk id="116" creationId="{DEACE6AC-3C9B-CF5C-4793-8BD454284002}"/>
          </ac:cxnSpMkLst>
        </pc:cxnChg>
        <pc:cxnChg chg="add del mod ord">
          <ac:chgData name="Yudi Zhu" userId="571e1a55-055f-4c28-8b35-fca6dd1c1369" providerId="ADAL" clId="{75A88773-6EE1-484E-AADE-FE631E01463B}" dt="2025-11-21T06:29:11.046" v="152994"/>
          <ac:cxnSpMkLst>
            <pc:docMk/>
            <pc:sldMk cId="755828523" sldId="2147483089"/>
            <ac:cxnSpMk id="117" creationId="{E91C0080-CE39-AE84-5197-5A05E2A62A45}"/>
          </ac:cxnSpMkLst>
        </pc:cxnChg>
        <pc:cxnChg chg="add del mod ord">
          <ac:chgData name="Yudi Zhu" userId="571e1a55-055f-4c28-8b35-fca6dd1c1369" providerId="ADAL" clId="{75A88773-6EE1-484E-AADE-FE631E01463B}" dt="2025-11-21T06:29:11.051" v="153011"/>
          <ac:cxnSpMkLst>
            <pc:docMk/>
            <pc:sldMk cId="755828523" sldId="2147483089"/>
            <ac:cxnSpMk id="118" creationId="{F097E73A-5B35-9054-FDF4-6BD9CD6A6ABC}"/>
          </ac:cxnSpMkLst>
        </pc:cxnChg>
        <pc:cxnChg chg="add del mod ord">
          <ac:chgData name="Yudi Zhu" userId="571e1a55-055f-4c28-8b35-fca6dd1c1369" providerId="ADAL" clId="{75A88773-6EE1-484E-AADE-FE631E01463B}" dt="2025-11-21T06:29:11.067" v="153028"/>
          <ac:cxnSpMkLst>
            <pc:docMk/>
            <pc:sldMk cId="755828523" sldId="2147483089"/>
            <ac:cxnSpMk id="119" creationId="{B91FB95B-1BE6-42E2-2E69-4D01F4396858}"/>
          </ac:cxnSpMkLst>
        </pc:cxnChg>
        <pc:cxnChg chg="add del mod ord">
          <ac:chgData name="Yudi Zhu" userId="571e1a55-055f-4c28-8b35-fca6dd1c1369" providerId="ADAL" clId="{75A88773-6EE1-484E-AADE-FE631E01463B}" dt="2025-11-21T06:28:52.830" v="152742"/>
          <ac:cxnSpMkLst>
            <pc:docMk/>
            <pc:sldMk cId="755828523" sldId="2147483089"/>
            <ac:cxnSpMk id="133" creationId="{6BD4D238-D8FD-A1DD-27CE-8A939C943591}"/>
          </ac:cxnSpMkLst>
        </pc:cxnChg>
        <pc:cxnChg chg="add del mod ord">
          <ac:chgData name="Yudi Zhu" userId="571e1a55-055f-4c28-8b35-fca6dd1c1369" providerId="ADAL" clId="{75A88773-6EE1-484E-AADE-FE631E01463B}" dt="2025-11-21T06:28:52.844" v="152746"/>
          <ac:cxnSpMkLst>
            <pc:docMk/>
            <pc:sldMk cId="755828523" sldId="2147483089"/>
            <ac:cxnSpMk id="134" creationId="{0386070D-BEF7-0E14-354E-B34AF1593C92}"/>
          </ac:cxnSpMkLst>
        </pc:cxnChg>
        <pc:cxnChg chg="add del mod ord">
          <ac:chgData name="Yudi Zhu" userId="571e1a55-055f-4c28-8b35-fca6dd1c1369" providerId="ADAL" clId="{75A88773-6EE1-484E-AADE-FE631E01463B}" dt="2025-11-21T06:28:52.846" v="152782"/>
          <ac:cxnSpMkLst>
            <pc:docMk/>
            <pc:sldMk cId="755828523" sldId="2147483089"/>
            <ac:cxnSpMk id="135" creationId="{7520261F-3266-C313-7046-E4288F8C8471}"/>
          </ac:cxnSpMkLst>
        </pc:cxnChg>
        <pc:cxnChg chg="add del mod ord">
          <ac:chgData name="Yudi Zhu" userId="571e1a55-055f-4c28-8b35-fca6dd1c1369" providerId="ADAL" clId="{75A88773-6EE1-484E-AADE-FE631E01463B}" dt="2025-11-21T06:28:52.846" v="152780"/>
          <ac:cxnSpMkLst>
            <pc:docMk/>
            <pc:sldMk cId="755828523" sldId="2147483089"/>
            <ac:cxnSpMk id="136" creationId="{9B543AF5-E1A4-0C48-A41C-D8CC2D741161}"/>
          </ac:cxnSpMkLst>
        </pc:cxnChg>
        <pc:cxnChg chg="add del mod ord">
          <ac:chgData name="Yudi Zhu" userId="571e1a55-055f-4c28-8b35-fca6dd1c1369" providerId="ADAL" clId="{75A88773-6EE1-484E-AADE-FE631E01463B}" dt="2025-11-21T06:28:52.846" v="152778"/>
          <ac:cxnSpMkLst>
            <pc:docMk/>
            <pc:sldMk cId="755828523" sldId="2147483089"/>
            <ac:cxnSpMk id="137" creationId="{D3B9095F-86E0-2275-403D-B1D31DAB841D}"/>
          </ac:cxnSpMkLst>
        </pc:cxnChg>
        <pc:cxnChg chg="add del mod ord">
          <ac:chgData name="Yudi Zhu" userId="571e1a55-055f-4c28-8b35-fca6dd1c1369" providerId="ADAL" clId="{75A88773-6EE1-484E-AADE-FE631E01463B}" dt="2025-11-21T06:28:52.846" v="152776"/>
          <ac:cxnSpMkLst>
            <pc:docMk/>
            <pc:sldMk cId="755828523" sldId="2147483089"/>
            <ac:cxnSpMk id="138" creationId="{2A819C9B-5561-AC3D-A07F-D084A559FA26}"/>
          </ac:cxnSpMkLst>
        </pc:cxnChg>
        <pc:cxnChg chg="add del mod ord">
          <ac:chgData name="Yudi Zhu" userId="571e1a55-055f-4c28-8b35-fca6dd1c1369" providerId="ADAL" clId="{75A88773-6EE1-484E-AADE-FE631E01463B}" dt="2025-11-21T06:28:52.846" v="152774"/>
          <ac:cxnSpMkLst>
            <pc:docMk/>
            <pc:sldMk cId="755828523" sldId="2147483089"/>
            <ac:cxnSpMk id="139" creationId="{70A7C433-4C2B-6126-74F6-88A5034F8998}"/>
          </ac:cxnSpMkLst>
        </pc:cxnChg>
        <pc:cxnChg chg="add del mod ord">
          <ac:chgData name="Yudi Zhu" userId="571e1a55-055f-4c28-8b35-fca6dd1c1369" providerId="ADAL" clId="{75A88773-6EE1-484E-AADE-FE631E01463B}" dt="2025-11-21T06:28:52.862" v="152802"/>
          <ac:cxnSpMkLst>
            <pc:docMk/>
            <pc:sldMk cId="755828523" sldId="2147483089"/>
            <ac:cxnSpMk id="140" creationId="{582DD5A5-67F6-2F7B-9549-F431CE97D30A}"/>
          </ac:cxnSpMkLst>
        </pc:cxnChg>
        <pc:cxnChg chg="add del mod ord">
          <ac:chgData name="Yudi Zhu" userId="571e1a55-055f-4c28-8b35-fca6dd1c1369" providerId="ADAL" clId="{75A88773-6EE1-484E-AADE-FE631E01463B}" dt="2025-11-21T06:28:52.846" v="152770"/>
          <ac:cxnSpMkLst>
            <pc:docMk/>
            <pc:sldMk cId="755828523" sldId="2147483089"/>
            <ac:cxnSpMk id="141" creationId="{D45B5488-925B-A2CA-703C-3A975AADD9EE}"/>
          </ac:cxnSpMkLst>
        </pc:cxnChg>
        <pc:cxnChg chg="add del mod ord">
          <ac:chgData name="Yudi Zhu" userId="571e1a55-055f-4c28-8b35-fca6dd1c1369" providerId="ADAL" clId="{75A88773-6EE1-484E-AADE-FE631E01463B}" dt="2025-11-21T06:28:52.878" v="152823"/>
          <ac:cxnSpMkLst>
            <pc:docMk/>
            <pc:sldMk cId="755828523" sldId="2147483089"/>
            <ac:cxnSpMk id="142" creationId="{DCD2B244-0378-0EA4-1EDE-F088751843EF}"/>
          </ac:cxnSpMkLst>
        </pc:cxnChg>
        <pc:cxnChg chg="add del mod ord">
          <ac:chgData name="Yudi Zhu" userId="571e1a55-055f-4c28-8b35-fca6dd1c1369" providerId="ADAL" clId="{75A88773-6EE1-484E-AADE-FE631E01463B}" dt="2025-11-21T06:28:52.878" v="152821"/>
          <ac:cxnSpMkLst>
            <pc:docMk/>
            <pc:sldMk cId="755828523" sldId="2147483089"/>
            <ac:cxnSpMk id="143" creationId="{EE7FE441-8CAE-C5A3-6BF6-97AB05BAE38A}"/>
          </ac:cxnSpMkLst>
        </pc:cxnChg>
        <pc:cxnChg chg="add del mod ord">
          <ac:chgData name="Yudi Zhu" userId="571e1a55-055f-4c28-8b35-fca6dd1c1369" providerId="ADAL" clId="{75A88773-6EE1-484E-AADE-FE631E01463B}" dt="2025-11-21T06:28:52.878" v="152819"/>
          <ac:cxnSpMkLst>
            <pc:docMk/>
            <pc:sldMk cId="755828523" sldId="2147483089"/>
            <ac:cxnSpMk id="144" creationId="{B62F2409-F8E3-2F56-DE6A-399089CB57BD}"/>
          </ac:cxnSpMkLst>
        </pc:cxnChg>
        <pc:cxnChg chg="add del mod ord">
          <ac:chgData name="Yudi Zhu" userId="571e1a55-055f-4c28-8b35-fca6dd1c1369" providerId="ADAL" clId="{75A88773-6EE1-484E-AADE-FE631E01463B}" dt="2025-11-21T06:28:52.862" v="152817"/>
          <ac:cxnSpMkLst>
            <pc:docMk/>
            <pc:sldMk cId="755828523" sldId="2147483089"/>
            <ac:cxnSpMk id="145" creationId="{234122AA-1058-0DA9-66CB-A8182723F492}"/>
          </ac:cxnSpMkLst>
        </pc:cxnChg>
        <pc:cxnChg chg="add del mod ord">
          <ac:chgData name="Yudi Zhu" userId="571e1a55-055f-4c28-8b35-fca6dd1c1369" providerId="ADAL" clId="{75A88773-6EE1-484E-AADE-FE631E01463B}" dt="2025-11-21T06:28:52.862" v="152790"/>
          <ac:cxnSpMkLst>
            <pc:docMk/>
            <pc:sldMk cId="755828523" sldId="2147483089"/>
            <ac:cxnSpMk id="146" creationId="{68A73F61-8F40-50E1-AF0B-312888A4ED74}"/>
          </ac:cxnSpMkLst>
        </pc:cxnChg>
        <pc:cxnChg chg="add del mod ord">
          <ac:chgData name="Yudi Zhu" userId="571e1a55-055f-4c28-8b35-fca6dd1c1369" providerId="ADAL" clId="{75A88773-6EE1-484E-AADE-FE631E01463B}" dt="2025-11-21T06:28:52.862" v="152788"/>
          <ac:cxnSpMkLst>
            <pc:docMk/>
            <pc:sldMk cId="755828523" sldId="2147483089"/>
            <ac:cxnSpMk id="147" creationId="{8F0B005A-14AF-499E-8F43-377617D92951}"/>
          </ac:cxnSpMkLst>
        </pc:cxnChg>
        <pc:cxnChg chg="add del mod ord">
          <ac:chgData name="Yudi Zhu" userId="571e1a55-055f-4c28-8b35-fca6dd1c1369" providerId="ADAL" clId="{75A88773-6EE1-484E-AADE-FE631E01463B}" dt="2025-11-21T06:28:52.846" v="152768"/>
          <ac:cxnSpMkLst>
            <pc:docMk/>
            <pc:sldMk cId="755828523" sldId="2147483089"/>
            <ac:cxnSpMk id="148" creationId="{FBFE3754-F56F-D855-0BE3-A664C063EE4D}"/>
          </ac:cxnSpMkLst>
        </pc:cxnChg>
        <pc:cxnChg chg="add del mod ord">
          <ac:chgData name="Yudi Zhu" userId="571e1a55-055f-4c28-8b35-fca6dd1c1369" providerId="ADAL" clId="{75A88773-6EE1-484E-AADE-FE631E01463B}" dt="2025-11-21T06:28:52.846" v="152766"/>
          <ac:cxnSpMkLst>
            <pc:docMk/>
            <pc:sldMk cId="755828523" sldId="2147483089"/>
            <ac:cxnSpMk id="149" creationId="{9007772A-B4F4-32DB-82EC-54ADBCBED540}"/>
          </ac:cxnSpMkLst>
        </pc:cxnChg>
        <pc:cxnChg chg="add del mod ord">
          <ac:chgData name="Yudi Zhu" userId="571e1a55-055f-4c28-8b35-fca6dd1c1369" providerId="ADAL" clId="{75A88773-6EE1-484E-AADE-FE631E01463B}" dt="2025-11-21T06:28:52.878" v="152847"/>
          <ac:cxnSpMkLst>
            <pc:docMk/>
            <pc:sldMk cId="755828523" sldId="2147483089"/>
            <ac:cxnSpMk id="150" creationId="{B1EF2745-4F56-6999-63C9-6EE106A55958}"/>
          </ac:cxnSpMkLst>
        </pc:cxnChg>
        <pc:cxnChg chg="add del mod ord">
          <ac:chgData name="Yudi Zhu" userId="571e1a55-055f-4c28-8b35-fca6dd1c1369" providerId="ADAL" clId="{75A88773-6EE1-484E-AADE-FE631E01463B}" dt="2025-11-21T06:28:52.878" v="152845"/>
          <ac:cxnSpMkLst>
            <pc:docMk/>
            <pc:sldMk cId="755828523" sldId="2147483089"/>
            <ac:cxnSpMk id="151" creationId="{9144F76B-3525-9F37-C0D5-E59C568492B1}"/>
          </ac:cxnSpMkLst>
        </pc:cxnChg>
        <pc:cxnChg chg="add mod ord">
          <ac:chgData name="Yudi Zhu" userId="571e1a55-055f-4c28-8b35-fca6dd1c1369" providerId="ADAL" clId="{75A88773-6EE1-484E-AADE-FE631E01463B}" dt="2025-11-21T09:22:52.601" v="406508"/>
          <ac:cxnSpMkLst>
            <pc:docMk/>
            <pc:sldMk cId="755828523" sldId="2147483089"/>
            <ac:cxnSpMk id="153" creationId="{3D86BA23-82AC-89CB-0C7A-64BE0C2149C7}"/>
          </ac:cxnSpMkLst>
        </pc:cxnChg>
        <pc:cxnChg chg="add del mod ord">
          <ac:chgData name="Yudi Zhu" userId="571e1a55-055f-4c28-8b35-fca6dd1c1369" providerId="ADAL" clId="{75A88773-6EE1-484E-AADE-FE631E01463B}" dt="2025-11-21T06:41:00.554" v="172619"/>
          <ac:cxnSpMkLst>
            <pc:docMk/>
            <pc:sldMk cId="755828523" sldId="2147483089"/>
            <ac:cxnSpMk id="172" creationId="{5D959D2A-24A3-195A-974C-523F31B72195}"/>
          </ac:cxnSpMkLst>
        </pc:cxnChg>
        <pc:cxnChg chg="add del mod ord">
          <ac:chgData name="Yudi Zhu" userId="571e1a55-055f-4c28-8b35-fca6dd1c1369" providerId="ADAL" clId="{75A88773-6EE1-484E-AADE-FE631E01463B}" dt="2025-11-21T06:32:19.021" v="154186"/>
          <ac:cxnSpMkLst>
            <pc:docMk/>
            <pc:sldMk cId="755828523" sldId="2147483089"/>
            <ac:cxnSpMk id="176" creationId="{5C2EEDBA-18A5-7347-9166-6D48FD4F1F1B}"/>
          </ac:cxnSpMkLst>
        </pc:cxnChg>
        <pc:cxnChg chg="add del mod ord">
          <ac:chgData name="Yudi Zhu" userId="571e1a55-055f-4c28-8b35-fca6dd1c1369" providerId="ADAL" clId="{75A88773-6EE1-484E-AADE-FE631E01463B}" dt="2025-11-21T06:32:19.021" v="154179"/>
          <ac:cxnSpMkLst>
            <pc:docMk/>
            <pc:sldMk cId="755828523" sldId="2147483089"/>
            <ac:cxnSpMk id="179" creationId="{4905CB95-3CC0-5792-EDDE-EBCBD1294026}"/>
          </ac:cxnSpMkLst>
        </pc:cxnChg>
        <pc:cxnChg chg="add del mod ord">
          <ac:chgData name="Yudi Zhu" userId="571e1a55-055f-4c28-8b35-fca6dd1c1369" providerId="ADAL" clId="{75A88773-6EE1-484E-AADE-FE631E01463B}" dt="2025-11-21T06:40:15.717" v="171933"/>
          <ac:cxnSpMkLst>
            <pc:docMk/>
            <pc:sldMk cId="755828523" sldId="2147483089"/>
            <ac:cxnSpMk id="205" creationId="{4C21CEB5-B8B7-60BA-7430-BDF60ED3DD4D}"/>
          </ac:cxnSpMkLst>
        </pc:cxnChg>
        <pc:cxnChg chg="add del mod ord">
          <ac:chgData name="Yudi Zhu" userId="571e1a55-055f-4c28-8b35-fca6dd1c1369" providerId="ADAL" clId="{75A88773-6EE1-484E-AADE-FE631E01463B}" dt="2025-11-21T06:33:09.907" v="158521"/>
          <ac:cxnSpMkLst>
            <pc:docMk/>
            <pc:sldMk cId="755828523" sldId="2147483089"/>
            <ac:cxnSpMk id="206" creationId="{749A988B-653E-A41F-347B-0BE5429D9B87}"/>
          </ac:cxnSpMkLst>
        </pc:cxnChg>
        <pc:cxnChg chg="add del mod ord">
          <ac:chgData name="Yudi Zhu" userId="571e1a55-055f-4c28-8b35-fca6dd1c1369" providerId="ADAL" clId="{75A88773-6EE1-484E-AADE-FE631E01463B}" dt="2025-11-21T06:33:09.943" v="158576"/>
          <ac:cxnSpMkLst>
            <pc:docMk/>
            <pc:sldMk cId="755828523" sldId="2147483089"/>
            <ac:cxnSpMk id="207" creationId="{619661E6-108F-ABB1-F367-A995AD9AA483}"/>
          </ac:cxnSpMkLst>
        </pc:cxnChg>
        <pc:cxnChg chg="add del mod ord">
          <ac:chgData name="Yudi Zhu" userId="571e1a55-055f-4c28-8b35-fca6dd1c1369" providerId="ADAL" clId="{75A88773-6EE1-484E-AADE-FE631E01463B}" dt="2025-11-21T06:33:09.971" v="158596"/>
          <ac:cxnSpMkLst>
            <pc:docMk/>
            <pc:sldMk cId="755828523" sldId="2147483089"/>
            <ac:cxnSpMk id="208" creationId="{CBE178E6-2A37-7CA1-AFE0-1FD3186D9278}"/>
          </ac:cxnSpMkLst>
        </pc:cxnChg>
        <pc:cxnChg chg="add del mod ord">
          <ac:chgData name="Yudi Zhu" userId="571e1a55-055f-4c28-8b35-fca6dd1c1369" providerId="ADAL" clId="{75A88773-6EE1-484E-AADE-FE631E01463B}" dt="2025-11-21T06:33:09.970" v="158594"/>
          <ac:cxnSpMkLst>
            <pc:docMk/>
            <pc:sldMk cId="755828523" sldId="2147483089"/>
            <ac:cxnSpMk id="209" creationId="{FACDBCC4-7C6B-1B71-1B6A-6DB54591B3C3}"/>
          </ac:cxnSpMkLst>
        </pc:cxnChg>
        <pc:cxnChg chg="add del mod ord">
          <ac:chgData name="Yudi Zhu" userId="571e1a55-055f-4c28-8b35-fca6dd1c1369" providerId="ADAL" clId="{75A88773-6EE1-484E-AADE-FE631E01463B}" dt="2025-11-21T06:33:09.986" v="158613"/>
          <ac:cxnSpMkLst>
            <pc:docMk/>
            <pc:sldMk cId="755828523" sldId="2147483089"/>
            <ac:cxnSpMk id="210" creationId="{45C2157C-2442-3465-BEEE-61F36D513475}"/>
          </ac:cxnSpMkLst>
        </pc:cxnChg>
        <pc:cxnChg chg="add del mod ord">
          <ac:chgData name="Yudi Zhu" userId="571e1a55-055f-4c28-8b35-fca6dd1c1369" providerId="ADAL" clId="{75A88773-6EE1-484E-AADE-FE631E01463B}" dt="2025-11-21T06:33:10.014" v="158639"/>
          <ac:cxnSpMkLst>
            <pc:docMk/>
            <pc:sldMk cId="755828523" sldId="2147483089"/>
            <ac:cxnSpMk id="211" creationId="{8FCC8FE4-11E7-511F-FDBA-A5427BCE4C8B}"/>
          </ac:cxnSpMkLst>
        </pc:cxnChg>
        <pc:cxnChg chg="add del mod ord">
          <ac:chgData name="Yudi Zhu" userId="571e1a55-055f-4c28-8b35-fca6dd1c1369" providerId="ADAL" clId="{75A88773-6EE1-484E-AADE-FE631E01463B}" dt="2025-11-21T06:33:10.031" v="158657"/>
          <ac:cxnSpMkLst>
            <pc:docMk/>
            <pc:sldMk cId="755828523" sldId="2147483089"/>
            <ac:cxnSpMk id="212" creationId="{58BFC882-1E4A-A6EA-FE63-763E847F9DB5}"/>
          </ac:cxnSpMkLst>
        </pc:cxnChg>
        <pc:cxnChg chg="add del mod ord">
          <ac:chgData name="Yudi Zhu" userId="571e1a55-055f-4c28-8b35-fca6dd1c1369" providerId="ADAL" clId="{75A88773-6EE1-484E-AADE-FE631E01463B}" dt="2025-11-21T06:33:10.041" v="158688"/>
          <ac:cxnSpMkLst>
            <pc:docMk/>
            <pc:sldMk cId="755828523" sldId="2147483089"/>
            <ac:cxnSpMk id="213" creationId="{336D70D1-7063-DC78-338A-68509FF679C8}"/>
          </ac:cxnSpMkLst>
        </pc:cxnChg>
        <pc:cxnChg chg="add del mod ord">
          <ac:chgData name="Yudi Zhu" userId="571e1a55-055f-4c28-8b35-fca6dd1c1369" providerId="ADAL" clId="{75A88773-6EE1-484E-AADE-FE631E01463B}" dt="2025-11-21T06:33:10.072" v="158708"/>
          <ac:cxnSpMkLst>
            <pc:docMk/>
            <pc:sldMk cId="755828523" sldId="2147483089"/>
            <ac:cxnSpMk id="214" creationId="{38D87C60-D666-63D4-FCB7-FFAC5E8F7AE8}"/>
          </ac:cxnSpMkLst>
        </pc:cxnChg>
        <pc:cxnChg chg="add del mod ord">
          <ac:chgData name="Yudi Zhu" userId="571e1a55-055f-4c28-8b35-fca6dd1c1369" providerId="ADAL" clId="{75A88773-6EE1-484E-AADE-FE631E01463B}" dt="2025-11-21T06:33:10.072" v="158706"/>
          <ac:cxnSpMkLst>
            <pc:docMk/>
            <pc:sldMk cId="755828523" sldId="2147483089"/>
            <ac:cxnSpMk id="215" creationId="{8B291968-FCA0-ECF1-CC23-B09FAAE73677}"/>
          </ac:cxnSpMkLst>
        </pc:cxnChg>
        <pc:cxnChg chg="add del mod ord">
          <ac:chgData name="Yudi Zhu" userId="571e1a55-055f-4c28-8b35-fca6dd1c1369" providerId="ADAL" clId="{75A88773-6EE1-484E-AADE-FE631E01463B}" dt="2025-11-21T06:33:10.088" v="158724"/>
          <ac:cxnSpMkLst>
            <pc:docMk/>
            <pc:sldMk cId="755828523" sldId="2147483089"/>
            <ac:cxnSpMk id="216" creationId="{927036AC-2E02-135B-D16E-9FE099872797}"/>
          </ac:cxnSpMkLst>
        </pc:cxnChg>
        <pc:cxnChg chg="add del mod ord">
          <ac:chgData name="Yudi Zhu" userId="571e1a55-055f-4c28-8b35-fca6dd1c1369" providerId="ADAL" clId="{75A88773-6EE1-484E-AADE-FE631E01463B}" dt="2025-11-21T06:33:10.088" v="158722"/>
          <ac:cxnSpMkLst>
            <pc:docMk/>
            <pc:sldMk cId="755828523" sldId="2147483089"/>
            <ac:cxnSpMk id="217" creationId="{F0EF31D5-1F4D-058D-A466-37F3E1340AC6}"/>
          </ac:cxnSpMkLst>
        </pc:cxnChg>
        <pc:cxnChg chg="add del mod ord">
          <ac:chgData name="Yudi Zhu" userId="571e1a55-055f-4c28-8b35-fca6dd1c1369" providerId="ADAL" clId="{75A88773-6EE1-484E-AADE-FE631E01463B}" dt="2025-11-21T06:33:10.103" v="158741"/>
          <ac:cxnSpMkLst>
            <pc:docMk/>
            <pc:sldMk cId="755828523" sldId="2147483089"/>
            <ac:cxnSpMk id="218" creationId="{BFEAA0EE-EBD3-D482-B1F5-77A54B6E7EA5}"/>
          </ac:cxnSpMkLst>
        </pc:cxnChg>
        <pc:cxnChg chg="add del mod ord">
          <ac:chgData name="Yudi Zhu" userId="571e1a55-055f-4c28-8b35-fca6dd1c1369" providerId="ADAL" clId="{75A88773-6EE1-484E-AADE-FE631E01463B}" dt="2025-11-21T06:33:10.103" v="158739"/>
          <ac:cxnSpMkLst>
            <pc:docMk/>
            <pc:sldMk cId="755828523" sldId="2147483089"/>
            <ac:cxnSpMk id="219" creationId="{3E286683-0E6A-6064-A148-650520347C45}"/>
          </ac:cxnSpMkLst>
        </pc:cxnChg>
        <pc:cxnChg chg="add del mod ord">
          <ac:chgData name="Yudi Zhu" userId="571e1a55-055f-4c28-8b35-fca6dd1c1369" providerId="ADAL" clId="{75A88773-6EE1-484E-AADE-FE631E01463B}" dt="2025-11-21T06:33:10.119" v="158756"/>
          <ac:cxnSpMkLst>
            <pc:docMk/>
            <pc:sldMk cId="755828523" sldId="2147483089"/>
            <ac:cxnSpMk id="220" creationId="{E5D53EFE-F658-9BC0-F0A6-C0B699FB7820}"/>
          </ac:cxnSpMkLst>
        </pc:cxnChg>
        <pc:cxnChg chg="add del mod ord">
          <ac:chgData name="Yudi Zhu" userId="571e1a55-055f-4c28-8b35-fca6dd1c1369" providerId="ADAL" clId="{75A88773-6EE1-484E-AADE-FE631E01463B}" dt="2025-11-21T07:34:20.593" v="255516"/>
          <ac:cxnSpMkLst>
            <pc:docMk/>
            <pc:sldMk cId="755828523" sldId="2147483089"/>
            <ac:cxnSpMk id="221" creationId="{05668C3C-3FE5-FC7D-B8EB-6BC700BD5F6E}"/>
          </ac:cxnSpMkLst>
        </pc:cxnChg>
        <pc:cxnChg chg="add del mod ord">
          <ac:chgData name="Yudi Zhu" userId="571e1a55-055f-4c28-8b35-fca6dd1c1369" providerId="ADAL" clId="{75A88773-6EE1-484E-AADE-FE631E01463B}" dt="2025-11-21T06:33:10.135" v="158785"/>
          <ac:cxnSpMkLst>
            <pc:docMk/>
            <pc:sldMk cId="755828523" sldId="2147483089"/>
            <ac:cxnSpMk id="222" creationId="{1FA00C1B-2255-4074-A5B9-AB11274178EB}"/>
          </ac:cxnSpMkLst>
        </pc:cxnChg>
        <pc:cxnChg chg="add del mod ord">
          <ac:chgData name="Yudi Zhu" userId="571e1a55-055f-4c28-8b35-fca6dd1c1369" providerId="ADAL" clId="{75A88773-6EE1-484E-AADE-FE631E01463B}" dt="2025-11-21T07:34:19.414" v="255207"/>
          <ac:cxnSpMkLst>
            <pc:docMk/>
            <pc:sldMk cId="755828523" sldId="2147483089"/>
            <ac:cxnSpMk id="223" creationId="{34990D9C-5D30-26F9-992D-877D0A2AE3FF}"/>
          </ac:cxnSpMkLst>
        </pc:cxnChg>
        <pc:cxnChg chg="add del mod ord">
          <ac:chgData name="Yudi Zhu" userId="571e1a55-055f-4c28-8b35-fca6dd1c1369" providerId="ADAL" clId="{75A88773-6EE1-484E-AADE-FE631E01463B}" dt="2025-11-21T06:33:10.163" v="158817"/>
          <ac:cxnSpMkLst>
            <pc:docMk/>
            <pc:sldMk cId="755828523" sldId="2147483089"/>
            <ac:cxnSpMk id="224" creationId="{A04E99D6-6672-98E9-B0B1-14352ADD8A7C}"/>
          </ac:cxnSpMkLst>
        </pc:cxnChg>
        <pc:cxnChg chg="add del mod ord">
          <ac:chgData name="Yudi Zhu" userId="571e1a55-055f-4c28-8b35-fca6dd1c1369" providerId="ADAL" clId="{75A88773-6EE1-484E-AADE-FE631E01463B}" dt="2025-11-21T06:33:10.185" v="158843"/>
          <ac:cxnSpMkLst>
            <pc:docMk/>
            <pc:sldMk cId="755828523" sldId="2147483089"/>
            <ac:cxnSpMk id="225" creationId="{22E851DA-84C8-ABB3-B1D9-BC0B111C6FFA}"/>
          </ac:cxnSpMkLst>
        </pc:cxnChg>
        <pc:cxnChg chg="add del mod ord">
          <ac:chgData name="Yudi Zhu" userId="571e1a55-055f-4c28-8b35-fca6dd1c1369" providerId="ADAL" clId="{75A88773-6EE1-484E-AADE-FE631E01463B}" dt="2025-11-21T06:33:10.193" v="158861"/>
          <ac:cxnSpMkLst>
            <pc:docMk/>
            <pc:sldMk cId="755828523" sldId="2147483089"/>
            <ac:cxnSpMk id="226" creationId="{AD2F58E6-6470-312E-E9A0-4ACA63D279D1}"/>
          </ac:cxnSpMkLst>
        </pc:cxnChg>
        <pc:cxnChg chg="add del mod ord">
          <ac:chgData name="Yudi Zhu" userId="571e1a55-055f-4c28-8b35-fca6dd1c1369" providerId="ADAL" clId="{75A88773-6EE1-484E-AADE-FE631E01463B}" dt="2025-11-21T06:33:10.225" v="158892"/>
          <ac:cxnSpMkLst>
            <pc:docMk/>
            <pc:sldMk cId="755828523" sldId="2147483089"/>
            <ac:cxnSpMk id="227" creationId="{CCAB7E77-7052-602D-3008-3D7F422082BD}"/>
          </ac:cxnSpMkLst>
        </pc:cxnChg>
        <pc:cxnChg chg="add del mod ord">
          <ac:chgData name="Yudi Zhu" userId="571e1a55-055f-4c28-8b35-fca6dd1c1369" providerId="ADAL" clId="{75A88773-6EE1-484E-AADE-FE631E01463B}" dt="2025-11-21T06:33:10.239" v="158912"/>
          <ac:cxnSpMkLst>
            <pc:docMk/>
            <pc:sldMk cId="755828523" sldId="2147483089"/>
            <ac:cxnSpMk id="228" creationId="{C8447251-3C46-B6A6-4F0C-827EA0FACCCA}"/>
          </ac:cxnSpMkLst>
        </pc:cxnChg>
        <pc:cxnChg chg="add del mod ord">
          <ac:chgData name="Yudi Zhu" userId="571e1a55-055f-4c28-8b35-fca6dd1c1369" providerId="ADAL" clId="{75A88773-6EE1-484E-AADE-FE631E01463B}" dt="2025-11-21T06:33:10.239" v="158910"/>
          <ac:cxnSpMkLst>
            <pc:docMk/>
            <pc:sldMk cId="755828523" sldId="2147483089"/>
            <ac:cxnSpMk id="229" creationId="{617397A6-EC3C-6737-D79C-B3099B4E0492}"/>
          </ac:cxnSpMkLst>
        </pc:cxnChg>
        <pc:cxnChg chg="add del mod ord">
          <ac:chgData name="Yudi Zhu" userId="571e1a55-055f-4c28-8b35-fca6dd1c1369" providerId="ADAL" clId="{75A88773-6EE1-484E-AADE-FE631E01463B}" dt="2025-11-21T06:33:10.254" v="158931"/>
          <ac:cxnSpMkLst>
            <pc:docMk/>
            <pc:sldMk cId="755828523" sldId="2147483089"/>
            <ac:cxnSpMk id="230" creationId="{5980A1D9-A4D9-07FF-1AC1-646AB1300979}"/>
          </ac:cxnSpMkLst>
        </pc:cxnChg>
        <pc:cxnChg chg="add del mod ord">
          <ac:chgData name="Yudi Zhu" userId="571e1a55-055f-4c28-8b35-fca6dd1c1369" providerId="ADAL" clId="{75A88773-6EE1-484E-AADE-FE631E01463B}" dt="2025-11-21T06:33:10.254" v="158929"/>
          <ac:cxnSpMkLst>
            <pc:docMk/>
            <pc:sldMk cId="755828523" sldId="2147483089"/>
            <ac:cxnSpMk id="231" creationId="{30719F65-9502-CDBD-6EB0-05E61D59675C}"/>
          </ac:cxnSpMkLst>
        </pc:cxnChg>
        <pc:cxnChg chg="add del mod ord">
          <ac:chgData name="Yudi Zhu" userId="571e1a55-055f-4c28-8b35-fca6dd1c1369" providerId="ADAL" clId="{75A88773-6EE1-484E-AADE-FE631E01463B}" dt="2025-11-21T06:33:10.270" v="158948"/>
          <ac:cxnSpMkLst>
            <pc:docMk/>
            <pc:sldMk cId="755828523" sldId="2147483089"/>
            <ac:cxnSpMk id="232" creationId="{4EF3CEF5-62FB-73FC-6652-0C86AB0B3A0D}"/>
          </ac:cxnSpMkLst>
        </pc:cxnChg>
        <pc:cxnChg chg="add del mod ord">
          <ac:chgData name="Yudi Zhu" userId="571e1a55-055f-4c28-8b35-fca6dd1c1369" providerId="ADAL" clId="{75A88773-6EE1-484E-AADE-FE631E01463B}" dt="2025-11-21T06:33:10.270" v="158946"/>
          <ac:cxnSpMkLst>
            <pc:docMk/>
            <pc:sldMk cId="755828523" sldId="2147483089"/>
            <ac:cxnSpMk id="233" creationId="{21928E32-8DD0-1442-D4AE-97A12078EC40}"/>
          </ac:cxnSpMkLst>
        </pc:cxnChg>
        <pc:cxnChg chg="add del mod ord">
          <ac:chgData name="Yudi Zhu" userId="571e1a55-055f-4c28-8b35-fca6dd1c1369" providerId="ADAL" clId="{75A88773-6EE1-484E-AADE-FE631E01463B}" dt="2025-11-21T07:34:20.682" v="255557"/>
          <ac:cxnSpMkLst>
            <pc:docMk/>
            <pc:sldMk cId="755828523" sldId="2147483089"/>
            <ac:cxnSpMk id="234" creationId="{5DE3B6EE-49C8-1F9A-6C4E-4D6416C1B593}"/>
          </ac:cxnSpMkLst>
        </pc:cxnChg>
        <pc:cxnChg chg="add del mod ord">
          <ac:chgData name="Yudi Zhu" userId="571e1a55-055f-4c28-8b35-fca6dd1c1369" providerId="ADAL" clId="{75A88773-6EE1-484E-AADE-FE631E01463B}" dt="2025-11-21T06:33:10.301" v="158992"/>
          <ac:cxnSpMkLst>
            <pc:docMk/>
            <pc:sldMk cId="755828523" sldId="2147483089"/>
            <ac:cxnSpMk id="235" creationId="{1BC52987-3293-2FCA-E7AA-EA04449C5B2C}"/>
          </ac:cxnSpMkLst>
        </pc:cxnChg>
        <pc:cxnChg chg="add del mod ord">
          <ac:chgData name="Yudi Zhu" userId="571e1a55-055f-4c28-8b35-fca6dd1c1369" providerId="ADAL" clId="{75A88773-6EE1-484E-AADE-FE631E01463B}" dt="2025-11-21T06:33:10.301" v="158990"/>
          <ac:cxnSpMkLst>
            <pc:docMk/>
            <pc:sldMk cId="755828523" sldId="2147483089"/>
            <ac:cxnSpMk id="236" creationId="{2AA0F990-F0D8-AFEB-E340-840ABE7D729C}"/>
          </ac:cxnSpMkLst>
        </pc:cxnChg>
        <pc:cxnChg chg="add del mod ord">
          <ac:chgData name="Yudi Zhu" userId="571e1a55-055f-4c28-8b35-fca6dd1c1369" providerId="ADAL" clId="{75A88773-6EE1-484E-AADE-FE631E01463B}" dt="2025-11-21T06:33:10.317" v="159011"/>
          <ac:cxnSpMkLst>
            <pc:docMk/>
            <pc:sldMk cId="755828523" sldId="2147483089"/>
            <ac:cxnSpMk id="237" creationId="{B09BDCD2-3299-960B-3F45-8100699DB02E}"/>
          </ac:cxnSpMkLst>
        </pc:cxnChg>
        <pc:cxnChg chg="add del mod ord">
          <ac:chgData name="Yudi Zhu" userId="571e1a55-055f-4c28-8b35-fca6dd1c1369" providerId="ADAL" clId="{75A88773-6EE1-484E-AADE-FE631E01463B}" dt="2025-11-21T06:33:10.317" v="159009"/>
          <ac:cxnSpMkLst>
            <pc:docMk/>
            <pc:sldMk cId="755828523" sldId="2147483089"/>
            <ac:cxnSpMk id="238" creationId="{1A92B94B-986E-FB51-6FD5-CB95A31CA83D}"/>
          </ac:cxnSpMkLst>
        </pc:cxnChg>
        <pc:cxnChg chg="add del mod ord">
          <ac:chgData name="Yudi Zhu" userId="571e1a55-055f-4c28-8b35-fca6dd1c1369" providerId="ADAL" clId="{75A88773-6EE1-484E-AADE-FE631E01463B}" dt="2025-11-21T06:33:10.343" v="159026"/>
          <ac:cxnSpMkLst>
            <pc:docMk/>
            <pc:sldMk cId="755828523" sldId="2147483089"/>
            <ac:cxnSpMk id="239" creationId="{E081BB0F-3D1B-C360-FF82-6C503C5341A9}"/>
          </ac:cxnSpMkLst>
        </pc:cxnChg>
        <pc:cxnChg chg="add del mod ord">
          <ac:chgData name="Yudi Zhu" userId="571e1a55-055f-4c28-8b35-fca6dd1c1369" providerId="ADAL" clId="{75A88773-6EE1-484E-AADE-FE631E01463B}" dt="2025-11-21T06:33:10.361" v="159046"/>
          <ac:cxnSpMkLst>
            <pc:docMk/>
            <pc:sldMk cId="755828523" sldId="2147483089"/>
            <ac:cxnSpMk id="240" creationId="{D3298080-BDEE-7342-7562-1AE47A1E2D7E}"/>
          </ac:cxnSpMkLst>
        </pc:cxnChg>
        <pc:cxnChg chg="add del mod ord">
          <ac:chgData name="Yudi Zhu" userId="571e1a55-055f-4c28-8b35-fca6dd1c1369" providerId="ADAL" clId="{75A88773-6EE1-484E-AADE-FE631E01463B}" dt="2025-11-21T06:33:10.375" v="159066"/>
          <ac:cxnSpMkLst>
            <pc:docMk/>
            <pc:sldMk cId="755828523" sldId="2147483089"/>
            <ac:cxnSpMk id="241" creationId="{CC1D7A83-403E-F2A8-ADA3-448224DFD9EB}"/>
          </ac:cxnSpMkLst>
        </pc:cxnChg>
        <pc:cxnChg chg="add del mod ord">
          <ac:chgData name="Yudi Zhu" userId="571e1a55-055f-4c28-8b35-fca6dd1c1369" providerId="ADAL" clId="{75A88773-6EE1-484E-AADE-FE631E01463B}" dt="2025-11-21T06:33:10.375" v="159064"/>
          <ac:cxnSpMkLst>
            <pc:docMk/>
            <pc:sldMk cId="755828523" sldId="2147483089"/>
            <ac:cxnSpMk id="242" creationId="{1E749C6D-8E23-D81A-99B0-9E22DA3B4A7D}"/>
          </ac:cxnSpMkLst>
        </pc:cxnChg>
        <pc:cxnChg chg="add del mod ord">
          <ac:chgData name="Yudi Zhu" userId="571e1a55-055f-4c28-8b35-fca6dd1c1369" providerId="ADAL" clId="{75A88773-6EE1-484E-AADE-FE631E01463B}" dt="2025-11-21T06:33:10.390" v="159085"/>
          <ac:cxnSpMkLst>
            <pc:docMk/>
            <pc:sldMk cId="755828523" sldId="2147483089"/>
            <ac:cxnSpMk id="243" creationId="{173E3745-B7C9-1CD4-521C-B9898B4FE7E1}"/>
          </ac:cxnSpMkLst>
        </pc:cxnChg>
        <pc:cxnChg chg="add del mod ord">
          <ac:chgData name="Yudi Zhu" userId="571e1a55-055f-4c28-8b35-fca6dd1c1369" providerId="ADAL" clId="{75A88773-6EE1-484E-AADE-FE631E01463B}" dt="2025-11-21T06:33:10.390" v="159083"/>
          <ac:cxnSpMkLst>
            <pc:docMk/>
            <pc:sldMk cId="755828523" sldId="2147483089"/>
            <ac:cxnSpMk id="244" creationId="{7A89CB93-DAEA-CAA3-BCA0-78F614648177}"/>
          </ac:cxnSpMkLst>
        </pc:cxnChg>
        <pc:cxnChg chg="add del mod ord">
          <ac:chgData name="Yudi Zhu" userId="571e1a55-055f-4c28-8b35-fca6dd1c1369" providerId="ADAL" clId="{75A88773-6EE1-484E-AADE-FE631E01463B}" dt="2025-11-21T06:33:10.406" v="159100"/>
          <ac:cxnSpMkLst>
            <pc:docMk/>
            <pc:sldMk cId="755828523" sldId="2147483089"/>
            <ac:cxnSpMk id="245" creationId="{F89A5A7C-93EB-EC15-8BDF-DE328515C134}"/>
          </ac:cxnSpMkLst>
        </pc:cxnChg>
        <pc:cxnChg chg="add del mod ord">
          <ac:chgData name="Yudi Zhu" userId="571e1a55-055f-4c28-8b35-fca6dd1c1369" providerId="ADAL" clId="{75A88773-6EE1-484E-AADE-FE631E01463B}" dt="2025-11-21T06:33:10.422" v="159120"/>
          <ac:cxnSpMkLst>
            <pc:docMk/>
            <pc:sldMk cId="755828523" sldId="2147483089"/>
            <ac:cxnSpMk id="246" creationId="{74CF5647-08F1-25E1-6B2A-36CB5A0495DB}"/>
          </ac:cxnSpMkLst>
        </pc:cxnChg>
        <pc:cxnChg chg="add del mod ord">
          <ac:chgData name="Yudi Zhu" userId="571e1a55-055f-4c28-8b35-fca6dd1c1369" providerId="ADAL" clId="{75A88773-6EE1-484E-AADE-FE631E01463B}" dt="2025-11-21T06:33:10.438" v="159140"/>
          <ac:cxnSpMkLst>
            <pc:docMk/>
            <pc:sldMk cId="755828523" sldId="2147483089"/>
            <ac:cxnSpMk id="247" creationId="{40883327-4397-4F21-3DE3-37C58AF6422C}"/>
          </ac:cxnSpMkLst>
        </pc:cxnChg>
        <pc:cxnChg chg="add del mod ord">
          <ac:chgData name="Yudi Zhu" userId="571e1a55-055f-4c28-8b35-fca6dd1c1369" providerId="ADAL" clId="{75A88773-6EE1-484E-AADE-FE631E01463B}" dt="2025-11-21T06:33:10.438" v="159138"/>
          <ac:cxnSpMkLst>
            <pc:docMk/>
            <pc:sldMk cId="755828523" sldId="2147483089"/>
            <ac:cxnSpMk id="248" creationId="{9DF8594E-8C52-774D-A5CC-5DC45003A42C}"/>
          </ac:cxnSpMkLst>
        </pc:cxnChg>
        <pc:cxnChg chg="add del mod ord">
          <ac:chgData name="Yudi Zhu" userId="571e1a55-055f-4c28-8b35-fca6dd1c1369" providerId="ADAL" clId="{75A88773-6EE1-484E-AADE-FE631E01463B}" dt="2025-11-21T06:33:10.454" v="159159"/>
          <ac:cxnSpMkLst>
            <pc:docMk/>
            <pc:sldMk cId="755828523" sldId="2147483089"/>
            <ac:cxnSpMk id="249" creationId="{EE687A37-E0FD-562D-59A4-17D71F91505C}"/>
          </ac:cxnSpMkLst>
        </pc:cxnChg>
        <pc:cxnChg chg="add del mod ord">
          <ac:chgData name="Yudi Zhu" userId="571e1a55-055f-4c28-8b35-fca6dd1c1369" providerId="ADAL" clId="{75A88773-6EE1-484E-AADE-FE631E01463B}" dt="2025-11-21T06:33:10.454" v="159157"/>
          <ac:cxnSpMkLst>
            <pc:docMk/>
            <pc:sldMk cId="755828523" sldId="2147483089"/>
            <ac:cxnSpMk id="250" creationId="{13428A5D-601D-F984-2EDB-0CF115679AA2}"/>
          </ac:cxnSpMkLst>
        </pc:cxnChg>
        <pc:cxnChg chg="add del mod ord">
          <ac:chgData name="Yudi Zhu" userId="571e1a55-055f-4c28-8b35-fca6dd1c1369" providerId="ADAL" clId="{75A88773-6EE1-484E-AADE-FE631E01463B}" dt="2025-11-21T06:33:10.469" v="159179"/>
          <ac:cxnSpMkLst>
            <pc:docMk/>
            <pc:sldMk cId="755828523" sldId="2147483089"/>
            <ac:cxnSpMk id="251" creationId="{7E09569B-EA15-01AF-0CF8-62DAF6E16C11}"/>
          </ac:cxnSpMkLst>
        </pc:cxnChg>
        <pc:cxnChg chg="add del mod ord">
          <ac:chgData name="Yudi Zhu" userId="571e1a55-055f-4c28-8b35-fca6dd1c1369" providerId="ADAL" clId="{75A88773-6EE1-484E-AADE-FE631E01463B}" dt="2025-11-21T06:33:10.469" v="159177"/>
          <ac:cxnSpMkLst>
            <pc:docMk/>
            <pc:sldMk cId="755828523" sldId="2147483089"/>
            <ac:cxnSpMk id="252" creationId="{373DBB5F-D092-909D-E586-C63592F65397}"/>
          </ac:cxnSpMkLst>
        </pc:cxnChg>
        <pc:cxnChg chg="add del mod ord">
          <ac:chgData name="Yudi Zhu" userId="571e1a55-055f-4c28-8b35-fca6dd1c1369" providerId="ADAL" clId="{75A88773-6EE1-484E-AADE-FE631E01463B}" dt="2025-11-21T06:34:20.739" v="163415"/>
          <ac:cxnSpMkLst>
            <pc:docMk/>
            <pc:sldMk cId="755828523" sldId="2147483089"/>
            <ac:cxnSpMk id="289" creationId="{DE95CD0B-D4B2-A78C-0E86-A3877C04A059}"/>
          </ac:cxnSpMkLst>
        </pc:cxnChg>
        <pc:cxnChg chg="add del mod ord">
          <ac:chgData name="Yudi Zhu" userId="571e1a55-055f-4c28-8b35-fca6dd1c1369" providerId="ADAL" clId="{75A88773-6EE1-484E-AADE-FE631E01463B}" dt="2025-11-21T06:34:20.754" v="163427"/>
          <ac:cxnSpMkLst>
            <pc:docMk/>
            <pc:sldMk cId="755828523" sldId="2147483089"/>
            <ac:cxnSpMk id="290" creationId="{2F4E068A-4415-2C3F-E7BD-52A63F8782B7}"/>
          </ac:cxnSpMkLst>
        </pc:cxnChg>
        <pc:cxnChg chg="add del mod ord">
          <ac:chgData name="Yudi Zhu" userId="571e1a55-055f-4c28-8b35-fca6dd1c1369" providerId="ADAL" clId="{75A88773-6EE1-484E-AADE-FE631E01463B}" dt="2025-11-21T07:24:18.472" v="236902"/>
          <ac:cxnSpMkLst>
            <pc:docMk/>
            <pc:sldMk cId="755828523" sldId="2147483089"/>
            <ac:cxnSpMk id="291" creationId="{0D1F8862-41F0-F3D6-8665-EF6D11CF9CA1}"/>
          </ac:cxnSpMkLst>
        </pc:cxnChg>
        <pc:cxnChg chg="add del mod ord">
          <ac:chgData name="Yudi Zhu" userId="571e1a55-055f-4c28-8b35-fca6dd1c1369" providerId="ADAL" clId="{75A88773-6EE1-484E-AADE-FE631E01463B}" dt="2025-11-21T07:34:19.402" v="255178"/>
          <ac:cxnSpMkLst>
            <pc:docMk/>
            <pc:sldMk cId="755828523" sldId="2147483089"/>
            <ac:cxnSpMk id="292" creationId="{9DF565FF-D20F-B171-3D6A-184A3ACF81B7}"/>
          </ac:cxnSpMkLst>
        </pc:cxnChg>
        <pc:cxnChg chg="add del mod ord">
          <ac:chgData name="Yudi Zhu" userId="571e1a55-055f-4c28-8b35-fca6dd1c1369" providerId="ADAL" clId="{75A88773-6EE1-484E-AADE-FE631E01463B}" dt="2025-11-21T07:34:20.758" v="255590"/>
          <ac:cxnSpMkLst>
            <pc:docMk/>
            <pc:sldMk cId="755828523" sldId="2147483089"/>
            <ac:cxnSpMk id="293" creationId="{2F616CA8-081B-6BFA-EABE-6251C5444812}"/>
          </ac:cxnSpMkLst>
        </pc:cxnChg>
        <pc:cxnChg chg="add del mod ord">
          <ac:chgData name="Yudi Zhu" userId="571e1a55-055f-4c28-8b35-fca6dd1c1369" providerId="ADAL" clId="{75A88773-6EE1-484E-AADE-FE631E01463B}" dt="2025-11-21T07:44:48.466" v="280116"/>
          <ac:cxnSpMkLst>
            <pc:docMk/>
            <pc:sldMk cId="755828523" sldId="2147483089"/>
            <ac:cxnSpMk id="294" creationId="{6AA15796-9B04-C8BE-AA28-B275C6DF7A90}"/>
          </ac:cxnSpMkLst>
        </pc:cxnChg>
        <pc:cxnChg chg="add del mod ord">
          <ac:chgData name="Yudi Zhu" userId="571e1a55-055f-4c28-8b35-fca6dd1c1369" providerId="ADAL" clId="{75A88773-6EE1-484E-AADE-FE631E01463B}" dt="2025-11-21T06:39:03.573" v="171244"/>
          <ac:cxnSpMkLst>
            <pc:docMk/>
            <pc:sldMk cId="755828523" sldId="2147483089"/>
            <ac:cxnSpMk id="303" creationId="{2E1CF3D3-95F9-458F-62A0-EA4D82D4ED96}"/>
          </ac:cxnSpMkLst>
        </pc:cxnChg>
        <pc:cxnChg chg="add del mod ord">
          <ac:chgData name="Yudi Zhu" userId="571e1a55-055f-4c28-8b35-fca6dd1c1369" providerId="ADAL" clId="{75A88773-6EE1-484E-AADE-FE631E01463B}" dt="2025-11-21T06:39:03.573" v="171246"/>
          <ac:cxnSpMkLst>
            <pc:docMk/>
            <pc:sldMk cId="755828523" sldId="2147483089"/>
            <ac:cxnSpMk id="304" creationId="{BFD1D341-CCE5-596C-28AA-03319374822F}"/>
          </ac:cxnSpMkLst>
        </pc:cxnChg>
        <pc:cxnChg chg="add del mod ord">
          <ac:chgData name="Yudi Zhu" userId="571e1a55-055f-4c28-8b35-fca6dd1c1369" providerId="ADAL" clId="{75A88773-6EE1-484E-AADE-FE631E01463B}" dt="2025-11-21T06:39:03.573" v="171242"/>
          <ac:cxnSpMkLst>
            <pc:docMk/>
            <pc:sldMk cId="755828523" sldId="2147483089"/>
            <ac:cxnSpMk id="305" creationId="{B97FA759-3D85-AB2C-C5A2-28507D8EEC7F}"/>
          </ac:cxnSpMkLst>
        </pc:cxnChg>
        <pc:cxnChg chg="add del mod ord">
          <ac:chgData name="Yudi Zhu" userId="571e1a55-055f-4c28-8b35-fca6dd1c1369" providerId="ADAL" clId="{75A88773-6EE1-484E-AADE-FE631E01463B}" dt="2025-11-21T06:39:03.573" v="171240"/>
          <ac:cxnSpMkLst>
            <pc:docMk/>
            <pc:sldMk cId="755828523" sldId="2147483089"/>
            <ac:cxnSpMk id="306" creationId="{B44BB1F6-76FA-5B52-6082-B6084E24DAE4}"/>
          </ac:cxnSpMkLst>
        </pc:cxnChg>
        <pc:cxnChg chg="add del mod ord">
          <ac:chgData name="Yudi Zhu" userId="571e1a55-055f-4c28-8b35-fca6dd1c1369" providerId="ADAL" clId="{75A88773-6EE1-484E-AADE-FE631E01463B}" dt="2025-11-21T06:39:03.573" v="171238"/>
          <ac:cxnSpMkLst>
            <pc:docMk/>
            <pc:sldMk cId="755828523" sldId="2147483089"/>
            <ac:cxnSpMk id="307" creationId="{394F248A-57C7-8DF6-E5E9-D4E9B8A04D8C}"/>
          </ac:cxnSpMkLst>
        </pc:cxnChg>
        <pc:cxnChg chg="add del mod ord">
          <ac:chgData name="Yudi Zhu" userId="571e1a55-055f-4c28-8b35-fca6dd1c1369" providerId="ADAL" clId="{75A88773-6EE1-484E-AADE-FE631E01463B}" dt="2025-11-21T06:39:03.573" v="171236"/>
          <ac:cxnSpMkLst>
            <pc:docMk/>
            <pc:sldMk cId="755828523" sldId="2147483089"/>
            <ac:cxnSpMk id="308" creationId="{A006108F-9592-073C-A878-439893CDBA79}"/>
          </ac:cxnSpMkLst>
        </pc:cxnChg>
        <pc:cxnChg chg="add del mod ord">
          <ac:chgData name="Yudi Zhu" userId="571e1a55-055f-4c28-8b35-fca6dd1c1369" providerId="ADAL" clId="{75A88773-6EE1-484E-AADE-FE631E01463B}" dt="2025-11-21T06:39:03.557" v="171234"/>
          <ac:cxnSpMkLst>
            <pc:docMk/>
            <pc:sldMk cId="755828523" sldId="2147483089"/>
            <ac:cxnSpMk id="309" creationId="{BC6D555A-FAFD-4CE9-E147-FC7F9D49A3B7}"/>
          </ac:cxnSpMkLst>
        </pc:cxnChg>
        <pc:cxnChg chg="add del mod ord">
          <ac:chgData name="Yudi Zhu" userId="571e1a55-055f-4c28-8b35-fca6dd1c1369" providerId="ADAL" clId="{75A88773-6EE1-484E-AADE-FE631E01463B}" dt="2025-11-21T09:22:52.664" v="406654"/>
          <ac:cxnSpMkLst>
            <pc:docMk/>
            <pc:sldMk cId="755828523" sldId="2147483089"/>
            <ac:cxnSpMk id="352" creationId="{4263A71F-EC78-DFDC-7D74-6EA9067C3D93}"/>
          </ac:cxnSpMkLst>
        </pc:cxnChg>
        <pc:cxnChg chg="add del mod ord">
          <ac:chgData name="Yudi Zhu" userId="571e1a55-055f-4c28-8b35-fca6dd1c1369" providerId="ADAL" clId="{75A88773-6EE1-484E-AADE-FE631E01463B}" dt="2025-11-21T06:34:20.708" v="163358"/>
          <ac:cxnSpMkLst>
            <pc:docMk/>
            <pc:sldMk cId="755828523" sldId="2147483089"/>
            <ac:cxnSpMk id="366" creationId="{FB69DEF2-81B1-E0AB-5FBC-D543A6ADFE30}"/>
          </ac:cxnSpMkLst>
        </pc:cxnChg>
        <pc:cxnChg chg="add del mod ord">
          <ac:chgData name="Yudi Zhu" userId="571e1a55-055f-4c28-8b35-fca6dd1c1369" providerId="ADAL" clId="{75A88773-6EE1-484E-AADE-FE631E01463B}" dt="2025-11-21T06:34:20.723" v="163396"/>
          <ac:cxnSpMkLst>
            <pc:docMk/>
            <pc:sldMk cId="755828523" sldId="2147483089"/>
            <ac:cxnSpMk id="367" creationId="{E2A7A59F-312E-DD7C-A0FF-9E5DB7DBE5B4}"/>
          </ac:cxnSpMkLst>
        </pc:cxnChg>
        <pc:cxnChg chg="add del mod ord">
          <ac:chgData name="Yudi Zhu" userId="571e1a55-055f-4c28-8b35-fca6dd1c1369" providerId="ADAL" clId="{75A88773-6EE1-484E-AADE-FE631E01463B}" dt="2025-11-21T06:34:20.785" v="163472"/>
          <ac:cxnSpMkLst>
            <pc:docMk/>
            <pc:sldMk cId="755828523" sldId="2147483089"/>
            <ac:cxnSpMk id="368" creationId="{BACC26B9-04B7-91FA-7DF0-67801E8D9F3D}"/>
          </ac:cxnSpMkLst>
        </pc:cxnChg>
        <pc:cxnChg chg="add del mod ord">
          <ac:chgData name="Yudi Zhu" userId="571e1a55-055f-4c28-8b35-fca6dd1c1369" providerId="ADAL" clId="{75A88773-6EE1-484E-AADE-FE631E01463B}" dt="2025-11-21T06:34:20.801" v="163518"/>
          <ac:cxnSpMkLst>
            <pc:docMk/>
            <pc:sldMk cId="755828523" sldId="2147483089"/>
            <ac:cxnSpMk id="369" creationId="{B3408078-F8F0-7020-D559-20D14AC641B3}"/>
          </ac:cxnSpMkLst>
        </pc:cxnChg>
        <pc:cxnChg chg="add del mod ord">
          <ac:chgData name="Yudi Zhu" userId="571e1a55-055f-4c28-8b35-fca6dd1c1369" providerId="ADAL" clId="{75A88773-6EE1-484E-AADE-FE631E01463B}" dt="2025-11-21T06:34:20.816" v="163533"/>
          <ac:cxnSpMkLst>
            <pc:docMk/>
            <pc:sldMk cId="755828523" sldId="2147483089"/>
            <ac:cxnSpMk id="370" creationId="{29110E55-4E1E-A173-36E6-592C517D2E35}"/>
          </ac:cxnSpMkLst>
        </pc:cxnChg>
        <pc:cxnChg chg="add del mod ord">
          <ac:chgData name="Yudi Zhu" userId="571e1a55-055f-4c28-8b35-fca6dd1c1369" providerId="ADAL" clId="{75A88773-6EE1-484E-AADE-FE631E01463B}" dt="2025-11-21T07:24:18.567" v="237077"/>
          <ac:cxnSpMkLst>
            <pc:docMk/>
            <pc:sldMk cId="755828523" sldId="2147483089"/>
            <ac:cxnSpMk id="371" creationId="{7695CBD2-4E90-8BFA-3385-A06388B444C4}"/>
          </ac:cxnSpMkLst>
        </pc:cxnChg>
        <pc:cxnChg chg="add del mod ord">
          <ac:chgData name="Yudi Zhu" userId="571e1a55-055f-4c28-8b35-fca6dd1c1369" providerId="ADAL" clId="{75A88773-6EE1-484E-AADE-FE631E01463B}" dt="2025-11-21T06:34:20.832" v="163559"/>
          <ac:cxnSpMkLst>
            <pc:docMk/>
            <pc:sldMk cId="755828523" sldId="2147483089"/>
            <ac:cxnSpMk id="374" creationId="{3439177D-0DFD-D37A-7E19-8E8128578D41}"/>
          </ac:cxnSpMkLst>
        </pc:cxnChg>
        <pc:cxnChg chg="add del mod ord">
          <ac:chgData name="Yudi Zhu" userId="571e1a55-055f-4c28-8b35-fca6dd1c1369" providerId="ADAL" clId="{75A88773-6EE1-484E-AADE-FE631E01463B}" dt="2025-11-21T06:36:03.913" v="168711"/>
          <ac:cxnSpMkLst>
            <pc:docMk/>
            <pc:sldMk cId="755828523" sldId="2147483089"/>
            <ac:cxnSpMk id="386" creationId="{16E19D31-FC1F-B80D-F548-74916EA2CB91}"/>
          </ac:cxnSpMkLst>
        </pc:cxnChg>
        <pc:cxnChg chg="add del mod ord">
          <ac:chgData name="Yudi Zhu" userId="571e1a55-055f-4c28-8b35-fca6dd1c1369" providerId="ADAL" clId="{75A88773-6EE1-484E-AADE-FE631E01463B}" dt="2025-11-21T06:36:03.913" v="168711"/>
          <ac:cxnSpMkLst>
            <pc:docMk/>
            <pc:sldMk cId="755828523" sldId="2147483089"/>
            <ac:cxnSpMk id="387" creationId="{4214EA7E-AB65-4D90-726C-25BE3EE02291}"/>
          </ac:cxnSpMkLst>
        </pc:cxnChg>
        <pc:cxnChg chg="add mod ord">
          <ac:chgData name="Yudi Zhu" userId="571e1a55-055f-4c28-8b35-fca6dd1c1369" providerId="ADAL" clId="{75A88773-6EE1-484E-AADE-FE631E01463B}" dt="2025-11-21T06:36:03.913" v="168711"/>
          <ac:cxnSpMkLst>
            <pc:docMk/>
            <pc:sldMk cId="755828523" sldId="2147483089"/>
            <ac:cxnSpMk id="388" creationId="{6D152E78-5C94-2163-A36A-64E1920F8463}"/>
          </ac:cxnSpMkLst>
        </pc:cxnChg>
        <pc:cxnChg chg="add del mod ord">
          <ac:chgData name="Yudi Zhu" userId="571e1a55-055f-4c28-8b35-fca6dd1c1369" providerId="ADAL" clId="{75A88773-6EE1-484E-AADE-FE631E01463B}" dt="2025-11-21T07:24:18.478" v="236914"/>
          <ac:cxnSpMkLst>
            <pc:docMk/>
            <pc:sldMk cId="755828523" sldId="2147483089"/>
            <ac:cxnSpMk id="403" creationId="{BA9128B5-EF49-4B69-CDE7-E997B27CCCBA}"/>
          </ac:cxnSpMkLst>
        </pc:cxnChg>
        <pc:cxnChg chg="add del mod ord">
          <ac:chgData name="Yudi Zhu" userId="571e1a55-055f-4c28-8b35-fca6dd1c1369" providerId="ADAL" clId="{75A88773-6EE1-484E-AADE-FE631E01463B}" dt="2025-11-21T07:24:18.511" v="236961"/>
          <ac:cxnSpMkLst>
            <pc:docMk/>
            <pc:sldMk cId="755828523" sldId="2147483089"/>
            <ac:cxnSpMk id="404" creationId="{837DB185-7A5F-383C-F23A-AF1F1C40A0BD}"/>
          </ac:cxnSpMkLst>
        </pc:cxnChg>
        <pc:cxnChg chg="add del mod ord">
          <ac:chgData name="Yudi Zhu" userId="571e1a55-055f-4c28-8b35-fca6dd1c1369" providerId="ADAL" clId="{75A88773-6EE1-484E-AADE-FE631E01463B}" dt="2025-11-21T06:41:00.573" v="172646"/>
          <ac:cxnSpMkLst>
            <pc:docMk/>
            <pc:sldMk cId="755828523" sldId="2147483089"/>
            <ac:cxnSpMk id="408" creationId="{16CBA497-3360-0410-D080-B0368B0432EC}"/>
          </ac:cxnSpMkLst>
        </pc:cxnChg>
        <pc:cxnChg chg="add del mod ord">
          <ac:chgData name="Yudi Zhu" userId="571e1a55-055f-4c28-8b35-fca6dd1c1369" providerId="ADAL" clId="{75A88773-6EE1-484E-AADE-FE631E01463B}" dt="2025-11-21T07:34:20.879" v="255661"/>
          <ac:cxnSpMkLst>
            <pc:docMk/>
            <pc:sldMk cId="755828523" sldId="2147483089"/>
            <ac:cxnSpMk id="409" creationId="{19664E6A-F000-66FF-52F8-AF3581B5173B}"/>
          </ac:cxnSpMkLst>
        </pc:cxnChg>
        <pc:cxnChg chg="add del mod ord">
          <ac:chgData name="Yudi Zhu" userId="571e1a55-055f-4c28-8b35-fca6dd1c1369" providerId="ADAL" clId="{75A88773-6EE1-484E-AADE-FE631E01463B}" dt="2025-11-21T07:37:14.122" v="260755"/>
          <ac:cxnSpMkLst>
            <pc:docMk/>
            <pc:sldMk cId="755828523" sldId="2147483089"/>
            <ac:cxnSpMk id="410" creationId="{9C7A6258-CD2E-9B36-125B-23984FFB4791}"/>
          </ac:cxnSpMkLst>
        </pc:cxnChg>
        <pc:cxnChg chg="add del mod ord">
          <ac:chgData name="Yudi Zhu" userId="571e1a55-055f-4c28-8b35-fca6dd1c1369" providerId="ADAL" clId="{75A88773-6EE1-484E-AADE-FE631E01463B}" dt="2025-11-21T07:37:14.120" v="260753"/>
          <ac:cxnSpMkLst>
            <pc:docMk/>
            <pc:sldMk cId="755828523" sldId="2147483089"/>
            <ac:cxnSpMk id="411" creationId="{446A87B7-FD8F-245A-DAD5-1AAE64996598}"/>
          </ac:cxnSpMkLst>
        </pc:cxnChg>
        <pc:cxnChg chg="add del mod ord">
          <ac:chgData name="Yudi Zhu" userId="571e1a55-055f-4c28-8b35-fca6dd1c1369" providerId="ADAL" clId="{75A88773-6EE1-484E-AADE-FE631E01463B}" dt="2025-11-21T07:24:18.338" v="236708"/>
          <ac:cxnSpMkLst>
            <pc:docMk/>
            <pc:sldMk cId="755828523" sldId="2147483089"/>
            <ac:cxnSpMk id="424" creationId="{AEEDCDF5-3E29-C5F1-4E78-1E954BEE7ED8}"/>
          </ac:cxnSpMkLst>
        </pc:cxnChg>
        <pc:cxnChg chg="add del mod ord">
          <ac:chgData name="Yudi Zhu" userId="571e1a55-055f-4c28-8b35-fca6dd1c1369" providerId="ADAL" clId="{75A88773-6EE1-484E-AADE-FE631E01463B}" dt="2025-11-21T07:24:18.353" v="236720"/>
          <ac:cxnSpMkLst>
            <pc:docMk/>
            <pc:sldMk cId="755828523" sldId="2147483089"/>
            <ac:cxnSpMk id="425" creationId="{4B0A3594-549B-47C5-B814-A5FC41C5DAD8}"/>
          </ac:cxnSpMkLst>
        </pc:cxnChg>
        <pc:cxnChg chg="add del mod ord">
          <ac:chgData name="Yudi Zhu" userId="571e1a55-055f-4c28-8b35-fca6dd1c1369" providerId="ADAL" clId="{75A88773-6EE1-484E-AADE-FE631E01463B}" dt="2025-11-21T07:24:18.384" v="236792"/>
          <ac:cxnSpMkLst>
            <pc:docMk/>
            <pc:sldMk cId="755828523" sldId="2147483089"/>
            <ac:cxnSpMk id="426" creationId="{B2CCE869-98B3-1271-4467-FCDC36152852}"/>
          </ac:cxnSpMkLst>
        </pc:cxnChg>
        <pc:cxnChg chg="add del mod ord">
          <ac:chgData name="Yudi Zhu" userId="571e1a55-055f-4c28-8b35-fca6dd1c1369" providerId="ADAL" clId="{75A88773-6EE1-484E-AADE-FE631E01463B}" dt="2025-11-21T07:24:18.520" v="236973"/>
          <ac:cxnSpMkLst>
            <pc:docMk/>
            <pc:sldMk cId="755828523" sldId="2147483089"/>
            <ac:cxnSpMk id="427" creationId="{2FCE6CB7-618A-8664-DF5D-6AC89AB6BBD0}"/>
          </ac:cxnSpMkLst>
        </pc:cxnChg>
        <pc:cxnChg chg="add mod ord">
          <ac:chgData name="Yudi Zhu" userId="571e1a55-055f-4c28-8b35-fca6dd1c1369" providerId="ADAL" clId="{75A88773-6EE1-484E-AADE-FE631E01463B}" dt="2025-11-21T09:22:52.601" v="406510"/>
          <ac:cxnSpMkLst>
            <pc:docMk/>
            <pc:sldMk cId="755828523" sldId="2147483089"/>
            <ac:cxnSpMk id="428" creationId="{69E7427C-117E-56BC-C7B6-997EB645D1E0}"/>
          </ac:cxnSpMkLst>
        </pc:cxnChg>
        <pc:cxnChg chg="add mod ord">
          <ac:chgData name="Yudi Zhu" userId="571e1a55-055f-4c28-8b35-fca6dd1c1369" providerId="ADAL" clId="{75A88773-6EE1-484E-AADE-FE631E01463B}" dt="2025-11-21T09:22:52.601" v="406522"/>
          <ac:cxnSpMkLst>
            <pc:docMk/>
            <pc:sldMk cId="755828523" sldId="2147483089"/>
            <ac:cxnSpMk id="431" creationId="{5AA105B7-A2E6-B910-AAFB-0A129E5A83EE}"/>
          </ac:cxnSpMkLst>
        </pc:cxnChg>
        <pc:cxnChg chg="add del mod ord">
          <ac:chgData name="Yudi Zhu" userId="571e1a55-055f-4c28-8b35-fca6dd1c1369" providerId="ADAL" clId="{75A88773-6EE1-484E-AADE-FE631E01463B}" dt="2025-11-21T07:34:20.821" v="255619"/>
          <ac:cxnSpMkLst>
            <pc:docMk/>
            <pc:sldMk cId="755828523" sldId="2147483089"/>
            <ac:cxnSpMk id="434" creationId="{5C1E66C5-45CB-E95A-9D3B-932FF92EC7EF}"/>
          </ac:cxnSpMkLst>
        </pc:cxnChg>
        <pc:cxnChg chg="add del mod ord">
          <ac:chgData name="Yudi Zhu" userId="571e1a55-055f-4c28-8b35-fca6dd1c1369" providerId="ADAL" clId="{75A88773-6EE1-484E-AADE-FE631E01463B}" dt="2025-11-21T07:37:14.124" v="260761"/>
          <ac:cxnSpMkLst>
            <pc:docMk/>
            <pc:sldMk cId="755828523" sldId="2147483089"/>
            <ac:cxnSpMk id="435" creationId="{ECA162E7-4A39-1A48-0620-6F602A22B9FB}"/>
          </ac:cxnSpMkLst>
        </pc:cxnChg>
        <pc:cxnChg chg="add del mod ord">
          <ac:chgData name="Yudi Zhu" userId="571e1a55-055f-4c28-8b35-fca6dd1c1369" providerId="ADAL" clId="{75A88773-6EE1-484E-AADE-FE631E01463B}" dt="2025-11-21T07:34:20.879" v="255663"/>
          <ac:cxnSpMkLst>
            <pc:docMk/>
            <pc:sldMk cId="755828523" sldId="2147483089"/>
            <ac:cxnSpMk id="450" creationId="{E08A7E24-6FD0-D422-C285-8574FB6C2C10}"/>
          </ac:cxnSpMkLst>
        </pc:cxnChg>
        <pc:cxnChg chg="add del mod ord">
          <ac:chgData name="Yudi Zhu" userId="571e1a55-055f-4c28-8b35-fca6dd1c1369" providerId="ADAL" clId="{75A88773-6EE1-484E-AADE-FE631E01463B}" dt="2025-11-21T07:24:18.599" v="237145"/>
          <ac:cxnSpMkLst>
            <pc:docMk/>
            <pc:sldMk cId="755828523" sldId="2147483089"/>
            <ac:cxnSpMk id="451" creationId="{11A3770B-14A7-64D4-C151-0BF2FCB335CC}"/>
          </ac:cxnSpMkLst>
        </pc:cxnChg>
        <pc:cxnChg chg="add del mod ord">
          <ac:chgData name="Yudi Zhu" userId="571e1a55-055f-4c28-8b35-fca6dd1c1369" providerId="ADAL" clId="{75A88773-6EE1-484E-AADE-FE631E01463B}" dt="2025-11-21T07:24:18.615" v="237147"/>
          <ac:cxnSpMkLst>
            <pc:docMk/>
            <pc:sldMk cId="755828523" sldId="2147483089"/>
            <ac:cxnSpMk id="452" creationId="{BFAD482D-5F3E-48DD-BE4D-3E1EC0328A9B}"/>
          </ac:cxnSpMkLst>
        </pc:cxnChg>
        <pc:cxnChg chg="add del mod ord">
          <ac:chgData name="Yudi Zhu" userId="571e1a55-055f-4c28-8b35-fca6dd1c1369" providerId="ADAL" clId="{75A88773-6EE1-484E-AADE-FE631E01463B}" dt="2025-11-21T07:24:18.416" v="236824"/>
          <ac:cxnSpMkLst>
            <pc:docMk/>
            <pc:sldMk cId="755828523" sldId="2147483089"/>
            <ac:cxnSpMk id="487" creationId="{04DA5EF9-F641-635D-5D14-26B26A1019AD}"/>
          </ac:cxnSpMkLst>
        </pc:cxnChg>
        <pc:cxnChg chg="add mod ord">
          <ac:chgData name="Yudi Zhu" userId="571e1a55-055f-4c28-8b35-fca6dd1c1369" providerId="ADAL" clId="{75A88773-6EE1-484E-AADE-FE631E01463B}" dt="2025-11-21T09:22:52.601" v="406514"/>
          <ac:cxnSpMkLst>
            <pc:docMk/>
            <pc:sldMk cId="755828523" sldId="2147483089"/>
            <ac:cxnSpMk id="488" creationId="{D28D1E49-68EF-4D63-E72E-25882683E109}"/>
          </ac:cxnSpMkLst>
        </pc:cxnChg>
        <pc:cxnChg chg="add mod ord">
          <ac:chgData name="Yudi Zhu" userId="571e1a55-055f-4c28-8b35-fca6dd1c1369" providerId="ADAL" clId="{75A88773-6EE1-484E-AADE-FE631E01463B}" dt="2025-11-21T09:22:52.601" v="406518"/>
          <ac:cxnSpMkLst>
            <pc:docMk/>
            <pc:sldMk cId="755828523" sldId="2147483089"/>
            <ac:cxnSpMk id="489" creationId="{96F7872F-3B91-CD89-8DC7-8A94729A70A5}"/>
          </ac:cxnSpMkLst>
        </pc:cxnChg>
        <pc:cxnChg chg="add del mod ord">
          <ac:chgData name="Yudi Zhu" userId="571e1a55-055f-4c28-8b35-fca6dd1c1369" providerId="ADAL" clId="{75A88773-6EE1-484E-AADE-FE631E01463B}" dt="2025-11-21T06:45:35.625" v="186468"/>
          <ac:cxnSpMkLst>
            <pc:docMk/>
            <pc:sldMk cId="755828523" sldId="2147483089"/>
            <ac:cxnSpMk id="496" creationId="{B5C67B58-76EF-29B0-86A6-A1C4E7FDDDFB}"/>
          </ac:cxnSpMkLst>
        </pc:cxnChg>
        <pc:cxnChg chg="add del mod ord">
          <ac:chgData name="Yudi Zhu" userId="571e1a55-055f-4c28-8b35-fca6dd1c1369" providerId="ADAL" clId="{75A88773-6EE1-484E-AADE-FE631E01463B}" dt="2025-11-21T07:24:18.368" v="236759"/>
          <ac:cxnSpMkLst>
            <pc:docMk/>
            <pc:sldMk cId="755828523" sldId="2147483089"/>
            <ac:cxnSpMk id="497" creationId="{5A7C1760-581F-8BAE-F0C6-ADCDC9B0CE9A}"/>
          </ac:cxnSpMkLst>
        </pc:cxnChg>
        <pc:cxnChg chg="add del mod ord">
          <ac:chgData name="Yudi Zhu" userId="571e1a55-055f-4c28-8b35-fca6dd1c1369" providerId="ADAL" clId="{75A88773-6EE1-484E-AADE-FE631E01463B}" dt="2025-11-21T06:45:35.714" v="186589"/>
          <ac:cxnSpMkLst>
            <pc:docMk/>
            <pc:sldMk cId="755828523" sldId="2147483089"/>
            <ac:cxnSpMk id="498" creationId="{48F4955C-6C21-7C07-A4CF-7D7286DF8F2D}"/>
          </ac:cxnSpMkLst>
        </pc:cxnChg>
        <pc:cxnChg chg="add del mod ord">
          <ac:chgData name="Yudi Zhu" userId="571e1a55-055f-4c28-8b35-fca6dd1c1369" providerId="ADAL" clId="{75A88773-6EE1-484E-AADE-FE631E01463B}" dt="2025-11-21T06:45:35.730" v="186602"/>
          <ac:cxnSpMkLst>
            <pc:docMk/>
            <pc:sldMk cId="755828523" sldId="2147483089"/>
            <ac:cxnSpMk id="499" creationId="{4A35FAC5-BDB6-5CF0-371A-1B54F86CE063}"/>
          </ac:cxnSpMkLst>
        </pc:cxnChg>
        <pc:cxnChg chg="add del mod ord">
          <ac:chgData name="Yudi Zhu" userId="571e1a55-055f-4c28-8b35-fca6dd1c1369" providerId="ADAL" clId="{75A88773-6EE1-484E-AADE-FE631E01463B}" dt="2025-11-21T07:24:18.536" v="237012"/>
          <ac:cxnSpMkLst>
            <pc:docMk/>
            <pc:sldMk cId="755828523" sldId="2147483089"/>
            <ac:cxnSpMk id="500" creationId="{73B60EA3-8B3F-E4B1-5877-7BAEB2A92700}"/>
          </ac:cxnSpMkLst>
        </pc:cxnChg>
        <pc:cxnChg chg="add mod ord">
          <ac:chgData name="Yudi Zhu" userId="571e1a55-055f-4c28-8b35-fca6dd1c1369" providerId="ADAL" clId="{75A88773-6EE1-484E-AADE-FE631E01463B}" dt="2025-11-21T09:22:52.601" v="406512"/>
          <ac:cxnSpMkLst>
            <pc:docMk/>
            <pc:sldMk cId="755828523" sldId="2147483089"/>
            <ac:cxnSpMk id="501" creationId="{31BBDF1D-384A-CA1B-E5CC-8D290EBDEE93}"/>
          </ac:cxnSpMkLst>
        </pc:cxnChg>
        <pc:cxnChg chg="add del mod ord">
          <ac:chgData name="Yudi Zhu" userId="571e1a55-055f-4c28-8b35-fca6dd1c1369" providerId="ADAL" clId="{75A88773-6EE1-484E-AADE-FE631E01463B}" dt="2025-11-21T07:24:18.615" v="237149"/>
          <ac:cxnSpMkLst>
            <pc:docMk/>
            <pc:sldMk cId="755828523" sldId="2147483089"/>
            <ac:cxnSpMk id="502" creationId="{4CC651D8-EDBA-8820-3324-DE14FE1741AF}"/>
          </ac:cxnSpMkLst>
        </pc:cxnChg>
        <pc:cxnChg chg="add del mod ord">
          <ac:chgData name="Yudi Zhu" userId="571e1a55-055f-4c28-8b35-fca6dd1c1369" providerId="ADAL" clId="{75A88773-6EE1-484E-AADE-FE631E01463B}" dt="2025-11-21T07:24:18.615" v="237151"/>
          <ac:cxnSpMkLst>
            <pc:docMk/>
            <pc:sldMk cId="755828523" sldId="2147483089"/>
            <ac:cxnSpMk id="503" creationId="{D7335AEC-9FE5-F8C7-3EA7-E0B40EA19127}"/>
          </ac:cxnSpMkLst>
        </pc:cxnChg>
        <pc:cxnChg chg="add del mod ord">
          <ac:chgData name="Yudi Zhu" userId="571e1a55-055f-4c28-8b35-fca6dd1c1369" providerId="ADAL" clId="{75A88773-6EE1-484E-AADE-FE631E01463B}" dt="2025-11-21T06:45:35.881" v="186810"/>
          <ac:cxnSpMkLst>
            <pc:docMk/>
            <pc:sldMk cId="755828523" sldId="2147483089"/>
            <ac:cxnSpMk id="504" creationId="{D3033CED-ABBE-C968-7EB1-0FC39FC3E704}"/>
          </ac:cxnSpMkLst>
        </pc:cxnChg>
        <pc:cxnChg chg="add del mod ord">
          <ac:chgData name="Yudi Zhu" userId="571e1a55-055f-4c28-8b35-fca6dd1c1369" providerId="ADAL" clId="{75A88773-6EE1-484E-AADE-FE631E01463B}" dt="2025-11-21T06:45:35.881" v="186812"/>
          <ac:cxnSpMkLst>
            <pc:docMk/>
            <pc:sldMk cId="755828523" sldId="2147483089"/>
            <ac:cxnSpMk id="505" creationId="{6B1D7ACE-F097-DA81-90C9-F4DDB0D74312}"/>
          </ac:cxnSpMkLst>
        </pc:cxnChg>
        <pc:cxnChg chg="add del mod ord">
          <ac:chgData name="Yudi Zhu" userId="571e1a55-055f-4c28-8b35-fca6dd1c1369" providerId="ADAL" clId="{75A88773-6EE1-484E-AADE-FE631E01463B}" dt="2025-11-21T06:45:35.881" v="186814"/>
          <ac:cxnSpMkLst>
            <pc:docMk/>
            <pc:sldMk cId="755828523" sldId="2147483089"/>
            <ac:cxnSpMk id="506" creationId="{49FC0D65-0542-4DE7-DB34-B5D6AA001636}"/>
          </ac:cxnSpMkLst>
        </pc:cxnChg>
        <pc:cxnChg chg="add del mod ord">
          <ac:chgData name="Yudi Zhu" userId="571e1a55-055f-4c28-8b35-fca6dd1c1369" providerId="ADAL" clId="{75A88773-6EE1-484E-AADE-FE631E01463B}" dt="2025-11-21T06:45:31.806" v="185822"/>
          <ac:cxnSpMkLst>
            <pc:docMk/>
            <pc:sldMk cId="755828523" sldId="2147483089"/>
            <ac:cxnSpMk id="507" creationId="{C4F0672C-15F3-B028-CE83-505DC3D47A91}"/>
          </ac:cxnSpMkLst>
        </pc:cxnChg>
        <pc:cxnChg chg="add del mod ord">
          <ac:chgData name="Yudi Zhu" userId="571e1a55-055f-4c28-8b35-fca6dd1c1369" providerId="ADAL" clId="{75A88773-6EE1-484E-AADE-FE631E01463B}" dt="2025-11-21T06:45:25.173" v="184988"/>
          <ac:cxnSpMkLst>
            <pc:docMk/>
            <pc:sldMk cId="755828523" sldId="2147483089"/>
            <ac:cxnSpMk id="508" creationId="{B10D2DD9-F345-CD98-766D-677386C678EC}"/>
          </ac:cxnSpMkLst>
        </pc:cxnChg>
        <pc:cxnChg chg="add del mod ord">
          <ac:chgData name="Yudi Zhu" userId="571e1a55-055f-4c28-8b35-fca6dd1c1369" providerId="ADAL" clId="{75A88773-6EE1-484E-AADE-FE631E01463B}" dt="2025-11-21T07:24:18.431" v="236864"/>
          <ac:cxnSpMkLst>
            <pc:docMk/>
            <pc:sldMk cId="755828523" sldId="2147483089"/>
            <ac:cxnSpMk id="533" creationId="{EC93DE69-C302-B7F6-2FD2-177F1D74F28A}"/>
          </ac:cxnSpMkLst>
        </pc:cxnChg>
        <pc:cxnChg chg="add del mod ord">
          <ac:chgData name="Yudi Zhu" userId="571e1a55-055f-4c28-8b35-fca6dd1c1369" providerId="ADAL" clId="{75A88773-6EE1-484E-AADE-FE631E01463B}" dt="2025-11-21T07:09:04.820" v="208824"/>
          <ac:cxnSpMkLst>
            <pc:docMk/>
            <pc:sldMk cId="755828523" sldId="2147483089"/>
            <ac:cxnSpMk id="534" creationId="{6F093175-D6BF-0552-C9C9-BCB43BC34E97}"/>
          </ac:cxnSpMkLst>
        </pc:cxnChg>
        <pc:cxnChg chg="add del mod ord">
          <ac:chgData name="Yudi Zhu" userId="571e1a55-055f-4c28-8b35-fca6dd1c1369" providerId="ADAL" clId="{75A88773-6EE1-484E-AADE-FE631E01463B}" dt="2025-11-21T07:24:16.188" v="236305"/>
          <ac:cxnSpMkLst>
            <pc:docMk/>
            <pc:sldMk cId="755828523" sldId="2147483089"/>
            <ac:cxnSpMk id="535" creationId="{68CEEA1B-4F2F-0302-99B4-45B61908A1F4}"/>
          </ac:cxnSpMkLst>
        </pc:cxnChg>
        <pc:cxnChg chg="add del mod ord">
          <ac:chgData name="Yudi Zhu" userId="571e1a55-055f-4c28-8b35-fca6dd1c1369" providerId="ADAL" clId="{75A88773-6EE1-484E-AADE-FE631E01463B}" dt="2025-11-21T07:24:16.188" v="236307"/>
          <ac:cxnSpMkLst>
            <pc:docMk/>
            <pc:sldMk cId="755828523" sldId="2147483089"/>
            <ac:cxnSpMk id="536" creationId="{0C8CB274-9B28-1D7C-78CF-668379920100}"/>
          </ac:cxnSpMkLst>
        </pc:cxnChg>
        <pc:cxnChg chg="add del mod ord">
          <ac:chgData name="Yudi Zhu" userId="571e1a55-055f-4c28-8b35-fca6dd1c1369" providerId="ADAL" clId="{75A88773-6EE1-484E-AADE-FE631E01463B}" dt="2025-11-21T07:24:16.188" v="236309"/>
          <ac:cxnSpMkLst>
            <pc:docMk/>
            <pc:sldMk cId="755828523" sldId="2147483089"/>
            <ac:cxnSpMk id="537" creationId="{35E1A864-FF9C-E594-5E98-DD5CB9F8517F}"/>
          </ac:cxnSpMkLst>
        </pc:cxnChg>
        <pc:cxnChg chg="add del mod ord">
          <ac:chgData name="Yudi Zhu" userId="571e1a55-055f-4c28-8b35-fca6dd1c1369" providerId="ADAL" clId="{75A88773-6EE1-484E-AADE-FE631E01463B}" dt="2025-11-21T07:09:04.880" v="208911"/>
          <ac:cxnSpMkLst>
            <pc:docMk/>
            <pc:sldMk cId="755828523" sldId="2147483089"/>
            <ac:cxnSpMk id="538" creationId="{9B6DE3AB-0F11-E43C-0AB7-DF81CCC83012}"/>
          </ac:cxnSpMkLst>
        </pc:cxnChg>
        <pc:cxnChg chg="add del mod ord">
          <ac:chgData name="Yudi Zhu" userId="571e1a55-055f-4c28-8b35-fca6dd1c1369" providerId="ADAL" clId="{75A88773-6EE1-484E-AADE-FE631E01463B}" dt="2025-11-21T09:22:52.648" v="406618"/>
          <ac:cxnSpMkLst>
            <pc:docMk/>
            <pc:sldMk cId="755828523" sldId="2147483089"/>
            <ac:cxnSpMk id="550" creationId="{6CD00907-2A9C-1E33-80B9-E0465A3BC831}"/>
          </ac:cxnSpMkLst>
        </pc:cxnChg>
        <pc:cxnChg chg="add del mod ord">
          <ac:chgData name="Yudi Zhu" userId="571e1a55-055f-4c28-8b35-fca6dd1c1369" providerId="ADAL" clId="{75A88773-6EE1-484E-AADE-FE631E01463B}" dt="2025-11-21T09:22:52.633" v="406592"/>
          <ac:cxnSpMkLst>
            <pc:docMk/>
            <pc:sldMk cId="755828523" sldId="2147483089"/>
            <ac:cxnSpMk id="553" creationId="{5E069998-40BE-875B-7E9C-72CBB2D585E6}"/>
          </ac:cxnSpMkLst>
        </pc:cxnChg>
        <pc:cxnChg chg="add del mod ord">
          <ac:chgData name="Yudi Zhu" userId="571e1a55-055f-4c28-8b35-fca6dd1c1369" providerId="ADAL" clId="{75A88773-6EE1-484E-AADE-FE631E01463B}" dt="2025-11-21T07:40:45.877" v="269722"/>
          <ac:cxnSpMkLst>
            <pc:docMk/>
            <pc:sldMk cId="755828523" sldId="2147483089"/>
            <ac:cxnSpMk id="554" creationId="{70A8EF6B-C27B-0C75-FE8D-67529E97ADFB}"/>
          </ac:cxnSpMkLst>
        </pc:cxnChg>
        <pc:cxnChg chg="add del mod ord">
          <ac:chgData name="Yudi Zhu" userId="571e1a55-055f-4c28-8b35-fca6dd1c1369" providerId="ADAL" clId="{75A88773-6EE1-484E-AADE-FE631E01463B}" dt="2025-11-21T09:22:52.648" v="406616"/>
          <ac:cxnSpMkLst>
            <pc:docMk/>
            <pc:sldMk cId="755828523" sldId="2147483089"/>
            <ac:cxnSpMk id="555" creationId="{C85D946B-2BB8-5E01-0A36-2EDD703FB15B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66" creationId="{7B0B67E0-0B88-D797-62E6-B278C9CA42F5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67" creationId="{42155453-E841-4CB5-407E-838AB2CAC23D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68" creationId="{7309B788-1828-1536-4154-B1A984484E7E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69" creationId="{D2C59AC1-7941-83EC-516D-772551C1FE6D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0" creationId="{58FC362B-5C39-81EF-FE1B-517B35769F45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1" creationId="{97AB4002-0184-3FF1-404F-E89E70A88B96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2" creationId="{83997E49-91CC-12FD-CDDD-E895DA68807E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3" creationId="{AAFCC7DB-8FFF-EF1C-D818-B7C8C8C5557A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4" creationId="{C3FFF715-49DB-B5BE-282B-9BFE46B22046}"/>
          </ac:cxnSpMkLst>
        </pc:cxnChg>
        <pc:cxnChg chg="add mod ord">
          <ac:chgData name="Yudi Zhu" userId="571e1a55-055f-4c28-8b35-fca6dd1c1369" providerId="ADAL" clId="{75A88773-6EE1-484E-AADE-FE631E01463B}" dt="2025-11-21T07:07:15.413" v="202960"/>
          <ac:cxnSpMkLst>
            <pc:docMk/>
            <pc:sldMk cId="755828523" sldId="2147483089"/>
            <ac:cxnSpMk id="575" creationId="{383DF17A-2879-06C5-6BDF-6586044D4A0A}"/>
          </ac:cxnSpMkLst>
        </pc:cxnChg>
        <pc:cxnChg chg="add del mod ord">
          <ac:chgData name="Yudi Zhu" userId="571e1a55-055f-4c28-8b35-fca6dd1c1369" providerId="ADAL" clId="{75A88773-6EE1-484E-AADE-FE631E01463B}" dt="2025-11-21T07:16:09.213" v="235212"/>
          <ac:cxnSpMkLst>
            <pc:docMk/>
            <pc:sldMk cId="755828523" sldId="2147483089"/>
            <ac:cxnSpMk id="579" creationId="{12BD287C-609C-814D-229F-12DD204B7994}"/>
          </ac:cxnSpMkLst>
        </pc:cxnChg>
        <pc:cxnChg chg="add del mod ord">
          <ac:chgData name="Yudi Zhu" userId="571e1a55-055f-4c28-8b35-fca6dd1c1369" providerId="ADAL" clId="{75A88773-6EE1-484E-AADE-FE631E01463B}" dt="2025-11-21T07:07:34.281" v="204588"/>
          <ac:cxnSpMkLst>
            <pc:docMk/>
            <pc:sldMk cId="755828523" sldId="2147483089"/>
            <ac:cxnSpMk id="580" creationId="{04B55782-0197-54CC-707B-C02DF88AE8DF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05" creationId="{5E969E81-A80A-BF64-7864-4056078956BF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06" creationId="{80552BB0-E36F-E9D4-60BA-9C929C11CBD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07" creationId="{C62C2D1F-96AE-24B8-D928-8D3B9E17DB5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08" creationId="{1BC8DA89-BB99-B58F-B557-EF407BA030B4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09" creationId="{3FC13A4D-79B9-1C64-3725-65FD8C3DB87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0" creationId="{3CFEA1E1-72CF-6D3D-5060-7E2DA52629E3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1" creationId="{80E38197-59A3-531A-9069-C4FE6DD15B86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2" creationId="{BFC85235-B5C9-E1BE-882C-678052D8A763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3" creationId="{FFE7F80C-89C7-7CD2-1A19-E0EF69E5A9D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4" creationId="{249D06DA-71D3-078D-DC77-047026C5D3C4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5" creationId="{1F0F5F65-838B-A4A5-6C8E-4946F9D794BE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6" creationId="{12B44DCB-A408-8C9C-AF7D-543D2BDFBD60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7" creationId="{C3F9B5F9-9043-1664-CB1C-84BC5D47E43A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8" creationId="{BC78CF6D-8C3C-2653-E50C-66BF32882321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19" creationId="{5380453E-FE2F-D31F-207F-930E8865CC29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0" creationId="{EFAA6DC6-CE4B-B022-93BB-1131866847A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1" creationId="{84A444D7-16B1-5418-9867-1FF4685378B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2" creationId="{8DC9E77C-BBFA-5A4D-7E5D-0B0E6FCDE6F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3" creationId="{DE99A43F-D6A1-1CE9-9945-96A2E2012B57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4" creationId="{EA957432-EECF-545E-BD22-11E3FB8BB756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5" creationId="{0911F685-3F88-5E11-305D-818C06C93DCA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6" creationId="{789BDCE7-31D8-7A59-9A09-B46815BC7870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7" creationId="{50B938B6-1A7A-00B3-C2EE-C21EFF7C4D9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8" creationId="{F3B4CE56-5EDE-5EC3-6A74-A4D9C15555CF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29" creationId="{3492C9D6-F30E-5640-3616-6E39F74C5C51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0" creationId="{6E5B4F38-E926-D49F-8117-B85FBF5F54D3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1" creationId="{AED43EC1-81FE-A6B5-4544-77F2BCBAC844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2" creationId="{7BC4D87B-C782-3965-918A-94A3F7DD8A42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3" creationId="{5149EAA4-95CB-C983-8764-984603F3C13F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4" creationId="{122D23F1-76BA-8CD7-9E26-06B868228298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5" creationId="{CB373921-C5E6-98D5-DC12-DA680EDAF0C2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6" creationId="{FEEC7B85-C816-957A-EE5A-421BAC56A275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7" creationId="{77538C3E-E13F-04C9-8B0F-93468DFE61E6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8" creationId="{C60D9B6B-4F83-5890-C0A4-5E03B611CFD5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39" creationId="{0214CA88-E818-153C-CE3E-5087590A3CD3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0" creationId="{431E23AA-D04D-4572-EF6D-4162C82C830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1" creationId="{704E5EE9-D9D4-9B3F-67C7-8EA369B3C448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2" creationId="{45C0A8BB-064B-1D5B-CED7-24A2C15960C0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3" creationId="{32F2C1A8-A3EB-3E1B-F5B3-017B29782CCB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4" creationId="{020B2397-48EC-94A1-D970-21E2BFE972DE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5" creationId="{AE3C310F-F584-98B3-93A2-62C2C3F0641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6" creationId="{4777B88E-6712-E44B-79DA-D8911CC1DFE5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7" creationId="{1F054325-7946-860A-FD28-EC7483A590CD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8" creationId="{EAB39240-6F53-A92A-300B-F4793DBD47EF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49" creationId="{7421F256-8EA4-B54F-2324-6F40F52CCC8A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0" creationId="{896C8C2D-E498-FAE5-4593-19DCE1D3E0EA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1" creationId="{B3A4D663-81CB-346B-08D3-020C46DEFC36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2" creationId="{43BD7FE2-BA30-37F6-CDF0-53C8FB17E2A5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3" creationId="{53EF33F8-314D-3451-EB82-E29BA42D29F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4" creationId="{FF512655-BB49-6AFA-6629-05BA9DCD71AA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5" creationId="{79DB08DA-A135-F316-69EB-6BD15A3E382B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6" creationId="{F2074933-4214-264F-4816-88B48E5DBF4E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7" creationId="{CB80E5CF-10B0-B509-2B20-A998D81A10DC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8" creationId="{E1ED2D06-52AA-B444-C40F-53098E05E879}"/>
          </ac:cxnSpMkLst>
        </pc:cxnChg>
        <pc:cxnChg chg="add mod ord">
          <ac:chgData name="Yudi Zhu" userId="571e1a55-055f-4c28-8b35-fca6dd1c1369" providerId="ADAL" clId="{75A88773-6EE1-484E-AADE-FE631E01463B}" dt="2025-11-21T07:09:42.298" v="213744"/>
          <ac:cxnSpMkLst>
            <pc:docMk/>
            <pc:sldMk cId="755828523" sldId="2147483089"/>
            <ac:cxnSpMk id="659" creationId="{30CDD40F-D9AF-B980-8A93-65C9BA4EFD32}"/>
          </ac:cxnSpMkLst>
        </pc:cxnChg>
        <pc:cxnChg chg="add del mod ord">
          <ac:chgData name="Yudi Zhu" userId="571e1a55-055f-4c28-8b35-fca6dd1c1369" providerId="ADAL" clId="{75A88773-6EE1-484E-AADE-FE631E01463B}" dt="2025-11-21T07:10:50.927" v="215180"/>
          <ac:cxnSpMkLst>
            <pc:docMk/>
            <pc:sldMk cId="755828523" sldId="2147483089"/>
            <ac:cxnSpMk id="668" creationId="{5636837A-9BEA-C397-5AF4-374583595E38}"/>
          </ac:cxnSpMkLst>
        </pc:cxnChg>
        <pc:cxnChg chg="add del mod ord">
          <ac:chgData name="Yudi Zhu" userId="571e1a55-055f-4c28-8b35-fca6dd1c1369" providerId="ADAL" clId="{75A88773-6EE1-484E-AADE-FE631E01463B}" dt="2025-11-21T07:10:50.927" v="215177"/>
          <ac:cxnSpMkLst>
            <pc:docMk/>
            <pc:sldMk cId="755828523" sldId="2147483089"/>
            <ac:cxnSpMk id="669" creationId="{98D3D509-BF50-CAD6-A574-6A2897A9001F}"/>
          </ac:cxnSpMkLst>
        </pc:cxnChg>
        <pc:cxnChg chg="add mod ord">
          <ac:chgData name="Yudi Zhu" userId="571e1a55-055f-4c28-8b35-fca6dd1c1369" providerId="ADAL" clId="{75A88773-6EE1-484E-AADE-FE631E01463B}" dt="2025-11-21T07:14:53.025" v="233832" actId="13822"/>
          <ac:cxnSpMkLst>
            <pc:docMk/>
            <pc:sldMk cId="755828523" sldId="2147483089"/>
            <ac:cxnSpMk id="679" creationId="{7CBA9213-3EA2-18A4-77FE-F7FA3C435202}"/>
          </ac:cxnSpMkLst>
        </pc:cxnChg>
        <pc:cxnChg chg="add mod ord">
          <ac:chgData name="Yudi Zhu" userId="571e1a55-055f-4c28-8b35-fca6dd1c1369" providerId="ADAL" clId="{75A88773-6EE1-484E-AADE-FE631E01463B}" dt="2025-11-21T07:14:53.025" v="233819" actId="13822"/>
          <ac:cxnSpMkLst>
            <pc:docMk/>
            <pc:sldMk cId="755828523" sldId="2147483089"/>
            <ac:cxnSpMk id="680" creationId="{F364D1B7-E264-0601-6A7C-8913AC1A848F}"/>
          </ac:cxnSpMkLst>
        </pc:cxnChg>
        <pc:cxnChg chg="add mod ord">
          <ac:chgData name="Yudi Zhu" userId="571e1a55-055f-4c28-8b35-fca6dd1c1369" providerId="ADAL" clId="{75A88773-6EE1-484E-AADE-FE631E01463B}" dt="2025-11-21T07:14:53.009" v="233810" actId="13822"/>
          <ac:cxnSpMkLst>
            <pc:docMk/>
            <pc:sldMk cId="755828523" sldId="2147483089"/>
            <ac:cxnSpMk id="681" creationId="{425349AE-BA79-BA04-8BE4-AB6D68523894}"/>
          </ac:cxnSpMkLst>
        </pc:cxnChg>
        <pc:cxnChg chg="add mod ord">
          <ac:chgData name="Yudi Zhu" userId="571e1a55-055f-4c28-8b35-fca6dd1c1369" providerId="ADAL" clId="{75A88773-6EE1-484E-AADE-FE631E01463B}" dt="2025-11-21T07:14:53.009" v="233801" actId="13822"/>
          <ac:cxnSpMkLst>
            <pc:docMk/>
            <pc:sldMk cId="755828523" sldId="2147483089"/>
            <ac:cxnSpMk id="682" creationId="{1F152CA0-F9C5-C2C9-CCD4-930DE94C7A0F}"/>
          </ac:cxnSpMkLst>
        </pc:cxnChg>
        <pc:cxnChg chg="add mod ord">
          <ac:chgData name="Yudi Zhu" userId="571e1a55-055f-4c28-8b35-fca6dd1c1369" providerId="ADAL" clId="{75A88773-6EE1-484E-AADE-FE631E01463B}" dt="2025-11-21T07:14:52.993" v="233791" actId="13822"/>
          <ac:cxnSpMkLst>
            <pc:docMk/>
            <pc:sldMk cId="755828523" sldId="2147483089"/>
            <ac:cxnSpMk id="683" creationId="{7D950541-C390-729F-18E2-6EA374126EED}"/>
          </ac:cxnSpMkLst>
        </pc:cxnChg>
        <pc:cxnChg chg="add mod ord">
          <ac:chgData name="Yudi Zhu" userId="571e1a55-055f-4c28-8b35-fca6dd1c1369" providerId="ADAL" clId="{75A88773-6EE1-484E-AADE-FE631E01463B}" dt="2025-11-21T07:14:52.993" v="233781" actId="13822"/>
          <ac:cxnSpMkLst>
            <pc:docMk/>
            <pc:sldMk cId="755828523" sldId="2147483089"/>
            <ac:cxnSpMk id="684" creationId="{2D745B49-9185-EBFE-35AC-7A9794B2B51D}"/>
          </ac:cxnSpMkLst>
        </pc:cxnChg>
        <pc:cxnChg chg="add mod ord">
          <ac:chgData name="Yudi Zhu" userId="571e1a55-055f-4c28-8b35-fca6dd1c1369" providerId="ADAL" clId="{75A88773-6EE1-484E-AADE-FE631E01463B}" dt="2025-11-21T07:14:52.993" v="233772" actId="13822"/>
          <ac:cxnSpMkLst>
            <pc:docMk/>
            <pc:sldMk cId="755828523" sldId="2147483089"/>
            <ac:cxnSpMk id="685" creationId="{3522C928-2F81-F014-C942-1E5CC8C24AFB}"/>
          </ac:cxnSpMkLst>
        </pc:cxnChg>
        <pc:cxnChg chg="add mod ord">
          <ac:chgData name="Yudi Zhu" userId="571e1a55-055f-4c28-8b35-fca6dd1c1369" providerId="ADAL" clId="{75A88773-6EE1-484E-AADE-FE631E01463B}" dt="2025-11-21T07:14:52.978" v="233763" actId="13822"/>
          <ac:cxnSpMkLst>
            <pc:docMk/>
            <pc:sldMk cId="755828523" sldId="2147483089"/>
            <ac:cxnSpMk id="686" creationId="{C51CD035-1471-D285-2C51-D86A8B86424E}"/>
          </ac:cxnSpMkLst>
        </pc:cxnChg>
        <pc:cxnChg chg="add mod ord">
          <ac:chgData name="Yudi Zhu" userId="571e1a55-055f-4c28-8b35-fca6dd1c1369" providerId="ADAL" clId="{75A88773-6EE1-484E-AADE-FE631E01463B}" dt="2025-11-21T07:14:52.978" v="233754" actId="13822"/>
          <ac:cxnSpMkLst>
            <pc:docMk/>
            <pc:sldMk cId="755828523" sldId="2147483089"/>
            <ac:cxnSpMk id="687" creationId="{F5B4BCE4-EE65-2715-4787-9CC953EB6A98}"/>
          </ac:cxnSpMkLst>
        </pc:cxnChg>
        <pc:cxnChg chg="add mod ord">
          <ac:chgData name="Yudi Zhu" userId="571e1a55-055f-4c28-8b35-fca6dd1c1369" providerId="ADAL" clId="{75A88773-6EE1-484E-AADE-FE631E01463B}" dt="2025-11-21T07:14:52.978" v="233744" actId="13822"/>
          <ac:cxnSpMkLst>
            <pc:docMk/>
            <pc:sldMk cId="755828523" sldId="2147483089"/>
            <ac:cxnSpMk id="688" creationId="{917DC25E-4CD4-36A6-EBA3-B606F9EDF6B5}"/>
          </ac:cxnSpMkLst>
        </pc:cxnChg>
        <pc:cxnChg chg="add mod ord">
          <ac:chgData name="Yudi Zhu" userId="571e1a55-055f-4c28-8b35-fca6dd1c1369" providerId="ADAL" clId="{75A88773-6EE1-484E-AADE-FE631E01463B}" dt="2025-11-21T07:14:52.962" v="233735" actId="13822"/>
          <ac:cxnSpMkLst>
            <pc:docMk/>
            <pc:sldMk cId="755828523" sldId="2147483089"/>
            <ac:cxnSpMk id="689" creationId="{E850B917-D2DA-3CA7-D346-9013A3E057B8}"/>
          </ac:cxnSpMkLst>
        </pc:cxnChg>
        <pc:cxnChg chg="add mod ord">
          <ac:chgData name="Yudi Zhu" userId="571e1a55-055f-4c28-8b35-fca6dd1c1369" providerId="ADAL" clId="{75A88773-6EE1-484E-AADE-FE631E01463B}" dt="2025-11-21T07:14:52.947" v="233711" actId="13822"/>
          <ac:cxnSpMkLst>
            <pc:docMk/>
            <pc:sldMk cId="755828523" sldId="2147483089"/>
            <ac:cxnSpMk id="690" creationId="{DA5EDAC6-6787-442B-2D13-62690B741504}"/>
          </ac:cxnSpMkLst>
        </pc:cxnChg>
        <pc:cxnChg chg="add mod ord">
          <ac:chgData name="Yudi Zhu" userId="571e1a55-055f-4c28-8b35-fca6dd1c1369" providerId="ADAL" clId="{75A88773-6EE1-484E-AADE-FE631E01463B}" dt="2025-11-21T07:14:52.947" v="233698" actId="13822"/>
          <ac:cxnSpMkLst>
            <pc:docMk/>
            <pc:sldMk cId="755828523" sldId="2147483089"/>
            <ac:cxnSpMk id="691" creationId="{F281772D-B658-36B8-F4A3-09D296653600}"/>
          </ac:cxnSpMkLst>
        </pc:cxnChg>
        <pc:cxnChg chg="add mod ord">
          <ac:chgData name="Yudi Zhu" userId="571e1a55-055f-4c28-8b35-fca6dd1c1369" providerId="ADAL" clId="{75A88773-6EE1-484E-AADE-FE631E01463B}" dt="2025-11-21T07:14:52.947" v="233689" actId="13822"/>
          <ac:cxnSpMkLst>
            <pc:docMk/>
            <pc:sldMk cId="755828523" sldId="2147483089"/>
            <ac:cxnSpMk id="692" creationId="{3D223F98-D048-7C20-02A5-C5ABB08405B5}"/>
          </ac:cxnSpMkLst>
        </pc:cxnChg>
        <pc:cxnChg chg="add mod ord">
          <ac:chgData name="Yudi Zhu" userId="571e1a55-055f-4c28-8b35-fca6dd1c1369" providerId="ADAL" clId="{75A88773-6EE1-484E-AADE-FE631E01463B}" dt="2025-11-21T07:14:52.931" v="233675" actId="13822"/>
          <ac:cxnSpMkLst>
            <pc:docMk/>
            <pc:sldMk cId="755828523" sldId="2147483089"/>
            <ac:cxnSpMk id="693" creationId="{CA060C97-1325-CDA9-8F78-5AFAB18B8F43}"/>
          </ac:cxnSpMkLst>
        </pc:cxnChg>
        <pc:cxnChg chg="add mod ord">
          <ac:chgData name="Yudi Zhu" userId="571e1a55-055f-4c28-8b35-fca6dd1c1369" providerId="ADAL" clId="{75A88773-6EE1-484E-AADE-FE631E01463B}" dt="2025-11-21T07:14:52.931" v="233664" actId="13822"/>
          <ac:cxnSpMkLst>
            <pc:docMk/>
            <pc:sldMk cId="755828523" sldId="2147483089"/>
            <ac:cxnSpMk id="694" creationId="{5458A473-2765-87C4-2521-7CEE665C6CEC}"/>
          </ac:cxnSpMkLst>
        </pc:cxnChg>
        <pc:cxnChg chg="add mod ord">
          <ac:chgData name="Yudi Zhu" userId="571e1a55-055f-4c28-8b35-fca6dd1c1369" providerId="ADAL" clId="{75A88773-6EE1-484E-AADE-FE631E01463B}" dt="2025-11-21T07:14:52.917" v="233647" actId="13822"/>
          <ac:cxnSpMkLst>
            <pc:docMk/>
            <pc:sldMk cId="755828523" sldId="2147483089"/>
            <ac:cxnSpMk id="695" creationId="{39324B90-AAA9-43C9-73A6-2E9648217A1C}"/>
          </ac:cxnSpMkLst>
        </pc:cxnChg>
        <pc:cxnChg chg="add mod ord">
          <ac:chgData name="Yudi Zhu" userId="571e1a55-055f-4c28-8b35-fca6dd1c1369" providerId="ADAL" clId="{75A88773-6EE1-484E-AADE-FE631E01463B}" dt="2025-11-21T07:14:52.917" v="233634" actId="13822"/>
          <ac:cxnSpMkLst>
            <pc:docMk/>
            <pc:sldMk cId="755828523" sldId="2147483089"/>
            <ac:cxnSpMk id="696" creationId="{430F5A2A-AADC-D85C-6AA1-D1B59F9DFE31}"/>
          </ac:cxnSpMkLst>
        </pc:cxnChg>
        <pc:cxnChg chg="add mod ord">
          <ac:chgData name="Yudi Zhu" userId="571e1a55-055f-4c28-8b35-fca6dd1c1369" providerId="ADAL" clId="{75A88773-6EE1-484E-AADE-FE631E01463B}" dt="2025-11-21T07:14:52.913" v="233625" actId="13822"/>
          <ac:cxnSpMkLst>
            <pc:docMk/>
            <pc:sldMk cId="755828523" sldId="2147483089"/>
            <ac:cxnSpMk id="697" creationId="{51881136-CC16-8C6B-FDE3-13405CC1E443}"/>
          </ac:cxnSpMkLst>
        </pc:cxnChg>
        <pc:cxnChg chg="add mod ord">
          <ac:chgData name="Yudi Zhu" userId="571e1a55-055f-4c28-8b35-fca6dd1c1369" providerId="ADAL" clId="{75A88773-6EE1-484E-AADE-FE631E01463B}" dt="2025-11-21T07:14:52.907" v="233611" actId="13822"/>
          <ac:cxnSpMkLst>
            <pc:docMk/>
            <pc:sldMk cId="755828523" sldId="2147483089"/>
            <ac:cxnSpMk id="698" creationId="{8838A341-94B6-9C9A-11E5-4565F374BB02}"/>
          </ac:cxnSpMkLst>
        </pc:cxnChg>
        <pc:cxnChg chg="add mod ord">
          <ac:chgData name="Yudi Zhu" userId="571e1a55-055f-4c28-8b35-fca6dd1c1369" providerId="ADAL" clId="{75A88773-6EE1-484E-AADE-FE631E01463B}" dt="2025-11-21T07:14:52.893" v="233593" actId="13822"/>
          <ac:cxnSpMkLst>
            <pc:docMk/>
            <pc:sldMk cId="755828523" sldId="2147483089"/>
            <ac:cxnSpMk id="699" creationId="{C8BD4F4D-68A0-E23C-964B-FD2B10B6BE0F}"/>
          </ac:cxnSpMkLst>
        </pc:cxnChg>
        <pc:cxnChg chg="add mod ord">
          <ac:chgData name="Yudi Zhu" userId="571e1a55-055f-4c28-8b35-fca6dd1c1369" providerId="ADAL" clId="{75A88773-6EE1-484E-AADE-FE631E01463B}" dt="2025-11-21T07:14:52.889" v="233584" actId="13822"/>
          <ac:cxnSpMkLst>
            <pc:docMk/>
            <pc:sldMk cId="755828523" sldId="2147483089"/>
            <ac:cxnSpMk id="700" creationId="{EC386C86-5FD7-405A-CEF7-1AC1CEB5317C}"/>
          </ac:cxnSpMkLst>
        </pc:cxnChg>
        <pc:cxnChg chg="add mod ord">
          <ac:chgData name="Yudi Zhu" userId="571e1a55-055f-4c28-8b35-fca6dd1c1369" providerId="ADAL" clId="{75A88773-6EE1-484E-AADE-FE631E01463B}" dt="2025-11-21T07:14:52.876" v="233574" actId="13822"/>
          <ac:cxnSpMkLst>
            <pc:docMk/>
            <pc:sldMk cId="755828523" sldId="2147483089"/>
            <ac:cxnSpMk id="701" creationId="{997D40C9-4E2F-2E55-58FE-37D4D4D091FE}"/>
          </ac:cxnSpMkLst>
        </pc:cxnChg>
        <pc:cxnChg chg="add mod ord">
          <ac:chgData name="Yudi Zhu" userId="571e1a55-055f-4c28-8b35-fca6dd1c1369" providerId="ADAL" clId="{75A88773-6EE1-484E-AADE-FE631E01463B}" dt="2025-11-21T07:14:52.876" v="233565" actId="13822"/>
          <ac:cxnSpMkLst>
            <pc:docMk/>
            <pc:sldMk cId="755828523" sldId="2147483089"/>
            <ac:cxnSpMk id="702" creationId="{BC8D9282-4299-8B7F-8214-856167E399C1}"/>
          </ac:cxnSpMkLst>
        </pc:cxnChg>
        <pc:cxnChg chg="add mod ord">
          <ac:chgData name="Yudi Zhu" userId="571e1a55-055f-4c28-8b35-fca6dd1c1369" providerId="ADAL" clId="{75A88773-6EE1-484E-AADE-FE631E01463B}" dt="2025-11-21T07:14:52.863" v="233547" actId="13822"/>
          <ac:cxnSpMkLst>
            <pc:docMk/>
            <pc:sldMk cId="755828523" sldId="2147483089"/>
            <ac:cxnSpMk id="703" creationId="{35EF46C5-BD95-081C-35E2-55FE57AF542D}"/>
          </ac:cxnSpMkLst>
        </pc:cxnChg>
        <pc:cxnChg chg="add mod ord">
          <ac:chgData name="Yudi Zhu" userId="571e1a55-055f-4c28-8b35-fca6dd1c1369" providerId="ADAL" clId="{75A88773-6EE1-484E-AADE-FE631E01463B}" dt="2025-11-21T07:14:52.844" v="233528" actId="13822"/>
          <ac:cxnSpMkLst>
            <pc:docMk/>
            <pc:sldMk cId="755828523" sldId="2147483089"/>
            <ac:cxnSpMk id="704" creationId="{53076449-AA51-639E-ED1B-E27F6B34658C}"/>
          </ac:cxnSpMkLst>
        </pc:cxnChg>
        <pc:cxnChg chg="add mod ord">
          <ac:chgData name="Yudi Zhu" userId="571e1a55-055f-4c28-8b35-fca6dd1c1369" providerId="ADAL" clId="{75A88773-6EE1-484E-AADE-FE631E01463B}" dt="2025-11-21T07:14:52.829" v="233509" actId="13822"/>
          <ac:cxnSpMkLst>
            <pc:docMk/>
            <pc:sldMk cId="755828523" sldId="2147483089"/>
            <ac:cxnSpMk id="705" creationId="{BF42820A-89E1-43BB-5718-1FCCEECB71DA}"/>
          </ac:cxnSpMkLst>
        </pc:cxnChg>
        <pc:cxnChg chg="add mod ord">
          <ac:chgData name="Yudi Zhu" userId="571e1a55-055f-4c28-8b35-fca6dd1c1369" providerId="ADAL" clId="{75A88773-6EE1-484E-AADE-FE631E01463B}" dt="2025-11-21T07:14:52.829" v="233496" actId="13822"/>
          <ac:cxnSpMkLst>
            <pc:docMk/>
            <pc:sldMk cId="755828523" sldId="2147483089"/>
            <ac:cxnSpMk id="706" creationId="{288C6F35-72F4-FFEE-4DD4-C3E6E2A2EE13}"/>
          </ac:cxnSpMkLst>
        </pc:cxnChg>
        <pc:cxnChg chg="add mod ord">
          <ac:chgData name="Yudi Zhu" userId="571e1a55-055f-4c28-8b35-fca6dd1c1369" providerId="ADAL" clId="{75A88773-6EE1-484E-AADE-FE631E01463B}" dt="2025-11-21T07:14:52.824" v="233485" actId="13822"/>
          <ac:cxnSpMkLst>
            <pc:docMk/>
            <pc:sldMk cId="755828523" sldId="2147483089"/>
            <ac:cxnSpMk id="707" creationId="{C2042C3E-A7C2-7002-C2AA-75975AB75397}"/>
          </ac:cxnSpMkLst>
        </pc:cxnChg>
        <pc:cxnChg chg="add mod ord">
          <ac:chgData name="Yudi Zhu" userId="571e1a55-055f-4c28-8b35-fca6dd1c1369" providerId="ADAL" clId="{75A88773-6EE1-484E-AADE-FE631E01463B}" dt="2025-11-21T07:14:52.813" v="233467" actId="13822"/>
          <ac:cxnSpMkLst>
            <pc:docMk/>
            <pc:sldMk cId="755828523" sldId="2147483089"/>
            <ac:cxnSpMk id="708" creationId="{77C17598-F071-7A73-DC4D-D62171349514}"/>
          </ac:cxnSpMkLst>
        </pc:cxnChg>
        <pc:cxnChg chg="add mod ord">
          <ac:chgData name="Yudi Zhu" userId="571e1a55-055f-4c28-8b35-fca6dd1c1369" providerId="ADAL" clId="{75A88773-6EE1-484E-AADE-FE631E01463B}" dt="2025-11-21T07:14:52.796" v="233458" actId="13822"/>
          <ac:cxnSpMkLst>
            <pc:docMk/>
            <pc:sldMk cId="755828523" sldId="2147483089"/>
            <ac:cxnSpMk id="709" creationId="{56F8CB54-71D5-1115-75F3-0B31357D6BC7}"/>
          </ac:cxnSpMkLst>
        </pc:cxnChg>
        <pc:cxnChg chg="add mod ord">
          <ac:chgData name="Yudi Zhu" userId="571e1a55-055f-4c28-8b35-fca6dd1c1369" providerId="ADAL" clId="{75A88773-6EE1-484E-AADE-FE631E01463B}" dt="2025-11-21T07:14:52.796" v="233444" actId="13822"/>
          <ac:cxnSpMkLst>
            <pc:docMk/>
            <pc:sldMk cId="755828523" sldId="2147483089"/>
            <ac:cxnSpMk id="710" creationId="{496BD03B-39D3-F204-F1A8-0AC40CB2A29D}"/>
          </ac:cxnSpMkLst>
        </pc:cxnChg>
        <pc:cxnChg chg="add mod ord">
          <ac:chgData name="Yudi Zhu" userId="571e1a55-055f-4c28-8b35-fca6dd1c1369" providerId="ADAL" clId="{75A88773-6EE1-484E-AADE-FE631E01463B}" dt="2025-11-21T07:14:52.796" v="233435" actId="13822"/>
          <ac:cxnSpMkLst>
            <pc:docMk/>
            <pc:sldMk cId="755828523" sldId="2147483089"/>
            <ac:cxnSpMk id="711" creationId="{1DE153AD-F58D-ADAC-40D7-532CE0AA296E}"/>
          </ac:cxnSpMkLst>
        </pc:cxnChg>
        <pc:cxnChg chg="add mod ord">
          <ac:chgData name="Yudi Zhu" userId="571e1a55-055f-4c28-8b35-fca6dd1c1369" providerId="ADAL" clId="{75A88773-6EE1-484E-AADE-FE631E01463B}" dt="2025-11-21T07:14:52.786" v="233421" actId="13822"/>
          <ac:cxnSpMkLst>
            <pc:docMk/>
            <pc:sldMk cId="755828523" sldId="2147483089"/>
            <ac:cxnSpMk id="712" creationId="{BF3CC123-944C-DEFB-63A8-8633AA03D509}"/>
          </ac:cxnSpMkLst>
        </pc:cxnChg>
        <pc:cxnChg chg="add mod ord">
          <ac:chgData name="Yudi Zhu" userId="571e1a55-055f-4c28-8b35-fca6dd1c1369" providerId="ADAL" clId="{75A88773-6EE1-484E-AADE-FE631E01463B}" dt="2025-11-21T07:14:52.767" v="233396" actId="13822"/>
          <ac:cxnSpMkLst>
            <pc:docMk/>
            <pc:sldMk cId="755828523" sldId="2147483089"/>
            <ac:cxnSpMk id="713" creationId="{F69922A7-3DC3-F5FC-963B-64DC855067A1}"/>
          </ac:cxnSpMkLst>
        </pc:cxnChg>
        <pc:cxnChg chg="add mod ord">
          <ac:chgData name="Yudi Zhu" userId="571e1a55-055f-4c28-8b35-fca6dd1c1369" providerId="ADAL" clId="{75A88773-6EE1-484E-AADE-FE631E01463B}" dt="2025-11-21T07:14:52.767" v="233386" actId="13822"/>
          <ac:cxnSpMkLst>
            <pc:docMk/>
            <pc:sldMk cId="755828523" sldId="2147483089"/>
            <ac:cxnSpMk id="714" creationId="{621C782A-6771-FA1C-ADE4-E5FE58CF3519}"/>
          </ac:cxnSpMkLst>
        </pc:cxnChg>
        <pc:cxnChg chg="add mod ord">
          <ac:chgData name="Yudi Zhu" userId="571e1a55-055f-4c28-8b35-fca6dd1c1369" providerId="ADAL" clId="{75A88773-6EE1-484E-AADE-FE631E01463B}" dt="2025-11-21T07:14:52.762" v="233377" actId="13822"/>
          <ac:cxnSpMkLst>
            <pc:docMk/>
            <pc:sldMk cId="755828523" sldId="2147483089"/>
            <ac:cxnSpMk id="715" creationId="{E70F9423-7CC2-0865-D1FD-40C3DD4A3C98}"/>
          </ac:cxnSpMkLst>
        </pc:cxnChg>
        <pc:cxnChg chg="add mod ord">
          <ac:chgData name="Yudi Zhu" userId="571e1a55-055f-4c28-8b35-fca6dd1c1369" providerId="ADAL" clId="{75A88773-6EE1-484E-AADE-FE631E01463B}" dt="2025-11-21T07:14:52.750" v="233367" actId="13822"/>
          <ac:cxnSpMkLst>
            <pc:docMk/>
            <pc:sldMk cId="755828523" sldId="2147483089"/>
            <ac:cxnSpMk id="716" creationId="{4D4BAD2B-8C09-F727-59A9-4FA03FD8490B}"/>
          </ac:cxnSpMkLst>
        </pc:cxnChg>
        <pc:cxnChg chg="add mod ord">
          <ac:chgData name="Yudi Zhu" userId="571e1a55-055f-4c28-8b35-fca6dd1c1369" providerId="ADAL" clId="{75A88773-6EE1-484E-AADE-FE631E01463B}" dt="2025-11-21T07:14:52.749" v="233358" actId="13822"/>
          <ac:cxnSpMkLst>
            <pc:docMk/>
            <pc:sldMk cId="755828523" sldId="2147483089"/>
            <ac:cxnSpMk id="717" creationId="{2C1F34F6-022E-2AF6-53B3-5527A77EF5C7}"/>
          </ac:cxnSpMkLst>
        </pc:cxnChg>
        <pc:cxnChg chg="add mod ord">
          <ac:chgData name="Yudi Zhu" userId="571e1a55-055f-4c28-8b35-fca6dd1c1369" providerId="ADAL" clId="{75A88773-6EE1-484E-AADE-FE631E01463B}" dt="2025-11-21T07:14:52.740" v="233340" actId="13822"/>
          <ac:cxnSpMkLst>
            <pc:docMk/>
            <pc:sldMk cId="755828523" sldId="2147483089"/>
            <ac:cxnSpMk id="718" creationId="{7599602A-493B-869A-AA9D-908CD45F0E18}"/>
          </ac:cxnSpMkLst>
        </pc:cxnChg>
        <pc:cxnChg chg="add mod ord">
          <ac:chgData name="Yudi Zhu" userId="571e1a55-055f-4c28-8b35-fca6dd1c1369" providerId="ADAL" clId="{75A88773-6EE1-484E-AADE-FE631E01463B}" dt="2025-11-21T07:14:52.736" v="233331" actId="13822"/>
          <ac:cxnSpMkLst>
            <pc:docMk/>
            <pc:sldMk cId="755828523" sldId="2147483089"/>
            <ac:cxnSpMk id="719" creationId="{77C29CDD-732A-74BC-1ACC-3E7BC571FF4A}"/>
          </ac:cxnSpMkLst>
        </pc:cxnChg>
        <pc:cxnChg chg="add mod ord">
          <ac:chgData name="Yudi Zhu" userId="571e1a55-055f-4c28-8b35-fca6dd1c1369" providerId="ADAL" clId="{75A88773-6EE1-484E-AADE-FE631E01463B}" dt="2025-11-21T07:14:52.729" v="233317" actId="13822"/>
          <ac:cxnSpMkLst>
            <pc:docMk/>
            <pc:sldMk cId="755828523" sldId="2147483089"/>
            <ac:cxnSpMk id="720" creationId="{87831CDE-8AF8-8991-6CBB-F02705A345B5}"/>
          </ac:cxnSpMkLst>
        </pc:cxnChg>
        <pc:cxnChg chg="add mod ord">
          <ac:chgData name="Yudi Zhu" userId="571e1a55-055f-4c28-8b35-fca6dd1c1369" providerId="ADAL" clId="{75A88773-6EE1-484E-AADE-FE631E01463B}" dt="2025-11-21T07:14:52.725" v="233308" actId="13822"/>
          <ac:cxnSpMkLst>
            <pc:docMk/>
            <pc:sldMk cId="755828523" sldId="2147483089"/>
            <ac:cxnSpMk id="721" creationId="{851F62A4-80D4-5D55-20DF-0614E3CC9A6C}"/>
          </ac:cxnSpMkLst>
        </pc:cxnChg>
        <pc:cxnChg chg="add mod ord">
          <ac:chgData name="Yudi Zhu" userId="571e1a55-055f-4c28-8b35-fca6dd1c1369" providerId="ADAL" clId="{75A88773-6EE1-484E-AADE-FE631E01463B}" dt="2025-11-21T07:14:52.707" v="233278" actId="13822"/>
          <ac:cxnSpMkLst>
            <pc:docMk/>
            <pc:sldMk cId="755828523" sldId="2147483089"/>
            <ac:cxnSpMk id="722" creationId="{35F0BEBA-DAF8-4511-6E3D-84175A1517D1}"/>
          </ac:cxnSpMkLst>
        </pc:cxnChg>
        <pc:cxnChg chg="add mod ord">
          <ac:chgData name="Yudi Zhu" userId="571e1a55-055f-4c28-8b35-fca6dd1c1369" providerId="ADAL" clId="{75A88773-6EE1-484E-AADE-FE631E01463B}" dt="2025-11-21T07:14:52.701" v="233265" actId="13822"/>
          <ac:cxnSpMkLst>
            <pc:docMk/>
            <pc:sldMk cId="755828523" sldId="2147483089"/>
            <ac:cxnSpMk id="723" creationId="{5727363A-0AFA-4B0E-1A62-F75FEFA20754}"/>
          </ac:cxnSpMkLst>
        </pc:cxnChg>
        <pc:cxnChg chg="add mod ord">
          <ac:chgData name="Yudi Zhu" userId="571e1a55-055f-4c28-8b35-fca6dd1c1369" providerId="ADAL" clId="{75A88773-6EE1-484E-AADE-FE631E01463B}" dt="2025-11-21T07:14:52.693" v="233256" actId="13822"/>
          <ac:cxnSpMkLst>
            <pc:docMk/>
            <pc:sldMk cId="755828523" sldId="2147483089"/>
            <ac:cxnSpMk id="724" creationId="{9B786A92-9931-9AD3-1A01-9F01A515E4DF}"/>
          </ac:cxnSpMkLst>
        </pc:cxnChg>
        <pc:cxnChg chg="add mod ord">
          <ac:chgData name="Yudi Zhu" userId="571e1a55-055f-4c28-8b35-fca6dd1c1369" providerId="ADAL" clId="{75A88773-6EE1-484E-AADE-FE631E01463B}" dt="2025-11-21T07:14:52.693" v="233242" actId="13822"/>
          <ac:cxnSpMkLst>
            <pc:docMk/>
            <pc:sldMk cId="755828523" sldId="2147483089"/>
            <ac:cxnSpMk id="725" creationId="{A2D498F2-4204-0226-A899-A3B580E5C35F}"/>
          </ac:cxnSpMkLst>
        </pc:cxnChg>
        <pc:cxnChg chg="add mod ord">
          <ac:chgData name="Yudi Zhu" userId="571e1a55-055f-4c28-8b35-fca6dd1c1369" providerId="ADAL" clId="{75A88773-6EE1-484E-AADE-FE631E01463B}" dt="2025-11-21T07:14:52.677" v="233217" actId="13822"/>
          <ac:cxnSpMkLst>
            <pc:docMk/>
            <pc:sldMk cId="755828523" sldId="2147483089"/>
            <ac:cxnSpMk id="726" creationId="{8E68AD9D-927C-D344-67D5-8C4B39259814}"/>
          </ac:cxnSpMkLst>
        </pc:cxnChg>
        <pc:cxnChg chg="add mod ord">
          <ac:chgData name="Yudi Zhu" userId="571e1a55-055f-4c28-8b35-fca6dd1c1369" providerId="ADAL" clId="{75A88773-6EE1-484E-AADE-FE631E01463B}" dt="2025-11-21T07:14:52.677" v="233207" actId="13822"/>
          <ac:cxnSpMkLst>
            <pc:docMk/>
            <pc:sldMk cId="755828523" sldId="2147483089"/>
            <ac:cxnSpMk id="727" creationId="{7787ACCC-3ADB-7F2F-264B-EFB8EA32D9B9}"/>
          </ac:cxnSpMkLst>
        </pc:cxnChg>
        <pc:cxnChg chg="add mod ord">
          <ac:chgData name="Yudi Zhu" userId="571e1a55-055f-4c28-8b35-fca6dd1c1369" providerId="ADAL" clId="{75A88773-6EE1-484E-AADE-FE631E01463B}" dt="2025-11-21T07:14:52.667" v="233198" actId="13822"/>
          <ac:cxnSpMkLst>
            <pc:docMk/>
            <pc:sldMk cId="755828523" sldId="2147483089"/>
            <ac:cxnSpMk id="728" creationId="{5D9CB4E1-E00C-8BB3-022E-6FC9F63534D7}"/>
          </ac:cxnSpMkLst>
        </pc:cxnChg>
        <pc:cxnChg chg="add mod ord">
          <ac:chgData name="Yudi Zhu" userId="571e1a55-055f-4c28-8b35-fca6dd1c1369" providerId="ADAL" clId="{75A88773-6EE1-484E-AADE-FE631E01463B}" dt="2025-11-21T07:14:52.667" v="233185" actId="13822"/>
          <ac:cxnSpMkLst>
            <pc:docMk/>
            <pc:sldMk cId="755828523" sldId="2147483089"/>
            <ac:cxnSpMk id="729" creationId="{8B7F5CB2-A2C7-99ED-AE63-1D724250F964}"/>
          </ac:cxnSpMkLst>
        </pc:cxnChg>
        <pc:cxnChg chg="add mod ord">
          <ac:chgData name="Yudi Zhu" userId="571e1a55-055f-4c28-8b35-fca6dd1c1369" providerId="ADAL" clId="{75A88773-6EE1-484E-AADE-FE631E01463B}" dt="2025-11-21T07:14:52.662" v="233176" actId="13822"/>
          <ac:cxnSpMkLst>
            <pc:docMk/>
            <pc:sldMk cId="755828523" sldId="2147483089"/>
            <ac:cxnSpMk id="730" creationId="{A36CCAC5-5770-FAF5-B2EE-3CD820DF36AC}"/>
          </ac:cxnSpMkLst>
        </pc:cxnChg>
        <pc:cxnChg chg="add del mod ord">
          <ac:chgData name="Yudi Zhu" userId="571e1a55-055f-4c28-8b35-fca6dd1c1369" providerId="ADAL" clId="{75A88773-6EE1-484E-AADE-FE631E01463B}" dt="2025-11-21T07:40:45.878" v="269724"/>
          <ac:cxnSpMkLst>
            <pc:docMk/>
            <pc:sldMk cId="755828523" sldId="2147483089"/>
            <ac:cxnSpMk id="739" creationId="{F226132E-D5A8-5251-8E46-A6B2684C8CAE}"/>
          </ac:cxnSpMkLst>
        </pc:cxnChg>
        <pc:cxnChg chg="add mod ord">
          <ac:chgData name="Yudi Zhu" userId="571e1a55-055f-4c28-8b35-fca6dd1c1369" providerId="ADAL" clId="{75A88773-6EE1-484E-AADE-FE631E01463B}" dt="2025-11-21T07:26:25.857" v="241727" actId="13822"/>
          <ac:cxnSpMkLst>
            <pc:docMk/>
            <pc:sldMk cId="755828523" sldId="2147483089"/>
            <ac:cxnSpMk id="747" creationId="{8EAD1FBE-2F22-1ED7-D96F-1D616F3140CD}"/>
          </ac:cxnSpMkLst>
        </pc:cxnChg>
        <pc:cxnChg chg="add mod ord">
          <ac:chgData name="Yudi Zhu" userId="571e1a55-055f-4c28-8b35-fca6dd1c1369" providerId="ADAL" clId="{75A88773-6EE1-484E-AADE-FE631E01463B}" dt="2025-11-21T07:26:25.841" v="241717" actId="13822"/>
          <ac:cxnSpMkLst>
            <pc:docMk/>
            <pc:sldMk cId="755828523" sldId="2147483089"/>
            <ac:cxnSpMk id="748" creationId="{497F14C4-A690-1884-C0A5-460149E38E0E}"/>
          </ac:cxnSpMkLst>
        </pc:cxnChg>
        <pc:cxnChg chg="add mod ord">
          <ac:chgData name="Yudi Zhu" userId="571e1a55-055f-4c28-8b35-fca6dd1c1369" providerId="ADAL" clId="{75A88773-6EE1-484E-AADE-FE631E01463B}" dt="2025-11-21T07:26:25.841" v="241708" actId="13822"/>
          <ac:cxnSpMkLst>
            <pc:docMk/>
            <pc:sldMk cId="755828523" sldId="2147483089"/>
            <ac:cxnSpMk id="749" creationId="{3ED15D84-D500-1F76-F6CF-E1E4DA71255E}"/>
          </ac:cxnSpMkLst>
        </pc:cxnChg>
        <pc:cxnChg chg="add mod ord">
          <ac:chgData name="Yudi Zhu" userId="571e1a55-055f-4c28-8b35-fca6dd1c1369" providerId="ADAL" clId="{75A88773-6EE1-484E-AADE-FE631E01463B}" dt="2025-11-21T07:26:25.841" v="241699" actId="13822"/>
          <ac:cxnSpMkLst>
            <pc:docMk/>
            <pc:sldMk cId="755828523" sldId="2147483089"/>
            <ac:cxnSpMk id="750" creationId="{D4F8411F-85CB-72D5-B261-66067556F2B1}"/>
          </ac:cxnSpMkLst>
        </pc:cxnChg>
        <pc:cxnChg chg="add mod ord">
          <ac:chgData name="Yudi Zhu" userId="571e1a55-055f-4c28-8b35-fca6dd1c1369" providerId="ADAL" clId="{75A88773-6EE1-484E-AADE-FE631E01463B}" dt="2025-11-21T07:26:25.831" v="241690" actId="13822"/>
          <ac:cxnSpMkLst>
            <pc:docMk/>
            <pc:sldMk cId="755828523" sldId="2147483089"/>
            <ac:cxnSpMk id="751" creationId="{41DA55FB-D725-F288-C02D-DB0ED7BCD233}"/>
          </ac:cxnSpMkLst>
        </pc:cxnChg>
        <pc:cxnChg chg="add mod ord">
          <ac:chgData name="Yudi Zhu" userId="571e1a55-055f-4c28-8b35-fca6dd1c1369" providerId="ADAL" clId="{75A88773-6EE1-484E-AADE-FE631E01463B}" dt="2025-11-21T07:26:25.831" v="241681" actId="13822"/>
          <ac:cxnSpMkLst>
            <pc:docMk/>
            <pc:sldMk cId="755828523" sldId="2147483089"/>
            <ac:cxnSpMk id="752" creationId="{3C6FDA6A-427F-3A7E-1288-D4820C260A2A}"/>
          </ac:cxnSpMkLst>
        </pc:cxnChg>
        <pc:cxnChg chg="add mod ord">
          <ac:chgData name="Yudi Zhu" userId="571e1a55-055f-4c28-8b35-fca6dd1c1369" providerId="ADAL" clId="{75A88773-6EE1-484E-AADE-FE631E01463B}" dt="2025-11-21T07:26:25.831" v="241672" actId="13822"/>
          <ac:cxnSpMkLst>
            <pc:docMk/>
            <pc:sldMk cId="755828523" sldId="2147483089"/>
            <ac:cxnSpMk id="753" creationId="{3CC15A15-EEA8-40F9-5801-618AED5C9538}"/>
          </ac:cxnSpMkLst>
        </pc:cxnChg>
        <pc:cxnChg chg="add mod ord">
          <ac:chgData name="Yudi Zhu" userId="571e1a55-055f-4c28-8b35-fca6dd1c1369" providerId="ADAL" clId="{75A88773-6EE1-484E-AADE-FE631E01463B}" dt="2025-11-21T07:26:25.810" v="241663" actId="13822"/>
          <ac:cxnSpMkLst>
            <pc:docMk/>
            <pc:sldMk cId="755828523" sldId="2147483089"/>
            <ac:cxnSpMk id="754" creationId="{EFA8F743-2C77-7CC7-17F8-6B68F4EB68FE}"/>
          </ac:cxnSpMkLst>
        </pc:cxnChg>
        <pc:cxnChg chg="add mod ord">
          <ac:chgData name="Yudi Zhu" userId="571e1a55-055f-4c28-8b35-fca6dd1c1369" providerId="ADAL" clId="{75A88773-6EE1-484E-AADE-FE631E01463B}" dt="2025-11-21T07:26:25.810" v="241654" actId="13822"/>
          <ac:cxnSpMkLst>
            <pc:docMk/>
            <pc:sldMk cId="755828523" sldId="2147483089"/>
            <ac:cxnSpMk id="755" creationId="{C0FAE15A-85EC-F81E-BCA5-23B6DCCEA17E}"/>
          </ac:cxnSpMkLst>
        </pc:cxnChg>
        <pc:cxnChg chg="add mod ord">
          <ac:chgData name="Yudi Zhu" userId="571e1a55-055f-4c28-8b35-fca6dd1c1369" providerId="ADAL" clId="{75A88773-6EE1-484E-AADE-FE631E01463B}" dt="2025-11-21T07:26:25.810" v="241645" actId="13822"/>
          <ac:cxnSpMkLst>
            <pc:docMk/>
            <pc:sldMk cId="755828523" sldId="2147483089"/>
            <ac:cxnSpMk id="756" creationId="{B2CFC08D-822D-3C53-BF6F-EE8A692492FA}"/>
          </ac:cxnSpMkLst>
        </pc:cxnChg>
        <pc:cxnChg chg="add mod ord">
          <ac:chgData name="Yudi Zhu" userId="571e1a55-055f-4c28-8b35-fca6dd1c1369" providerId="ADAL" clId="{75A88773-6EE1-484E-AADE-FE631E01463B}" dt="2025-11-21T07:26:25.810" v="241636" actId="13822"/>
          <ac:cxnSpMkLst>
            <pc:docMk/>
            <pc:sldMk cId="755828523" sldId="2147483089"/>
            <ac:cxnSpMk id="757" creationId="{8D963335-2421-23CE-77CB-5711B34B4276}"/>
          </ac:cxnSpMkLst>
        </pc:cxnChg>
        <pc:cxnChg chg="add mod ord">
          <ac:chgData name="Yudi Zhu" userId="571e1a55-055f-4c28-8b35-fca6dd1c1369" providerId="ADAL" clId="{75A88773-6EE1-484E-AADE-FE631E01463B}" dt="2025-11-21T07:26:25.794" v="241627" actId="13822"/>
          <ac:cxnSpMkLst>
            <pc:docMk/>
            <pc:sldMk cId="755828523" sldId="2147483089"/>
            <ac:cxnSpMk id="758" creationId="{4FB3EE58-BB9C-41E3-34ED-A125A37D9BF1}"/>
          </ac:cxnSpMkLst>
        </pc:cxnChg>
        <pc:cxnChg chg="add mod ord">
          <ac:chgData name="Yudi Zhu" userId="571e1a55-055f-4c28-8b35-fca6dd1c1369" providerId="ADAL" clId="{75A88773-6EE1-484E-AADE-FE631E01463B}" dt="2025-11-21T07:26:25.794" v="241618" actId="13822"/>
          <ac:cxnSpMkLst>
            <pc:docMk/>
            <pc:sldMk cId="755828523" sldId="2147483089"/>
            <ac:cxnSpMk id="759" creationId="{B122659D-31D0-ED14-E078-0B97C43C45E8}"/>
          </ac:cxnSpMkLst>
        </pc:cxnChg>
        <pc:cxnChg chg="add mod ord">
          <ac:chgData name="Yudi Zhu" userId="571e1a55-055f-4c28-8b35-fca6dd1c1369" providerId="ADAL" clId="{75A88773-6EE1-484E-AADE-FE631E01463B}" dt="2025-11-21T07:26:25.792" v="241609" actId="13822"/>
          <ac:cxnSpMkLst>
            <pc:docMk/>
            <pc:sldMk cId="755828523" sldId="2147483089"/>
            <ac:cxnSpMk id="760" creationId="{9C941748-AB5D-4877-A812-1F21EF86AA0E}"/>
          </ac:cxnSpMkLst>
        </pc:cxnChg>
        <pc:cxnChg chg="add mod ord">
          <ac:chgData name="Yudi Zhu" userId="571e1a55-055f-4c28-8b35-fca6dd1c1369" providerId="ADAL" clId="{75A88773-6EE1-484E-AADE-FE631E01463B}" dt="2025-11-21T07:26:25.778" v="241596" actId="13822"/>
          <ac:cxnSpMkLst>
            <pc:docMk/>
            <pc:sldMk cId="755828523" sldId="2147483089"/>
            <ac:cxnSpMk id="761" creationId="{AEAF71D5-CC00-A4F6-D2AE-F66CCDE504E9}"/>
          </ac:cxnSpMkLst>
        </pc:cxnChg>
        <pc:cxnChg chg="add mod ord">
          <ac:chgData name="Yudi Zhu" userId="571e1a55-055f-4c28-8b35-fca6dd1c1369" providerId="ADAL" clId="{75A88773-6EE1-484E-AADE-FE631E01463B}" dt="2025-11-21T07:26:25.778" v="241582" actId="13822"/>
          <ac:cxnSpMkLst>
            <pc:docMk/>
            <pc:sldMk cId="755828523" sldId="2147483089"/>
            <ac:cxnSpMk id="762" creationId="{BFDF40A9-EB85-DC6D-768F-EDB79194DA0E}"/>
          </ac:cxnSpMkLst>
        </pc:cxnChg>
        <pc:cxnChg chg="add mod ord">
          <ac:chgData name="Yudi Zhu" userId="571e1a55-055f-4c28-8b35-fca6dd1c1369" providerId="ADAL" clId="{75A88773-6EE1-484E-AADE-FE631E01463B}" dt="2025-11-21T07:26:25.762" v="241573" actId="13822"/>
          <ac:cxnSpMkLst>
            <pc:docMk/>
            <pc:sldMk cId="755828523" sldId="2147483089"/>
            <ac:cxnSpMk id="763" creationId="{4CAE9FA7-CF6A-CC35-F7EA-CF8F654D2A91}"/>
          </ac:cxnSpMkLst>
        </pc:cxnChg>
        <pc:cxnChg chg="add mod ord">
          <ac:chgData name="Yudi Zhu" userId="571e1a55-055f-4c28-8b35-fca6dd1c1369" providerId="ADAL" clId="{75A88773-6EE1-484E-AADE-FE631E01463B}" dt="2025-11-21T07:26:25.762" v="241559" actId="13822"/>
          <ac:cxnSpMkLst>
            <pc:docMk/>
            <pc:sldMk cId="755828523" sldId="2147483089"/>
            <ac:cxnSpMk id="764" creationId="{5796D9ED-0D29-06EB-DA80-69521C2ED7AC}"/>
          </ac:cxnSpMkLst>
        </pc:cxnChg>
        <pc:cxnChg chg="add mod ord">
          <ac:chgData name="Yudi Zhu" userId="571e1a55-055f-4c28-8b35-fca6dd1c1369" providerId="ADAL" clId="{75A88773-6EE1-484E-AADE-FE631E01463B}" dt="2025-11-21T07:26:25.747" v="241543" actId="13822"/>
          <ac:cxnSpMkLst>
            <pc:docMk/>
            <pc:sldMk cId="755828523" sldId="2147483089"/>
            <ac:cxnSpMk id="765" creationId="{0A4BDE44-475A-EB77-9D1F-0A84C8555177}"/>
          </ac:cxnSpMkLst>
        </pc:cxnChg>
        <pc:cxnChg chg="add mod ord">
          <ac:chgData name="Yudi Zhu" userId="571e1a55-055f-4c28-8b35-fca6dd1c1369" providerId="ADAL" clId="{75A88773-6EE1-484E-AADE-FE631E01463B}" dt="2025-11-21T07:26:25.747" v="241529" actId="13822"/>
          <ac:cxnSpMkLst>
            <pc:docMk/>
            <pc:sldMk cId="755828523" sldId="2147483089"/>
            <ac:cxnSpMk id="766" creationId="{23DAFAE7-9692-A310-9206-B1D816EF3C65}"/>
          </ac:cxnSpMkLst>
        </pc:cxnChg>
        <pc:cxnChg chg="add mod ord">
          <ac:chgData name="Yudi Zhu" userId="571e1a55-055f-4c28-8b35-fca6dd1c1369" providerId="ADAL" clId="{75A88773-6EE1-484E-AADE-FE631E01463B}" dt="2025-11-21T07:26:25.747" v="241520" actId="13822"/>
          <ac:cxnSpMkLst>
            <pc:docMk/>
            <pc:sldMk cId="755828523" sldId="2147483089"/>
            <ac:cxnSpMk id="767" creationId="{A0F73FA8-7042-B183-DAD5-DE07FEC5B1BE}"/>
          </ac:cxnSpMkLst>
        </pc:cxnChg>
        <pc:cxnChg chg="add mod ord">
          <ac:chgData name="Yudi Zhu" userId="571e1a55-055f-4c28-8b35-fca6dd1c1369" providerId="ADAL" clId="{75A88773-6EE1-484E-AADE-FE631E01463B}" dt="2025-11-21T07:26:25.742" v="241510" actId="13822"/>
          <ac:cxnSpMkLst>
            <pc:docMk/>
            <pc:sldMk cId="755828523" sldId="2147483089"/>
            <ac:cxnSpMk id="768" creationId="{5CF8F6E2-4016-7EF4-32E1-79DE41C2C616}"/>
          </ac:cxnSpMkLst>
        </pc:cxnChg>
        <pc:cxnChg chg="add mod ord">
          <ac:chgData name="Yudi Zhu" userId="571e1a55-055f-4c28-8b35-fca6dd1c1369" providerId="ADAL" clId="{75A88773-6EE1-484E-AADE-FE631E01463B}" dt="2025-11-21T07:26:25.735" v="241495" actId="13822"/>
          <ac:cxnSpMkLst>
            <pc:docMk/>
            <pc:sldMk cId="755828523" sldId="2147483089"/>
            <ac:cxnSpMk id="769" creationId="{A1061A1D-7C04-2E17-A9C7-7884A1141080}"/>
          </ac:cxnSpMkLst>
        </pc:cxnChg>
        <pc:cxnChg chg="add mod ord">
          <ac:chgData name="Yudi Zhu" userId="571e1a55-055f-4c28-8b35-fca6dd1c1369" providerId="ADAL" clId="{75A88773-6EE1-484E-AADE-FE631E01463B}" dt="2025-11-21T07:26:25.730" v="241485" actId="13822"/>
          <ac:cxnSpMkLst>
            <pc:docMk/>
            <pc:sldMk cId="755828523" sldId="2147483089"/>
            <ac:cxnSpMk id="770" creationId="{3DACE06A-B639-2B97-C58E-AFE104455369}"/>
          </ac:cxnSpMkLst>
        </pc:cxnChg>
        <pc:cxnChg chg="add mod ord">
          <ac:chgData name="Yudi Zhu" userId="571e1a55-055f-4c28-8b35-fca6dd1c1369" providerId="ADAL" clId="{75A88773-6EE1-484E-AADE-FE631E01463B}" dt="2025-11-21T07:26:25.724" v="241476" actId="13822"/>
          <ac:cxnSpMkLst>
            <pc:docMk/>
            <pc:sldMk cId="755828523" sldId="2147483089"/>
            <ac:cxnSpMk id="771" creationId="{0CE6AE76-A007-BB58-9A8C-33B45710DD12}"/>
          </ac:cxnSpMkLst>
        </pc:cxnChg>
        <pc:cxnChg chg="add mod ord">
          <ac:chgData name="Yudi Zhu" userId="571e1a55-055f-4c28-8b35-fca6dd1c1369" providerId="ADAL" clId="{75A88773-6EE1-484E-AADE-FE631E01463B}" dt="2025-11-21T07:26:25.719" v="241467" actId="13822"/>
          <ac:cxnSpMkLst>
            <pc:docMk/>
            <pc:sldMk cId="755828523" sldId="2147483089"/>
            <ac:cxnSpMk id="772" creationId="{E8E8B8DE-5C61-78CC-6DF2-382502C912DE}"/>
          </ac:cxnSpMkLst>
        </pc:cxnChg>
        <pc:cxnChg chg="add mod ord">
          <ac:chgData name="Yudi Zhu" userId="571e1a55-055f-4c28-8b35-fca6dd1c1369" providerId="ADAL" clId="{75A88773-6EE1-484E-AADE-FE631E01463B}" dt="2025-11-21T07:26:25.715" v="241458" actId="13822"/>
          <ac:cxnSpMkLst>
            <pc:docMk/>
            <pc:sldMk cId="755828523" sldId="2147483089"/>
            <ac:cxnSpMk id="773" creationId="{A27E1D51-151B-6301-841E-9D3E03F9EBE3}"/>
          </ac:cxnSpMkLst>
        </pc:cxnChg>
        <pc:cxnChg chg="add mod ord">
          <ac:chgData name="Yudi Zhu" userId="571e1a55-055f-4c28-8b35-fca6dd1c1369" providerId="ADAL" clId="{75A88773-6EE1-484E-AADE-FE631E01463B}" dt="2025-11-21T07:26:25.706" v="241445" actId="13822"/>
          <ac:cxnSpMkLst>
            <pc:docMk/>
            <pc:sldMk cId="755828523" sldId="2147483089"/>
            <ac:cxnSpMk id="774" creationId="{C6D80C18-F6C1-1C27-6870-1BC500BCB327}"/>
          </ac:cxnSpMkLst>
        </pc:cxnChg>
        <pc:cxnChg chg="add mod ord">
          <ac:chgData name="Yudi Zhu" userId="571e1a55-055f-4c28-8b35-fca6dd1c1369" providerId="ADAL" clId="{75A88773-6EE1-484E-AADE-FE631E01463B}" dt="2025-11-21T07:26:25.692" v="241436" actId="13822"/>
          <ac:cxnSpMkLst>
            <pc:docMk/>
            <pc:sldMk cId="755828523" sldId="2147483089"/>
            <ac:cxnSpMk id="775" creationId="{53E2B9FF-9084-CAC6-D46F-39B6536B8550}"/>
          </ac:cxnSpMkLst>
        </pc:cxnChg>
        <pc:cxnChg chg="add mod ord">
          <ac:chgData name="Yudi Zhu" userId="571e1a55-055f-4c28-8b35-fca6dd1c1369" providerId="ADAL" clId="{75A88773-6EE1-484E-AADE-FE631E01463B}" dt="2025-11-21T07:26:25.692" v="241416" actId="13822"/>
          <ac:cxnSpMkLst>
            <pc:docMk/>
            <pc:sldMk cId="755828523" sldId="2147483089"/>
            <ac:cxnSpMk id="776" creationId="{ADF7E4F1-A622-B967-C19C-8CE5DB679223}"/>
          </ac:cxnSpMkLst>
        </pc:cxnChg>
        <pc:cxnChg chg="add mod ord">
          <ac:chgData name="Yudi Zhu" userId="571e1a55-055f-4c28-8b35-fca6dd1c1369" providerId="ADAL" clId="{75A88773-6EE1-484E-AADE-FE631E01463B}" dt="2025-11-21T07:26:25.674" v="241398" actId="13822"/>
          <ac:cxnSpMkLst>
            <pc:docMk/>
            <pc:sldMk cId="755828523" sldId="2147483089"/>
            <ac:cxnSpMk id="777" creationId="{30614F91-D48C-7A05-1A1A-8D1374093901}"/>
          </ac:cxnSpMkLst>
        </pc:cxnChg>
        <pc:cxnChg chg="add mod ord">
          <ac:chgData name="Yudi Zhu" userId="571e1a55-055f-4c28-8b35-fca6dd1c1369" providerId="ADAL" clId="{75A88773-6EE1-484E-AADE-FE631E01463B}" dt="2025-11-21T07:26:25.674" v="241385" actId="13822"/>
          <ac:cxnSpMkLst>
            <pc:docMk/>
            <pc:sldMk cId="755828523" sldId="2147483089"/>
            <ac:cxnSpMk id="778" creationId="{A28468C4-9CDD-E066-6BFA-1D4BA312E4C9}"/>
          </ac:cxnSpMkLst>
        </pc:cxnChg>
        <pc:cxnChg chg="add mod ord">
          <ac:chgData name="Yudi Zhu" userId="571e1a55-055f-4c28-8b35-fca6dd1c1369" providerId="ADAL" clId="{75A88773-6EE1-484E-AADE-FE631E01463B}" dt="2025-11-21T07:26:25.658" v="241375" actId="13822"/>
          <ac:cxnSpMkLst>
            <pc:docMk/>
            <pc:sldMk cId="755828523" sldId="2147483089"/>
            <ac:cxnSpMk id="779" creationId="{DE29F9D5-1756-1A07-6084-6CD443715BD7}"/>
          </ac:cxnSpMkLst>
        </pc:cxnChg>
        <pc:cxnChg chg="add mod ord">
          <ac:chgData name="Yudi Zhu" userId="571e1a55-055f-4c28-8b35-fca6dd1c1369" providerId="ADAL" clId="{75A88773-6EE1-484E-AADE-FE631E01463B}" dt="2025-11-21T07:26:25.658" v="241362" actId="13822"/>
          <ac:cxnSpMkLst>
            <pc:docMk/>
            <pc:sldMk cId="755828523" sldId="2147483089"/>
            <ac:cxnSpMk id="780" creationId="{16EF3E84-4FAE-7D37-248A-692ACE3C4D6E}"/>
          </ac:cxnSpMkLst>
        </pc:cxnChg>
        <pc:cxnChg chg="add mod ord">
          <ac:chgData name="Yudi Zhu" userId="571e1a55-055f-4c28-8b35-fca6dd1c1369" providerId="ADAL" clId="{75A88773-6EE1-484E-AADE-FE631E01463B}" dt="2025-11-21T07:26:25.643" v="241348" actId="13822"/>
          <ac:cxnSpMkLst>
            <pc:docMk/>
            <pc:sldMk cId="755828523" sldId="2147483089"/>
            <ac:cxnSpMk id="781" creationId="{BF55C721-5AC9-1B92-9168-9325FDB3D096}"/>
          </ac:cxnSpMkLst>
        </pc:cxnChg>
        <pc:cxnChg chg="add mod ord">
          <ac:chgData name="Yudi Zhu" userId="571e1a55-055f-4c28-8b35-fca6dd1c1369" providerId="ADAL" clId="{75A88773-6EE1-484E-AADE-FE631E01463B}" dt="2025-11-21T07:26:25.643" v="241330" actId="13822"/>
          <ac:cxnSpMkLst>
            <pc:docMk/>
            <pc:sldMk cId="755828523" sldId="2147483089"/>
            <ac:cxnSpMk id="782" creationId="{3FD107AF-16FD-CEE6-76FC-F914C17F9882}"/>
          </ac:cxnSpMkLst>
        </pc:cxnChg>
        <pc:cxnChg chg="add mod ord">
          <ac:chgData name="Yudi Zhu" userId="571e1a55-055f-4c28-8b35-fca6dd1c1369" providerId="ADAL" clId="{75A88773-6EE1-484E-AADE-FE631E01463B}" dt="2025-11-21T07:26:25.631" v="241316" actId="13822"/>
          <ac:cxnSpMkLst>
            <pc:docMk/>
            <pc:sldMk cId="755828523" sldId="2147483089"/>
            <ac:cxnSpMk id="783" creationId="{0E0AB732-A8C0-9D9F-4CB9-30E52677A24A}"/>
          </ac:cxnSpMkLst>
        </pc:cxnChg>
        <pc:cxnChg chg="add mod ord">
          <ac:chgData name="Yudi Zhu" userId="571e1a55-055f-4c28-8b35-fca6dd1c1369" providerId="ADAL" clId="{75A88773-6EE1-484E-AADE-FE631E01463B}" dt="2025-11-21T07:26:25.631" v="241307" actId="13822"/>
          <ac:cxnSpMkLst>
            <pc:docMk/>
            <pc:sldMk cId="755828523" sldId="2147483089"/>
            <ac:cxnSpMk id="784" creationId="{16B8F5E2-F412-876C-E421-CE4AF5F0841E}"/>
          </ac:cxnSpMkLst>
        </pc:cxnChg>
        <pc:cxnChg chg="add mod ord">
          <ac:chgData name="Yudi Zhu" userId="571e1a55-055f-4c28-8b35-fca6dd1c1369" providerId="ADAL" clId="{75A88773-6EE1-484E-AADE-FE631E01463B}" dt="2025-11-21T07:26:25.611" v="241297" actId="13822"/>
          <ac:cxnSpMkLst>
            <pc:docMk/>
            <pc:sldMk cId="755828523" sldId="2147483089"/>
            <ac:cxnSpMk id="785" creationId="{31589CEF-454C-B3BF-4CE1-0535514AECBD}"/>
          </ac:cxnSpMkLst>
        </pc:cxnChg>
        <pc:cxnChg chg="add mod ord">
          <ac:chgData name="Yudi Zhu" userId="571e1a55-055f-4c28-8b35-fca6dd1c1369" providerId="ADAL" clId="{75A88773-6EE1-484E-AADE-FE631E01463B}" dt="2025-11-21T07:26:25.611" v="241288" actId="13822"/>
          <ac:cxnSpMkLst>
            <pc:docMk/>
            <pc:sldMk cId="755828523" sldId="2147483089"/>
            <ac:cxnSpMk id="786" creationId="{249EC7D2-5492-AD44-2AF9-7774851CB2D7}"/>
          </ac:cxnSpMkLst>
        </pc:cxnChg>
        <pc:cxnChg chg="add mod ord">
          <ac:chgData name="Yudi Zhu" userId="571e1a55-055f-4c28-8b35-fca6dd1c1369" providerId="ADAL" clId="{75A88773-6EE1-484E-AADE-FE631E01463B}" dt="2025-11-21T07:26:25.605" v="241275" actId="13822"/>
          <ac:cxnSpMkLst>
            <pc:docMk/>
            <pc:sldMk cId="755828523" sldId="2147483089"/>
            <ac:cxnSpMk id="787" creationId="{93B75529-5082-CA3B-E3E0-54B7C4E51AF0}"/>
          </ac:cxnSpMkLst>
        </pc:cxnChg>
        <pc:cxnChg chg="add mod ord">
          <ac:chgData name="Yudi Zhu" userId="571e1a55-055f-4c28-8b35-fca6dd1c1369" providerId="ADAL" clId="{75A88773-6EE1-484E-AADE-FE631E01463B}" dt="2025-11-21T07:26:25.595" v="241266" actId="13822"/>
          <ac:cxnSpMkLst>
            <pc:docMk/>
            <pc:sldMk cId="755828523" sldId="2147483089"/>
            <ac:cxnSpMk id="788" creationId="{7FC53929-EFA4-51AF-1CEF-E3E69A6FDCC4}"/>
          </ac:cxnSpMkLst>
        </pc:cxnChg>
        <pc:cxnChg chg="add mod ord">
          <ac:chgData name="Yudi Zhu" userId="571e1a55-055f-4c28-8b35-fca6dd1c1369" providerId="ADAL" clId="{75A88773-6EE1-484E-AADE-FE631E01463B}" dt="2025-11-21T07:26:25.592" v="241247" actId="13822"/>
          <ac:cxnSpMkLst>
            <pc:docMk/>
            <pc:sldMk cId="755828523" sldId="2147483089"/>
            <ac:cxnSpMk id="789" creationId="{660A36B5-B504-CB90-156F-7147750D8D49}"/>
          </ac:cxnSpMkLst>
        </pc:cxnChg>
        <pc:cxnChg chg="add mod ord">
          <ac:chgData name="Yudi Zhu" userId="571e1a55-055f-4c28-8b35-fca6dd1c1369" providerId="ADAL" clId="{75A88773-6EE1-484E-AADE-FE631E01463B}" dt="2025-11-21T07:26:25.579" v="241238" actId="13822"/>
          <ac:cxnSpMkLst>
            <pc:docMk/>
            <pc:sldMk cId="755828523" sldId="2147483089"/>
            <ac:cxnSpMk id="790" creationId="{CF3FE3D1-D1F3-D139-2A69-48F0EE00A4B1}"/>
          </ac:cxnSpMkLst>
        </pc:cxnChg>
        <pc:cxnChg chg="add mod ord">
          <ac:chgData name="Yudi Zhu" userId="571e1a55-055f-4c28-8b35-fca6dd1c1369" providerId="ADAL" clId="{75A88773-6EE1-484E-AADE-FE631E01463B}" dt="2025-11-21T07:26:25.579" v="241224" actId="13822"/>
          <ac:cxnSpMkLst>
            <pc:docMk/>
            <pc:sldMk cId="755828523" sldId="2147483089"/>
            <ac:cxnSpMk id="791" creationId="{FCBDAD38-242C-8A5D-EB02-F5E2DC296A21}"/>
          </ac:cxnSpMkLst>
        </pc:cxnChg>
        <pc:cxnChg chg="add mod ord">
          <ac:chgData name="Yudi Zhu" userId="571e1a55-055f-4c28-8b35-fca6dd1c1369" providerId="ADAL" clId="{75A88773-6EE1-484E-AADE-FE631E01463B}" dt="2025-11-21T07:26:25.563" v="241215" actId="13822"/>
          <ac:cxnSpMkLst>
            <pc:docMk/>
            <pc:sldMk cId="755828523" sldId="2147483089"/>
            <ac:cxnSpMk id="792" creationId="{79C2C7FC-9219-C13F-CC16-FA01FC4F3736}"/>
          </ac:cxnSpMkLst>
        </pc:cxnChg>
        <pc:cxnChg chg="add mod ord">
          <ac:chgData name="Yudi Zhu" userId="571e1a55-055f-4c28-8b35-fca6dd1c1369" providerId="ADAL" clId="{75A88773-6EE1-484E-AADE-FE631E01463B}" dt="2025-11-21T07:26:25.563" v="241196" actId="13822"/>
          <ac:cxnSpMkLst>
            <pc:docMk/>
            <pc:sldMk cId="755828523" sldId="2147483089"/>
            <ac:cxnSpMk id="793" creationId="{55CF6882-E04F-3E91-DE51-28761EC7750B}"/>
          </ac:cxnSpMkLst>
        </pc:cxnChg>
        <pc:cxnChg chg="add mod ord">
          <ac:chgData name="Yudi Zhu" userId="571e1a55-055f-4c28-8b35-fca6dd1c1369" providerId="ADAL" clId="{75A88773-6EE1-484E-AADE-FE631E01463B}" dt="2025-11-21T07:26:25.559" v="241182" actId="13822"/>
          <ac:cxnSpMkLst>
            <pc:docMk/>
            <pc:sldMk cId="755828523" sldId="2147483089"/>
            <ac:cxnSpMk id="794" creationId="{84248908-66BA-EF81-8151-4B0DBD7E7E9D}"/>
          </ac:cxnSpMkLst>
        </pc:cxnChg>
        <pc:cxnChg chg="add mod ord">
          <ac:chgData name="Yudi Zhu" userId="571e1a55-055f-4c28-8b35-fca6dd1c1369" providerId="ADAL" clId="{75A88773-6EE1-484E-AADE-FE631E01463B}" dt="2025-11-21T07:26:25.554" v="241173" actId="13822"/>
          <ac:cxnSpMkLst>
            <pc:docMk/>
            <pc:sldMk cId="755828523" sldId="2147483089"/>
            <ac:cxnSpMk id="795" creationId="{027D8A8E-E373-37EC-CF4F-5BF637291A24}"/>
          </ac:cxnSpMkLst>
        </pc:cxnChg>
        <pc:cxnChg chg="add mod ord">
          <ac:chgData name="Yudi Zhu" userId="571e1a55-055f-4c28-8b35-fca6dd1c1369" providerId="ADAL" clId="{75A88773-6EE1-484E-AADE-FE631E01463B}" dt="2025-11-21T07:26:25.548" v="241163" actId="13822"/>
          <ac:cxnSpMkLst>
            <pc:docMk/>
            <pc:sldMk cId="755828523" sldId="2147483089"/>
            <ac:cxnSpMk id="796" creationId="{96D5A61D-474E-E3DA-BE6C-91BC99965F45}"/>
          </ac:cxnSpMkLst>
        </pc:cxnChg>
        <pc:cxnChg chg="add mod ord">
          <ac:chgData name="Yudi Zhu" userId="571e1a55-055f-4c28-8b35-fca6dd1c1369" providerId="ADAL" clId="{75A88773-6EE1-484E-AADE-FE631E01463B}" dt="2025-11-21T07:26:25.542" v="241154" actId="13822"/>
          <ac:cxnSpMkLst>
            <pc:docMk/>
            <pc:sldMk cId="755828523" sldId="2147483089"/>
            <ac:cxnSpMk id="797" creationId="{E84547FD-790B-90FE-2BE0-5BCC8C54653C}"/>
          </ac:cxnSpMkLst>
        </pc:cxnChg>
        <pc:cxnChg chg="add mod ord">
          <ac:chgData name="Yudi Zhu" userId="571e1a55-055f-4c28-8b35-fca6dd1c1369" providerId="ADAL" clId="{75A88773-6EE1-484E-AADE-FE631E01463B}" dt="2025-11-21T07:26:25.534" v="241141" actId="13822"/>
          <ac:cxnSpMkLst>
            <pc:docMk/>
            <pc:sldMk cId="755828523" sldId="2147483089"/>
            <ac:cxnSpMk id="798" creationId="{1EA76D3E-1BDC-0ED0-8826-994F5D9FB535}"/>
          </ac:cxnSpMkLst>
        </pc:cxnChg>
        <pc:cxnChg chg="add mod ord">
          <ac:chgData name="Yudi Zhu" userId="571e1a55-055f-4c28-8b35-fca6dd1c1369" providerId="ADAL" clId="{75A88773-6EE1-484E-AADE-FE631E01463B}" dt="2025-11-21T07:26:25.523" v="241122" actId="13822"/>
          <ac:cxnSpMkLst>
            <pc:docMk/>
            <pc:sldMk cId="755828523" sldId="2147483089"/>
            <ac:cxnSpMk id="799" creationId="{E172AFFA-144C-AD9D-B6DD-0FD37D357F91}"/>
          </ac:cxnSpMkLst>
        </pc:cxnChg>
        <pc:cxnChg chg="add mod ord">
          <ac:chgData name="Yudi Zhu" userId="571e1a55-055f-4c28-8b35-fca6dd1c1369" providerId="ADAL" clId="{75A88773-6EE1-484E-AADE-FE631E01463B}" dt="2025-11-21T07:26:25.506" v="241113" actId="13822"/>
          <ac:cxnSpMkLst>
            <pc:docMk/>
            <pc:sldMk cId="755828523" sldId="2147483089"/>
            <ac:cxnSpMk id="800" creationId="{CC24AA0E-7668-162A-4201-A0D3B1DA8A9B}"/>
          </ac:cxnSpMkLst>
        </pc:cxnChg>
        <pc:cxnChg chg="add mod ord">
          <ac:chgData name="Yudi Zhu" userId="571e1a55-055f-4c28-8b35-fca6dd1c1369" providerId="ADAL" clId="{75A88773-6EE1-484E-AADE-FE631E01463B}" dt="2025-11-21T07:26:25.506" v="241099" actId="13822"/>
          <ac:cxnSpMkLst>
            <pc:docMk/>
            <pc:sldMk cId="755828523" sldId="2147483089"/>
            <ac:cxnSpMk id="801" creationId="{BF8A8A3D-FA8A-552B-9AEF-A29E492F6DCB}"/>
          </ac:cxnSpMkLst>
        </pc:cxnChg>
        <pc:cxnChg chg="add mod ord">
          <ac:chgData name="Yudi Zhu" userId="571e1a55-055f-4c28-8b35-fca6dd1c1369" providerId="ADAL" clId="{75A88773-6EE1-484E-AADE-FE631E01463B}" dt="2025-11-21T07:26:25.497" v="241090" actId="13822"/>
          <ac:cxnSpMkLst>
            <pc:docMk/>
            <pc:sldMk cId="755828523" sldId="2147483089"/>
            <ac:cxnSpMk id="802" creationId="{5C1D6902-7641-EAED-3B93-430664366CFC}"/>
          </ac:cxnSpMkLst>
        </pc:cxnChg>
        <pc:cxnChg chg="add mod ord">
          <ac:chgData name="Yudi Zhu" userId="571e1a55-055f-4c28-8b35-fca6dd1c1369" providerId="ADAL" clId="{75A88773-6EE1-484E-AADE-FE631E01463B}" dt="2025-11-21T07:26:25.497" v="241080" actId="13822"/>
          <ac:cxnSpMkLst>
            <pc:docMk/>
            <pc:sldMk cId="755828523" sldId="2147483089"/>
            <ac:cxnSpMk id="803" creationId="{4A573F2D-574D-F630-06D0-37E75843671A}"/>
          </ac:cxnSpMkLst>
        </pc:cxnChg>
        <pc:cxnChg chg="add mod ord">
          <ac:chgData name="Yudi Zhu" userId="571e1a55-055f-4c28-8b35-fca6dd1c1369" providerId="ADAL" clId="{75A88773-6EE1-484E-AADE-FE631E01463B}" dt="2025-11-21T07:26:25.492" v="241071" actId="13822"/>
          <ac:cxnSpMkLst>
            <pc:docMk/>
            <pc:sldMk cId="755828523" sldId="2147483089"/>
            <ac:cxnSpMk id="804" creationId="{8458734A-4986-FC1A-7BC0-1A5A1A389C33}"/>
          </ac:cxnSpMkLst>
        </pc:cxnChg>
        <pc:cxnChg chg="add mod ord">
          <ac:chgData name="Yudi Zhu" userId="571e1a55-055f-4c28-8b35-fca6dd1c1369" providerId="ADAL" clId="{75A88773-6EE1-484E-AADE-FE631E01463B}" dt="2025-11-21T07:26:25.475" v="241056" actId="13822"/>
          <ac:cxnSpMkLst>
            <pc:docMk/>
            <pc:sldMk cId="755828523" sldId="2147483089"/>
            <ac:cxnSpMk id="805" creationId="{D2500421-E142-FF95-7E53-96096EDE82A7}"/>
          </ac:cxnSpMkLst>
        </pc:cxnChg>
        <pc:cxnChg chg="add mod ord">
          <ac:chgData name="Yudi Zhu" userId="571e1a55-055f-4c28-8b35-fca6dd1c1369" providerId="ADAL" clId="{75A88773-6EE1-484E-AADE-FE631E01463B}" dt="2025-11-21T07:26:25.459" v="241046" actId="13822"/>
          <ac:cxnSpMkLst>
            <pc:docMk/>
            <pc:sldMk cId="755828523" sldId="2147483089"/>
            <ac:cxnSpMk id="806" creationId="{8EBD87DE-5EB6-4C1B-78B0-17FFE0D28F7A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19" creationId="{B3E0FA51-B6F2-3702-8AE7-EB0E4BF52F97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0" creationId="{0C3D9B52-20E8-4B8B-8E5A-6CDD25E8FCED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1" creationId="{94177DF3-82A1-11C1-A743-AACD25D29669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2" creationId="{84797736-C801-6DDF-E11F-05539783C024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3" creationId="{3B763EFD-DAB6-DF91-1D18-6942B5146FF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4" creationId="{5F4A9542-90F4-2141-D297-7D0B0627496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5" creationId="{2CBD94D0-8B53-98CE-84B1-CEFF4A7FC620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6" creationId="{3E3D8183-3BC1-C281-735F-447F7B13C21D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7" creationId="{69EB88B6-E805-9D88-1FAC-886D66D5A7A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8" creationId="{2B77CAEC-E803-E67E-9F0B-33C166E910E4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29" creationId="{2C5B4D43-78D9-A30E-7D73-760570A5D2A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0" creationId="{69012FD2-C540-44B8-A5DB-7FEED0E1F4B1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1" creationId="{1340A17B-262C-032F-B352-C9798C55307A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2" creationId="{C260599C-31BB-D4C3-FDF1-5100C13DC21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3" creationId="{D3CDF332-1F2C-F3D8-8F84-EC18EC56DE9F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4" creationId="{4201D716-E98C-19EC-EF46-C427498DCA03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5" creationId="{19E7EDBD-9DEF-6107-96D1-6E5EAEAC99BF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6" creationId="{6177C771-4201-4BBF-3F57-C9A5AB8BDFBF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7" creationId="{213447AC-3257-B47F-0D43-137664A3E954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8" creationId="{DDF013E8-2DC0-C047-2E5E-A6952DDD2E0F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39" creationId="{3113FEE1-A02A-CC91-FCDF-5FA9121DCD08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0" creationId="{24B21974-F2B4-01FC-89CB-3AE748648F09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1" creationId="{233F9A22-1A1E-1DCB-A042-A04FCDC78698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2" creationId="{7FBAA80A-E741-2C5A-F92F-78985A870A71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3" creationId="{AA127878-D407-73D6-EB91-FD0D41C238C0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4" creationId="{F879846B-B283-E6EF-5A39-C08C2A18EF57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5" creationId="{211E3E28-034A-94A3-1B9A-ABBBF441A25A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6" creationId="{CEE8FF3E-EF4B-98AD-0E1C-74869F751BFD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7" creationId="{CF0FF018-08D9-8D8E-0797-E88F2620203D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8" creationId="{FB9792A1-FD8F-CC15-7861-7FA107D0F835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49" creationId="{40B276BB-72E1-AC54-BEC4-BB9DC4DF8025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0" creationId="{F7B948E9-F6E1-7AF2-50DF-98422E7FE264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1" creationId="{B052570E-A6BB-1C72-4DBE-B628005AEB58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2" creationId="{8403BFCC-E936-F130-2EEB-6D45937A7E52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3" creationId="{3561944B-C666-3C17-DEF4-B566C50D95C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4" creationId="{5D25005E-F3FC-136D-3A24-F7B1ABA09C4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5" creationId="{C99FC9DB-B1A0-3B92-58F2-652277FAA76B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6" creationId="{83A4BCCE-DC9D-03B8-9F7C-019201B8A336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7" creationId="{504939AC-26E9-F336-DF2E-7D9CA286D187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8" creationId="{59E7BFBB-2E80-3D3D-99C5-75DF823F2F2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59" creationId="{767EEAB6-B959-896A-0FEA-3AB9D153156D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0" creationId="{C7CEA17F-A8B0-E445-9810-6F7AF200F66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1" creationId="{2FAB6F16-0462-9584-8405-BA41C722815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2" creationId="{D70A57CE-8DBD-ED0C-4F9B-65EEC51767E0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3" creationId="{F818731D-3A0A-A473-E27F-9CF0C7F34899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4" creationId="{18C64585-0F21-EF62-B720-5D3EA4E9BF2E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5" creationId="{C079D6B7-46BC-6CBC-E08B-796C08B17CC3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6" creationId="{7D58F710-5952-3A5F-86FC-A8F95433D8B6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7" creationId="{E37923A3-FCF2-4713-F32D-8B9486E8614A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8" creationId="{865ED40A-E41F-9146-3E1D-545F65E05AE9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69" creationId="{80722DAF-37BF-46DA-1585-2B5D19A585D7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0" creationId="{B77E3BD8-5659-FC8A-2C20-011F65978D92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1" creationId="{E450E2CA-98FB-919C-3857-B32A03B1B26C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2" creationId="{FF37FFD7-07B3-4F11-DB9C-A6C500686849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3" creationId="{4138E6DF-92C4-4C1A-9000-A20839F3B5F5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4" creationId="{75CD6455-CA2A-3509-D5A4-5D2E5C7D937C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5" creationId="{254C7E91-0993-1DBF-4EC9-19C596DF7D20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6" creationId="{613C3B66-FB46-8E88-B53D-0E025BC99F86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7" creationId="{74AD799E-39C9-9625-6308-7EA79DD945D1}"/>
          </ac:cxnSpMkLst>
        </pc:cxnChg>
        <pc:cxnChg chg="add mod ord">
          <ac:chgData name="Yudi Zhu" userId="571e1a55-055f-4c28-8b35-fca6dd1c1369" providerId="ADAL" clId="{75A88773-6EE1-484E-AADE-FE631E01463B}" dt="2025-11-21T07:27:19.279" v="248206"/>
          <ac:cxnSpMkLst>
            <pc:docMk/>
            <pc:sldMk cId="755828523" sldId="2147483089"/>
            <ac:cxnSpMk id="878" creationId="{AA91F569-F7EE-4630-A7F8-AA6B6467CB0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85" creationId="{F9229AE3-5E02-76B9-1FFF-8D5567599C48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86" creationId="{449A6142-A266-8C31-78B0-319294CFB8E5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87" creationId="{4463C3A2-DC50-C3A9-5701-563B41345B2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88" creationId="{5CE7B588-D0C2-FCDA-90BA-387C414E52A9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89" creationId="{AB60C71A-8E9A-A6C3-8297-11AE923EA6A2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0" creationId="{5749172B-A8E7-50FB-02AA-6C47A840B8A9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1" creationId="{A7673579-3C35-3A66-E6A8-42D0F1140BA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2" creationId="{AC9BFF37-3D1C-80C0-EF1D-35C93C8701B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3" creationId="{42C3530A-DA05-2E5D-DE51-C869610DD37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4" creationId="{469C7D5C-6D9E-F3E7-A936-6FC99CC8D1D5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5" creationId="{9A2CC1EC-B880-5BB0-7C3A-084EDB89CE0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6" creationId="{57816D53-98F6-CB1A-3E4C-36A07FB3A25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7" creationId="{F6428CF6-A85D-C438-20B4-D8001A420BB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8" creationId="{5EB027F5-D036-53A2-92CB-9D862C5BACE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899" creationId="{56C4AA39-8530-1551-1FB7-4BBDA45CDCDD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0" creationId="{575F278B-599F-B42F-645C-7717495C73C2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1" creationId="{EB675DC7-FC16-CB21-C0C1-3A1B0E3155BB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2" creationId="{BAC4F6EF-217D-38D9-E3BF-FE9FF5732B25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3" creationId="{3FFA680D-4341-F4C3-F385-A054EBBBF729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4" creationId="{915FDE22-ED9A-CD6B-7474-681E9E8BB5F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5" creationId="{8D291C8F-DA5E-ADE9-F853-4D1052215849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6" creationId="{2BF898CD-4046-0093-5131-62A9160DDB4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7" creationId="{B1371629-20C8-8F39-0315-F56B09C5EB0C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8" creationId="{0504B718-FFC6-FC35-761F-DCA5934C5DC7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09" creationId="{25724F27-F701-E7C6-94D8-81163CA7E06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0" creationId="{4214CC85-3CAE-0FAE-D9AC-AFBBE2E1B185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1" creationId="{60CADE42-5E17-6147-0F03-5C71175E5F38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2" creationId="{31E1D385-C390-F796-4E4A-D36C9C0197E5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3" creationId="{A56D7079-FE0C-78EC-D97B-C66B952AAEF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4" creationId="{4BFFFEC1-0DB9-31BB-9149-E7A0B493B2B8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5" creationId="{E3CE28CC-A378-9A39-8E66-DBEC2CDEC02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6" creationId="{58865A7E-B250-2AED-4994-CCE0B19FBA3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7" creationId="{E7EBCDCE-B731-504B-38F7-793AA63ED12D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8" creationId="{B77CD5CD-F0EA-B247-224E-93B33347EFD2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19" creationId="{47E1CA1A-0204-AD09-C950-C3752DADEC27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0" creationId="{C42C3EEF-3930-46F2-4B60-D6C78B44D4D9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1" creationId="{265A132D-65E6-41A2-074C-FBB580C1A77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2" creationId="{02E0FADF-099A-CF36-50C6-76CE5A4539D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3" creationId="{1284EDD2-6715-12E4-A92F-571A52BB997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4" creationId="{9C83113B-E944-EE47-2316-DF90845420F1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5" creationId="{45A26293-182A-FE43-2267-142B9771ED0C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6" creationId="{979C9185-1808-3DDC-09D7-6A31CC1A4F73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7" creationId="{F00F9D7A-2CDF-7AAC-9E5B-FE18BA931DCE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8" creationId="{59E624BD-4D94-2029-A741-A3EDCF55D9CE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29" creationId="{A5061DE0-6A5F-7B55-CD73-DEC0785C9F97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0" creationId="{A8111D77-D113-B6CB-A0CB-F9C2926F8946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1" creationId="{DE21DE8D-D1B5-5B81-E7B1-77FBA5D094DE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2" creationId="{20100C9F-0296-3E87-AEAF-0AF8C42E9820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3" creationId="{2FE98D67-929B-094D-A516-43FAC777EEB4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4" creationId="{17F19C56-D8C3-918F-CEDB-5F149C4FD527}"/>
          </ac:cxnSpMkLst>
        </pc:cxnChg>
        <pc:cxnChg chg="add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5" creationId="{F3E90C2D-5D0F-2807-9B2B-7CD9A20B0F14}"/>
          </ac:cxnSpMkLst>
        </pc:cxnChg>
        <pc:cxnChg chg="add del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6" creationId="{285DFAEB-8A81-C285-BCC3-B2C081B3EF48}"/>
          </ac:cxnSpMkLst>
        </pc:cxnChg>
        <pc:cxnChg chg="add del mod ord">
          <ac:chgData name="Yudi Zhu" userId="571e1a55-055f-4c28-8b35-fca6dd1c1369" providerId="ADAL" clId="{75A88773-6EE1-484E-AADE-FE631E01463B}" dt="2025-11-21T07:27:49.572" v="255164"/>
          <ac:cxnSpMkLst>
            <pc:docMk/>
            <pc:sldMk cId="755828523" sldId="2147483089"/>
            <ac:cxnSpMk id="937" creationId="{913DDE55-3542-7CA4-57CF-D171E8C70FF0}"/>
          </ac:cxnSpMkLst>
        </pc:cxnChg>
        <pc:cxnChg chg="add mod ord">
          <ac:chgData name="Yudi Zhu" userId="571e1a55-055f-4c28-8b35-fca6dd1c1369" providerId="ADAL" clId="{75A88773-6EE1-484E-AADE-FE631E01463B}" dt="2025-11-21T07:27:47.052" v="253716" actId="13822"/>
          <ac:cxnSpMkLst>
            <pc:docMk/>
            <pc:sldMk cId="755828523" sldId="2147483089"/>
            <ac:cxnSpMk id="941" creationId="{DD646B06-6E2E-AEB6-F2C8-C87E925C36F7}"/>
          </ac:cxnSpMkLst>
        </pc:cxnChg>
        <pc:cxnChg chg="add mod ord">
          <ac:chgData name="Yudi Zhu" userId="571e1a55-055f-4c28-8b35-fca6dd1c1369" providerId="ADAL" clId="{75A88773-6EE1-484E-AADE-FE631E01463B}" dt="2025-11-21T07:27:47.037" v="253705" actId="13822"/>
          <ac:cxnSpMkLst>
            <pc:docMk/>
            <pc:sldMk cId="755828523" sldId="2147483089"/>
            <ac:cxnSpMk id="942" creationId="{DFCADD2B-D88C-E992-41CE-4EBDEB4E3BA3}"/>
          </ac:cxnSpMkLst>
        </pc:cxnChg>
        <pc:cxnChg chg="add mod ord">
          <ac:chgData name="Yudi Zhu" userId="571e1a55-055f-4c28-8b35-fca6dd1c1369" providerId="ADAL" clId="{75A88773-6EE1-484E-AADE-FE631E01463B}" dt="2025-11-21T07:27:47.037" v="253696" actId="13822"/>
          <ac:cxnSpMkLst>
            <pc:docMk/>
            <pc:sldMk cId="755828523" sldId="2147483089"/>
            <ac:cxnSpMk id="943" creationId="{77883267-DF94-53DC-72D6-3043736A3321}"/>
          </ac:cxnSpMkLst>
        </pc:cxnChg>
        <pc:cxnChg chg="add mod ord">
          <ac:chgData name="Yudi Zhu" userId="571e1a55-055f-4c28-8b35-fca6dd1c1369" providerId="ADAL" clId="{75A88773-6EE1-484E-AADE-FE631E01463B}" dt="2025-11-21T07:27:47.037" v="253686" actId="13822"/>
          <ac:cxnSpMkLst>
            <pc:docMk/>
            <pc:sldMk cId="755828523" sldId="2147483089"/>
            <ac:cxnSpMk id="944" creationId="{9E6A2241-B9D7-338F-42A5-C35546684081}"/>
          </ac:cxnSpMkLst>
        </pc:cxnChg>
        <pc:cxnChg chg="add mod ord">
          <ac:chgData name="Yudi Zhu" userId="571e1a55-055f-4c28-8b35-fca6dd1c1369" providerId="ADAL" clId="{75A88773-6EE1-484E-AADE-FE631E01463B}" dt="2025-11-21T07:27:47.021" v="253677" actId="13822"/>
          <ac:cxnSpMkLst>
            <pc:docMk/>
            <pc:sldMk cId="755828523" sldId="2147483089"/>
            <ac:cxnSpMk id="945" creationId="{A87292E7-95D7-C5A9-33E4-56333BAE102E}"/>
          </ac:cxnSpMkLst>
        </pc:cxnChg>
        <pc:cxnChg chg="add mod ord">
          <ac:chgData name="Yudi Zhu" userId="571e1a55-055f-4c28-8b35-fca6dd1c1369" providerId="ADAL" clId="{75A88773-6EE1-484E-AADE-FE631E01463B}" dt="2025-11-21T07:27:47.021" v="253667" actId="13822"/>
          <ac:cxnSpMkLst>
            <pc:docMk/>
            <pc:sldMk cId="755828523" sldId="2147483089"/>
            <ac:cxnSpMk id="946" creationId="{18B2EB07-21B5-21B4-97F2-1302E5403D7C}"/>
          </ac:cxnSpMkLst>
        </pc:cxnChg>
        <pc:cxnChg chg="add mod ord">
          <ac:chgData name="Yudi Zhu" userId="571e1a55-055f-4c28-8b35-fca6dd1c1369" providerId="ADAL" clId="{75A88773-6EE1-484E-AADE-FE631E01463B}" dt="2025-11-21T07:27:47.021" v="253658" actId="13822"/>
          <ac:cxnSpMkLst>
            <pc:docMk/>
            <pc:sldMk cId="755828523" sldId="2147483089"/>
            <ac:cxnSpMk id="947" creationId="{30942836-8B1A-2801-CE61-1402EC1A4F9D}"/>
          </ac:cxnSpMkLst>
        </pc:cxnChg>
        <pc:cxnChg chg="add del mod ord">
          <ac:chgData name="Yudi Zhu" userId="571e1a55-055f-4c28-8b35-fca6dd1c1369" providerId="ADAL" clId="{75A88773-6EE1-484E-AADE-FE631E01463B}" dt="2025-11-21T07:37:50.731" v="263540"/>
          <ac:cxnSpMkLst>
            <pc:docMk/>
            <pc:sldMk cId="755828523" sldId="2147483089"/>
            <ac:cxnSpMk id="986" creationId="{3143639F-BF73-9C9F-D88D-1C5846339AA1}"/>
          </ac:cxnSpMkLst>
        </pc:cxnChg>
        <pc:cxnChg chg="add del mod ord">
          <ac:chgData name="Yudi Zhu" userId="571e1a55-055f-4c28-8b35-fca6dd1c1369" providerId="ADAL" clId="{75A88773-6EE1-484E-AADE-FE631E01463B}" dt="2025-11-21T07:37:14.123" v="260759"/>
          <ac:cxnSpMkLst>
            <pc:docMk/>
            <pc:sldMk cId="755828523" sldId="2147483089"/>
            <ac:cxnSpMk id="987" creationId="{01EC4E25-60E2-8555-8527-92F9BFBFD14E}"/>
          </ac:cxnSpMkLst>
        </pc:cxnChg>
        <pc:cxnChg chg="add del mod ord">
          <ac:chgData name="Yudi Zhu" userId="571e1a55-055f-4c28-8b35-fca6dd1c1369" providerId="ADAL" clId="{75A88773-6EE1-484E-AADE-FE631E01463B}" dt="2025-11-21T07:37:14.123" v="260757"/>
          <ac:cxnSpMkLst>
            <pc:docMk/>
            <pc:sldMk cId="755828523" sldId="2147483089"/>
            <ac:cxnSpMk id="988" creationId="{95195848-BBAB-829D-5B4E-09B443DA85A8}"/>
          </ac:cxnSpMkLst>
        </pc:cxnChg>
        <pc:cxnChg chg="add del mod ord">
          <ac:chgData name="Yudi Zhu" userId="571e1a55-055f-4c28-8b35-fca6dd1c1369" providerId="ADAL" clId="{75A88773-6EE1-484E-AADE-FE631E01463B}" dt="2025-11-21T07:43:53.961" v="278580"/>
          <ac:cxnSpMkLst>
            <pc:docMk/>
            <pc:sldMk cId="755828523" sldId="2147483089"/>
            <ac:cxnSpMk id="1008" creationId="{CF319AB8-138D-6EC1-ECC7-D215E9E376F6}"/>
          </ac:cxnSpMkLst>
        </pc:cxnChg>
        <pc:cxnChg chg="add del mod ord">
          <ac:chgData name="Yudi Zhu" userId="571e1a55-055f-4c28-8b35-fca6dd1c1369" providerId="ADAL" clId="{75A88773-6EE1-484E-AADE-FE631E01463B}" dt="2025-11-21T07:44:48.391" v="280047"/>
          <ac:cxnSpMkLst>
            <pc:docMk/>
            <pc:sldMk cId="755828523" sldId="2147483089"/>
            <ac:cxnSpMk id="1061" creationId="{8BC3C547-5196-F763-CBC5-350B221A6170}"/>
          </ac:cxnSpMkLst>
        </pc:cxnChg>
        <pc:cxnChg chg="add del mod ord">
          <ac:chgData name="Yudi Zhu" userId="571e1a55-055f-4c28-8b35-fca6dd1c1369" providerId="ADAL" clId="{75A88773-6EE1-484E-AADE-FE631E01463B}" dt="2025-11-21T07:44:48.391" v="280057"/>
          <ac:cxnSpMkLst>
            <pc:docMk/>
            <pc:sldMk cId="755828523" sldId="2147483089"/>
            <ac:cxnSpMk id="1062" creationId="{7A5F1C52-7640-23D9-192A-F030D727E688}"/>
          </ac:cxnSpMkLst>
        </pc:cxnChg>
        <pc:cxnChg chg="add del mod ord">
          <ac:chgData name="Yudi Zhu" userId="571e1a55-055f-4c28-8b35-fca6dd1c1369" providerId="ADAL" clId="{75A88773-6EE1-484E-AADE-FE631E01463B}" dt="2025-11-21T07:45:03.817" v="282872"/>
          <ac:cxnSpMkLst>
            <pc:docMk/>
            <pc:sldMk cId="755828523" sldId="2147483089"/>
            <ac:cxnSpMk id="1063" creationId="{D40ECF73-DB99-637C-787C-DC0DD1D86C7B}"/>
          </ac:cxnSpMkLst>
        </pc:cxnChg>
        <pc:cxnChg chg="add del mod ord">
          <ac:chgData name="Yudi Zhu" userId="571e1a55-055f-4c28-8b35-fca6dd1c1369" providerId="ADAL" clId="{75A88773-6EE1-484E-AADE-FE631E01463B}" dt="2025-11-21T07:45:03.825" v="282884"/>
          <ac:cxnSpMkLst>
            <pc:docMk/>
            <pc:sldMk cId="755828523" sldId="2147483089"/>
            <ac:cxnSpMk id="1064" creationId="{F0A529D3-3E09-D249-4B00-33EDC8C225AC}"/>
          </ac:cxnSpMkLst>
        </pc:cxnChg>
        <pc:cxnChg chg="add del mod ord">
          <ac:chgData name="Yudi Zhu" userId="571e1a55-055f-4c28-8b35-fca6dd1c1369" providerId="ADAL" clId="{75A88773-6EE1-484E-AADE-FE631E01463B}" dt="2025-11-21T07:41:26.121" v="271568"/>
          <ac:cxnSpMkLst>
            <pc:docMk/>
            <pc:sldMk cId="755828523" sldId="2147483089"/>
            <ac:cxnSpMk id="1097" creationId="{D69E5DF4-1653-1DBB-E3D3-9F594B21FBA2}"/>
          </ac:cxnSpMkLst>
        </pc:cxnChg>
        <pc:cxnChg chg="add del mod ord">
          <ac:chgData name="Yudi Zhu" userId="571e1a55-055f-4c28-8b35-fca6dd1c1369" providerId="ADAL" clId="{75A88773-6EE1-484E-AADE-FE631E01463B}" dt="2025-11-21T07:41:28.914" v="271788"/>
          <ac:cxnSpMkLst>
            <pc:docMk/>
            <pc:sldMk cId="755828523" sldId="2147483089"/>
            <ac:cxnSpMk id="1098" creationId="{0DB48C7F-CADD-4F8A-D253-212773D02B9F}"/>
          </ac:cxnSpMkLst>
        </pc:cxnChg>
        <pc:cxnChg chg="add del mod ord">
          <ac:chgData name="Yudi Zhu" userId="571e1a55-055f-4c28-8b35-fca6dd1c1369" providerId="ADAL" clId="{75A88773-6EE1-484E-AADE-FE631E01463B}" dt="2025-11-21T07:41:28.912" v="271786"/>
          <ac:cxnSpMkLst>
            <pc:docMk/>
            <pc:sldMk cId="755828523" sldId="2147483089"/>
            <ac:cxnSpMk id="1099" creationId="{1DB7DFC5-4358-8329-B7E9-26CABCCD216F}"/>
          </ac:cxnSpMkLst>
        </pc:cxnChg>
        <pc:cxnChg chg="add del mod ord">
          <ac:chgData name="Yudi Zhu" userId="571e1a55-055f-4c28-8b35-fca6dd1c1369" providerId="ADAL" clId="{75A88773-6EE1-484E-AADE-FE631E01463B}" dt="2025-11-21T07:41:28.910" v="271784"/>
          <ac:cxnSpMkLst>
            <pc:docMk/>
            <pc:sldMk cId="755828523" sldId="2147483089"/>
            <ac:cxnSpMk id="1100" creationId="{A922AF2F-75C7-5DDC-0F4F-D48F6A2FA800}"/>
          </ac:cxnSpMkLst>
        </pc:cxnChg>
        <pc:cxnChg chg="add del mod ord">
          <ac:chgData name="Yudi Zhu" userId="571e1a55-055f-4c28-8b35-fca6dd1c1369" providerId="ADAL" clId="{75A88773-6EE1-484E-AADE-FE631E01463B}" dt="2025-11-21T07:44:48.376" v="280028"/>
          <ac:cxnSpMkLst>
            <pc:docMk/>
            <pc:sldMk cId="755828523" sldId="2147483089"/>
            <ac:cxnSpMk id="1135" creationId="{0E4EE2FC-D514-6256-352E-2B1ACE79356C}"/>
          </ac:cxnSpMkLst>
        </pc:cxnChg>
        <pc:cxnChg chg="add del mod ord">
          <ac:chgData name="Yudi Zhu" userId="571e1a55-055f-4c28-8b35-fca6dd1c1369" providerId="ADAL" clId="{75A88773-6EE1-484E-AADE-FE631E01463B}" dt="2025-11-21T07:44:48.391" v="280061"/>
          <ac:cxnSpMkLst>
            <pc:docMk/>
            <pc:sldMk cId="755828523" sldId="2147483089"/>
            <ac:cxnSpMk id="1156" creationId="{E132C500-0457-AD80-427D-A2AF7C633850}"/>
          </ac:cxnSpMkLst>
        </pc:cxnChg>
        <pc:cxnChg chg="add del mod ord">
          <ac:chgData name="Yudi Zhu" userId="571e1a55-055f-4c28-8b35-fca6dd1c1369" providerId="ADAL" clId="{75A88773-6EE1-484E-AADE-FE631E01463B}" dt="2025-11-21T07:45:03.695" v="282752"/>
          <ac:cxnSpMkLst>
            <pc:docMk/>
            <pc:sldMk cId="755828523" sldId="2147483089"/>
            <ac:cxnSpMk id="1218" creationId="{28FD85FA-68EC-7BFE-5DAB-22E284753BDD}"/>
          </ac:cxnSpMkLst>
        </pc:cxnChg>
        <pc:cxnChg chg="add del mod ord">
          <ac:chgData name="Yudi Zhu" userId="571e1a55-055f-4c28-8b35-fca6dd1c1369" providerId="ADAL" clId="{75A88773-6EE1-484E-AADE-FE631E01463B}" dt="2025-11-21T07:45:03.744" v="282809"/>
          <ac:cxnSpMkLst>
            <pc:docMk/>
            <pc:sldMk cId="755828523" sldId="2147483089"/>
            <ac:cxnSpMk id="1219" creationId="{28504A75-01B5-A8E4-B2C5-AC6B1614F103}"/>
          </ac:cxnSpMkLst>
        </pc:cxnChg>
        <pc:cxnChg chg="add mod ord">
          <ac:chgData name="Yudi Zhu" userId="571e1a55-055f-4c28-8b35-fca6dd1c1369" providerId="ADAL" clId="{75A88773-6EE1-484E-AADE-FE631E01463B}" dt="2025-11-21T09:22:52.601" v="406506"/>
          <ac:cxnSpMkLst>
            <pc:docMk/>
            <pc:sldMk cId="755828523" sldId="2147483089"/>
            <ac:cxnSpMk id="1220" creationId="{414B61A7-9B67-9450-135B-E84FE46F6ABE}"/>
          </ac:cxnSpMkLst>
        </pc:cxnChg>
        <pc:cxnChg chg="add mod ord">
          <ac:chgData name="Yudi Zhu" userId="571e1a55-055f-4c28-8b35-fca6dd1c1369" providerId="ADAL" clId="{75A88773-6EE1-484E-AADE-FE631E01463B}" dt="2025-11-21T09:22:52.601" v="406520"/>
          <ac:cxnSpMkLst>
            <pc:docMk/>
            <pc:sldMk cId="755828523" sldId="2147483089"/>
            <ac:cxnSpMk id="1221" creationId="{C051EBC2-367F-7868-4767-FF881D2E6AF4}"/>
          </ac:cxnSpMkLst>
        </pc:cxnChg>
        <pc:cxnChg chg="add del mod ord">
          <ac:chgData name="Yudi Zhu" userId="571e1a55-055f-4c28-8b35-fca6dd1c1369" providerId="ADAL" clId="{75A88773-6EE1-484E-AADE-FE631E01463B}" dt="2025-11-21T09:22:52.633" v="406594"/>
          <ac:cxnSpMkLst>
            <pc:docMk/>
            <pc:sldMk cId="755828523" sldId="2147483089"/>
            <ac:cxnSpMk id="1238" creationId="{71AF031F-02A1-FEDE-8313-97FE206A024E}"/>
          </ac:cxnSpMkLst>
        </pc:cxnChg>
        <pc:cxnChg chg="add del mod ord">
          <ac:chgData name="Yudi Zhu" userId="571e1a55-055f-4c28-8b35-fca6dd1c1369" providerId="ADAL" clId="{75A88773-6EE1-484E-AADE-FE631E01463B}" dt="2025-11-21T07:58:16.489" v="306067"/>
          <ac:cxnSpMkLst>
            <pc:docMk/>
            <pc:sldMk cId="755828523" sldId="2147483089"/>
            <ac:cxnSpMk id="1239" creationId="{77AC3A04-2643-6AB5-2B84-5B6AD3D844ED}"/>
          </ac:cxnSpMkLst>
        </pc:cxnChg>
        <pc:cxnChg chg="add del mod ord">
          <ac:chgData name="Yudi Zhu" userId="571e1a55-055f-4c28-8b35-fca6dd1c1369" providerId="ADAL" clId="{75A88773-6EE1-484E-AADE-FE631E01463B}" dt="2025-11-21T07:55:38.176" v="297680"/>
          <ac:cxnSpMkLst>
            <pc:docMk/>
            <pc:sldMk cId="755828523" sldId="2147483089"/>
            <ac:cxnSpMk id="1337" creationId="{4360F8FC-1246-1E80-7220-2ECE7458211C}"/>
          </ac:cxnSpMkLst>
        </pc:cxnChg>
        <pc:cxnChg chg="add del mod ord">
          <ac:chgData name="Yudi Zhu" userId="571e1a55-055f-4c28-8b35-fca6dd1c1369" providerId="ADAL" clId="{75A88773-6EE1-484E-AADE-FE631E01463B}" dt="2025-11-21T07:55:38.201" v="297708"/>
          <ac:cxnSpMkLst>
            <pc:docMk/>
            <pc:sldMk cId="755828523" sldId="2147483089"/>
            <ac:cxnSpMk id="1338" creationId="{59374E14-A883-F286-415D-DB9FB2036401}"/>
          </ac:cxnSpMkLst>
        </pc:cxnChg>
        <pc:cxnChg chg="add del mod ord">
          <ac:chgData name="Yudi Zhu" userId="571e1a55-055f-4c28-8b35-fca6dd1c1369" providerId="ADAL" clId="{75A88773-6EE1-484E-AADE-FE631E01463B}" dt="2025-11-21T07:55:38.221" v="297736"/>
          <ac:cxnSpMkLst>
            <pc:docMk/>
            <pc:sldMk cId="755828523" sldId="2147483089"/>
            <ac:cxnSpMk id="1339" creationId="{44815D2B-DC5E-C7BF-07CD-A4641E3664E3}"/>
          </ac:cxnSpMkLst>
        </pc:cxnChg>
        <pc:cxnChg chg="add del mod ord">
          <ac:chgData name="Yudi Zhu" userId="571e1a55-055f-4c28-8b35-fca6dd1c1369" providerId="ADAL" clId="{75A88773-6EE1-484E-AADE-FE631E01463B}" dt="2025-11-21T07:56:12.308" v="298485"/>
          <ac:cxnSpMkLst>
            <pc:docMk/>
            <pc:sldMk cId="755828523" sldId="2147483089"/>
            <ac:cxnSpMk id="1356" creationId="{3F4F6EB4-60E9-E12E-F513-E2B2702B9D81}"/>
          </ac:cxnSpMkLst>
        </pc:cxnChg>
        <pc:cxnChg chg="add del mod ord">
          <ac:chgData name="Yudi Zhu" userId="571e1a55-055f-4c28-8b35-fca6dd1c1369" providerId="ADAL" clId="{75A88773-6EE1-484E-AADE-FE631E01463B}" dt="2025-11-21T07:56:12.318" v="298491"/>
          <ac:cxnSpMkLst>
            <pc:docMk/>
            <pc:sldMk cId="755828523" sldId="2147483089"/>
            <ac:cxnSpMk id="1357" creationId="{DE6EB722-0A71-D685-DCF6-31D3B0979971}"/>
          </ac:cxnSpMkLst>
        </pc:cxnChg>
        <pc:cxnChg chg="add del mod ord">
          <ac:chgData name="Yudi Zhu" userId="571e1a55-055f-4c28-8b35-fca6dd1c1369" providerId="ADAL" clId="{75A88773-6EE1-484E-AADE-FE631E01463B}" dt="2025-11-21T07:56:12.308" v="298488"/>
          <ac:cxnSpMkLst>
            <pc:docMk/>
            <pc:sldMk cId="755828523" sldId="2147483089"/>
            <ac:cxnSpMk id="1358" creationId="{F4C694CC-3BD5-9A9F-762C-3C8B2BB1E792}"/>
          </ac:cxnSpMkLst>
        </pc:cxnChg>
        <pc:cxnChg chg="add del mod ord">
          <ac:chgData name="Yudi Zhu" userId="571e1a55-055f-4c28-8b35-fca6dd1c1369" providerId="ADAL" clId="{75A88773-6EE1-484E-AADE-FE631E01463B}" dt="2025-11-21T07:55:56.042" v="298175"/>
          <ac:cxnSpMkLst>
            <pc:docMk/>
            <pc:sldMk cId="755828523" sldId="2147483089"/>
            <ac:cxnSpMk id="1359" creationId="{8488A12D-006C-B841-E199-E2896E25E85D}"/>
          </ac:cxnSpMkLst>
        </pc:cxnChg>
        <pc:cxnChg chg="add mod ord">
          <ac:chgData name="Yudi Zhu" userId="571e1a55-055f-4c28-8b35-fca6dd1c1369" providerId="ADAL" clId="{75A88773-6EE1-484E-AADE-FE631E01463B}" dt="2025-11-21T09:22:52.708" v="406732"/>
          <ac:cxnSpMkLst>
            <pc:docMk/>
            <pc:sldMk cId="755828523" sldId="2147483089"/>
            <ac:cxnSpMk id="1381" creationId="{60F9A687-49A7-9139-83E6-DE0BDC247892}"/>
          </ac:cxnSpMkLst>
        </pc:cxnChg>
        <pc:cxnChg chg="add mod ord">
          <ac:chgData name="Yudi Zhu" userId="571e1a55-055f-4c28-8b35-fca6dd1c1369" providerId="ADAL" clId="{75A88773-6EE1-484E-AADE-FE631E01463B}" dt="2025-11-21T09:22:52.708" v="406734"/>
          <ac:cxnSpMkLst>
            <pc:docMk/>
            <pc:sldMk cId="755828523" sldId="2147483089"/>
            <ac:cxnSpMk id="1382" creationId="{81D9BC2E-43BF-0B4D-346D-E07E1572AC4E}"/>
          </ac:cxnSpMkLst>
        </pc:cxnChg>
        <pc:cxnChg chg="add mod ord">
          <ac:chgData name="Yudi Zhu" userId="571e1a55-055f-4c28-8b35-fca6dd1c1369" providerId="ADAL" clId="{75A88773-6EE1-484E-AADE-FE631E01463B}" dt="2025-11-21T09:22:52.709" v="406736"/>
          <ac:cxnSpMkLst>
            <pc:docMk/>
            <pc:sldMk cId="755828523" sldId="2147483089"/>
            <ac:cxnSpMk id="1383" creationId="{06C80ABB-ADE7-9188-D748-6A0BB890BA72}"/>
          </ac:cxnSpMkLst>
        </pc:cxnChg>
        <pc:cxnChg chg="add del mod ord">
          <ac:chgData name="Yudi Zhu" userId="571e1a55-055f-4c28-8b35-fca6dd1c1369" providerId="ADAL" clId="{75A88773-6EE1-484E-AADE-FE631E01463B}" dt="2025-11-21T09:22:52.679" v="406666"/>
          <ac:cxnSpMkLst>
            <pc:docMk/>
            <pc:sldMk cId="755828523" sldId="2147483089"/>
            <ac:cxnSpMk id="1416" creationId="{72D85A7C-D068-4FDE-7721-9FFD5EE00CF7}"/>
          </ac:cxnSpMkLst>
        </pc:cxnChg>
        <pc:cxnChg chg="add mod ord">
          <ac:chgData name="Yudi Zhu" userId="571e1a55-055f-4c28-8b35-fca6dd1c1369" providerId="ADAL" clId="{75A88773-6EE1-484E-AADE-FE631E01463B}" dt="2025-11-21T09:22:52.680" v="406670"/>
          <ac:cxnSpMkLst>
            <pc:docMk/>
            <pc:sldMk cId="755828523" sldId="2147483089"/>
            <ac:cxnSpMk id="1427" creationId="{8CD1BFBD-29D4-7EFA-3730-7685282ECB0D}"/>
          </ac:cxnSpMkLst>
        </pc:cxnChg>
        <pc:cxnChg chg="add del mod ord">
          <ac:chgData name="Yudi Zhu" userId="571e1a55-055f-4c28-8b35-fca6dd1c1369" providerId="ADAL" clId="{75A88773-6EE1-484E-AADE-FE631E01463B}" dt="2025-11-21T08:49:41.453" v="350475"/>
          <ac:cxnSpMkLst>
            <pc:docMk/>
            <pc:sldMk cId="755828523" sldId="2147483089"/>
            <ac:cxnSpMk id="1453" creationId="{095A2543-0D55-4B76-453A-B10F81BD1DC5}"/>
          </ac:cxnSpMkLst>
        </pc:cxnChg>
        <pc:cxnChg chg="add del mod ord">
          <ac:chgData name="Yudi Zhu" userId="571e1a55-055f-4c28-8b35-fca6dd1c1369" providerId="ADAL" clId="{75A88773-6EE1-484E-AADE-FE631E01463B}" dt="2025-11-21T08:49:35.383" v="349267"/>
          <ac:cxnSpMkLst>
            <pc:docMk/>
            <pc:sldMk cId="755828523" sldId="2147483089"/>
            <ac:cxnSpMk id="1454" creationId="{B8B616B1-041D-84BC-B62D-5590F5E3EBA0}"/>
          </ac:cxnSpMkLst>
        </pc:cxnChg>
        <pc:cxnChg chg="add del mod ord">
          <ac:chgData name="Yudi Zhu" userId="571e1a55-055f-4c28-8b35-fca6dd1c1369" providerId="ADAL" clId="{75A88773-6EE1-484E-AADE-FE631E01463B}" dt="2025-11-21T09:22:52.682" v="406678"/>
          <ac:cxnSpMkLst>
            <pc:docMk/>
            <pc:sldMk cId="755828523" sldId="2147483089"/>
            <ac:cxnSpMk id="1455" creationId="{7DF33E7B-CAA0-6353-13B4-76A8E48B02D6}"/>
          </ac:cxnSpMkLst>
        </pc:cxnChg>
        <pc:cxnChg chg="add del mod ord">
          <ac:chgData name="Yudi Zhu" userId="571e1a55-055f-4c28-8b35-fca6dd1c1369" providerId="ADAL" clId="{75A88773-6EE1-484E-AADE-FE631E01463B}" dt="2025-11-21T09:22:52.682" v="406682"/>
          <ac:cxnSpMkLst>
            <pc:docMk/>
            <pc:sldMk cId="755828523" sldId="2147483089"/>
            <ac:cxnSpMk id="1456" creationId="{3FDAA0F8-29A1-AA7E-5A7C-A2B636BE75F3}"/>
          </ac:cxnSpMkLst>
        </pc:cxnChg>
        <pc:cxnChg chg="add del mod ord">
          <ac:chgData name="Yudi Zhu" userId="571e1a55-055f-4c28-8b35-fca6dd1c1369" providerId="ADAL" clId="{75A88773-6EE1-484E-AADE-FE631E01463B}" dt="2025-11-21T09:22:52.682" v="406676"/>
          <ac:cxnSpMkLst>
            <pc:docMk/>
            <pc:sldMk cId="755828523" sldId="2147483089"/>
            <ac:cxnSpMk id="1457" creationId="{8A58C40D-72F6-5A46-1D4E-6E17FD7ECEA7}"/>
          </ac:cxnSpMkLst>
        </pc:cxnChg>
        <pc:cxnChg chg="add del mod ord">
          <ac:chgData name="Yudi Zhu" userId="571e1a55-055f-4c28-8b35-fca6dd1c1369" providerId="ADAL" clId="{75A88773-6EE1-484E-AADE-FE631E01463B}" dt="2025-11-21T09:22:52.682" v="406674"/>
          <ac:cxnSpMkLst>
            <pc:docMk/>
            <pc:sldMk cId="755828523" sldId="2147483089"/>
            <ac:cxnSpMk id="1458" creationId="{644B05D6-18A1-FFCB-778E-957F2CD30EA6}"/>
          </ac:cxnSpMkLst>
        </pc:cxnChg>
        <pc:cxnChg chg="add del mod ord">
          <ac:chgData name="Yudi Zhu" userId="571e1a55-055f-4c28-8b35-fca6dd1c1369" providerId="ADAL" clId="{75A88773-6EE1-484E-AADE-FE631E01463B}" dt="2025-11-21T09:22:52.682" v="406680"/>
          <ac:cxnSpMkLst>
            <pc:docMk/>
            <pc:sldMk cId="755828523" sldId="2147483089"/>
            <ac:cxnSpMk id="1459" creationId="{16AAA7D6-7B2F-3A99-2825-6C1703FEC375}"/>
          </ac:cxnSpMkLst>
        </pc:cxnChg>
        <pc:cxnChg chg="add del mod ord">
          <ac:chgData name="Yudi Zhu" userId="571e1a55-055f-4c28-8b35-fca6dd1c1369" providerId="ADAL" clId="{75A88773-6EE1-484E-AADE-FE631E01463B}" dt="2025-11-21T09:22:52.682" v="406672"/>
          <ac:cxnSpMkLst>
            <pc:docMk/>
            <pc:sldMk cId="755828523" sldId="2147483089"/>
            <ac:cxnSpMk id="1460" creationId="{A666E717-6FE4-0BC0-50E0-4F8E82044624}"/>
          </ac:cxnSpMkLst>
        </pc:cxnChg>
        <pc:cxnChg chg="add del mod ord">
          <ac:chgData name="Yudi Zhu" userId="571e1a55-055f-4c28-8b35-fca6dd1c1369" providerId="ADAL" clId="{75A88773-6EE1-484E-AADE-FE631E01463B}" dt="2025-11-21T08:49:24.956" v="348487"/>
          <ac:cxnSpMkLst>
            <pc:docMk/>
            <pc:sldMk cId="755828523" sldId="2147483089"/>
            <ac:cxnSpMk id="1461" creationId="{A7EC7578-A0F9-ED15-2692-AC62527E98BA}"/>
          </ac:cxnSpMkLst>
        </pc:cxnChg>
        <pc:cxnChg chg="add del mod ord">
          <ac:chgData name="Yudi Zhu" userId="571e1a55-055f-4c28-8b35-fca6dd1c1369" providerId="ADAL" clId="{75A88773-6EE1-484E-AADE-FE631E01463B}" dt="2025-11-21T09:22:52.682" v="406684"/>
          <ac:cxnSpMkLst>
            <pc:docMk/>
            <pc:sldMk cId="755828523" sldId="2147483089"/>
            <ac:cxnSpMk id="1462" creationId="{B25EED74-3BE6-1A25-FFAA-ED5F7EF0AB47}"/>
          </ac:cxnSpMkLst>
        </pc:cxnChg>
        <pc:cxnChg chg="add del mod ord">
          <ac:chgData name="Yudi Zhu" userId="571e1a55-055f-4c28-8b35-fca6dd1c1369" providerId="ADAL" clId="{75A88773-6EE1-484E-AADE-FE631E01463B}" dt="2025-11-21T08:01:24.180" v="313452"/>
          <ac:cxnSpMkLst>
            <pc:docMk/>
            <pc:sldMk cId="755828523" sldId="2147483089"/>
            <ac:cxnSpMk id="1463" creationId="{B3779B89-565E-021F-DF93-EB6917581D99}"/>
          </ac:cxnSpMkLst>
        </pc:cxnChg>
        <pc:cxnChg chg="add del mod ord">
          <ac:chgData name="Yudi Zhu" userId="571e1a55-055f-4c28-8b35-fca6dd1c1369" providerId="ADAL" clId="{75A88773-6EE1-484E-AADE-FE631E01463B}" dt="2025-11-21T09:22:52.682" v="406686"/>
          <ac:cxnSpMkLst>
            <pc:docMk/>
            <pc:sldMk cId="755828523" sldId="2147483089"/>
            <ac:cxnSpMk id="1464" creationId="{92007F0A-B7EA-5A8E-1784-4FB8BFEEA8DA}"/>
          </ac:cxnSpMkLst>
        </pc:cxnChg>
        <pc:cxnChg chg="add del mod ord">
          <ac:chgData name="Yudi Zhu" userId="571e1a55-055f-4c28-8b35-fca6dd1c1369" providerId="ADAL" clId="{75A88773-6EE1-484E-AADE-FE631E01463B}" dt="2025-11-21T08:49:24.956" v="348507"/>
          <ac:cxnSpMkLst>
            <pc:docMk/>
            <pc:sldMk cId="755828523" sldId="2147483089"/>
            <ac:cxnSpMk id="1465" creationId="{B725AFA1-1207-C934-56DE-6B5F81951ACA}"/>
          </ac:cxnSpMkLst>
        </pc:cxnChg>
        <pc:cxnChg chg="add del mod ord">
          <ac:chgData name="Yudi Zhu" userId="571e1a55-055f-4c28-8b35-fca6dd1c1369" providerId="ADAL" clId="{75A88773-6EE1-484E-AADE-FE631E01463B}" dt="2025-11-21T09:22:52.682" v="406688"/>
          <ac:cxnSpMkLst>
            <pc:docMk/>
            <pc:sldMk cId="755828523" sldId="2147483089"/>
            <ac:cxnSpMk id="1466" creationId="{D3EC2432-4617-5266-2DF0-2F8BEF10B77E}"/>
          </ac:cxnSpMkLst>
        </pc:cxnChg>
        <pc:cxnChg chg="add del mod ord">
          <ac:chgData name="Yudi Zhu" userId="571e1a55-055f-4c28-8b35-fca6dd1c1369" providerId="ADAL" clId="{75A88773-6EE1-484E-AADE-FE631E01463B}" dt="2025-11-21T09:22:52.688" v="406690"/>
          <ac:cxnSpMkLst>
            <pc:docMk/>
            <pc:sldMk cId="755828523" sldId="2147483089"/>
            <ac:cxnSpMk id="1467" creationId="{B04EF4F2-7F38-9EBF-D340-CFB75FC1FB25}"/>
          </ac:cxnSpMkLst>
        </pc:cxnChg>
        <pc:cxnChg chg="add del mod ord">
          <ac:chgData name="Yudi Zhu" userId="571e1a55-055f-4c28-8b35-fca6dd1c1369" providerId="ADAL" clId="{75A88773-6EE1-484E-AADE-FE631E01463B}" dt="2025-11-21T09:22:52.688" v="406692"/>
          <ac:cxnSpMkLst>
            <pc:docMk/>
            <pc:sldMk cId="755828523" sldId="2147483089"/>
            <ac:cxnSpMk id="1468" creationId="{DB3DA2FD-3F9C-7D07-1499-92AEE88BBABE}"/>
          </ac:cxnSpMkLst>
        </pc:cxnChg>
        <pc:cxnChg chg="add del mod ord">
          <ac:chgData name="Yudi Zhu" userId="571e1a55-055f-4c28-8b35-fca6dd1c1369" providerId="ADAL" clId="{75A88773-6EE1-484E-AADE-FE631E01463B}" dt="2025-11-21T09:22:52.688" v="406694"/>
          <ac:cxnSpMkLst>
            <pc:docMk/>
            <pc:sldMk cId="755828523" sldId="2147483089"/>
            <ac:cxnSpMk id="1469" creationId="{E7FB9AEA-E911-CF9F-9FF2-E4588B47992B}"/>
          </ac:cxnSpMkLst>
        </pc:cxnChg>
        <pc:cxnChg chg="add del mod ord">
          <ac:chgData name="Yudi Zhu" userId="571e1a55-055f-4c28-8b35-fca6dd1c1369" providerId="ADAL" clId="{75A88773-6EE1-484E-AADE-FE631E01463B}" dt="2025-11-21T08:49:24.987" v="348557"/>
          <ac:cxnSpMkLst>
            <pc:docMk/>
            <pc:sldMk cId="755828523" sldId="2147483089"/>
            <ac:cxnSpMk id="1470" creationId="{6024D876-5DC7-459C-1614-8CF5D0CD0615}"/>
          </ac:cxnSpMkLst>
        </pc:cxnChg>
        <pc:cxnChg chg="add del mod ord">
          <ac:chgData name="Yudi Zhu" userId="571e1a55-055f-4c28-8b35-fca6dd1c1369" providerId="ADAL" clId="{75A88773-6EE1-484E-AADE-FE631E01463B}" dt="2025-11-21T08:49:24.987" v="348559"/>
          <ac:cxnSpMkLst>
            <pc:docMk/>
            <pc:sldMk cId="755828523" sldId="2147483089"/>
            <ac:cxnSpMk id="1471" creationId="{22E7D6DB-8B1B-42F0-6D71-59215176B4B9}"/>
          </ac:cxnSpMkLst>
        </pc:cxnChg>
        <pc:cxnChg chg="add del mod ord">
          <ac:chgData name="Yudi Zhu" userId="571e1a55-055f-4c28-8b35-fca6dd1c1369" providerId="ADAL" clId="{75A88773-6EE1-484E-AADE-FE631E01463B}" dt="2025-11-21T08:01:16.903" v="312985"/>
          <ac:cxnSpMkLst>
            <pc:docMk/>
            <pc:sldMk cId="755828523" sldId="2147483089"/>
            <ac:cxnSpMk id="1472" creationId="{DC91FD3D-4389-6C5F-313C-A4B5A9205F13}"/>
          </ac:cxnSpMkLst>
        </pc:cxnChg>
        <pc:cxnChg chg="add del mod ord">
          <ac:chgData name="Yudi Zhu" userId="571e1a55-055f-4c28-8b35-fca6dd1c1369" providerId="ADAL" clId="{75A88773-6EE1-484E-AADE-FE631E01463B}" dt="2025-11-21T08:01:16.903" v="312987"/>
          <ac:cxnSpMkLst>
            <pc:docMk/>
            <pc:sldMk cId="755828523" sldId="2147483089"/>
            <ac:cxnSpMk id="1473" creationId="{0F06EB9E-0BC8-B172-E369-5A793FA64A4A}"/>
          </ac:cxnSpMkLst>
        </pc:cxnChg>
        <pc:cxnChg chg="add mod ord">
          <ac:chgData name="Yudi Zhu" userId="571e1a55-055f-4c28-8b35-fca6dd1c1369" providerId="ADAL" clId="{75A88773-6EE1-484E-AADE-FE631E01463B}" dt="2025-11-21T09:22:52.680" v="406668"/>
          <ac:cxnSpMkLst>
            <pc:docMk/>
            <pc:sldMk cId="755828523" sldId="2147483089"/>
            <ac:cxnSpMk id="1474" creationId="{967E8F84-C6F1-30BA-DDED-462B5D7B17E2}"/>
          </ac:cxnSpMkLst>
        </pc:cxnChg>
        <pc:cxnChg chg="add del mod ord">
          <ac:chgData name="Yudi Zhu" userId="571e1a55-055f-4c28-8b35-fca6dd1c1369" providerId="ADAL" clId="{75A88773-6EE1-484E-AADE-FE631E01463B}" dt="2025-11-21T08:02:34.726" v="317717"/>
          <ac:cxnSpMkLst>
            <pc:docMk/>
            <pc:sldMk cId="755828523" sldId="2147483089"/>
            <ac:cxnSpMk id="1485" creationId="{DF38267B-D857-DD61-FE15-C30D95920D5C}"/>
          </ac:cxnSpMkLst>
        </pc:cxnChg>
        <pc:cxnChg chg="add del mod ord">
          <ac:chgData name="Yudi Zhu" userId="571e1a55-055f-4c28-8b35-fca6dd1c1369" providerId="ADAL" clId="{75A88773-6EE1-484E-AADE-FE631E01463B}" dt="2025-11-21T08:02:34.728" v="317719"/>
          <ac:cxnSpMkLst>
            <pc:docMk/>
            <pc:sldMk cId="755828523" sldId="2147483089"/>
            <ac:cxnSpMk id="1486" creationId="{F6CA5EEC-E7DA-C6A3-96A7-3C600EC4B41E}"/>
          </ac:cxnSpMkLst>
        </pc:cxnChg>
        <pc:cxnChg chg="add mod ord">
          <ac:chgData name="Yudi Zhu" userId="571e1a55-055f-4c28-8b35-fca6dd1c1369" providerId="ADAL" clId="{75A88773-6EE1-484E-AADE-FE631E01463B}" dt="2025-11-21T08:34:18.977" v="320734"/>
          <ac:cxnSpMkLst>
            <pc:docMk/>
            <pc:sldMk cId="755828523" sldId="2147483089"/>
            <ac:cxnSpMk id="1525" creationId="{21D28F17-0B11-AE80-3F44-84BFBB64C181}"/>
          </ac:cxnSpMkLst>
        </pc:cxnChg>
        <pc:cxnChg chg="add mod ord">
          <ac:chgData name="Yudi Zhu" userId="571e1a55-055f-4c28-8b35-fca6dd1c1369" providerId="ADAL" clId="{75A88773-6EE1-484E-AADE-FE631E01463B}" dt="2025-11-21T08:35:05.264" v="323771"/>
          <ac:cxnSpMkLst>
            <pc:docMk/>
            <pc:sldMk cId="755828523" sldId="2147483089"/>
            <ac:cxnSpMk id="1534" creationId="{9F77993B-1413-F693-A968-C35732BFB9A9}"/>
          </ac:cxnSpMkLst>
        </pc:cxnChg>
        <pc:cxnChg chg="add mod ord">
          <ac:chgData name="Yudi Zhu" userId="571e1a55-055f-4c28-8b35-fca6dd1c1369" providerId="ADAL" clId="{75A88773-6EE1-484E-AADE-FE631E01463B}" dt="2025-11-21T08:35:05.264" v="323771"/>
          <ac:cxnSpMkLst>
            <pc:docMk/>
            <pc:sldMk cId="755828523" sldId="2147483089"/>
            <ac:cxnSpMk id="1535" creationId="{1F056116-0F7B-FBA0-A93F-90ACD462C52A}"/>
          </ac:cxnSpMkLst>
        </pc:cxnChg>
        <pc:cxnChg chg="add mod ord">
          <ac:chgData name="Yudi Zhu" userId="571e1a55-055f-4c28-8b35-fca6dd1c1369" providerId="ADAL" clId="{75A88773-6EE1-484E-AADE-FE631E01463B}" dt="2025-11-21T08:35:04.543" v="323617"/>
          <ac:cxnSpMkLst>
            <pc:docMk/>
            <pc:sldMk cId="755828523" sldId="2147483089"/>
            <ac:cxnSpMk id="1540" creationId="{2A6C4ED1-216F-CA9C-EBEE-C51D359EBD0F}"/>
          </ac:cxnSpMkLst>
        </pc:cxnChg>
        <pc:cxnChg chg="add mod ord">
          <ac:chgData name="Yudi Zhu" userId="571e1a55-055f-4c28-8b35-fca6dd1c1369" providerId="ADAL" clId="{75A88773-6EE1-484E-AADE-FE631E01463B}" dt="2025-11-21T08:35:04.543" v="323617"/>
          <ac:cxnSpMkLst>
            <pc:docMk/>
            <pc:sldMk cId="755828523" sldId="2147483089"/>
            <ac:cxnSpMk id="1541" creationId="{51525C86-EE96-668C-CF78-5F9DFCB2DC50}"/>
          </ac:cxnSpMkLst>
        </pc:cxnChg>
        <pc:cxnChg chg="add mod ord">
          <ac:chgData name="Yudi Zhu" userId="571e1a55-055f-4c28-8b35-fca6dd1c1369" providerId="ADAL" clId="{75A88773-6EE1-484E-AADE-FE631E01463B}" dt="2025-11-21T08:35:03.978" v="323461"/>
          <ac:cxnSpMkLst>
            <pc:docMk/>
            <pc:sldMk cId="755828523" sldId="2147483089"/>
            <ac:cxnSpMk id="1546" creationId="{F67EB15F-0546-A7A6-060A-3C24FAC283AA}"/>
          </ac:cxnSpMkLst>
        </pc:cxnChg>
        <pc:cxnChg chg="add mod ord">
          <ac:chgData name="Yudi Zhu" userId="571e1a55-055f-4c28-8b35-fca6dd1c1369" providerId="ADAL" clId="{75A88773-6EE1-484E-AADE-FE631E01463B}" dt="2025-11-21T08:35:03.978" v="323461"/>
          <ac:cxnSpMkLst>
            <pc:docMk/>
            <pc:sldMk cId="755828523" sldId="2147483089"/>
            <ac:cxnSpMk id="1547" creationId="{43097B01-68B7-CF46-72C8-6E70F9E69444}"/>
          </ac:cxnSpMkLst>
        </pc:cxnChg>
        <pc:cxnChg chg="add mod ord">
          <ac:chgData name="Yudi Zhu" userId="571e1a55-055f-4c28-8b35-fca6dd1c1369" providerId="ADAL" clId="{75A88773-6EE1-484E-AADE-FE631E01463B}" dt="2025-11-21T09:14:55.847" v="387104"/>
          <ac:cxnSpMkLst>
            <pc:docMk/>
            <pc:sldMk cId="755828523" sldId="2147483089"/>
            <ac:cxnSpMk id="1579" creationId="{97807D47-458E-EBD7-1500-294BE7EF625F}"/>
          </ac:cxnSpMkLst>
        </pc:cxnChg>
        <pc:cxnChg chg="mod">
          <ac:chgData name="Yudi Zhu" userId="571e1a55-055f-4c28-8b35-fca6dd1c1369" providerId="ADAL" clId="{75A88773-6EE1-484E-AADE-FE631E01463B}" dt="2025-11-21T09:14:55.849" v="387108"/>
          <ac:cxnSpMkLst>
            <pc:docMk/>
            <pc:sldMk cId="755828523" sldId="2147483089"/>
            <ac:cxnSpMk id="1590" creationId="{E8A92D77-90DA-282B-972A-2A483D87E1CF}"/>
          </ac:cxnSpMkLst>
        </pc:cxnChg>
        <pc:cxnChg chg="mod">
          <ac:chgData name="Yudi Zhu" userId="571e1a55-055f-4c28-8b35-fca6dd1c1369" providerId="ADAL" clId="{75A88773-6EE1-484E-AADE-FE631E01463B}" dt="2025-11-21T09:14:55.851" v="387112"/>
          <ac:cxnSpMkLst>
            <pc:docMk/>
            <pc:sldMk cId="755828523" sldId="2147483089"/>
            <ac:cxnSpMk id="1606" creationId="{B2AA8A47-5191-DC77-8B5E-80903A146812}"/>
          </ac:cxnSpMkLst>
        </pc:cxnChg>
        <pc:cxnChg chg="add del mod ord">
          <ac:chgData name="Yudi Zhu" userId="571e1a55-055f-4c28-8b35-fca6dd1c1369" providerId="ADAL" clId="{75A88773-6EE1-484E-AADE-FE631E01463B}" dt="2025-11-21T08:49:44.054" v="351001"/>
          <ac:cxnSpMkLst>
            <pc:docMk/>
            <pc:sldMk cId="755828523" sldId="2147483089"/>
            <ac:cxnSpMk id="1642" creationId="{9EAEECA6-1F20-8276-62A4-1E8F4DC678FC}"/>
          </ac:cxnSpMkLst>
        </pc:cxnChg>
        <pc:cxnChg chg="add mod ord">
          <ac:chgData name="Yudi Zhu" userId="571e1a55-055f-4c28-8b35-fca6dd1c1369" providerId="ADAL" clId="{75A88773-6EE1-484E-AADE-FE631E01463B}" dt="2025-11-21T09:22:52.688" v="406696"/>
          <ac:cxnSpMkLst>
            <pc:docMk/>
            <pc:sldMk cId="755828523" sldId="2147483089"/>
            <ac:cxnSpMk id="1819" creationId="{89A23327-5608-B9B1-48B6-09A5B94BD12A}"/>
          </ac:cxnSpMkLst>
        </pc:cxnChg>
        <pc:cxnChg chg="add del mod ord">
          <ac:chgData name="Yudi Zhu" userId="571e1a55-055f-4c28-8b35-fca6dd1c1369" providerId="ADAL" clId="{75A88773-6EE1-484E-AADE-FE631E01463B}" dt="2025-11-21T09:22:52.633" v="406596"/>
          <ac:cxnSpMkLst>
            <pc:docMk/>
            <pc:sldMk cId="755828523" sldId="2147483089"/>
            <ac:cxnSpMk id="1880" creationId="{E40A3B46-2DE2-E8E4-4C91-0E1C7F4287FD}"/>
          </ac:cxnSpMkLst>
        </pc:cxnChg>
        <pc:cxnChg chg="add del mod ord">
          <ac:chgData name="Yudi Zhu" userId="571e1a55-055f-4c28-8b35-fca6dd1c1369" providerId="ADAL" clId="{75A88773-6EE1-484E-AADE-FE631E01463B}" dt="2025-11-21T09:22:52.633" v="406598"/>
          <ac:cxnSpMkLst>
            <pc:docMk/>
            <pc:sldMk cId="755828523" sldId="2147483089"/>
            <ac:cxnSpMk id="1881" creationId="{896E3924-A623-395A-92F8-37F3CDE93806}"/>
          </ac:cxnSpMkLst>
        </pc:cxnChg>
        <pc:cxnChg chg="add del mod ord">
          <ac:chgData name="Yudi Zhu" userId="571e1a55-055f-4c28-8b35-fca6dd1c1369" providerId="ADAL" clId="{75A88773-6EE1-484E-AADE-FE631E01463B}" dt="2025-11-21T09:22:52.633" v="406600"/>
          <ac:cxnSpMkLst>
            <pc:docMk/>
            <pc:sldMk cId="755828523" sldId="2147483089"/>
            <ac:cxnSpMk id="1882" creationId="{01A5182E-1246-3795-2839-DFDAEF1DA125}"/>
          </ac:cxnSpMkLst>
        </pc:cxnChg>
        <pc:cxnChg chg="add del mod ord">
          <ac:chgData name="Yudi Zhu" userId="571e1a55-055f-4c28-8b35-fca6dd1c1369" providerId="ADAL" clId="{75A88773-6EE1-484E-AADE-FE631E01463B}" dt="2025-11-21T09:22:52.633" v="406602"/>
          <ac:cxnSpMkLst>
            <pc:docMk/>
            <pc:sldMk cId="755828523" sldId="2147483089"/>
            <ac:cxnSpMk id="1885" creationId="{34C54E26-A56F-FE1E-31B7-75A7F18C30E1}"/>
          </ac:cxnSpMkLst>
        </pc:cxnChg>
        <pc:cxnChg chg="add del mod ord">
          <ac:chgData name="Yudi Zhu" userId="571e1a55-055f-4c28-8b35-fca6dd1c1369" providerId="ADAL" clId="{75A88773-6EE1-484E-AADE-FE631E01463B}" dt="2025-11-21T09:22:52.633" v="406590"/>
          <ac:cxnSpMkLst>
            <pc:docMk/>
            <pc:sldMk cId="755828523" sldId="2147483089"/>
            <ac:cxnSpMk id="1886" creationId="{AADE1A73-0F3E-5D66-2D31-AF39E79CA870}"/>
          </ac:cxnSpMkLst>
        </pc:cxnChg>
        <pc:cxnChg chg="add del mod ord">
          <ac:chgData name="Yudi Zhu" userId="571e1a55-055f-4c28-8b35-fca6dd1c1369" providerId="ADAL" clId="{75A88773-6EE1-484E-AADE-FE631E01463B}" dt="2025-11-21T09:22:52.633" v="406604"/>
          <ac:cxnSpMkLst>
            <pc:docMk/>
            <pc:sldMk cId="755828523" sldId="2147483089"/>
            <ac:cxnSpMk id="1887" creationId="{0BD499FF-F2C2-AC82-EDE7-314FB845C949}"/>
          </ac:cxnSpMkLst>
        </pc:cxnChg>
        <pc:cxnChg chg="add del mod ord">
          <ac:chgData name="Yudi Zhu" userId="571e1a55-055f-4c28-8b35-fca6dd1c1369" providerId="ADAL" clId="{75A88773-6EE1-484E-AADE-FE631E01463B}" dt="2025-11-21T09:22:52.633" v="406606"/>
          <ac:cxnSpMkLst>
            <pc:docMk/>
            <pc:sldMk cId="755828523" sldId="2147483089"/>
            <ac:cxnSpMk id="1888" creationId="{4F77ECD5-536E-98E0-09FA-367FF7DCDEF0}"/>
          </ac:cxnSpMkLst>
        </pc:cxnChg>
        <pc:cxnChg chg="add del mod ord">
          <ac:chgData name="Yudi Zhu" userId="571e1a55-055f-4c28-8b35-fca6dd1c1369" providerId="ADAL" clId="{75A88773-6EE1-484E-AADE-FE631E01463B}" dt="2025-11-21T09:22:52.648" v="406608"/>
          <ac:cxnSpMkLst>
            <pc:docMk/>
            <pc:sldMk cId="755828523" sldId="2147483089"/>
            <ac:cxnSpMk id="1889" creationId="{CC95C79B-1D86-C94D-94CE-19177279A9E7}"/>
          </ac:cxnSpMkLst>
        </pc:cxnChg>
        <pc:cxnChg chg="add del mod ord">
          <ac:chgData name="Yudi Zhu" userId="571e1a55-055f-4c28-8b35-fca6dd1c1369" providerId="ADAL" clId="{75A88773-6EE1-484E-AADE-FE631E01463B}" dt="2025-11-21T09:22:52.648" v="406610"/>
          <ac:cxnSpMkLst>
            <pc:docMk/>
            <pc:sldMk cId="755828523" sldId="2147483089"/>
            <ac:cxnSpMk id="1890" creationId="{1AF474F6-D016-EEBC-72D4-89AD673362E4}"/>
          </ac:cxnSpMkLst>
        </pc:cxnChg>
        <pc:cxnChg chg="add del mod ord">
          <ac:chgData name="Yudi Zhu" userId="571e1a55-055f-4c28-8b35-fca6dd1c1369" providerId="ADAL" clId="{75A88773-6EE1-484E-AADE-FE631E01463B}" dt="2025-11-21T09:22:52.648" v="406612"/>
          <ac:cxnSpMkLst>
            <pc:docMk/>
            <pc:sldMk cId="755828523" sldId="2147483089"/>
            <ac:cxnSpMk id="1891" creationId="{ADA60643-3682-55EB-F277-F5E33B5ECA44}"/>
          </ac:cxnSpMkLst>
        </pc:cxnChg>
        <pc:cxnChg chg="add del mod ord">
          <ac:chgData name="Yudi Zhu" userId="571e1a55-055f-4c28-8b35-fca6dd1c1369" providerId="ADAL" clId="{75A88773-6EE1-484E-AADE-FE631E01463B}" dt="2025-11-21T09:22:52.648" v="406614"/>
          <ac:cxnSpMkLst>
            <pc:docMk/>
            <pc:sldMk cId="755828523" sldId="2147483089"/>
            <ac:cxnSpMk id="1892" creationId="{2EFE0F71-8433-0A6B-A846-F1F15AAD4EED}"/>
          </ac:cxnSpMkLst>
        </pc:cxnChg>
        <pc:cxnChg chg="add mod ord">
          <ac:chgData name="Yudi Zhu" userId="571e1a55-055f-4c28-8b35-fca6dd1c1369" providerId="ADAL" clId="{75A88773-6EE1-484E-AADE-FE631E01463B}" dt="2025-11-21T09:22:45.649" v="405068"/>
          <ac:cxnSpMkLst>
            <pc:docMk/>
            <pc:sldMk cId="755828523" sldId="2147483089"/>
            <ac:cxnSpMk id="1940" creationId="{6DDC76BF-0C0C-5FFC-BB4A-85054CF6D945}"/>
          </ac:cxnSpMkLst>
        </pc:cxnChg>
      </pc:sldChg>
      <pc:sldChg chg="addSp delSp modSp add del mod">
        <pc:chgData name="Yudi Zhu" userId="571e1a55-055f-4c28-8b35-fca6dd1c1369" providerId="ADAL" clId="{75A88773-6EE1-484E-AADE-FE631E01463B}" dt="2025-11-21T10:09:13.552" v="451731" actId="47"/>
        <pc:sldMkLst>
          <pc:docMk/>
          <pc:sldMk cId="985521295" sldId="2147483090"/>
        </pc:sldMkLst>
        <pc:spChg chg="mod ord">
          <ac:chgData name="Yudi Zhu" userId="571e1a55-055f-4c28-8b35-fca6dd1c1369" providerId="ADAL" clId="{75A88773-6EE1-484E-AADE-FE631E01463B}" dt="2025-11-21T06:47:58.422" v="190919"/>
          <ac:spMkLst>
            <pc:docMk/>
            <pc:sldMk cId="985521295" sldId="2147483090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1T06:47:35.715" v="189983"/>
          <ac:spMkLst>
            <pc:docMk/>
            <pc:sldMk cId="985521295" sldId="2147483090"/>
            <ac:spMk id="3" creationId="{E8254056-2BFC-BE38-741B-B5D3042255DF}"/>
          </ac:spMkLst>
        </pc:spChg>
        <pc:spChg chg="mod">
          <ac:chgData name="Yudi Zhu" userId="571e1a55-055f-4c28-8b35-fca6dd1c1369" providerId="ADAL" clId="{75A88773-6EE1-484E-AADE-FE631E01463B}" dt="2025-11-21T06:47:58.462" v="191044"/>
          <ac:spMkLst>
            <pc:docMk/>
            <pc:sldMk cId="985521295" sldId="2147483090"/>
            <ac:spMk id="4" creationId="{1E320187-E70B-936A-7572-67D0D7FF27AD}"/>
          </ac:spMkLst>
        </pc:spChg>
        <pc:spChg chg="mod">
          <ac:chgData name="Yudi Zhu" userId="571e1a55-055f-4c28-8b35-fca6dd1c1369" providerId="ADAL" clId="{75A88773-6EE1-484E-AADE-FE631E01463B}" dt="2025-11-21T06:47:58.470" v="191052"/>
          <ac:spMkLst>
            <pc:docMk/>
            <pc:sldMk cId="985521295" sldId="2147483090"/>
            <ac:spMk id="6" creationId="{1D96BC05-6436-B5C9-2C2A-F835EFD36438}"/>
          </ac:spMkLst>
        </pc:spChg>
        <pc:spChg chg="mod">
          <ac:chgData name="Yudi Zhu" userId="571e1a55-055f-4c28-8b35-fca6dd1c1369" providerId="ADAL" clId="{75A88773-6EE1-484E-AADE-FE631E01463B}" dt="2025-11-21T06:47:58.470" v="191059"/>
          <ac:spMkLst>
            <pc:docMk/>
            <pc:sldMk cId="985521295" sldId="2147483090"/>
            <ac:spMk id="7" creationId="{8D4E9BD5-02F3-5620-CF25-A5EA26CCAACC}"/>
          </ac:spMkLst>
        </pc:spChg>
        <pc:spChg chg="add del mod modVis">
          <ac:chgData name="Yudi Zhu" userId="571e1a55-055f-4c28-8b35-fca6dd1c1369" providerId="ADAL" clId="{75A88773-6EE1-484E-AADE-FE631E01463B}" dt="2025-11-21T06:47:58.526" v="191160"/>
          <ac:spMkLst>
            <pc:docMk/>
            <pc:sldMk cId="985521295" sldId="2147483090"/>
            <ac:spMk id="9" creationId="{194805C1-115F-4B43-6FDA-D04653CB82E5}"/>
          </ac:spMkLst>
        </pc:spChg>
        <pc:spChg chg="mod">
          <ac:chgData name="Yudi Zhu" userId="571e1a55-055f-4c28-8b35-fca6dd1c1369" providerId="ADAL" clId="{75A88773-6EE1-484E-AADE-FE631E01463B}" dt="2025-11-21T06:47:58.479" v="191067"/>
          <ac:spMkLst>
            <pc:docMk/>
            <pc:sldMk cId="985521295" sldId="2147483090"/>
            <ac:spMk id="14" creationId="{E4301B9C-5492-21C4-8CF2-5E125ECFDBC3}"/>
          </ac:spMkLst>
        </pc:spChg>
        <pc:spChg chg="mod">
          <ac:chgData name="Yudi Zhu" userId="571e1a55-055f-4c28-8b35-fca6dd1c1369" providerId="ADAL" clId="{75A88773-6EE1-484E-AADE-FE631E01463B}" dt="2025-11-21T06:47:58.482" v="191074"/>
          <ac:spMkLst>
            <pc:docMk/>
            <pc:sldMk cId="985521295" sldId="2147483090"/>
            <ac:spMk id="15" creationId="{7A1124F5-6000-42C7-11F8-3FA4B63DE179}"/>
          </ac:spMkLst>
        </pc:spChg>
        <pc:spChg chg="mod">
          <ac:chgData name="Yudi Zhu" userId="571e1a55-055f-4c28-8b35-fca6dd1c1369" providerId="ADAL" clId="{75A88773-6EE1-484E-AADE-FE631E01463B}" dt="2025-11-21T06:47:58.439" v="191000"/>
          <ac:spMkLst>
            <pc:docMk/>
            <pc:sldMk cId="985521295" sldId="2147483090"/>
            <ac:spMk id="16" creationId="{5686B93C-27BC-911C-215B-E8A5DEF79256}"/>
          </ac:spMkLst>
        </pc:spChg>
        <pc:spChg chg="mod">
          <ac:chgData name="Yudi Zhu" userId="571e1a55-055f-4c28-8b35-fca6dd1c1369" providerId="ADAL" clId="{75A88773-6EE1-484E-AADE-FE631E01463B}" dt="2025-11-21T06:47:58.439" v="191009"/>
          <ac:spMkLst>
            <pc:docMk/>
            <pc:sldMk cId="985521295" sldId="2147483090"/>
            <ac:spMk id="17" creationId="{AE8445FF-E3B7-8447-2772-806D88C66FDB}"/>
          </ac:spMkLst>
        </pc:spChg>
        <pc:spChg chg="mod">
          <ac:chgData name="Yudi Zhu" userId="571e1a55-055f-4c28-8b35-fca6dd1c1369" providerId="ADAL" clId="{75A88773-6EE1-484E-AADE-FE631E01463B}" dt="2025-11-21T06:47:58.439" v="191014"/>
          <ac:spMkLst>
            <pc:docMk/>
            <pc:sldMk cId="985521295" sldId="2147483090"/>
            <ac:spMk id="18" creationId="{09A0B3A7-E519-7457-F3F7-238912CDA1C6}"/>
          </ac:spMkLst>
        </pc:spChg>
        <pc:spChg chg="mod">
          <ac:chgData name="Yudi Zhu" userId="571e1a55-055f-4c28-8b35-fca6dd1c1369" providerId="ADAL" clId="{75A88773-6EE1-484E-AADE-FE631E01463B}" dt="2025-11-21T06:47:58.462" v="191040"/>
          <ac:spMkLst>
            <pc:docMk/>
            <pc:sldMk cId="985521295" sldId="2147483090"/>
            <ac:spMk id="19" creationId="{7944A688-75E0-53A0-EB1B-B02C8F3E7C19}"/>
          </ac:spMkLst>
        </pc:spChg>
        <pc:spChg chg="mod">
          <ac:chgData name="Yudi Zhu" userId="571e1a55-055f-4c28-8b35-fca6dd1c1369" providerId="ADAL" clId="{75A88773-6EE1-484E-AADE-FE631E01463B}" dt="2025-11-21T06:47:58.462" v="191031"/>
          <ac:spMkLst>
            <pc:docMk/>
            <pc:sldMk cId="985521295" sldId="2147483090"/>
            <ac:spMk id="20" creationId="{EDE42EF4-5591-60FE-155F-1F23DD01BB35}"/>
          </ac:spMkLst>
        </pc:spChg>
        <pc:spChg chg="mod">
          <ac:chgData name="Yudi Zhu" userId="571e1a55-055f-4c28-8b35-fca6dd1c1369" providerId="ADAL" clId="{75A88773-6EE1-484E-AADE-FE631E01463B}" dt="2025-11-21T06:47:58.462" v="191041"/>
          <ac:spMkLst>
            <pc:docMk/>
            <pc:sldMk cId="985521295" sldId="2147483090"/>
            <ac:spMk id="21" creationId="{0DF70155-19F4-0C4F-70B6-33B7BA7523BF}"/>
          </ac:spMkLst>
        </pc:spChg>
        <pc:spChg chg="mod">
          <ac:chgData name="Yudi Zhu" userId="571e1a55-055f-4c28-8b35-fca6dd1c1369" providerId="ADAL" clId="{75A88773-6EE1-484E-AADE-FE631E01463B}" dt="2025-11-21T06:47:58.462" v="191043"/>
          <ac:spMkLst>
            <pc:docMk/>
            <pc:sldMk cId="985521295" sldId="2147483090"/>
            <ac:spMk id="43" creationId="{189AC015-0A56-6CC4-1793-33E575ABA112}"/>
          </ac:spMkLst>
        </pc:spChg>
        <pc:spChg chg="mod">
          <ac:chgData name="Yudi Zhu" userId="571e1a55-055f-4c28-8b35-fca6dd1c1369" providerId="ADAL" clId="{75A88773-6EE1-484E-AADE-FE631E01463B}" dt="2025-11-21T06:47:58.498" v="191100"/>
          <ac:spMkLst>
            <pc:docMk/>
            <pc:sldMk cId="985521295" sldId="2147483090"/>
            <ac:spMk id="111" creationId="{AAA06325-DD3B-1CF5-19E0-9763AE69D5C6}"/>
          </ac:spMkLst>
        </pc:spChg>
        <pc:spChg chg="mod">
          <ac:chgData name="Yudi Zhu" userId="571e1a55-055f-4c28-8b35-fca6dd1c1369" providerId="ADAL" clId="{75A88773-6EE1-484E-AADE-FE631E01463B}" dt="2025-11-21T06:47:58.499" v="191101"/>
          <ac:spMkLst>
            <pc:docMk/>
            <pc:sldMk cId="985521295" sldId="2147483090"/>
            <ac:spMk id="113" creationId="{BACA35AB-657D-B05E-DF52-33CF5B061AD0}"/>
          </ac:spMkLst>
        </pc:spChg>
        <pc:spChg chg="mod">
          <ac:chgData name="Yudi Zhu" userId="571e1a55-055f-4c28-8b35-fca6dd1c1369" providerId="ADAL" clId="{75A88773-6EE1-484E-AADE-FE631E01463B}" dt="2025-11-21T06:47:58.500" v="191102"/>
          <ac:spMkLst>
            <pc:docMk/>
            <pc:sldMk cId="985521295" sldId="2147483090"/>
            <ac:spMk id="114" creationId="{7FFF1B82-CF66-34A4-7ED1-AA02B7DBB995}"/>
          </ac:spMkLst>
        </pc:spChg>
        <pc:spChg chg="mod">
          <ac:chgData name="Yudi Zhu" userId="571e1a55-055f-4c28-8b35-fca6dd1c1369" providerId="ADAL" clId="{75A88773-6EE1-484E-AADE-FE631E01463B}" dt="2025-11-21T06:47:58.500" v="191103"/>
          <ac:spMkLst>
            <pc:docMk/>
            <pc:sldMk cId="985521295" sldId="2147483090"/>
            <ac:spMk id="115" creationId="{E776C8B1-75DA-0EEE-827A-E179C8E4BA66}"/>
          </ac:spMkLst>
        </pc:spChg>
        <pc:spChg chg="mod">
          <ac:chgData name="Yudi Zhu" userId="571e1a55-055f-4c28-8b35-fca6dd1c1369" providerId="ADAL" clId="{75A88773-6EE1-484E-AADE-FE631E01463B}" dt="2025-11-21T06:47:58.495" v="191096"/>
          <ac:spMkLst>
            <pc:docMk/>
            <pc:sldMk cId="985521295" sldId="2147483090"/>
            <ac:spMk id="161" creationId="{D7C7A34F-9435-43FF-7A14-24AF27C200D7}"/>
          </ac:spMkLst>
        </pc:spChg>
        <pc:spChg chg="mod">
          <ac:chgData name="Yudi Zhu" userId="571e1a55-055f-4c28-8b35-fca6dd1c1369" providerId="ADAL" clId="{75A88773-6EE1-484E-AADE-FE631E01463B}" dt="2025-11-21T06:47:58.496" v="191097"/>
          <ac:spMkLst>
            <pc:docMk/>
            <pc:sldMk cId="985521295" sldId="2147483090"/>
            <ac:spMk id="162" creationId="{ED91CF86-890C-90AA-30D2-DC6BFFF3C2BF}"/>
          </ac:spMkLst>
        </pc:spChg>
        <pc:spChg chg="mod">
          <ac:chgData name="Yudi Zhu" userId="571e1a55-055f-4c28-8b35-fca6dd1c1369" providerId="ADAL" clId="{75A88773-6EE1-484E-AADE-FE631E01463B}" dt="2025-11-21T06:47:58.497" v="191098"/>
          <ac:spMkLst>
            <pc:docMk/>
            <pc:sldMk cId="985521295" sldId="2147483090"/>
            <ac:spMk id="163" creationId="{B5E27FF8-8719-E6CD-410C-9D4063E6817E}"/>
          </ac:spMkLst>
        </pc:spChg>
        <pc:spChg chg="mod">
          <ac:chgData name="Yudi Zhu" userId="571e1a55-055f-4c28-8b35-fca6dd1c1369" providerId="ADAL" clId="{75A88773-6EE1-484E-AADE-FE631E01463B}" dt="2025-11-21T06:47:58.497" v="191099"/>
          <ac:spMkLst>
            <pc:docMk/>
            <pc:sldMk cId="985521295" sldId="2147483090"/>
            <ac:spMk id="164" creationId="{53C87306-3229-73B7-59CE-1DF6450616CB}"/>
          </ac:spMkLst>
        </pc:spChg>
        <pc:spChg chg="mod">
          <ac:chgData name="Yudi Zhu" userId="571e1a55-055f-4c28-8b35-fca6dd1c1369" providerId="ADAL" clId="{75A88773-6EE1-484E-AADE-FE631E01463B}" dt="2025-11-21T06:47:58.454" v="191021"/>
          <ac:spMkLst>
            <pc:docMk/>
            <pc:sldMk cId="985521295" sldId="2147483090"/>
            <ac:spMk id="189" creationId="{A38A0DE1-4833-0E48-273A-DE66AAA9136E}"/>
          </ac:spMkLst>
        </pc:spChg>
        <pc:spChg chg="mod ord">
          <ac:chgData name="Yudi Zhu" userId="571e1a55-055f-4c28-8b35-fca6dd1c1369" providerId="ADAL" clId="{75A88773-6EE1-484E-AADE-FE631E01463B}" dt="2025-11-21T06:47:58.454" v="191028"/>
          <ac:spMkLst>
            <pc:docMk/>
            <pc:sldMk cId="985521295" sldId="2147483090"/>
            <ac:spMk id="190" creationId="{E16538C0-3D5F-4203-015A-27389412030D}"/>
          </ac:spMkLst>
        </pc:spChg>
        <pc:spChg chg="mod">
          <ac:chgData name="Yudi Zhu" userId="571e1a55-055f-4c28-8b35-fca6dd1c1369" providerId="ADAL" clId="{75A88773-6EE1-484E-AADE-FE631E01463B}" dt="2025-11-21T06:47:58.454" v="191030"/>
          <ac:spMkLst>
            <pc:docMk/>
            <pc:sldMk cId="985521295" sldId="2147483090"/>
            <ac:spMk id="191" creationId="{EDA41538-10ED-795F-0C27-38DCDE23D037}"/>
          </ac:spMkLst>
        </pc:spChg>
        <pc:spChg chg="mod ord">
          <ac:chgData name="Yudi Zhu" userId="571e1a55-055f-4c28-8b35-fca6dd1c1369" providerId="ADAL" clId="{75A88773-6EE1-484E-AADE-FE631E01463B}" dt="2025-11-21T06:47:58.462" v="191038"/>
          <ac:spMkLst>
            <pc:docMk/>
            <pc:sldMk cId="985521295" sldId="2147483090"/>
            <ac:spMk id="192" creationId="{785268F3-6588-CEAA-E7EF-3A9AABCEB157}"/>
          </ac:spMkLst>
        </pc:spChg>
        <pc:spChg chg="mod ord">
          <ac:chgData name="Yudi Zhu" userId="571e1a55-055f-4c28-8b35-fca6dd1c1369" providerId="ADAL" clId="{75A88773-6EE1-484E-AADE-FE631E01463B}" dt="2025-11-21T06:47:58.462" v="191046"/>
          <ac:spMkLst>
            <pc:docMk/>
            <pc:sldMk cId="985521295" sldId="2147483090"/>
            <ac:spMk id="193" creationId="{519A2482-49D4-6CDF-8CAF-AD01276B3C1C}"/>
          </ac:spMkLst>
        </pc:spChg>
        <pc:spChg chg="mod">
          <ac:chgData name="Yudi Zhu" userId="571e1a55-055f-4c28-8b35-fca6dd1c1369" providerId="ADAL" clId="{75A88773-6EE1-484E-AADE-FE631E01463B}" dt="2025-11-21T06:47:58.470" v="191047"/>
          <ac:spMkLst>
            <pc:docMk/>
            <pc:sldMk cId="985521295" sldId="2147483090"/>
            <ac:spMk id="194" creationId="{EA6E0424-A005-D6DA-17EC-54E141CFD37B}"/>
          </ac:spMkLst>
        </pc:spChg>
        <pc:spChg chg="mod ord">
          <ac:chgData name="Yudi Zhu" userId="571e1a55-055f-4c28-8b35-fca6dd1c1369" providerId="ADAL" clId="{75A88773-6EE1-484E-AADE-FE631E01463B}" dt="2025-11-21T06:47:58.470" v="191049"/>
          <ac:spMkLst>
            <pc:docMk/>
            <pc:sldMk cId="985521295" sldId="2147483090"/>
            <ac:spMk id="195" creationId="{E09338CA-55CD-233A-E604-15E21C3BA359}"/>
          </ac:spMkLst>
        </pc:spChg>
        <pc:spChg chg="mod ord">
          <ac:chgData name="Yudi Zhu" userId="571e1a55-055f-4c28-8b35-fca6dd1c1369" providerId="ADAL" clId="{75A88773-6EE1-484E-AADE-FE631E01463B}" dt="2025-11-21T06:47:58.470" v="191051"/>
          <ac:spMkLst>
            <pc:docMk/>
            <pc:sldMk cId="985521295" sldId="2147483090"/>
            <ac:spMk id="196" creationId="{0B6D1AD6-DDF3-4843-8C63-7126B6264FAE}"/>
          </ac:spMkLst>
        </pc:spChg>
        <pc:spChg chg="mod ord">
          <ac:chgData name="Yudi Zhu" userId="571e1a55-055f-4c28-8b35-fca6dd1c1369" providerId="ADAL" clId="{75A88773-6EE1-484E-AADE-FE631E01463B}" dt="2025-11-21T06:47:58.470" v="191054"/>
          <ac:spMkLst>
            <pc:docMk/>
            <pc:sldMk cId="985521295" sldId="2147483090"/>
            <ac:spMk id="197" creationId="{62402099-70CE-559E-944E-DF5A73B73C6E}"/>
          </ac:spMkLst>
        </pc:spChg>
        <pc:spChg chg="mod ord">
          <ac:chgData name="Yudi Zhu" userId="571e1a55-055f-4c28-8b35-fca6dd1c1369" providerId="ADAL" clId="{75A88773-6EE1-484E-AADE-FE631E01463B}" dt="2025-11-21T06:47:58.470" v="191061"/>
          <ac:spMkLst>
            <pc:docMk/>
            <pc:sldMk cId="985521295" sldId="2147483090"/>
            <ac:spMk id="198" creationId="{CD2DFD54-FAD9-AEBA-870F-AA24BFB83B1B}"/>
          </ac:spMkLst>
        </pc:spChg>
        <pc:spChg chg="mod ord">
          <ac:chgData name="Yudi Zhu" userId="571e1a55-055f-4c28-8b35-fca6dd1c1369" providerId="ADAL" clId="{75A88773-6EE1-484E-AADE-FE631E01463B}" dt="2025-11-21T06:47:58.477" v="191063"/>
          <ac:spMkLst>
            <pc:docMk/>
            <pc:sldMk cId="985521295" sldId="2147483090"/>
            <ac:spMk id="199" creationId="{D0E183DF-CF35-3F1C-5E9D-DC3DFF135170}"/>
          </ac:spMkLst>
        </pc:spChg>
        <pc:spChg chg="mod ord">
          <ac:chgData name="Yudi Zhu" userId="571e1a55-055f-4c28-8b35-fca6dd1c1369" providerId="ADAL" clId="{75A88773-6EE1-484E-AADE-FE631E01463B}" dt="2025-11-21T06:47:58.483" v="191076"/>
          <ac:spMkLst>
            <pc:docMk/>
            <pc:sldMk cId="985521295" sldId="2147483090"/>
            <ac:spMk id="200" creationId="{B6A680EC-E82B-15C6-F4F5-E507B42298C5}"/>
          </ac:spMkLst>
        </pc:spChg>
        <pc:spChg chg="mod">
          <ac:chgData name="Yudi Zhu" userId="571e1a55-055f-4c28-8b35-fca6dd1c1369" providerId="ADAL" clId="{75A88773-6EE1-484E-AADE-FE631E01463B}" dt="2025-11-21T06:47:58.439" v="190999"/>
          <ac:spMkLst>
            <pc:docMk/>
            <pc:sldMk cId="985521295" sldId="2147483090"/>
            <ac:spMk id="201" creationId="{D7ECEB66-5488-E807-5D5D-E256344EF198}"/>
          </ac:spMkLst>
        </pc:spChg>
        <pc:spChg chg="mod ord">
          <ac:chgData name="Yudi Zhu" userId="571e1a55-055f-4c28-8b35-fca6dd1c1369" providerId="ADAL" clId="{75A88773-6EE1-484E-AADE-FE631E01463B}" dt="2025-11-21T06:47:58.439" v="191002"/>
          <ac:spMkLst>
            <pc:docMk/>
            <pc:sldMk cId="985521295" sldId="2147483090"/>
            <ac:spMk id="202" creationId="{8C2A606B-B469-4D4B-1351-5BBE9071CF38}"/>
          </ac:spMkLst>
        </pc:spChg>
        <pc:spChg chg="mod ord">
          <ac:chgData name="Yudi Zhu" userId="571e1a55-055f-4c28-8b35-fca6dd1c1369" providerId="ADAL" clId="{75A88773-6EE1-484E-AADE-FE631E01463B}" dt="2025-11-21T06:47:58.439" v="191004"/>
          <ac:spMkLst>
            <pc:docMk/>
            <pc:sldMk cId="985521295" sldId="2147483090"/>
            <ac:spMk id="203" creationId="{730E504D-F1FD-F4EA-95BF-A91C3D7A1B5C}"/>
          </ac:spMkLst>
        </pc:spChg>
        <pc:spChg chg="mod">
          <ac:chgData name="Yudi Zhu" userId="571e1a55-055f-4c28-8b35-fca6dd1c1369" providerId="ADAL" clId="{75A88773-6EE1-484E-AADE-FE631E01463B}" dt="2025-11-21T06:47:58.462" v="191042"/>
          <ac:spMkLst>
            <pc:docMk/>
            <pc:sldMk cId="985521295" sldId="2147483090"/>
            <ac:spMk id="204" creationId="{F62453E3-B8DC-1FA4-4FF5-50532DD3D498}"/>
          </ac:spMkLst>
        </pc:spChg>
        <pc:spChg chg="mod ord">
          <ac:chgData name="Yudi Zhu" userId="571e1a55-055f-4c28-8b35-fca6dd1c1369" providerId="ADAL" clId="{75A88773-6EE1-484E-AADE-FE631E01463B}" dt="2025-11-21T06:47:58.470" v="191056"/>
          <ac:spMkLst>
            <pc:docMk/>
            <pc:sldMk cId="985521295" sldId="2147483090"/>
            <ac:spMk id="259" creationId="{87B7291B-E24A-8979-F3BF-3CBCACB6DC5D}"/>
          </ac:spMkLst>
        </pc:spChg>
        <pc:spChg chg="mod">
          <ac:chgData name="Yudi Zhu" userId="571e1a55-055f-4c28-8b35-fca6dd1c1369" providerId="ADAL" clId="{75A88773-6EE1-484E-AADE-FE631E01463B}" dt="2025-11-21T06:47:58.470" v="191057"/>
          <ac:spMkLst>
            <pc:docMk/>
            <pc:sldMk cId="985521295" sldId="2147483090"/>
            <ac:spMk id="260" creationId="{81D0BC8A-DBEF-2F93-B4EE-4E3469A0CACB}"/>
          </ac:spMkLst>
        </pc:spChg>
        <pc:spChg chg="mod">
          <ac:chgData name="Yudi Zhu" userId="571e1a55-055f-4c28-8b35-fca6dd1c1369" providerId="ADAL" clId="{75A88773-6EE1-484E-AADE-FE631E01463B}" dt="2025-11-21T06:47:58.470" v="191058"/>
          <ac:spMkLst>
            <pc:docMk/>
            <pc:sldMk cId="985521295" sldId="2147483090"/>
            <ac:spMk id="261" creationId="{C6F4285F-F052-2A51-0D4D-42B89971C8A4}"/>
          </ac:spMkLst>
        </pc:spChg>
        <pc:spChg chg="mod">
          <ac:chgData name="Yudi Zhu" userId="571e1a55-055f-4c28-8b35-fca6dd1c1369" providerId="ADAL" clId="{75A88773-6EE1-484E-AADE-FE631E01463B}" dt="2025-11-21T06:47:58.478" v="191064"/>
          <ac:spMkLst>
            <pc:docMk/>
            <pc:sldMk cId="985521295" sldId="2147483090"/>
            <ac:spMk id="262" creationId="{A32B7318-4CE5-C193-2EF6-59AFC27E59D1}"/>
          </ac:spMkLst>
        </pc:spChg>
        <pc:spChg chg="mod ord">
          <ac:chgData name="Yudi Zhu" userId="571e1a55-055f-4c28-8b35-fca6dd1c1369" providerId="ADAL" clId="{75A88773-6EE1-484E-AADE-FE631E01463B}" dt="2025-11-21T06:47:58.478" v="191066"/>
          <ac:spMkLst>
            <pc:docMk/>
            <pc:sldMk cId="985521295" sldId="2147483090"/>
            <ac:spMk id="263" creationId="{39D6A759-6FD0-6DCC-504C-CE9124DAB3F6}"/>
          </ac:spMkLst>
        </pc:spChg>
        <pc:spChg chg="mod">
          <ac:chgData name="Yudi Zhu" userId="571e1a55-055f-4c28-8b35-fca6dd1c1369" providerId="ADAL" clId="{75A88773-6EE1-484E-AADE-FE631E01463B}" dt="2025-11-21T06:47:58.480" v="191068"/>
          <ac:spMkLst>
            <pc:docMk/>
            <pc:sldMk cId="985521295" sldId="2147483090"/>
            <ac:spMk id="264" creationId="{C9068BA3-5650-8D7A-3630-6383E5F517D9}"/>
          </ac:spMkLst>
        </pc:spChg>
        <pc:spChg chg="mod ord">
          <ac:chgData name="Yudi Zhu" userId="571e1a55-055f-4c28-8b35-fca6dd1c1369" providerId="ADAL" clId="{75A88773-6EE1-484E-AADE-FE631E01463B}" dt="2025-11-21T06:47:58.480" v="191070"/>
          <ac:spMkLst>
            <pc:docMk/>
            <pc:sldMk cId="985521295" sldId="2147483090"/>
            <ac:spMk id="265" creationId="{A9B1BA3C-A784-48EB-A779-AE69BE292729}"/>
          </ac:spMkLst>
        </pc:spChg>
        <pc:spChg chg="mod ord">
          <ac:chgData name="Yudi Zhu" userId="571e1a55-055f-4c28-8b35-fca6dd1c1369" providerId="ADAL" clId="{75A88773-6EE1-484E-AADE-FE631E01463B}" dt="2025-11-21T06:47:58.481" v="191072"/>
          <ac:spMkLst>
            <pc:docMk/>
            <pc:sldMk cId="985521295" sldId="2147483090"/>
            <ac:spMk id="266" creationId="{021C2C06-32BC-999C-1B5F-E60AF091F4A2}"/>
          </ac:spMkLst>
        </pc:spChg>
        <pc:spChg chg="mod">
          <ac:chgData name="Yudi Zhu" userId="571e1a55-055f-4c28-8b35-fca6dd1c1369" providerId="ADAL" clId="{75A88773-6EE1-484E-AADE-FE631E01463B}" dt="2025-11-21T06:47:58.482" v="191073"/>
          <ac:spMkLst>
            <pc:docMk/>
            <pc:sldMk cId="985521295" sldId="2147483090"/>
            <ac:spMk id="267" creationId="{1274F31A-ACA7-CF0C-C873-EC9D745262B3}"/>
          </ac:spMkLst>
        </pc:spChg>
        <pc:spChg chg="mod ord">
          <ac:chgData name="Yudi Zhu" userId="571e1a55-055f-4c28-8b35-fca6dd1c1369" providerId="ADAL" clId="{75A88773-6EE1-484E-AADE-FE631E01463B}" dt="2025-11-21T06:47:58.484" v="191078"/>
          <ac:spMkLst>
            <pc:docMk/>
            <pc:sldMk cId="985521295" sldId="2147483090"/>
            <ac:spMk id="268" creationId="{63641A3C-4BD6-C3D4-8BD5-A96B2C37BC89}"/>
          </ac:spMkLst>
        </pc:spChg>
        <pc:spChg chg="mod">
          <ac:chgData name="Yudi Zhu" userId="571e1a55-055f-4c28-8b35-fca6dd1c1369" providerId="ADAL" clId="{75A88773-6EE1-484E-AADE-FE631E01463B}" dt="2025-11-21T06:47:58.493" v="191093"/>
          <ac:spMkLst>
            <pc:docMk/>
            <pc:sldMk cId="985521295" sldId="2147483090"/>
            <ac:spMk id="269" creationId="{8BA872E0-C184-9871-1510-817FC41481EC}"/>
          </ac:spMkLst>
        </pc:spChg>
        <pc:spChg chg="mod ord">
          <ac:chgData name="Yudi Zhu" userId="571e1a55-055f-4c28-8b35-fca6dd1c1369" providerId="ADAL" clId="{75A88773-6EE1-484E-AADE-FE631E01463B}" dt="2025-11-21T06:47:58.439" v="191006"/>
          <ac:spMkLst>
            <pc:docMk/>
            <pc:sldMk cId="985521295" sldId="2147483090"/>
            <ac:spMk id="270" creationId="{CA40EE68-9031-F0B5-5831-2A929C74DEA1}"/>
          </ac:spMkLst>
        </pc:spChg>
        <pc:spChg chg="mod ord">
          <ac:chgData name="Yudi Zhu" userId="571e1a55-055f-4c28-8b35-fca6dd1c1369" providerId="ADAL" clId="{75A88773-6EE1-484E-AADE-FE631E01463B}" dt="2025-11-21T06:47:58.439" v="191008"/>
          <ac:spMkLst>
            <pc:docMk/>
            <pc:sldMk cId="985521295" sldId="2147483090"/>
            <ac:spMk id="271" creationId="{81BD74DE-949C-B8FA-7053-7EE928DA072F}"/>
          </ac:spMkLst>
        </pc:spChg>
        <pc:spChg chg="mod ord">
          <ac:chgData name="Yudi Zhu" userId="571e1a55-055f-4c28-8b35-fca6dd1c1369" providerId="ADAL" clId="{75A88773-6EE1-484E-AADE-FE631E01463B}" dt="2025-11-21T06:47:58.484" v="191080"/>
          <ac:spMkLst>
            <pc:docMk/>
            <pc:sldMk cId="985521295" sldId="2147483090"/>
            <ac:spMk id="272" creationId="{F36449D0-54C0-2FB6-F309-C9F1DE9DF509}"/>
          </ac:spMkLst>
        </pc:spChg>
        <pc:spChg chg="mod ord">
          <ac:chgData name="Yudi Zhu" userId="571e1a55-055f-4c28-8b35-fca6dd1c1369" providerId="ADAL" clId="{75A88773-6EE1-484E-AADE-FE631E01463B}" dt="2025-11-21T06:47:58.439" v="191011"/>
          <ac:spMkLst>
            <pc:docMk/>
            <pc:sldMk cId="985521295" sldId="2147483090"/>
            <ac:spMk id="273" creationId="{678DED9E-7DD1-F815-954C-990D8B6F600F}"/>
          </ac:spMkLst>
        </pc:spChg>
        <pc:spChg chg="mod">
          <ac:chgData name="Yudi Zhu" userId="571e1a55-055f-4c28-8b35-fca6dd1c1369" providerId="ADAL" clId="{75A88773-6EE1-484E-AADE-FE631E01463B}" dt="2025-11-21T06:47:58.439" v="191012"/>
          <ac:spMkLst>
            <pc:docMk/>
            <pc:sldMk cId="985521295" sldId="2147483090"/>
            <ac:spMk id="274" creationId="{662B5D3D-FF48-59E5-89A5-237AA5074D28}"/>
          </ac:spMkLst>
        </pc:spChg>
        <pc:spChg chg="mod">
          <ac:chgData name="Yudi Zhu" userId="571e1a55-055f-4c28-8b35-fca6dd1c1369" providerId="ADAL" clId="{75A88773-6EE1-484E-AADE-FE631E01463B}" dt="2025-11-21T06:47:58.439" v="191013"/>
          <ac:spMkLst>
            <pc:docMk/>
            <pc:sldMk cId="985521295" sldId="2147483090"/>
            <ac:spMk id="275" creationId="{7BF6CB6E-B5C6-C73F-F334-CA7FE8C134B3}"/>
          </ac:spMkLst>
        </pc:spChg>
        <pc:spChg chg="mod">
          <ac:chgData name="Yudi Zhu" userId="571e1a55-055f-4c28-8b35-fca6dd1c1369" providerId="ADAL" clId="{75A88773-6EE1-484E-AADE-FE631E01463B}" dt="2025-11-21T06:47:58.454" v="191015"/>
          <ac:spMkLst>
            <pc:docMk/>
            <pc:sldMk cId="985521295" sldId="2147483090"/>
            <ac:spMk id="276" creationId="{B4C84B4A-B643-3113-F3CD-9094CF439AE0}"/>
          </ac:spMkLst>
        </pc:spChg>
        <pc:spChg chg="mod ord">
          <ac:chgData name="Yudi Zhu" userId="571e1a55-055f-4c28-8b35-fca6dd1c1369" providerId="ADAL" clId="{75A88773-6EE1-484E-AADE-FE631E01463B}" dt="2025-11-21T06:47:58.454" v="191017"/>
          <ac:spMkLst>
            <pc:docMk/>
            <pc:sldMk cId="985521295" sldId="2147483090"/>
            <ac:spMk id="277" creationId="{D923854C-4709-B2B4-3A15-42DCFF1D326C}"/>
          </ac:spMkLst>
        </pc:spChg>
        <pc:spChg chg="mod ord">
          <ac:chgData name="Yudi Zhu" userId="571e1a55-055f-4c28-8b35-fca6dd1c1369" providerId="ADAL" clId="{75A88773-6EE1-484E-AADE-FE631E01463B}" dt="2025-11-21T06:47:58.454" v="191019"/>
          <ac:spMkLst>
            <pc:docMk/>
            <pc:sldMk cId="985521295" sldId="2147483090"/>
            <ac:spMk id="278" creationId="{FEBD7077-37D5-EB71-EA7E-E7A430BDB063}"/>
          </ac:spMkLst>
        </pc:spChg>
        <pc:spChg chg="mod">
          <ac:chgData name="Yudi Zhu" userId="571e1a55-055f-4c28-8b35-fca6dd1c1369" providerId="ADAL" clId="{75A88773-6EE1-484E-AADE-FE631E01463B}" dt="2025-11-21T06:47:58.454" v="191020"/>
          <ac:spMkLst>
            <pc:docMk/>
            <pc:sldMk cId="985521295" sldId="2147483090"/>
            <ac:spMk id="279" creationId="{2767FF82-BA4F-16C9-6C00-E6695D490AE3}"/>
          </ac:spMkLst>
        </pc:spChg>
        <pc:spChg chg="mod ord">
          <ac:chgData name="Yudi Zhu" userId="571e1a55-055f-4c28-8b35-fca6dd1c1369" providerId="ADAL" clId="{75A88773-6EE1-484E-AADE-FE631E01463B}" dt="2025-11-21T06:47:58.454" v="191023"/>
          <ac:spMkLst>
            <pc:docMk/>
            <pc:sldMk cId="985521295" sldId="2147483090"/>
            <ac:spMk id="280" creationId="{92C81569-DE6A-5AC3-F9F9-4133710F9D41}"/>
          </ac:spMkLst>
        </pc:spChg>
        <pc:spChg chg="mod ord">
          <ac:chgData name="Yudi Zhu" userId="571e1a55-055f-4c28-8b35-fca6dd1c1369" providerId="ADAL" clId="{75A88773-6EE1-484E-AADE-FE631E01463B}" dt="2025-11-21T06:47:58.454" v="191025"/>
          <ac:spMkLst>
            <pc:docMk/>
            <pc:sldMk cId="985521295" sldId="2147483090"/>
            <ac:spMk id="281" creationId="{16C66CCA-7438-331F-34E0-B0031A988237}"/>
          </ac:spMkLst>
        </pc:spChg>
        <pc:spChg chg="mod">
          <ac:chgData name="Yudi Zhu" userId="571e1a55-055f-4c28-8b35-fca6dd1c1369" providerId="ADAL" clId="{75A88773-6EE1-484E-AADE-FE631E01463B}" dt="2025-11-21T06:47:58.454" v="191026"/>
          <ac:spMkLst>
            <pc:docMk/>
            <pc:sldMk cId="985521295" sldId="2147483090"/>
            <ac:spMk id="282" creationId="{59381CCB-919A-6C68-8F65-A06E4A0C3B3F}"/>
          </ac:spMkLst>
        </pc:spChg>
        <pc:spChg chg="mod">
          <ac:chgData name="Yudi Zhu" userId="571e1a55-055f-4c28-8b35-fca6dd1c1369" providerId="ADAL" clId="{75A88773-6EE1-484E-AADE-FE631E01463B}" dt="2025-11-21T06:47:58.454" v="191029"/>
          <ac:spMkLst>
            <pc:docMk/>
            <pc:sldMk cId="985521295" sldId="2147483090"/>
            <ac:spMk id="283" creationId="{6553ECB0-7688-C67D-8F69-CE00CBFB0847}"/>
          </ac:spMkLst>
        </pc:spChg>
        <pc:spChg chg="mod ord">
          <ac:chgData name="Yudi Zhu" userId="571e1a55-055f-4c28-8b35-fca6dd1c1369" providerId="ADAL" clId="{75A88773-6EE1-484E-AADE-FE631E01463B}" dt="2025-11-21T06:47:58.462" v="191033"/>
          <ac:spMkLst>
            <pc:docMk/>
            <pc:sldMk cId="985521295" sldId="2147483090"/>
            <ac:spMk id="284" creationId="{A5FDB546-6BD1-F548-965A-F09E5CDE380F}"/>
          </ac:spMkLst>
        </pc:spChg>
        <pc:spChg chg="mod ord">
          <ac:chgData name="Yudi Zhu" userId="571e1a55-055f-4c28-8b35-fca6dd1c1369" providerId="ADAL" clId="{75A88773-6EE1-484E-AADE-FE631E01463B}" dt="2025-11-21T06:47:58.462" v="191035"/>
          <ac:spMkLst>
            <pc:docMk/>
            <pc:sldMk cId="985521295" sldId="2147483090"/>
            <ac:spMk id="285" creationId="{A410F8FC-5A3E-1B3F-572A-5D1DFD67B97A}"/>
          </ac:spMkLst>
        </pc:spChg>
        <pc:spChg chg="mod">
          <ac:chgData name="Yudi Zhu" userId="571e1a55-055f-4c28-8b35-fca6dd1c1369" providerId="ADAL" clId="{75A88773-6EE1-484E-AADE-FE631E01463B}" dt="2025-11-21T06:47:58.462" v="191036"/>
          <ac:spMkLst>
            <pc:docMk/>
            <pc:sldMk cId="985521295" sldId="2147483090"/>
            <ac:spMk id="286" creationId="{B548C6D7-E746-2EA4-D2DD-9DB97287A5FF}"/>
          </ac:spMkLst>
        </pc:spChg>
        <pc:spChg chg="mod">
          <ac:chgData name="Yudi Zhu" userId="571e1a55-055f-4c28-8b35-fca6dd1c1369" providerId="ADAL" clId="{75A88773-6EE1-484E-AADE-FE631E01463B}" dt="2025-11-21T06:47:58.462" v="191039"/>
          <ac:spMkLst>
            <pc:docMk/>
            <pc:sldMk cId="985521295" sldId="2147483090"/>
            <ac:spMk id="287" creationId="{D8F5EB48-43BF-8B45-6733-5B61FC35C28E}"/>
          </ac:spMkLst>
        </pc:spChg>
        <pc:spChg chg="mod">
          <ac:chgData name="Yudi Zhu" userId="571e1a55-055f-4c28-8b35-fca6dd1c1369" providerId="ADAL" clId="{75A88773-6EE1-484E-AADE-FE631E01463B}" dt="2025-11-21T06:47:58.510" v="191117"/>
          <ac:spMkLst>
            <pc:docMk/>
            <pc:sldMk cId="985521295" sldId="2147483090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1T06:47:58.510" v="191118"/>
          <ac:spMkLst>
            <pc:docMk/>
            <pc:sldMk cId="985521295" sldId="2147483090"/>
            <ac:spMk id="311" creationId="{FAC811EB-B12D-1390-56E5-FC577BF8AE04}"/>
          </ac:spMkLst>
        </pc:spChg>
        <pc:spChg chg="mod ord">
          <ac:chgData name="Yudi Zhu" userId="571e1a55-055f-4c28-8b35-fca6dd1c1369" providerId="ADAL" clId="{75A88773-6EE1-484E-AADE-FE631E01463B}" dt="2025-11-21T06:47:58.510" v="191120"/>
          <ac:spMkLst>
            <pc:docMk/>
            <pc:sldMk cId="985521295" sldId="2147483090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1T06:47:58.510" v="191121"/>
          <ac:spMkLst>
            <pc:docMk/>
            <pc:sldMk cId="985521295" sldId="2147483090"/>
            <ac:spMk id="313" creationId="{827DA0DD-952F-B61A-2B04-57F6B386C3EA}"/>
          </ac:spMkLst>
        </pc:spChg>
        <pc:spChg chg="mod">
          <ac:chgData name="Yudi Zhu" userId="571e1a55-055f-4c28-8b35-fca6dd1c1369" providerId="ADAL" clId="{75A88773-6EE1-484E-AADE-FE631E01463B}" dt="2025-11-21T06:47:58.510" v="191122"/>
          <ac:spMkLst>
            <pc:docMk/>
            <pc:sldMk cId="985521295" sldId="2147483090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1T06:47:58.510" v="191123"/>
          <ac:spMkLst>
            <pc:docMk/>
            <pc:sldMk cId="985521295" sldId="2147483090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1T06:47:58.510" v="191124"/>
          <ac:spMkLst>
            <pc:docMk/>
            <pc:sldMk cId="985521295" sldId="2147483090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1T06:47:58.510" v="191125"/>
          <ac:spMkLst>
            <pc:docMk/>
            <pc:sldMk cId="985521295" sldId="2147483090"/>
            <ac:spMk id="317" creationId="{1D23DDD7-01E3-3FF9-8371-E4779A37DBD6}"/>
          </ac:spMkLst>
        </pc:spChg>
        <pc:spChg chg="mod">
          <ac:chgData name="Yudi Zhu" userId="571e1a55-055f-4c28-8b35-fca6dd1c1369" providerId="ADAL" clId="{75A88773-6EE1-484E-AADE-FE631E01463B}" dt="2025-11-21T06:47:58.510" v="191126"/>
          <ac:spMkLst>
            <pc:docMk/>
            <pc:sldMk cId="985521295" sldId="2147483090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1T06:47:58.510" v="191127"/>
          <ac:spMkLst>
            <pc:docMk/>
            <pc:sldMk cId="985521295" sldId="2147483090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1T06:47:58.510" v="191128"/>
          <ac:spMkLst>
            <pc:docMk/>
            <pc:sldMk cId="985521295" sldId="2147483090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1T06:47:58.510" v="191129"/>
          <ac:spMkLst>
            <pc:docMk/>
            <pc:sldMk cId="985521295" sldId="2147483090"/>
            <ac:spMk id="321" creationId="{34B3D78E-834D-E319-B7C9-CD06E40453BF}"/>
          </ac:spMkLst>
        </pc:spChg>
        <pc:spChg chg="mod">
          <ac:chgData name="Yudi Zhu" userId="571e1a55-055f-4c28-8b35-fca6dd1c1369" providerId="ADAL" clId="{75A88773-6EE1-484E-AADE-FE631E01463B}" dt="2025-11-21T06:47:58.510" v="191130"/>
          <ac:spMkLst>
            <pc:docMk/>
            <pc:sldMk cId="985521295" sldId="2147483090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1T06:47:58.526" v="191141"/>
          <ac:spMkLst>
            <pc:docMk/>
            <pc:sldMk cId="985521295" sldId="2147483090"/>
            <ac:spMk id="323" creationId="{735D4EDA-AD3C-5A72-B819-57EBBCE24CD8}"/>
          </ac:spMkLst>
        </pc:spChg>
        <pc:spChg chg="mod ord">
          <ac:chgData name="Yudi Zhu" userId="571e1a55-055f-4c28-8b35-fca6dd1c1369" providerId="ADAL" clId="{75A88773-6EE1-484E-AADE-FE631E01463B}" dt="2025-11-21T06:47:58.510" v="191133"/>
          <ac:spMkLst>
            <pc:docMk/>
            <pc:sldMk cId="985521295" sldId="2147483090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1T06:47:58.510" v="191134"/>
          <ac:spMkLst>
            <pc:docMk/>
            <pc:sldMk cId="985521295" sldId="2147483090"/>
            <ac:spMk id="325" creationId="{AB71B1E4-3D2E-C2AD-858A-42B64874728B}"/>
          </ac:spMkLst>
        </pc:spChg>
        <pc:spChg chg="mod">
          <ac:chgData name="Yudi Zhu" userId="571e1a55-055f-4c28-8b35-fca6dd1c1369" providerId="ADAL" clId="{75A88773-6EE1-484E-AADE-FE631E01463B}" dt="2025-11-21T06:47:58.510" v="191135"/>
          <ac:spMkLst>
            <pc:docMk/>
            <pc:sldMk cId="985521295" sldId="2147483090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1T06:47:58.510" v="191136"/>
          <ac:spMkLst>
            <pc:docMk/>
            <pc:sldMk cId="985521295" sldId="2147483090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1T06:47:58.510" v="191137"/>
          <ac:spMkLst>
            <pc:docMk/>
            <pc:sldMk cId="985521295" sldId="2147483090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1T06:47:58.510" v="191138"/>
          <ac:spMkLst>
            <pc:docMk/>
            <pc:sldMk cId="985521295" sldId="2147483090"/>
            <ac:spMk id="329" creationId="{1D947013-A486-3EAC-83B6-9A5337E1F588}"/>
          </ac:spMkLst>
        </pc:spChg>
        <pc:spChg chg="mod">
          <ac:chgData name="Yudi Zhu" userId="571e1a55-055f-4c28-8b35-fca6dd1c1369" providerId="ADAL" clId="{75A88773-6EE1-484E-AADE-FE631E01463B}" dt="2025-11-21T06:47:58.510" v="191139"/>
          <ac:spMkLst>
            <pc:docMk/>
            <pc:sldMk cId="985521295" sldId="2147483090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1T06:47:58.510" v="191140"/>
          <ac:spMkLst>
            <pc:docMk/>
            <pc:sldMk cId="985521295" sldId="2147483090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1T06:47:58.526" v="191146"/>
          <ac:spMkLst>
            <pc:docMk/>
            <pc:sldMk cId="985521295" sldId="2147483090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1T06:47:58.526" v="191142"/>
          <ac:spMkLst>
            <pc:docMk/>
            <pc:sldMk cId="985521295" sldId="2147483090"/>
            <ac:spMk id="333" creationId="{1B021153-CBBD-C311-9A33-3887037A6E38}"/>
          </ac:spMkLst>
        </pc:spChg>
        <pc:spChg chg="mod">
          <ac:chgData name="Yudi Zhu" userId="571e1a55-055f-4c28-8b35-fca6dd1c1369" providerId="ADAL" clId="{75A88773-6EE1-484E-AADE-FE631E01463B}" dt="2025-11-21T06:47:58.526" v="191143"/>
          <ac:spMkLst>
            <pc:docMk/>
            <pc:sldMk cId="985521295" sldId="2147483090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1T06:47:58.526" v="191144"/>
          <ac:spMkLst>
            <pc:docMk/>
            <pc:sldMk cId="985521295" sldId="2147483090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1T06:47:58.526" v="191145"/>
          <ac:spMkLst>
            <pc:docMk/>
            <pc:sldMk cId="985521295" sldId="2147483090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1T06:47:58.505" v="191110"/>
          <ac:spMkLst>
            <pc:docMk/>
            <pc:sldMk cId="985521295" sldId="2147483090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1T06:47:58.526" v="191147"/>
          <ac:spMkLst>
            <pc:docMk/>
            <pc:sldMk cId="985521295" sldId="2147483090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1T06:47:58.526" v="191148"/>
          <ac:spMkLst>
            <pc:docMk/>
            <pc:sldMk cId="985521295" sldId="2147483090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1T06:47:58.526" v="191149"/>
          <ac:spMkLst>
            <pc:docMk/>
            <pc:sldMk cId="985521295" sldId="2147483090"/>
            <ac:spMk id="340" creationId="{F9C7A847-ECDA-65CC-C8B2-3D1C85EBEC3B}"/>
          </ac:spMkLst>
        </pc:spChg>
        <pc:spChg chg="mod">
          <ac:chgData name="Yudi Zhu" userId="571e1a55-055f-4c28-8b35-fca6dd1c1369" providerId="ADAL" clId="{75A88773-6EE1-484E-AADE-FE631E01463B}" dt="2025-11-21T06:47:58.526" v="191150"/>
          <ac:spMkLst>
            <pc:docMk/>
            <pc:sldMk cId="985521295" sldId="2147483090"/>
            <ac:spMk id="341" creationId="{FFD06BCD-2690-21DF-FA66-BC770219146D}"/>
          </ac:spMkLst>
        </pc:spChg>
        <pc:spChg chg="mod">
          <ac:chgData name="Yudi Zhu" userId="571e1a55-055f-4c28-8b35-fca6dd1c1369" providerId="ADAL" clId="{75A88773-6EE1-484E-AADE-FE631E01463B}" dt="2025-11-21T06:47:58.505" v="191111"/>
          <ac:spMkLst>
            <pc:docMk/>
            <pc:sldMk cId="985521295" sldId="2147483090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1T06:47:58.510" v="191131"/>
          <ac:spMkLst>
            <pc:docMk/>
            <pc:sldMk cId="985521295" sldId="2147483090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1T06:47:58.506" v="191112"/>
          <ac:spMkLst>
            <pc:docMk/>
            <pc:sldMk cId="985521295" sldId="2147483090"/>
            <ac:spMk id="344" creationId="{95A458C9-636A-ED3C-EFA8-833B370930EB}"/>
          </ac:spMkLst>
        </pc:spChg>
        <pc:spChg chg="mod">
          <ac:chgData name="Yudi Zhu" userId="571e1a55-055f-4c28-8b35-fca6dd1c1369" providerId="ADAL" clId="{75A88773-6EE1-484E-AADE-FE631E01463B}" dt="2025-11-21T06:47:58.507" v="191113"/>
          <ac:spMkLst>
            <pc:docMk/>
            <pc:sldMk cId="985521295" sldId="2147483090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1T06:47:58.507" v="191114"/>
          <ac:spMkLst>
            <pc:docMk/>
            <pc:sldMk cId="985521295" sldId="2147483090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1T06:47:58.508" v="191115"/>
          <ac:spMkLst>
            <pc:docMk/>
            <pc:sldMk cId="985521295" sldId="2147483090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1T06:47:58.509" v="191116"/>
          <ac:spMkLst>
            <pc:docMk/>
            <pc:sldMk cId="985521295" sldId="2147483090"/>
            <ac:spMk id="348" creationId="{3608E0DB-8595-B77B-55B5-68521F1BF056}"/>
          </ac:spMkLst>
        </pc:spChg>
        <pc:spChg chg="mod">
          <ac:chgData name="Yudi Zhu" userId="571e1a55-055f-4c28-8b35-fca6dd1c1369" providerId="ADAL" clId="{75A88773-6EE1-484E-AADE-FE631E01463B}" dt="2025-11-21T06:47:58.526" v="191151"/>
          <ac:spMkLst>
            <pc:docMk/>
            <pc:sldMk cId="985521295" sldId="2147483090"/>
            <ac:spMk id="349" creationId="{C07A0974-E552-0814-6C01-89E5836B344E}"/>
          </ac:spMkLst>
        </pc:spChg>
        <pc:spChg chg="mod">
          <ac:chgData name="Yudi Zhu" userId="571e1a55-055f-4c28-8b35-fca6dd1c1369" providerId="ADAL" clId="{75A88773-6EE1-484E-AADE-FE631E01463B}" dt="2025-11-21T06:47:58.526" v="191152"/>
          <ac:spMkLst>
            <pc:docMk/>
            <pc:sldMk cId="985521295" sldId="2147483090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1T06:47:58.526" v="191153"/>
          <ac:spMkLst>
            <pc:docMk/>
            <pc:sldMk cId="985521295" sldId="2147483090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1T06:47:58.526" v="191156"/>
          <ac:spMkLst>
            <pc:docMk/>
            <pc:sldMk cId="985521295" sldId="2147483090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1T06:47:58.526" v="191157"/>
          <ac:spMkLst>
            <pc:docMk/>
            <pc:sldMk cId="985521295" sldId="2147483090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1T06:47:58.526" v="191158"/>
          <ac:spMkLst>
            <pc:docMk/>
            <pc:sldMk cId="985521295" sldId="2147483090"/>
            <ac:spMk id="355" creationId="{B8F8C981-C881-6238-8329-8E7159CC921D}"/>
          </ac:spMkLst>
        </pc:spChg>
        <pc:spChg chg="mod ord">
          <ac:chgData name="Yudi Zhu" userId="571e1a55-055f-4c28-8b35-fca6dd1c1369" providerId="ADAL" clId="{75A88773-6EE1-484E-AADE-FE631E01463B}" dt="2025-11-21T06:47:58.494" v="191095"/>
          <ac:spMkLst>
            <pc:docMk/>
            <pc:sldMk cId="985521295" sldId="2147483090"/>
            <ac:spMk id="406" creationId="{CFD4AA38-3647-3428-3926-8E37A09B1745}"/>
          </ac:spMkLst>
        </pc:spChg>
        <pc:spChg chg="mod">
          <ac:chgData name="Yudi Zhu" userId="571e1a55-055f-4c28-8b35-fca6dd1c1369" providerId="ADAL" clId="{75A88773-6EE1-484E-AADE-FE631E01463B}" dt="2025-11-21T06:47:58.485" v="191081"/>
          <ac:spMkLst>
            <pc:docMk/>
            <pc:sldMk cId="985521295" sldId="2147483090"/>
            <ac:spMk id="438" creationId="{62D78070-DE7E-284B-5B21-541428776154}"/>
          </ac:spMkLst>
        </pc:spChg>
        <pc:spChg chg="mod">
          <ac:chgData name="Yudi Zhu" userId="571e1a55-055f-4c28-8b35-fca6dd1c1369" providerId="ADAL" clId="{75A88773-6EE1-484E-AADE-FE631E01463B}" dt="2025-11-21T06:47:58.486" v="191082"/>
          <ac:spMkLst>
            <pc:docMk/>
            <pc:sldMk cId="985521295" sldId="2147483090"/>
            <ac:spMk id="439" creationId="{1C66012C-3FA6-F111-9FFF-74D92A707899}"/>
          </ac:spMkLst>
        </pc:spChg>
        <pc:spChg chg="mod">
          <ac:chgData name="Yudi Zhu" userId="571e1a55-055f-4c28-8b35-fca6dd1c1369" providerId="ADAL" clId="{75A88773-6EE1-484E-AADE-FE631E01463B}" dt="2025-11-21T06:47:58.486" v="191083"/>
          <ac:spMkLst>
            <pc:docMk/>
            <pc:sldMk cId="985521295" sldId="2147483090"/>
            <ac:spMk id="440" creationId="{AC2CF271-77C6-6648-1A1F-CBB95DAD21BA}"/>
          </ac:spMkLst>
        </pc:spChg>
        <pc:spChg chg="mod">
          <ac:chgData name="Yudi Zhu" userId="571e1a55-055f-4c28-8b35-fca6dd1c1369" providerId="ADAL" clId="{75A88773-6EE1-484E-AADE-FE631E01463B}" dt="2025-11-21T06:47:58.487" v="191084"/>
          <ac:spMkLst>
            <pc:docMk/>
            <pc:sldMk cId="985521295" sldId="2147483090"/>
            <ac:spMk id="441" creationId="{20B85966-7344-67CA-CAB4-D7D9CFB1261C}"/>
          </ac:spMkLst>
        </pc:spChg>
        <pc:spChg chg="mod">
          <ac:chgData name="Yudi Zhu" userId="571e1a55-055f-4c28-8b35-fca6dd1c1369" providerId="ADAL" clId="{75A88773-6EE1-484E-AADE-FE631E01463B}" dt="2025-11-21T06:47:58.487" v="191085"/>
          <ac:spMkLst>
            <pc:docMk/>
            <pc:sldMk cId="985521295" sldId="2147483090"/>
            <ac:spMk id="442" creationId="{826F3FD2-5597-DC00-142B-6D8DCE63F800}"/>
          </ac:spMkLst>
        </pc:spChg>
        <pc:spChg chg="mod">
          <ac:chgData name="Yudi Zhu" userId="571e1a55-055f-4c28-8b35-fca6dd1c1369" providerId="ADAL" clId="{75A88773-6EE1-484E-AADE-FE631E01463B}" dt="2025-11-21T06:47:58.488" v="191086"/>
          <ac:spMkLst>
            <pc:docMk/>
            <pc:sldMk cId="985521295" sldId="2147483090"/>
            <ac:spMk id="443" creationId="{1F0AA58B-ED6E-1C59-B0AA-9E91D68A9880}"/>
          </ac:spMkLst>
        </pc:spChg>
        <pc:spChg chg="mod">
          <ac:chgData name="Yudi Zhu" userId="571e1a55-055f-4c28-8b35-fca6dd1c1369" providerId="ADAL" clId="{75A88773-6EE1-484E-AADE-FE631E01463B}" dt="2025-11-21T06:47:58.489" v="191087"/>
          <ac:spMkLst>
            <pc:docMk/>
            <pc:sldMk cId="985521295" sldId="2147483090"/>
            <ac:spMk id="444" creationId="{06F4A8F2-A9A7-6F3A-D942-115147A8428A}"/>
          </ac:spMkLst>
        </pc:spChg>
        <pc:spChg chg="mod">
          <ac:chgData name="Yudi Zhu" userId="571e1a55-055f-4c28-8b35-fca6dd1c1369" providerId="ADAL" clId="{75A88773-6EE1-484E-AADE-FE631E01463B}" dt="2025-11-21T06:47:58.489" v="191088"/>
          <ac:spMkLst>
            <pc:docMk/>
            <pc:sldMk cId="985521295" sldId="2147483090"/>
            <ac:spMk id="445" creationId="{8B0B53EE-EDD2-D4FD-BDEE-B2343300E71D}"/>
          </ac:spMkLst>
        </pc:spChg>
        <pc:spChg chg="mod">
          <ac:chgData name="Yudi Zhu" userId="571e1a55-055f-4c28-8b35-fca6dd1c1369" providerId="ADAL" clId="{75A88773-6EE1-484E-AADE-FE631E01463B}" dt="2025-11-21T06:47:58.490" v="191089"/>
          <ac:spMkLst>
            <pc:docMk/>
            <pc:sldMk cId="985521295" sldId="2147483090"/>
            <ac:spMk id="446" creationId="{0CEDD400-05FB-BF78-A39E-515714B9559B}"/>
          </ac:spMkLst>
        </pc:spChg>
        <pc:spChg chg="mod">
          <ac:chgData name="Yudi Zhu" userId="571e1a55-055f-4c28-8b35-fca6dd1c1369" providerId="ADAL" clId="{75A88773-6EE1-484E-AADE-FE631E01463B}" dt="2025-11-21T06:47:58.491" v="191090"/>
          <ac:spMkLst>
            <pc:docMk/>
            <pc:sldMk cId="985521295" sldId="2147483090"/>
            <ac:spMk id="447" creationId="{5F049847-FA42-FD30-41B7-E45D8A7549FE}"/>
          </ac:spMkLst>
        </pc:spChg>
        <pc:spChg chg="mod">
          <ac:chgData name="Yudi Zhu" userId="571e1a55-055f-4c28-8b35-fca6dd1c1369" providerId="ADAL" clId="{75A88773-6EE1-484E-AADE-FE631E01463B}" dt="2025-11-21T06:47:58.491" v="191091"/>
          <ac:spMkLst>
            <pc:docMk/>
            <pc:sldMk cId="985521295" sldId="2147483090"/>
            <ac:spMk id="448" creationId="{66D618E2-5FAC-928A-C6EA-CA5C5279C1F2}"/>
          </ac:spMkLst>
        </pc:spChg>
        <pc:spChg chg="mod">
          <ac:chgData name="Yudi Zhu" userId="571e1a55-055f-4c28-8b35-fca6dd1c1369" providerId="ADAL" clId="{75A88773-6EE1-484E-AADE-FE631E01463B}" dt="2025-11-21T06:47:58.492" v="191092"/>
          <ac:spMkLst>
            <pc:docMk/>
            <pc:sldMk cId="985521295" sldId="2147483090"/>
            <ac:spMk id="449" creationId="{DAACE3F6-87E7-B9D9-41FA-CCAFB83A2375}"/>
          </ac:spMkLst>
        </pc:spChg>
        <pc:spChg chg="mod">
          <ac:chgData name="Yudi Zhu" userId="571e1a55-055f-4c28-8b35-fca6dd1c1369" providerId="ADAL" clId="{75A88773-6EE1-484E-AADE-FE631E01463B}" dt="2025-11-21T06:47:58.502" v="191105"/>
          <ac:spMkLst>
            <pc:docMk/>
            <pc:sldMk cId="985521295" sldId="2147483090"/>
            <ac:spMk id="474" creationId="{EA4A294D-33DC-B620-45B5-33283D8D7C26}"/>
          </ac:spMkLst>
        </pc:spChg>
        <pc:spChg chg="mod">
          <ac:chgData name="Yudi Zhu" userId="571e1a55-055f-4c28-8b35-fca6dd1c1369" providerId="ADAL" clId="{75A88773-6EE1-484E-AADE-FE631E01463B}" dt="2025-11-21T06:47:58.502" v="191106"/>
          <ac:spMkLst>
            <pc:docMk/>
            <pc:sldMk cId="985521295" sldId="2147483090"/>
            <ac:spMk id="475" creationId="{01D2B1B9-B44A-500F-99F0-4EB098ED4BFB}"/>
          </ac:spMkLst>
        </pc:spChg>
        <pc:spChg chg="mod">
          <ac:chgData name="Yudi Zhu" userId="571e1a55-055f-4c28-8b35-fca6dd1c1369" providerId="ADAL" clId="{75A88773-6EE1-484E-AADE-FE631E01463B}" dt="2025-11-21T06:47:58.503" v="191107"/>
          <ac:spMkLst>
            <pc:docMk/>
            <pc:sldMk cId="985521295" sldId="2147483090"/>
            <ac:spMk id="476" creationId="{8B7D162F-71FB-118B-7344-28AA5F838272}"/>
          </ac:spMkLst>
        </pc:spChg>
        <pc:spChg chg="mod">
          <ac:chgData name="Yudi Zhu" userId="571e1a55-055f-4c28-8b35-fca6dd1c1369" providerId="ADAL" clId="{75A88773-6EE1-484E-AADE-FE631E01463B}" dt="2025-11-21T06:47:58.503" v="191108"/>
          <ac:spMkLst>
            <pc:docMk/>
            <pc:sldMk cId="985521295" sldId="2147483090"/>
            <ac:spMk id="477" creationId="{5884CB9A-3565-01FD-0F88-E2A61CB6A90F}"/>
          </ac:spMkLst>
        </pc:spChg>
        <pc:spChg chg="mod">
          <ac:chgData name="Yudi Zhu" userId="571e1a55-055f-4c28-8b35-fca6dd1c1369" providerId="ADAL" clId="{75A88773-6EE1-484E-AADE-FE631E01463B}" dt="2025-11-21T06:47:58.504" v="191109"/>
          <ac:spMkLst>
            <pc:docMk/>
            <pc:sldMk cId="985521295" sldId="2147483090"/>
            <ac:spMk id="478" creationId="{127B0F5A-5F8A-2D0F-C3B7-DCD38B84FDEB}"/>
          </ac:spMkLst>
        </pc:spChg>
        <pc:graphicFrameChg chg="add del mod">
          <ac:chgData name="Yudi Zhu" userId="571e1a55-055f-4c28-8b35-fca6dd1c1369" providerId="ADAL" clId="{75A88773-6EE1-484E-AADE-FE631E01463B}" dt="2025-11-21T06:47:58.239" v="190717"/>
          <ac:graphicFrameMkLst>
            <pc:docMk/>
            <pc:sldMk cId="985521295" sldId="2147483090"/>
            <ac:graphicFrameMk id="5" creationId="{D042FB07-DD47-F2E4-D396-8828DFDD91D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6:47:58.391" v="190912"/>
          <ac:graphicFrameMkLst>
            <pc:docMk/>
            <pc:sldMk cId="985521295" sldId="2147483090"/>
            <ac:graphicFrameMk id="8" creationId="{AA150D5D-D643-8B47-3343-9124F2451FF8}"/>
          </ac:graphicFrameMkLst>
        </pc:graphicFrameChg>
        <pc:graphicFrameChg chg="add mod">
          <ac:chgData name="Yudi Zhu" userId="571e1a55-055f-4c28-8b35-fca6dd1c1369" providerId="ADAL" clId="{75A88773-6EE1-484E-AADE-FE631E01463B}" dt="2025-11-21T06:47:58.422" v="190950"/>
          <ac:graphicFrameMkLst>
            <pc:docMk/>
            <pc:sldMk cId="985521295" sldId="2147483090"/>
            <ac:graphicFrameMk id="10" creationId="{0B5A5A02-1C48-F692-5375-61710DA96ADD}"/>
          </ac:graphicFrameMkLst>
        </pc:graphicFrameChg>
        <pc:graphicFrameChg chg="mod">
          <ac:chgData name="Yudi Zhu" userId="571e1a55-055f-4c28-8b35-fca6dd1c1369" providerId="ADAL" clId="{75A88773-6EE1-484E-AADE-FE631E01463B}" dt="2025-11-21T06:47:58.526" v="191162"/>
          <ac:graphicFrameMkLst>
            <pc:docMk/>
            <pc:sldMk cId="985521295" sldId="2147483090"/>
            <ac:graphicFrameMk id="11" creationId="{06D8B66D-C873-80E6-487B-D6B21C51228A}"/>
          </ac:graphicFrameMkLst>
        </pc:graphicFrameChg>
        <pc:graphicFrameChg chg="add mod">
          <ac:chgData name="Yudi Zhu" userId="571e1a55-055f-4c28-8b35-fca6dd1c1369" providerId="ADAL" clId="{75A88773-6EE1-484E-AADE-FE631E01463B}" dt="2025-11-21T06:47:58.501" v="191104"/>
          <ac:graphicFrameMkLst>
            <pc:docMk/>
            <pc:sldMk cId="985521295" sldId="2147483090"/>
            <ac:graphicFrameMk id="12" creationId="{31609855-2823-EB72-26B0-E4607E9E9F7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55:15.419" v="296929" actId="478"/>
          <ac:graphicFrameMkLst>
            <pc:docMk/>
            <pc:sldMk cId="985521295" sldId="2147483090"/>
            <ac:graphicFrameMk id="13" creationId="{1612F8BC-8C64-08AE-B04E-6F929589C74C}"/>
          </ac:graphicFrameMkLst>
        </pc:graphicFrameChg>
        <pc:graphicFrameChg chg="add mod">
          <ac:chgData name="Yudi Zhu" userId="571e1a55-055f-4c28-8b35-fca6dd1c1369" providerId="ADAL" clId="{75A88773-6EE1-484E-AADE-FE631E01463B}" dt="2025-11-21T07:55:18.943" v="296931" actId="1076"/>
          <ac:graphicFrameMkLst>
            <pc:docMk/>
            <pc:sldMk cId="985521295" sldId="2147483090"/>
            <ac:graphicFrameMk id="22" creationId="{060A165A-0E4A-527E-9B5A-F13ACA3F0288}"/>
          </ac:graphicFrameMkLst>
        </pc:graphicFrameChg>
        <pc:graphicFrameChg chg="del">
          <ac:chgData name="Yudi Zhu" userId="571e1a55-055f-4c28-8b35-fca6dd1c1369" providerId="ADAL" clId="{75A88773-6EE1-484E-AADE-FE631E01463B}" dt="2025-11-21T06:47:35.578" v="189735"/>
          <ac:graphicFrameMkLst>
            <pc:docMk/>
            <pc:sldMk cId="985521295" sldId="2147483090"/>
            <ac:graphicFrameMk id="479" creationId="{485A7381-C4F1-B165-B682-AA6E6593B240}"/>
          </ac:graphicFrameMkLst>
        </pc:graphicFrameChg>
        <pc:graphicFrameChg chg="del">
          <ac:chgData name="Yudi Zhu" userId="571e1a55-055f-4c28-8b35-fca6dd1c1369" providerId="ADAL" clId="{75A88773-6EE1-484E-AADE-FE631E01463B}" dt="2025-11-21T06:47:35.140" v="189360"/>
          <ac:graphicFrameMkLst>
            <pc:docMk/>
            <pc:sldMk cId="985521295" sldId="2147483090"/>
            <ac:graphicFrameMk id="522" creationId="{18E9EC9A-43C2-E52D-6C4A-779B7749B7FD}"/>
          </ac:graphicFrameMkLst>
        </pc:graphicFrameChg>
        <pc:cxnChg chg="mod ord">
          <ac:chgData name="Yudi Zhu" userId="571e1a55-055f-4c28-8b35-fca6dd1c1369" providerId="ADAL" clId="{75A88773-6EE1-484E-AADE-FE631E01463B}" dt="2025-11-21T06:47:58.422" v="190945"/>
          <ac:cxnSpMkLst>
            <pc:docMk/>
            <pc:sldMk cId="985521295" sldId="2147483090"/>
            <ac:cxnSpMk id="31" creationId="{D26841A6-9DC3-0740-7551-3075E2B9F93B}"/>
          </ac:cxnSpMkLst>
        </pc:cxnChg>
        <pc:cxnChg chg="mod ord">
          <ac:chgData name="Yudi Zhu" userId="571e1a55-055f-4c28-8b35-fca6dd1c1369" providerId="ADAL" clId="{75A88773-6EE1-484E-AADE-FE631E01463B}" dt="2025-11-21T06:47:58.422" v="190937"/>
          <ac:cxnSpMkLst>
            <pc:docMk/>
            <pc:sldMk cId="985521295" sldId="2147483090"/>
            <ac:cxnSpMk id="33" creationId="{D8CC9065-D422-8648-E1FE-A4AD825FEDF1}"/>
          </ac:cxnSpMkLst>
        </pc:cxnChg>
        <pc:cxnChg chg="mod ord">
          <ac:chgData name="Yudi Zhu" userId="571e1a55-055f-4c28-8b35-fca6dd1c1369" providerId="ADAL" clId="{75A88773-6EE1-484E-AADE-FE631E01463B}" dt="2025-11-21T06:47:58.422" v="190933"/>
          <ac:cxnSpMkLst>
            <pc:docMk/>
            <pc:sldMk cId="985521295" sldId="2147483090"/>
            <ac:cxnSpMk id="34" creationId="{7148BD18-26B0-0BC4-5969-6900494D6B7E}"/>
          </ac:cxnSpMkLst>
        </pc:cxnChg>
        <pc:cxnChg chg="mod ord">
          <ac:chgData name="Yudi Zhu" userId="571e1a55-055f-4c28-8b35-fca6dd1c1369" providerId="ADAL" clId="{75A88773-6EE1-484E-AADE-FE631E01463B}" dt="2025-11-21T06:47:58.422" v="190931"/>
          <ac:cxnSpMkLst>
            <pc:docMk/>
            <pc:sldMk cId="985521295" sldId="2147483090"/>
            <ac:cxnSpMk id="35" creationId="{E6530368-09A5-8CD9-EC3E-C6B7643D79D6}"/>
          </ac:cxnSpMkLst>
        </pc:cxnChg>
        <pc:cxnChg chg="mod ord">
          <ac:chgData name="Yudi Zhu" userId="571e1a55-055f-4c28-8b35-fca6dd1c1369" providerId="ADAL" clId="{75A88773-6EE1-484E-AADE-FE631E01463B}" dt="2025-11-21T06:47:58.422" v="190929"/>
          <ac:cxnSpMkLst>
            <pc:docMk/>
            <pc:sldMk cId="985521295" sldId="2147483090"/>
            <ac:cxnSpMk id="36" creationId="{45F631CA-8AA2-38D6-175D-287D78EA1600}"/>
          </ac:cxnSpMkLst>
        </pc:cxnChg>
        <pc:cxnChg chg="mod ord">
          <ac:chgData name="Yudi Zhu" userId="571e1a55-055f-4c28-8b35-fca6dd1c1369" providerId="ADAL" clId="{75A88773-6EE1-484E-AADE-FE631E01463B}" dt="2025-11-21T06:47:58.422" v="190921"/>
          <ac:cxnSpMkLst>
            <pc:docMk/>
            <pc:sldMk cId="985521295" sldId="2147483090"/>
            <ac:cxnSpMk id="109" creationId="{704A8212-DD5D-0F92-2E79-11BA243AA1CE}"/>
          </ac:cxnSpMkLst>
        </pc:cxnChg>
        <pc:cxnChg chg="mod ord">
          <ac:chgData name="Yudi Zhu" userId="571e1a55-055f-4c28-8b35-fca6dd1c1369" providerId="ADAL" clId="{75A88773-6EE1-484E-AADE-FE631E01463B}" dt="2025-11-21T06:47:58.422" v="190947"/>
          <ac:cxnSpMkLst>
            <pc:docMk/>
            <pc:sldMk cId="985521295" sldId="2147483090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1T06:47:58.439" v="190990"/>
          <ac:cxnSpMkLst>
            <pc:docMk/>
            <pc:sldMk cId="985521295" sldId="2147483090"/>
            <ac:cxnSpMk id="221" creationId="{05668C3C-3FE5-FC7D-B8EB-6BC700BD5F6E}"/>
          </ac:cxnSpMkLst>
        </pc:cxnChg>
        <pc:cxnChg chg="mod ord">
          <ac:chgData name="Yudi Zhu" userId="571e1a55-055f-4c28-8b35-fca6dd1c1369" providerId="ADAL" clId="{75A88773-6EE1-484E-AADE-FE631E01463B}" dt="2025-11-21T06:47:58.439" v="190996"/>
          <ac:cxnSpMkLst>
            <pc:docMk/>
            <pc:sldMk cId="985521295" sldId="2147483090"/>
            <ac:cxnSpMk id="223" creationId="{34990D9C-5D30-26F9-992D-877D0A2AE3FF}"/>
          </ac:cxnSpMkLst>
        </pc:cxnChg>
        <pc:cxnChg chg="mod ord">
          <ac:chgData name="Yudi Zhu" userId="571e1a55-055f-4c28-8b35-fca6dd1c1369" providerId="ADAL" clId="{75A88773-6EE1-484E-AADE-FE631E01463B}" dt="2025-11-21T06:47:58.439" v="190986"/>
          <ac:cxnSpMkLst>
            <pc:docMk/>
            <pc:sldMk cId="985521295" sldId="2147483090"/>
            <ac:cxnSpMk id="234" creationId="{5DE3B6EE-49C8-1F9A-6C4E-4D6416C1B593}"/>
          </ac:cxnSpMkLst>
        </pc:cxnChg>
        <pc:cxnChg chg="mod ord">
          <ac:chgData name="Yudi Zhu" userId="571e1a55-055f-4c28-8b35-fca6dd1c1369" providerId="ADAL" clId="{75A88773-6EE1-484E-AADE-FE631E01463B}" dt="2025-11-21T06:47:58.439" v="190980"/>
          <ac:cxnSpMkLst>
            <pc:docMk/>
            <pc:sldMk cId="985521295" sldId="2147483090"/>
            <ac:cxnSpMk id="291" creationId="{0D1F8862-41F0-F3D6-8665-EF6D11CF9CA1}"/>
          </ac:cxnSpMkLst>
        </pc:cxnChg>
        <pc:cxnChg chg="mod ord">
          <ac:chgData name="Yudi Zhu" userId="571e1a55-055f-4c28-8b35-fca6dd1c1369" providerId="ADAL" clId="{75A88773-6EE1-484E-AADE-FE631E01463B}" dt="2025-11-21T06:47:58.439" v="190978"/>
          <ac:cxnSpMkLst>
            <pc:docMk/>
            <pc:sldMk cId="985521295" sldId="2147483090"/>
            <ac:cxnSpMk id="292" creationId="{9DF565FF-D20F-B171-3D6A-184A3ACF81B7}"/>
          </ac:cxnSpMkLst>
        </pc:cxnChg>
        <pc:cxnChg chg="mod ord">
          <ac:chgData name="Yudi Zhu" userId="571e1a55-055f-4c28-8b35-fca6dd1c1369" providerId="ADAL" clId="{75A88773-6EE1-484E-AADE-FE631E01463B}" dt="2025-11-21T06:47:58.439" v="190982"/>
          <ac:cxnSpMkLst>
            <pc:docMk/>
            <pc:sldMk cId="985521295" sldId="2147483090"/>
            <ac:cxnSpMk id="293" creationId="{2F616CA8-081B-6BFA-EABE-6251C5444812}"/>
          </ac:cxnSpMkLst>
        </pc:cxnChg>
        <pc:cxnChg chg="mod ord">
          <ac:chgData name="Yudi Zhu" userId="571e1a55-055f-4c28-8b35-fca6dd1c1369" providerId="ADAL" clId="{75A88773-6EE1-484E-AADE-FE631E01463B}" dt="2025-11-21T06:47:58.422" v="190925"/>
          <ac:cxnSpMkLst>
            <pc:docMk/>
            <pc:sldMk cId="985521295" sldId="2147483090"/>
            <ac:cxnSpMk id="294" creationId="{6AA15796-9B04-C8BE-AA28-B275C6DF7A90}"/>
          </ac:cxnSpMkLst>
        </pc:cxnChg>
        <pc:cxnChg chg="mod ord">
          <ac:chgData name="Yudi Zhu" userId="571e1a55-055f-4c28-8b35-fca6dd1c1369" providerId="ADAL" clId="{75A88773-6EE1-484E-AADE-FE631E01463B}" dt="2025-11-21T06:47:58.526" v="191155"/>
          <ac:cxnSpMkLst>
            <pc:docMk/>
            <pc:sldMk cId="985521295" sldId="2147483090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1T06:47:58.422" v="190941"/>
          <ac:cxnSpMkLst>
            <pc:docMk/>
            <pc:sldMk cId="985521295" sldId="2147483090"/>
            <ac:cxnSpMk id="371" creationId="{7695CBD2-4E90-8BFA-3385-A06388B444C4}"/>
          </ac:cxnSpMkLst>
        </pc:cxnChg>
        <pc:cxnChg chg="mod ord">
          <ac:chgData name="Yudi Zhu" userId="571e1a55-055f-4c28-8b35-fca6dd1c1369" providerId="ADAL" clId="{75A88773-6EE1-484E-AADE-FE631E01463B}" dt="2025-11-21T06:47:58.439" v="190992"/>
          <ac:cxnSpMkLst>
            <pc:docMk/>
            <pc:sldMk cId="985521295" sldId="2147483090"/>
            <ac:cxnSpMk id="403" creationId="{BA9128B5-EF49-4B69-CDE7-E997B27CCCBA}"/>
          </ac:cxnSpMkLst>
        </pc:cxnChg>
        <pc:cxnChg chg="mod ord">
          <ac:chgData name="Yudi Zhu" userId="571e1a55-055f-4c28-8b35-fca6dd1c1369" providerId="ADAL" clId="{75A88773-6EE1-484E-AADE-FE631E01463B}" dt="2025-11-21T06:47:58.439" v="190972"/>
          <ac:cxnSpMkLst>
            <pc:docMk/>
            <pc:sldMk cId="985521295" sldId="2147483090"/>
            <ac:cxnSpMk id="404" creationId="{837DB185-7A5F-383C-F23A-AF1F1C40A0BD}"/>
          </ac:cxnSpMkLst>
        </pc:cxnChg>
        <pc:cxnChg chg="mod ord">
          <ac:chgData name="Yudi Zhu" userId="571e1a55-055f-4c28-8b35-fca6dd1c1369" providerId="ADAL" clId="{75A88773-6EE1-484E-AADE-FE631E01463B}" dt="2025-11-21T06:47:58.422" v="190952"/>
          <ac:cxnSpMkLst>
            <pc:docMk/>
            <pc:sldMk cId="985521295" sldId="2147483090"/>
            <ac:cxnSpMk id="409" creationId="{19664E6A-F000-66FF-52F8-AF3581B5173B}"/>
          </ac:cxnSpMkLst>
        </pc:cxnChg>
        <pc:cxnChg chg="mod ord">
          <ac:chgData name="Yudi Zhu" userId="571e1a55-055f-4c28-8b35-fca6dd1c1369" providerId="ADAL" clId="{75A88773-6EE1-484E-AADE-FE631E01463B}" dt="2025-11-21T06:47:58.422" v="190966"/>
          <ac:cxnSpMkLst>
            <pc:docMk/>
            <pc:sldMk cId="985521295" sldId="2147483090"/>
            <ac:cxnSpMk id="410" creationId="{9C7A6258-CD2E-9B36-125B-23984FFB4791}"/>
          </ac:cxnSpMkLst>
        </pc:cxnChg>
        <pc:cxnChg chg="mod ord">
          <ac:chgData name="Yudi Zhu" userId="571e1a55-055f-4c28-8b35-fca6dd1c1369" providerId="ADAL" clId="{75A88773-6EE1-484E-AADE-FE631E01463B}" dt="2025-11-21T06:47:58.422" v="190968"/>
          <ac:cxnSpMkLst>
            <pc:docMk/>
            <pc:sldMk cId="985521295" sldId="2147483090"/>
            <ac:cxnSpMk id="411" creationId="{446A87B7-FD8F-245A-DAD5-1AAE64996598}"/>
          </ac:cxnSpMkLst>
        </pc:cxnChg>
        <pc:cxnChg chg="mod ord">
          <ac:chgData name="Yudi Zhu" userId="571e1a55-055f-4c28-8b35-fca6dd1c1369" providerId="ADAL" clId="{75A88773-6EE1-484E-AADE-FE631E01463B}" dt="2025-11-21T06:47:58.439" v="190994"/>
          <ac:cxnSpMkLst>
            <pc:docMk/>
            <pc:sldMk cId="985521295" sldId="2147483090"/>
            <ac:cxnSpMk id="424" creationId="{AEEDCDF5-3E29-C5F1-4E78-1E954BEE7ED8}"/>
          </ac:cxnSpMkLst>
        </pc:cxnChg>
        <pc:cxnChg chg="mod ord">
          <ac:chgData name="Yudi Zhu" userId="571e1a55-055f-4c28-8b35-fca6dd1c1369" providerId="ADAL" clId="{75A88773-6EE1-484E-AADE-FE631E01463B}" dt="2025-11-21T06:47:58.439" v="190998"/>
          <ac:cxnSpMkLst>
            <pc:docMk/>
            <pc:sldMk cId="985521295" sldId="2147483090"/>
            <ac:cxnSpMk id="425" creationId="{4B0A3594-549B-47C5-B814-A5FC41C5DAD8}"/>
          </ac:cxnSpMkLst>
        </pc:cxnChg>
        <pc:cxnChg chg="mod ord">
          <ac:chgData name="Yudi Zhu" userId="571e1a55-055f-4c28-8b35-fca6dd1c1369" providerId="ADAL" clId="{75A88773-6EE1-484E-AADE-FE631E01463B}" dt="2025-11-21T06:47:58.439" v="190988"/>
          <ac:cxnSpMkLst>
            <pc:docMk/>
            <pc:sldMk cId="985521295" sldId="2147483090"/>
            <ac:cxnSpMk id="426" creationId="{B2CCE869-98B3-1271-4467-FCDC36152852}"/>
          </ac:cxnSpMkLst>
        </pc:cxnChg>
        <pc:cxnChg chg="mod ord">
          <ac:chgData name="Yudi Zhu" userId="571e1a55-055f-4c28-8b35-fca6dd1c1369" providerId="ADAL" clId="{75A88773-6EE1-484E-AADE-FE631E01463B}" dt="2025-11-21T06:47:58.439" v="190974"/>
          <ac:cxnSpMkLst>
            <pc:docMk/>
            <pc:sldMk cId="985521295" sldId="2147483090"/>
            <ac:cxnSpMk id="427" creationId="{2FCE6CB7-618A-8664-DF5D-6AC89AB6BBD0}"/>
          </ac:cxnSpMkLst>
        </pc:cxnChg>
        <pc:cxnChg chg="mod ord">
          <ac:chgData name="Yudi Zhu" userId="571e1a55-055f-4c28-8b35-fca6dd1c1369" providerId="ADAL" clId="{75A88773-6EE1-484E-AADE-FE631E01463B}" dt="2025-11-21T06:47:58.422" v="190943"/>
          <ac:cxnSpMkLst>
            <pc:docMk/>
            <pc:sldMk cId="985521295" sldId="2147483090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1T06:47:58.422" v="190923"/>
          <ac:cxnSpMkLst>
            <pc:docMk/>
            <pc:sldMk cId="985521295" sldId="2147483090"/>
            <ac:cxnSpMk id="431" creationId="{5AA105B7-A2E6-B910-AAFB-0A129E5A83EE}"/>
          </ac:cxnSpMkLst>
        </pc:cxnChg>
        <pc:cxnChg chg="mod ord">
          <ac:chgData name="Yudi Zhu" userId="571e1a55-055f-4c28-8b35-fca6dd1c1369" providerId="ADAL" clId="{75A88773-6EE1-484E-AADE-FE631E01463B}" dt="2025-11-21T06:47:58.422" v="190949"/>
          <ac:cxnSpMkLst>
            <pc:docMk/>
            <pc:sldMk cId="985521295" sldId="2147483090"/>
            <ac:cxnSpMk id="434" creationId="{5C1E66C5-45CB-E95A-9D3B-932FF92EC7EF}"/>
          </ac:cxnSpMkLst>
        </pc:cxnChg>
        <pc:cxnChg chg="mod ord">
          <ac:chgData name="Yudi Zhu" userId="571e1a55-055f-4c28-8b35-fca6dd1c1369" providerId="ADAL" clId="{75A88773-6EE1-484E-AADE-FE631E01463B}" dt="2025-11-21T06:47:58.422" v="190964"/>
          <ac:cxnSpMkLst>
            <pc:docMk/>
            <pc:sldMk cId="985521295" sldId="2147483090"/>
            <ac:cxnSpMk id="435" creationId="{ECA162E7-4A39-1A48-0620-6F602A22B9FB}"/>
          </ac:cxnSpMkLst>
        </pc:cxnChg>
        <pc:cxnChg chg="mod ord">
          <ac:chgData name="Yudi Zhu" userId="571e1a55-055f-4c28-8b35-fca6dd1c1369" providerId="ADAL" clId="{75A88773-6EE1-484E-AADE-FE631E01463B}" dt="2025-11-21T06:47:58.422" v="190954"/>
          <ac:cxnSpMkLst>
            <pc:docMk/>
            <pc:sldMk cId="985521295" sldId="2147483090"/>
            <ac:cxnSpMk id="450" creationId="{E08A7E24-6FD0-D422-C285-8574FB6C2C10}"/>
          </ac:cxnSpMkLst>
        </pc:cxnChg>
        <pc:cxnChg chg="mod ord">
          <ac:chgData name="Yudi Zhu" userId="571e1a55-055f-4c28-8b35-fca6dd1c1369" providerId="ADAL" clId="{75A88773-6EE1-484E-AADE-FE631E01463B}" dt="2025-11-21T06:47:58.422" v="190956"/>
          <ac:cxnSpMkLst>
            <pc:docMk/>
            <pc:sldMk cId="985521295" sldId="2147483090"/>
            <ac:cxnSpMk id="451" creationId="{11A3770B-14A7-64D4-C151-0BF2FCB335CC}"/>
          </ac:cxnSpMkLst>
        </pc:cxnChg>
        <pc:cxnChg chg="mod ord">
          <ac:chgData name="Yudi Zhu" userId="571e1a55-055f-4c28-8b35-fca6dd1c1369" providerId="ADAL" clId="{75A88773-6EE1-484E-AADE-FE631E01463B}" dt="2025-11-21T06:47:58.422" v="190958"/>
          <ac:cxnSpMkLst>
            <pc:docMk/>
            <pc:sldMk cId="985521295" sldId="2147483090"/>
            <ac:cxnSpMk id="452" creationId="{BFAD482D-5F3E-48DD-BE4D-3E1EC0328A9B}"/>
          </ac:cxnSpMkLst>
        </pc:cxnChg>
        <pc:cxnChg chg="mod ord">
          <ac:chgData name="Yudi Zhu" userId="571e1a55-055f-4c28-8b35-fca6dd1c1369" providerId="ADAL" clId="{75A88773-6EE1-484E-AADE-FE631E01463B}" dt="2025-11-21T06:47:58.439" v="190976"/>
          <ac:cxnSpMkLst>
            <pc:docMk/>
            <pc:sldMk cId="985521295" sldId="2147483090"/>
            <ac:cxnSpMk id="487" creationId="{04DA5EF9-F641-635D-5D14-26B26A1019AD}"/>
          </ac:cxnSpMkLst>
        </pc:cxnChg>
        <pc:cxnChg chg="mod ord">
          <ac:chgData name="Yudi Zhu" userId="571e1a55-055f-4c28-8b35-fca6dd1c1369" providerId="ADAL" clId="{75A88773-6EE1-484E-AADE-FE631E01463B}" dt="2025-11-21T06:47:58.422" v="190935"/>
          <ac:cxnSpMkLst>
            <pc:docMk/>
            <pc:sldMk cId="985521295" sldId="2147483090"/>
            <ac:cxnSpMk id="488" creationId="{D28D1E49-68EF-4D63-E72E-25882683E109}"/>
          </ac:cxnSpMkLst>
        </pc:cxnChg>
        <pc:cxnChg chg="mod ord">
          <ac:chgData name="Yudi Zhu" userId="571e1a55-055f-4c28-8b35-fca6dd1c1369" providerId="ADAL" clId="{75A88773-6EE1-484E-AADE-FE631E01463B}" dt="2025-11-21T06:47:58.422" v="190927"/>
          <ac:cxnSpMkLst>
            <pc:docMk/>
            <pc:sldMk cId="985521295" sldId="2147483090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1T06:47:58.439" v="190984"/>
          <ac:cxnSpMkLst>
            <pc:docMk/>
            <pc:sldMk cId="985521295" sldId="2147483090"/>
            <ac:cxnSpMk id="497" creationId="{5A7C1760-581F-8BAE-F0C6-ADCDC9B0CE9A}"/>
          </ac:cxnSpMkLst>
        </pc:cxnChg>
        <pc:cxnChg chg="mod ord">
          <ac:chgData name="Yudi Zhu" userId="571e1a55-055f-4c28-8b35-fca6dd1c1369" providerId="ADAL" clId="{75A88773-6EE1-484E-AADE-FE631E01463B}" dt="2025-11-21T06:47:58.438" v="190970"/>
          <ac:cxnSpMkLst>
            <pc:docMk/>
            <pc:sldMk cId="985521295" sldId="2147483090"/>
            <ac:cxnSpMk id="500" creationId="{73B60EA3-8B3F-E4B1-5877-7BAEB2A92700}"/>
          </ac:cxnSpMkLst>
        </pc:cxnChg>
        <pc:cxnChg chg="mod ord">
          <ac:chgData name="Yudi Zhu" userId="571e1a55-055f-4c28-8b35-fca6dd1c1369" providerId="ADAL" clId="{75A88773-6EE1-484E-AADE-FE631E01463B}" dt="2025-11-21T06:47:58.422" v="190939"/>
          <ac:cxnSpMkLst>
            <pc:docMk/>
            <pc:sldMk cId="985521295" sldId="2147483090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1T06:47:58.422" v="190960"/>
          <ac:cxnSpMkLst>
            <pc:docMk/>
            <pc:sldMk cId="985521295" sldId="2147483090"/>
            <ac:cxnSpMk id="502" creationId="{4CC651D8-EDBA-8820-3324-DE14FE1741AF}"/>
          </ac:cxnSpMkLst>
        </pc:cxnChg>
        <pc:cxnChg chg="mod ord">
          <ac:chgData name="Yudi Zhu" userId="571e1a55-055f-4c28-8b35-fca6dd1c1369" providerId="ADAL" clId="{75A88773-6EE1-484E-AADE-FE631E01463B}" dt="2025-11-21T06:47:58.422" v="190962"/>
          <ac:cxnSpMkLst>
            <pc:docMk/>
            <pc:sldMk cId="985521295" sldId="2147483090"/>
            <ac:cxnSpMk id="503" creationId="{D7335AEC-9FE5-F8C7-3EA7-E0B40EA19127}"/>
          </ac:cxnSpMkLst>
        </pc:cxnChg>
      </pc:sldChg>
      <pc:sldChg chg="delSp new del mod">
        <pc:chgData name="Yudi Zhu" userId="571e1a55-055f-4c28-8b35-fca6dd1c1369" providerId="ADAL" clId="{75A88773-6EE1-484E-AADE-FE631E01463B}" dt="2025-11-21T07:11:07.045" v="215189" actId="47"/>
        <pc:sldMkLst>
          <pc:docMk/>
          <pc:sldMk cId="2483855963" sldId="2147483091"/>
        </pc:sldMkLst>
        <pc:spChg chg="del">
          <ac:chgData name="Yudi Zhu" userId="571e1a55-055f-4c28-8b35-fca6dd1c1369" providerId="ADAL" clId="{75A88773-6EE1-484E-AADE-FE631E01463B}" dt="2025-11-21T07:10:56.384" v="215187" actId="478"/>
          <ac:spMkLst>
            <pc:docMk/>
            <pc:sldMk cId="2483855963" sldId="2147483091"/>
            <ac:spMk id="3" creationId="{7A197D78-9BD2-391E-6983-12F79436CF0C}"/>
          </ac:spMkLst>
        </pc:spChg>
      </pc:sldChg>
      <pc:sldChg chg="addSp delSp modSp add del mod modShow">
        <pc:chgData name="Yudi Zhu" userId="571e1a55-055f-4c28-8b35-fca6dd1c1369" providerId="ADAL" clId="{75A88773-6EE1-484E-AADE-FE631E01463B}" dt="2025-11-26T04:03:50.282" v="765846" actId="47"/>
        <pc:sldMkLst>
          <pc:docMk/>
          <pc:sldMk cId="3248606948" sldId="2147483091"/>
        </pc:sldMkLst>
        <pc:spChg chg="mod">
          <ac:chgData name="Yudi Zhu" userId="571e1a55-055f-4c28-8b35-fca6dd1c1369" providerId="ADAL" clId="{75A88773-6EE1-484E-AADE-FE631E01463B}" dt="2025-11-21T10:09:36.398" v="451842" actId="948"/>
          <ac:spMkLst>
            <pc:docMk/>
            <pc:sldMk cId="3248606948" sldId="2147483091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1T10:09:23.701" v="451778"/>
          <ac:spMkLst>
            <pc:docMk/>
            <pc:sldMk cId="3248606948" sldId="2147483091"/>
            <ac:spMk id="3" creationId="{4805DD7B-6D21-AD93-5187-3439B833D7BA}"/>
          </ac:spMkLst>
        </pc:spChg>
        <pc:spChg chg="mod">
          <ac:chgData name="Yudi Zhu" userId="571e1a55-055f-4c28-8b35-fca6dd1c1369" providerId="ADAL" clId="{75A88773-6EE1-484E-AADE-FE631E01463B}" dt="2025-11-21T10:09:23.582" v="451735"/>
          <ac:spMkLst>
            <pc:docMk/>
            <pc:sldMk cId="3248606948" sldId="2147483091"/>
            <ac:spMk id="111" creationId="{AAA06325-DD3B-1CF5-19E0-9763AE69D5C6}"/>
          </ac:spMkLst>
        </pc:spChg>
        <pc:spChg chg="mod">
          <ac:chgData name="Yudi Zhu" userId="571e1a55-055f-4c28-8b35-fca6dd1c1369" providerId="ADAL" clId="{75A88773-6EE1-484E-AADE-FE631E01463B}" dt="2025-11-21T10:09:23.621" v="451756"/>
          <ac:spMkLst>
            <pc:docMk/>
            <pc:sldMk cId="3248606948" sldId="2147483091"/>
            <ac:spMk id="113" creationId="{BACA35AB-657D-B05E-DF52-33CF5B061AD0}"/>
          </ac:spMkLst>
        </pc:spChg>
        <pc:spChg chg="mod">
          <ac:chgData name="Yudi Zhu" userId="571e1a55-055f-4c28-8b35-fca6dd1c1369" providerId="ADAL" clId="{75A88773-6EE1-484E-AADE-FE631E01463B}" dt="2025-11-21T10:09:23.628" v="451759"/>
          <ac:spMkLst>
            <pc:docMk/>
            <pc:sldMk cId="3248606948" sldId="2147483091"/>
            <ac:spMk id="114" creationId="{7FFF1B82-CF66-34A4-7ED1-AA02B7DBB995}"/>
          </ac:spMkLst>
        </pc:spChg>
        <pc:spChg chg="mod">
          <ac:chgData name="Yudi Zhu" userId="571e1a55-055f-4c28-8b35-fca6dd1c1369" providerId="ADAL" clId="{75A88773-6EE1-484E-AADE-FE631E01463B}" dt="2025-11-21T10:09:23.654" v="451762"/>
          <ac:spMkLst>
            <pc:docMk/>
            <pc:sldMk cId="3248606948" sldId="2147483091"/>
            <ac:spMk id="115" creationId="{E776C8B1-75DA-0EEE-827A-E179C8E4BA66}"/>
          </ac:spMkLst>
        </pc:spChg>
        <pc:spChg chg="mod">
          <ac:chgData name="Yudi Zhu" userId="571e1a55-055f-4c28-8b35-fca6dd1c1369" providerId="ADAL" clId="{75A88773-6EE1-484E-AADE-FE631E01463B}" dt="2025-11-21T10:09:23.670" v="451765"/>
          <ac:spMkLst>
            <pc:docMk/>
            <pc:sldMk cId="3248606948" sldId="2147483091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1T10:09:23.670" v="451768"/>
          <ac:spMkLst>
            <pc:docMk/>
            <pc:sldMk cId="3248606948" sldId="2147483091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1T10:09:23.679" v="451771"/>
          <ac:spMkLst>
            <pc:docMk/>
            <pc:sldMk cId="3248606948" sldId="2147483091"/>
            <ac:spMk id="355" creationId="{B8F8C981-C881-6238-8329-8E7159CC921D}"/>
          </ac:spMkLst>
        </pc:spChg>
        <pc:graphicFrameChg chg="mod">
          <ac:chgData name="Yudi Zhu" userId="571e1a55-055f-4c28-8b35-fca6dd1c1369" providerId="ADAL" clId="{75A88773-6EE1-484E-AADE-FE631E01463B}" dt="2025-11-21T10:09:36.405" v="451844"/>
          <ac:graphicFrameMkLst>
            <pc:docMk/>
            <pc:sldMk cId="3248606948" sldId="2147483091"/>
            <ac:graphicFrameMk id="11" creationId="{06D8B66D-C873-80E6-487B-D6B21C51228A}"/>
          </ac:graphicFrameMkLst>
        </pc:graphicFrameChg>
      </pc:sldChg>
      <pc:sldChg chg="addSp delSp modSp add del mod modShow">
        <pc:chgData name="Yudi Zhu" userId="571e1a55-055f-4c28-8b35-fca6dd1c1369" providerId="ADAL" clId="{75A88773-6EE1-484E-AADE-FE631E01463B}" dt="2025-11-25T11:14:51.222" v="690930" actId="47"/>
        <pc:sldMkLst>
          <pc:docMk/>
          <pc:sldMk cId="671354928" sldId="2147483092"/>
        </pc:sldMkLst>
        <pc:spChg chg="mod ord">
          <ac:chgData name="Yudi Zhu" userId="571e1a55-055f-4c28-8b35-fca6dd1c1369" providerId="ADAL" clId="{75A88773-6EE1-484E-AADE-FE631E01463B}" dt="2025-11-24T04:19:52.414" v="639531"/>
          <ac:spMkLst>
            <pc:docMk/>
            <pc:sldMk cId="671354928" sldId="2147483092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1T09:23:06.967" v="408036"/>
          <ac:spMkLst>
            <pc:docMk/>
            <pc:sldMk cId="671354928" sldId="2147483092"/>
            <ac:spMk id="3" creationId="{0F95D078-654E-4763-A95F-B4B8015A2F98}"/>
          </ac:spMkLst>
        </pc:spChg>
        <pc:spChg chg="add del mod modVis">
          <ac:chgData name="Yudi Zhu" userId="571e1a55-055f-4c28-8b35-fca6dd1c1369" providerId="ADAL" clId="{75A88773-6EE1-484E-AADE-FE631E01463B}" dt="2025-11-24T01:57:21.201" v="477949"/>
          <ac:spMkLst>
            <pc:docMk/>
            <pc:sldMk cId="671354928" sldId="2147483092"/>
            <ac:spMk id="3" creationId="{C3E42435-C2EC-2CA0-DBBC-619A6C1FC7E7}"/>
          </ac:spMkLst>
        </pc:spChg>
        <pc:spChg chg="add del mod">
          <ac:chgData name="Yudi Zhu" userId="571e1a55-055f-4c28-8b35-fca6dd1c1369" providerId="ADAL" clId="{75A88773-6EE1-484E-AADE-FE631E01463B}" dt="2025-11-21T09:23:37.311" v="408919"/>
          <ac:spMkLst>
            <pc:docMk/>
            <pc:sldMk cId="671354928" sldId="2147483092"/>
            <ac:spMk id="4" creationId="{A556CDBA-900C-0756-18C1-3F2CBD9BBF8A}"/>
          </ac:spMkLst>
        </pc:spChg>
        <pc:spChg chg="add del mod">
          <ac:chgData name="Yudi Zhu" userId="571e1a55-055f-4c28-8b35-fca6dd1c1369" providerId="ADAL" clId="{75A88773-6EE1-484E-AADE-FE631E01463B}" dt="2025-11-21T09:23:37.311" v="408920"/>
          <ac:spMkLst>
            <pc:docMk/>
            <pc:sldMk cId="671354928" sldId="2147483092"/>
            <ac:spMk id="5" creationId="{B30AF4CB-196A-BC0F-4953-58C7D6B413D7}"/>
          </ac:spMkLst>
        </pc:spChg>
        <pc:spChg chg="add del mod">
          <ac:chgData name="Yudi Zhu" userId="571e1a55-055f-4c28-8b35-fca6dd1c1369" providerId="ADAL" clId="{75A88773-6EE1-484E-AADE-FE631E01463B}" dt="2025-11-21T09:23:37.311" v="408921"/>
          <ac:spMkLst>
            <pc:docMk/>
            <pc:sldMk cId="671354928" sldId="2147483092"/>
            <ac:spMk id="6" creationId="{7065866A-31C7-1565-1FBD-ADCDC9134002}"/>
          </ac:spMkLst>
        </pc:spChg>
        <pc:spChg chg="add del mod modVis">
          <ac:chgData name="Yudi Zhu" userId="571e1a55-055f-4c28-8b35-fca6dd1c1369" providerId="ADAL" clId="{75A88773-6EE1-484E-AADE-FE631E01463B}" dt="2025-11-24T01:59:23.723" v="479281"/>
          <ac:spMkLst>
            <pc:docMk/>
            <pc:sldMk cId="671354928" sldId="2147483092"/>
            <ac:spMk id="6" creationId="{E95156C6-61A8-69C3-CDC5-E34C35D408C2}"/>
          </ac:spMkLst>
        </pc:spChg>
        <pc:spChg chg="add del mod">
          <ac:chgData name="Yudi Zhu" userId="571e1a55-055f-4c28-8b35-fca6dd1c1369" providerId="ADAL" clId="{75A88773-6EE1-484E-AADE-FE631E01463B}" dt="2025-11-21T09:23:37.311" v="408922"/>
          <ac:spMkLst>
            <pc:docMk/>
            <pc:sldMk cId="671354928" sldId="2147483092"/>
            <ac:spMk id="7" creationId="{2B4304F8-12F4-76BA-DEE3-EEAD162486A1}"/>
          </ac:spMkLst>
        </pc:spChg>
        <pc:spChg chg="add del mod modVis">
          <ac:chgData name="Yudi Zhu" userId="571e1a55-055f-4c28-8b35-fca6dd1c1369" providerId="ADAL" clId="{75A88773-6EE1-484E-AADE-FE631E01463B}" dt="2025-11-24T02:00:23.143" v="480102"/>
          <ac:spMkLst>
            <pc:docMk/>
            <pc:sldMk cId="671354928" sldId="2147483092"/>
            <ac:spMk id="7" creationId="{A2660213-DFFC-E67D-E0D1-A95C462736B0}"/>
          </ac:spMkLst>
        </pc:spChg>
        <pc:spChg chg="add del mod">
          <ac:chgData name="Yudi Zhu" userId="571e1a55-055f-4c28-8b35-fca6dd1c1369" providerId="ADAL" clId="{75A88773-6EE1-484E-AADE-FE631E01463B}" dt="2025-11-21T09:23:37.311" v="408923"/>
          <ac:spMkLst>
            <pc:docMk/>
            <pc:sldMk cId="671354928" sldId="2147483092"/>
            <ac:spMk id="8" creationId="{923531FA-A98D-B5D9-93D5-827E83809C45}"/>
          </ac:spMkLst>
        </pc:spChg>
        <pc:spChg chg="add del mod modVis">
          <ac:chgData name="Yudi Zhu" userId="571e1a55-055f-4c28-8b35-fca6dd1c1369" providerId="ADAL" clId="{75A88773-6EE1-484E-AADE-FE631E01463B}" dt="2025-11-24T04:13:53.012" v="623287"/>
          <ac:spMkLst>
            <pc:docMk/>
            <pc:sldMk cId="671354928" sldId="2147483092"/>
            <ac:spMk id="8" creationId="{E942FC78-6E2A-F175-FE8C-A795DED1606A}"/>
          </ac:spMkLst>
        </pc:spChg>
        <pc:spChg chg="add del mod">
          <ac:chgData name="Yudi Zhu" userId="571e1a55-055f-4c28-8b35-fca6dd1c1369" providerId="ADAL" clId="{75A88773-6EE1-484E-AADE-FE631E01463B}" dt="2025-11-21T09:23:43.287" v="409444"/>
          <ac:spMkLst>
            <pc:docMk/>
            <pc:sldMk cId="671354928" sldId="2147483092"/>
            <ac:spMk id="9" creationId="{298E4BA7-DD33-FC5B-E03B-563675D8DB25}"/>
          </ac:spMkLst>
        </pc:spChg>
        <pc:spChg chg="add del mod">
          <ac:chgData name="Yudi Zhu" userId="571e1a55-055f-4c28-8b35-fca6dd1c1369" providerId="ADAL" clId="{75A88773-6EE1-484E-AADE-FE631E01463B}" dt="2025-11-21T09:23:43.288" v="409446"/>
          <ac:spMkLst>
            <pc:docMk/>
            <pc:sldMk cId="671354928" sldId="2147483092"/>
            <ac:spMk id="10" creationId="{48B022DB-8645-781F-0471-228AAF41B5F7}"/>
          </ac:spMkLst>
        </pc:spChg>
        <pc:spChg chg="add del mod">
          <ac:chgData name="Yudi Zhu" userId="571e1a55-055f-4c28-8b35-fca6dd1c1369" providerId="ADAL" clId="{75A88773-6EE1-484E-AADE-FE631E01463B}" dt="2025-11-21T09:23:43.288" v="409447"/>
          <ac:spMkLst>
            <pc:docMk/>
            <pc:sldMk cId="671354928" sldId="2147483092"/>
            <ac:spMk id="12" creationId="{D4456CED-282B-F144-EE8B-068ED655AC7A}"/>
          </ac:spMkLst>
        </pc:spChg>
        <pc:spChg chg="add del mod">
          <ac:chgData name="Yudi Zhu" userId="571e1a55-055f-4c28-8b35-fca6dd1c1369" providerId="ADAL" clId="{75A88773-6EE1-484E-AADE-FE631E01463B}" dt="2025-11-21T09:23:43.286" v="409443"/>
          <ac:spMkLst>
            <pc:docMk/>
            <pc:sldMk cId="671354928" sldId="2147483092"/>
            <ac:spMk id="13" creationId="{2F2F33D0-4090-4B96-B01F-8E33972FFB24}"/>
          </ac:spMkLst>
        </pc:spChg>
        <pc:spChg chg="add del mod">
          <ac:chgData name="Yudi Zhu" userId="571e1a55-055f-4c28-8b35-fca6dd1c1369" providerId="ADAL" clId="{75A88773-6EE1-484E-AADE-FE631E01463B}" dt="2025-11-21T09:23:43.289" v="409448"/>
          <ac:spMkLst>
            <pc:docMk/>
            <pc:sldMk cId="671354928" sldId="2147483092"/>
            <ac:spMk id="14" creationId="{6BAC2C18-5587-1011-81EF-83BDC23B8325}"/>
          </ac:spMkLst>
        </pc:spChg>
        <pc:spChg chg="add del mod">
          <ac:chgData name="Yudi Zhu" userId="571e1a55-055f-4c28-8b35-fca6dd1c1369" providerId="ADAL" clId="{75A88773-6EE1-484E-AADE-FE631E01463B}" dt="2025-11-21T09:23:43.288" v="409445"/>
          <ac:spMkLst>
            <pc:docMk/>
            <pc:sldMk cId="671354928" sldId="2147483092"/>
            <ac:spMk id="15" creationId="{1BF1C426-F1DA-20B2-ABC4-2D2E4FA07570}"/>
          </ac:spMkLst>
        </pc:spChg>
        <pc:spChg chg="add del mod modVis">
          <ac:chgData name="Yudi Zhu" userId="571e1a55-055f-4c28-8b35-fca6dd1c1369" providerId="ADAL" clId="{75A88773-6EE1-484E-AADE-FE631E01463B}" dt="2025-11-21T09:23:30.128" v="408916"/>
          <ac:spMkLst>
            <pc:docMk/>
            <pc:sldMk cId="671354928" sldId="2147483092"/>
            <ac:spMk id="17" creationId="{74022B65-6486-142B-D55B-47366407F200}"/>
          </ac:spMkLst>
        </pc:spChg>
        <pc:spChg chg="add mod">
          <ac:chgData name="Yudi Zhu" userId="571e1a55-055f-4c28-8b35-fca6dd1c1369" providerId="ADAL" clId="{75A88773-6EE1-484E-AADE-FE631E01463B}" dt="2025-11-21T09:23:30.128" v="408916"/>
          <ac:spMkLst>
            <pc:docMk/>
            <pc:sldMk cId="671354928" sldId="2147483092"/>
            <ac:spMk id="18" creationId="{D27BB6AE-7F6B-6F1C-4792-ECF87EE29786}"/>
          </ac:spMkLst>
        </pc:spChg>
        <pc:spChg chg="add mod">
          <ac:chgData name="Yudi Zhu" userId="571e1a55-055f-4c28-8b35-fca6dd1c1369" providerId="ADAL" clId="{75A88773-6EE1-484E-AADE-FE631E01463B}" dt="2025-11-21T09:23:30.128" v="408916"/>
          <ac:spMkLst>
            <pc:docMk/>
            <pc:sldMk cId="671354928" sldId="2147483092"/>
            <ac:spMk id="19" creationId="{86760A01-9FB3-B54A-1C41-7CCEEDDCBF93}"/>
          </ac:spMkLst>
        </pc:spChg>
        <pc:spChg chg="add mod">
          <ac:chgData name="Yudi Zhu" userId="571e1a55-055f-4c28-8b35-fca6dd1c1369" providerId="ADAL" clId="{75A88773-6EE1-484E-AADE-FE631E01463B}" dt="2025-11-21T09:23:30.128" v="408916"/>
          <ac:spMkLst>
            <pc:docMk/>
            <pc:sldMk cId="671354928" sldId="2147483092"/>
            <ac:spMk id="20" creationId="{CDBDB258-925F-56BE-178C-954B79ACEFE8}"/>
          </ac:spMkLst>
        </pc:spChg>
        <pc:spChg chg="add mod">
          <ac:chgData name="Yudi Zhu" userId="571e1a55-055f-4c28-8b35-fca6dd1c1369" providerId="ADAL" clId="{75A88773-6EE1-484E-AADE-FE631E01463B}" dt="2025-11-21T09:23:30.128" v="408916"/>
          <ac:spMkLst>
            <pc:docMk/>
            <pc:sldMk cId="671354928" sldId="2147483092"/>
            <ac:spMk id="21" creationId="{68D12BB8-BB46-CE1B-5E46-01F5C07593E0}"/>
          </ac:spMkLst>
        </pc:spChg>
        <pc:spChg chg="add del mod modVis">
          <ac:chgData name="Yudi Zhu" userId="571e1a55-055f-4c28-8b35-fca6dd1c1369" providerId="ADAL" clId="{75A88773-6EE1-484E-AADE-FE631E01463B}" dt="2025-11-21T09:23:37.917" v="409440"/>
          <ac:spMkLst>
            <pc:docMk/>
            <pc:sldMk cId="671354928" sldId="2147483092"/>
            <ac:spMk id="25" creationId="{98187399-8616-A4EA-329C-12F9E27EAE3D}"/>
          </ac:spMkLst>
        </pc:spChg>
        <pc:spChg chg="add del mod modVis">
          <ac:chgData name="Yudi Zhu" userId="571e1a55-055f-4c28-8b35-fca6dd1c1369" providerId="ADAL" clId="{75A88773-6EE1-484E-AADE-FE631E01463B}" dt="2025-11-21T09:23:43.486" v="409698"/>
          <ac:spMkLst>
            <pc:docMk/>
            <pc:sldMk cId="671354928" sldId="2147483092"/>
            <ac:spMk id="27" creationId="{F70B772B-3595-071B-51F3-96ADAEC08D9C}"/>
          </ac:spMkLst>
        </pc:spChg>
        <pc:spChg chg="add del mod modVis">
          <ac:chgData name="Yudi Zhu" userId="571e1a55-055f-4c28-8b35-fca6dd1c1369" providerId="ADAL" clId="{75A88773-6EE1-484E-AADE-FE631E01463B}" dt="2025-11-21T09:23:49.511" v="410067"/>
          <ac:spMkLst>
            <pc:docMk/>
            <pc:sldMk cId="671354928" sldId="2147483092"/>
            <ac:spMk id="29" creationId="{9D7DE36D-67D5-0CA1-811A-5820800BFE07}"/>
          </ac:spMkLst>
        </pc:spChg>
        <pc:spChg chg="add del mod modVis">
          <ac:chgData name="Yudi Zhu" userId="571e1a55-055f-4c28-8b35-fca6dd1c1369" providerId="ADAL" clId="{75A88773-6EE1-484E-AADE-FE631E01463B}" dt="2025-11-21T09:23:52.982" v="410576"/>
          <ac:spMkLst>
            <pc:docMk/>
            <pc:sldMk cId="671354928" sldId="2147483092"/>
            <ac:spMk id="31" creationId="{80FB16E9-28B6-E88B-B5D8-4F68B76256A5}"/>
          </ac:spMkLst>
        </pc:spChg>
        <pc:spChg chg="add del mod modVis">
          <ac:chgData name="Yudi Zhu" userId="571e1a55-055f-4c28-8b35-fca6dd1c1369" providerId="ADAL" clId="{75A88773-6EE1-484E-AADE-FE631E01463B}" dt="2025-11-21T09:49:22.781" v="418066"/>
          <ac:spMkLst>
            <pc:docMk/>
            <pc:sldMk cId="671354928" sldId="2147483092"/>
            <ac:spMk id="44" creationId="{CC602FC1-C295-FAFD-A561-B31153C2E63D}"/>
          </ac:spMkLst>
        </pc:spChg>
        <pc:spChg chg="add mod ord">
          <ac:chgData name="Yudi Zhu" userId="571e1a55-055f-4c28-8b35-fca6dd1c1369" providerId="ADAL" clId="{75A88773-6EE1-484E-AADE-FE631E01463B}" dt="2025-11-24T04:19:52.490" v="639702"/>
          <ac:spMkLst>
            <pc:docMk/>
            <pc:sldMk cId="671354928" sldId="2147483092"/>
            <ac:spMk id="45" creationId="{0317EC29-D5DB-C0F6-4F75-415C7552CCC8}"/>
          </ac:spMkLst>
        </pc:spChg>
        <pc:spChg chg="add mod ord">
          <ac:chgData name="Yudi Zhu" userId="571e1a55-055f-4c28-8b35-fca6dd1c1369" providerId="ADAL" clId="{75A88773-6EE1-484E-AADE-FE631E01463B}" dt="2025-11-24T04:19:52.473" v="639697"/>
          <ac:spMkLst>
            <pc:docMk/>
            <pc:sldMk cId="671354928" sldId="2147483092"/>
            <ac:spMk id="46" creationId="{8003E3DA-FB27-D2A0-F457-F6D0B80BF175}"/>
          </ac:spMkLst>
        </pc:spChg>
        <pc:spChg chg="add mod ord">
          <ac:chgData name="Yudi Zhu" userId="571e1a55-055f-4c28-8b35-fca6dd1c1369" providerId="ADAL" clId="{75A88773-6EE1-484E-AADE-FE631E01463B}" dt="2025-11-24T04:19:52.490" v="639716"/>
          <ac:spMkLst>
            <pc:docMk/>
            <pc:sldMk cId="671354928" sldId="2147483092"/>
            <ac:spMk id="47" creationId="{0A53E25E-BA46-20AE-4C08-5FD6AAA89F37}"/>
          </ac:spMkLst>
        </pc:spChg>
        <pc:spChg chg="add del mod modVis">
          <ac:chgData name="Yudi Zhu" userId="571e1a55-055f-4c28-8b35-fca6dd1c1369" providerId="ADAL" clId="{75A88773-6EE1-484E-AADE-FE631E01463B}" dt="2025-11-21T09:50:39.198" v="419409"/>
          <ac:spMkLst>
            <pc:docMk/>
            <pc:sldMk cId="671354928" sldId="2147483092"/>
            <ac:spMk id="57" creationId="{CCC6C424-2D8D-429F-316C-CC0F0461757F}"/>
          </ac:spMkLst>
        </pc:spChg>
        <pc:spChg chg="add del mod modVis">
          <ac:chgData name="Yudi Zhu" userId="571e1a55-055f-4c28-8b35-fca6dd1c1369" providerId="ADAL" clId="{75A88773-6EE1-484E-AADE-FE631E01463B}" dt="2025-11-21T09:51:31.770" v="421567"/>
          <ac:spMkLst>
            <pc:docMk/>
            <pc:sldMk cId="671354928" sldId="2147483092"/>
            <ac:spMk id="62" creationId="{42B0D7A0-AE6E-8AF1-152E-42A9AE159967}"/>
          </ac:spMkLst>
        </pc:spChg>
        <pc:spChg chg="add del mod ord">
          <ac:chgData name="Yudi Zhu" userId="571e1a55-055f-4c28-8b35-fca6dd1c1369" providerId="ADAL" clId="{75A88773-6EE1-484E-AADE-FE631E01463B}" dt="2025-11-21T09:51:33.728" v="421976"/>
          <ac:spMkLst>
            <pc:docMk/>
            <pc:sldMk cId="671354928" sldId="2147483092"/>
            <ac:spMk id="63" creationId="{E29995FB-0DAC-5978-8E7C-4F67F2ED3CAE}"/>
          </ac:spMkLst>
        </pc:spChg>
        <pc:spChg chg="add del mod modVis">
          <ac:chgData name="Yudi Zhu" userId="571e1a55-055f-4c28-8b35-fca6dd1c1369" providerId="ADAL" clId="{75A88773-6EE1-484E-AADE-FE631E01463B}" dt="2025-11-21T10:14:15.451" v="466893"/>
          <ac:spMkLst>
            <pc:docMk/>
            <pc:sldMk cId="671354928" sldId="2147483092"/>
            <ac:spMk id="128" creationId="{CDA6E4CB-49D6-76ED-C07E-42F26E0880C1}"/>
          </ac:spMkLst>
        </pc:spChg>
        <pc:spChg chg="mod ord">
          <ac:chgData name="Yudi Zhu" userId="571e1a55-055f-4c28-8b35-fca6dd1c1369" providerId="ADAL" clId="{75A88773-6EE1-484E-AADE-FE631E01463B}" dt="2025-11-24T04:19:52.462" v="639634"/>
          <ac:spMkLst>
            <pc:docMk/>
            <pc:sldMk cId="671354928" sldId="2147483092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4T04:19:52.463" v="639635"/>
          <ac:spMkLst>
            <pc:docMk/>
            <pc:sldMk cId="671354928" sldId="2147483092"/>
            <ac:spMk id="311" creationId="{FAC811EB-B12D-1390-56E5-FC577BF8AE04}"/>
          </ac:spMkLst>
        </pc:spChg>
        <pc:spChg chg="mod ord">
          <ac:chgData name="Yudi Zhu" userId="571e1a55-055f-4c28-8b35-fca6dd1c1369" providerId="ADAL" clId="{75A88773-6EE1-484E-AADE-FE631E01463B}" dt="2025-11-24T04:19:52.444" v="639606"/>
          <ac:spMkLst>
            <pc:docMk/>
            <pc:sldMk cId="671354928" sldId="2147483092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4T04:19:52.444" v="639607"/>
          <ac:spMkLst>
            <pc:docMk/>
            <pc:sldMk cId="671354928" sldId="2147483092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4T04:19:52.445" v="639608"/>
          <ac:spMkLst>
            <pc:docMk/>
            <pc:sldMk cId="671354928" sldId="2147483092"/>
            <ac:spMk id="315" creationId="{EB9F760C-B8E5-2064-02C2-89469410E215}"/>
          </ac:spMkLst>
        </pc:spChg>
        <pc:spChg chg="mod ord">
          <ac:chgData name="Yudi Zhu" userId="571e1a55-055f-4c28-8b35-fca6dd1c1369" providerId="ADAL" clId="{75A88773-6EE1-484E-AADE-FE631E01463B}" dt="2025-11-24T04:19:52.446" v="639609"/>
          <ac:spMkLst>
            <pc:docMk/>
            <pc:sldMk cId="671354928" sldId="2147483092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4T04:19:52.446" v="639610"/>
          <ac:spMkLst>
            <pc:docMk/>
            <pc:sldMk cId="671354928" sldId="2147483092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4T04:19:52.447" v="639611"/>
          <ac:spMkLst>
            <pc:docMk/>
            <pc:sldMk cId="671354928" sldId="2147483092"/>
            <ac:spMk id="319" creationId="{706EA1C7-0608-9349-5D41-F9CAB7F83433}"/>
          </ac:spMkLst>
        </pc:spChg>
        <pc:spChg chg="mod ord">
          <ac:chgData name="Yudi Zhu" userId="571e1a55-055f-4c28-8b35-fca6dd1c1369" providerId="ADAL" clId="{75A88773-6EE1-484E-AADE-FE631E01463B}" dt="2025-11-24T04:19:52.447" v="639612"/>
          <ac:spMkLst>
            <pc:docMk/>
            <pc:sldMk cId="671354928" sldId="2147483092"/>
            <ac:spMk id="320" creationId="{E86B3B8E-37AC-519F-45A3-5BD8642641E6}"/>
          </ac:spMkLst>
        </pc:spChg>
        <pc:spChg chg="mod ord">
          <ac:chgData name="Yudi Zhu" userId="571e1a55-055f-4c28-8b35-fca6dd1c1369" providerId="ADAL" clId="{75A88773-6EE1-484E-AADE-FE631E01463B}" dt="2025-11-24T04:19:52.448" v="639613"/>
          <ac:spMkLst>
            <pc:docMk/>
            <pc:sldMk cId="671354928" sldId="2147483092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4T04:19:52.450" v="639617"/>
          <ac:spMkLst>
            <pc:docMk/>
            <pc:sldMk cId="671354928" sldId="2147483092"/>
            <ac:spMk id="323" creationId="{735D4EDA-AD3C-5A72-B819-57EBBCE24CD8}"/>
          </ac:spMkLst>
        </pc:spChg>
        <pc:spChg chg="mod ord">
          <ac:chgData name="Yudi Zhu" userId="571e1a55-055f-4c28-8b35-fca6dd1c1369" providerId="ADAL" clId="{75A88773-6EE1-484E-AADE-FE631E01463B}" dt="2025-11-24T04:19:52.449" v="639615"/>
          <ac:spMkLst>
            <pc:docMk/>
            <pc:sldMk cId="671354928" sldId="2147483092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4T04:19:52.450" v="639616"/>
          <ac:spMkLst>
            <pc:docMk/>
            <pc:sldMk cId="671354928" sldId="2147483092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4T04:19:52.463" v="639636"/>
          <ac:spMkLst>
            <pc:docMk/>
            <pc:sldMk cId="671354928" sldId="2147483092"/>
            <ac:spMk id="327" creationId="{DC60CC83-D9D9-BF20-1864-CA6A97B28642}"/>
          </ac:spMkLst>
        </pc:spChg>
        <pc:spChg chg="mod ord">
          <ac:chgData name="Yudi Zhu" userId="571e1a55-055f-4c28-8b35-fca6dd1c1369" providerId="ADAL" clId="{75A88773-6EE1-484E-AADE-FE631E01463B}" dt="2025-11-24T04:19:52.451" v="639618"/>
          <ac:spMkLst>
            <pc:docMk/>
            <pc:sldMk cId="671354928" sldId="2147483092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4T04:19:52.451" v="639619"/>
          <ac:spMkLst>
            <pc:docMk/>
            <pc:sldMk cId="671354928" sldId="2147483092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4T04:19:52.452" v="639620"/>
          <ac:spMkLst>
            <pc:docMk/>
            <pc:sldMk cId="671354928" sldId="2147483092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4T04:19:52.452" v="639621"/>
          <ac:spMkLst>
            <pc:docMk/>
            <pc:sldMk cId="671354928" sldId="2147483092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4T04:19:52.453" v="639622"/>
          <ac:spMkLst>
            <pc:docMk/>
            <pc:sldMk cId="671354928" sldId="2147483092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4T04:19:52.454" v="639623"/>
          <ac:spMkLst>
            <pc:docMk/>
            <pc:sldMk cId="671354928" sldId="2147483092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4T04:19:52.454" v="639624"/>
          <ac:spMkLst>
            <pc:docMk/>
            <pc:sldMk cId="671354928" sldId="2147483092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4T04:19:52.458" v="639628"/>
          <ac:spMkLst>
            <pc:docMk/>
            <pc:sldMk cId="671354928" sldId="2147483092"/>
            <ac:spMk id="337" creationId="{36AB1D7E-40D3-61B5-A55C-A396D415FF17}"/>
          </ac:spMkLst>
        </pc:spChg>
        <pc:spChg chg="mod ord">
          <ac:chgData name="Yudi Zhu" userId="571e1a55-055f-4c28-8b35-fca6dd1c1369" providerId="ADAL" clId="{75A88773-6EE1-484E-AADE-FE631E01463B}" dt="2025-11-24T04:19:52.455" v="639625"/>
          <ac:spMkLst>
            <pc:docMk/>
            <pc:sldMk cId="671354928" sldId="2147483092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4T04:19:52.456" v="639626"/>
          <ac:spMkLst>
            <pc:docMk/>
            <pc:sldMk cId="671354928" sldId="2147483092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4T04:19:52.457" v="639627"/>
          <ac:spMkLst>
            <pc:docMk/>
            <pc:sldMk cId="671354928" sldId="2147483092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4T04:19:52.459" v="639630"/>
          <ac:spMkLst>
            <pc:docMk/>
            <pc:sldMk cId="671354928" sldId="2147483092"/>
            <ac:spMk id="342" creationId="{5F9DF103-C1E2-AA69-9A66-0545A8C8A5E7}"/>
          </ac:spMkLst>
        </pc:spChg>
        <pc:spChg chg="mod ord">
          <ac:chgData name="Yudi Zhu" userId="571e1a55-055f-4c28-8b35-fca6dd1c1369" providerId="ADAL" clId="{75A88773-6EE1-484E-AADE-FE631E01463B}" dt="2025-11-24T04:19:52.448" v="639614"/>
          <ac:spMkLst>
            <pc:docMk/>
            <pc:sldMk cId="671354928" sldId="2147483092"/>
            <ac:spMk id="343" creationId="{93F781B8-58D3-037B-422F-B97F243A4ADD}"/>
          </ac:spMkLst>
        </pc:spChg>
        <pc:spChg chg="mod ord">
          <ac:chgData name="Yudi Zhu" userId="571e1a55-055f-4c28-8b35-fca6dd1c1369" providerId="ADAL" clId="{75A88773-6EE1-484E-AADE-FE631E01463B}" dt="2025-11-24T04:19:52.459" v="639631"/>
          <ac:spMkLst>
            <pc:docMk/>
            <pc:sldMk cId="671354928" sldId="2147483092"/>
            <ac:spMk id="345" creationId="{A7062455-DCFB-CA90-BAB0-FE5B0F9A7539}"/>
          </ac:spMkLst>
        </pc:spChg>
        <pc:spChg chg="mod ord">
          <ac:chgData name="Yudi Zhu" userId="571e1a55-055f-4c28-8b35-fca6dd1c1369" providerId="ADAL" clId="{75A88773-6EE1-484E-AADE-FE631E01463B}" dt="2025-11-24T04:19:52.460" v="639632"/>
          <ac:spMkLst>
            <pc:docMk/>
            <pc:sldMk cId="671354928" sldId="2147483092"/>
            <ac:spMk id="346" creationId="{058313A5-0EFC-F850-8925-ABBD5D963C04}"/>
          </ac:spMkLst>
        </pc:spChg>
        <pc:spChg chg="mod ord">
          <ac:chgData name="Yudi Zhu" userId="571e1a55-055f-4c28-8b35-fca6dd1c1369" providerId="ADAL" clId="{75A88773-6EE1-484E-AADE-FE631E01463B}" dt="2025-11-24T04:19:52.461" v="639633"/>
          <ac:spMkLst>
            <pc:docMk/>
            <pc:sldMk cId="671354928" sldId="2147483092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4T04:19:52.464" v="639637"/>
          <ac:spMkLst>
            <pc:docMk/>
            <pc:sldMk cId="671354928" sldId="2147483092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4T04:19:52.465" v="639638"/>
          <ac:spMkLst>
            <pc:docMk/>
            <pc:sldMk cId="671354928" sldId="2147483092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4T04:19:52.466" v="639641"/>
          <ac:spMkLst>
            <pc:docMk/>
            <pc:sldMk cId="671354928" sldId="2147483092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4T04:19:52.467" v="639642"/>
          <ac:spMkLst>
            <pc:docMk/>
            <pc:sldMk cId="671354928" sldId="2147483092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4T04:19:52.468" v="639643"/>
          <ac:spMkLst>
            <pc:docMk/>
            <pc:sldMk cId="671354928" sldId="2147483092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4T04:19:52.470" v="639648"/>
          <ac:spMkLst>
            <pc:docMk/>
            <pc:sldMk cId="671354928" sldId="2147483092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4T04:19:52.471" v="639649"/>
          <ac:spMkLst>
            <pc:docMk/>
            <pc:sldMk cId="671354928" sldId="2147483092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4T04:19:52.468" v="639645"/>
          <ac:spMkLst>
            <pc:docMk/>
            <pc:sldMk cId="671354928" sldId="2147483092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4T04:19:52.469" v="639647"/>
          <ac:spMkLst>
            <pc:docMk/>
            <pc:sldMk cId="671354928" sldId="2147483092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4T04:19:52.423" v="639565"/>
          <ac:spMkLst>
            <pc:docMk/>
            <pc:sldMk cId="671354928" sldId="2147483092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4T04:19:52.423" v="639574"/>
          <ac:spMkLst>
            <pc:docMk/>
            <pc:sldMk cId="671354928" sldId="2147483092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4T04:19:52.423" v="639575"/>
          <ac:spMkLst>
            <pc:docMk/>
            <pc:sldMk cId="671354928" sldId="2147483092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4T04:19:52.423" v="639576"/>
          <ac:spMkLst>
            <pc:docMk/>
            <pc:sldMk cId="671354928" sldId="2147483092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4T04:19:52.423" v="639577"/>
          <ac:spMkLst>
            <pc:docMk/>
            <pc:sldMk cId="671354928" sldId="2147483092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4T04:19:52.423" v="639579"/>
          <ac:spMkLst>
            <pc:docMk/>
            <pc:sldMk cId="671354928" sldId="2147483092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4T04:19:52.423" v="639580"/>
          <ac:spMkLst>
            <pc:docMk/>
            <pc:sldMk cId="671354928" sldId="2147483092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4T04:19:52.423" v="639582"/>
          <ac:spMkLst>
            <pc:docMk/>
            <pc:sldMk cId="671354928" sldId="2147483092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4T04:19:52.423" v="639583"/>
          <ac:spMkLst>
            <pc:docMk/>
            <pc:sldMk cId="671354928" sldId="2147483092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4T04:19:52.423" v="639585"/>
          <ac:spMkLst>
            <pc:docMk/>
            <pc:sldMk cId="671354928" sldId="2147483092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4T04:19:52.423" v="639587"/>
          <ac:spMkLst>
            <pc:docMk/>
            <pc:sldMk cId="671354928" sldId="2147483092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4T04:19:52.423" v="639589"/>
          <ac:spMkLst>
            <pc:docMk/>
            <pc:sldMk cId="671354928" sldId="2147483092"/>
            <ac:spMk id="1205" creationId="{6816614C-2261-21F9-4CD7-430B5A7828DB}"/>
          </ac:spMkLst>
        </pc:spChg>
        <pc:spChg chg="mod">
          <ac:chgData name="Yudi Zhu" userId="571e1a55-055f-4c28-8b35-fca6dd1c1369" providerId="ADAL" clId="{75A88773-6EE1-484E-AADE-FE631E01463B}" dt="2025-11-24T04:19:52.421" v="639555"/>
          <ac:spMkLst>
            <pc:docMk/>
            <pc:sldMk cId="671354928" sldId="2147483092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4T04:19:52.423" v="639557"/>
          <ac:spMkLst>
            <pc:docMk/>
            <pc:sldMk cId="671354928" sldId="2147483092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4T04:19:52.423" v="639558"/>
          <ac:spMkLst>
            <pc:docMk/>
            <pc:sldMk cId="671354928" sldId="2147483092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4T04:19:52.423" v="639560"/>
          <ac:spMkLst>
            <pc:docMk/>
            <pc:sldMk cId="671354928" sldId="2147483092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4T04:19:52.423" v="639562"/>
          <ac:spMkLst>
            <pc:docMk/>
            <pc:sldMk cId="671354928" sldId="2147483092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4T04:19:52.423" v="639564"/>
          <ac:spMkLst>
            <pc:docMk/>
            <pc:sldMk cId="671354928" sldId="2147483092"/>
            <ac:spMk id="1211" creationId="{EE46F561-2BF6-86A3-F0E4-BEF7311EDDF1}"/>
          </ac:spMkLst>
        </pc:spChg>
        <pc:spChg chg="mod">
          <ac:chgData name="Yudi Zhu" userId="571e1a55-055f-4c28-8b35-fca6dd1c1369" providerId="ADAL" clId="{75A88773-6EE1-484E-AADE-FE631E01463B}" dt="2025-11-24T04:19:52.438" v="639590"/>
          <ac:spMkLst>
            <pc:docMk/>
            <pc:sldMk cId="671354928" sldId="2147483092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4T04:19:52.423" v="639567"/>
          <ac:spMkLst>
            <pc:docMk/>
            <pc:sldMk cId="671354928" sldId="2147483092"/>
            <ac:spMk id="1213" creationId="{897F1C59-B104-E769-B6DA-AF5B290FE874}"/>
          </ac:spMkLst>
        </pc:spChg>
        <pc:spChg chg="mod">
          <ac:chgData name="Yudi Zhu" userId="571e1a55-055f-4c28-8b35-fca6dd1c1369" providerId="ADAL" clId="{75A88773-6EE1-484E-AADE-FE631E01463B}" dt="2025-11-24T04:19:52.423" v="639568"/>
          <ac:spMkLst>
            <pc:docMk/>
            <pc:sldMk cId="671354928" sldId="2147483092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4T04:19:52.423" v="639570"/>
          <ac:spMkLst>
            <pc:docMk/>
            <pc:sldMk cId="671354928" sldId="2147483092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4T04:19:52.423" v="639572"/>
          <ac:spMkLst>
            <pc:docMk/>
            <pc:sldMk cId="671354928" sldId="2147483092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4T04:19:52.490" v="639733"/>
          <ac:spMkLst>
            <pc:docMk/>
            <pc:sldMk cId="671354928" sldId="2147483092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4T04:19:52.490" v="639734"/>
          <ac:spMkLst>
            <pc:docMk/>
            <pc:sldMk cId="671354928" sldId="2147483092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4T04:19:52.490" v="639735"/>
          <ac:spMkLst>
            <pc:docMk/>
            <pc:sldMk cId="671354928" sldId="2147483092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4T04:19:52.473" v="639699"/>
          <ac:spMkLst>
            <pc:docMk/>
            <pc:sldMk cId="671354928" sldId="2147483092"/>
            <ac:spMk id="1442" creationId="{00445C12-10C4-A371-D4EA-BD360FAE32DA}"/>
          </ac:spMkLst>
        </pc:spChg>
        <pc:spChg chg="mod ord">
          <ac:chgData name="Yudi Zhu" userId="571e1a55-055f-4c28-8b35-fca6dd1c1369" providerId="ADAL" clId="{75A88773-6EE1-484E-AADE-FE631E01463B}" dt="2025-11-24T04:19:52.490" v="639707"/>
          <ac:spMkLst>
            <pc:docMk/>
            <pc:sldMk cId="671354928" sldId="2147483092"/>
            <ac:spMk id="1444" creationId="{E51A9A38-9D24-173A-E197-E054AC1DE8BD}"/>
          </ac:spMkLst>
        </pc:spChg>
        <pc:spChg chg="mod ord">
          <ac:chgData name="Yudi Zhu" userId="571e1a55-055f-4c28-8b35-fca6dd1c1369" providerId="ADAL" clId="{75A88773-6EE1-484E-AADE-FE631E01463B}" dt="2025-11-24T04:19:52.490" v="639711"/>
          <ac:spMkLst>
            <pc:docMk/>
            <pc:sldMk cId="671354928" sldId="2147483092"/>
            <ac:spMk id="1445" creationId="{21FACF64-F525-BF83-8FEC-9303D9B5C1C8}"/>
          </ac:spMkLst>
        </pc:spChg>
        <pc:spChg chg="mod ord">
          <ac:chgData name="Yudi Zhu" userId="571e1a55-055f-4c28-8b35-fca6dd1c1369" providerId="ADAL" clId="{75A88773-6EE1-484E-AADE-FE631E01463B}" dt="2025-11-24T04:19:52.490" v="639714"/>
          <ac:spMkLst>
            <pc:docMk/>
            <pc:sldMk cId="671354928" sldId="2147483092"/>
            <ac:spMk id="1446" creationId="{26759265-0ED0-1340-C201-021A91CDFA5D}"/>
          </ac:spMkLst>
        </pc:spChg>
        <pc:spChg chg="mod ord">
          <ac:chgData name="Yudi Zhu" userId="571e1a55-055f-4c28-8b35-fca6dd1c1369" providerId="ADAL" clId="{75A88773-6EE1-484E-AADE-FE631E01463B}" dt="2025-11-24T04:19:52.490" v="639722"/>
          <ac:spMkLst>
            <pc:docMk/>
            <pc:sldMk cId="671354928" sldId="2147483092"/>
            <ac:spMk id="1447" creationId="{48D0F9A5-DD32-F4C0-182F-532AF180C2D8}"/>
          </ac:spMkLst>
        </pc:spChg>
        <pc:spChg chg="mod ord">
          <ac:chgData name="Yudi Zhu" userId="571e1a55-055f-4c28-8b35-fca6dd1c1369" providerId="ADAL" clId="{75A88773-6EE1-484E-AADE-FE631E01463B}" dt="2025-11-24T04:19:52.490" v="639720"/>
          <ac:spMkLst>
            <pc:docMk/>
            <pc:sldMk cId="671354928" sldId="2147483092"/>
            <ac:spMk id="1448" creationId="{4B5199C3-733A-0C7B-68DE-9506962E69B0}"/>
          </ac:spMkLst>
        </pc:spChg>
        <pc:spChg chg="del mod ord">
          <ac:chgData name="Yudi Zhu" userId="571e1a55-055f-4c28-8b35-fca6dd1c1369" providerId="ADAL" clId="{75A88773-6EE1-484E-AADE-FE631E01463B}" dt="2025-11-21T09:49:22.378" v="417705"/>
          <ac:spMkLst>
            <pc:docMk/>
            <pc:sldMk cId="671354928" sldId="2147483092"/>
            <ac:spMk id="1449" creationId="{300E10D2-719E-3D82-5CBF-5A612C09A088}"/>
          </ac:spMkLst>
        </pc:spChg>
        <pc:spChg chg="mod ord">
          <ac:chgData name="Yudi Zhu" userId="571e1a55-055f-4c28-8b35-fca6dd1c1369" providerId="ADAL" clId="{75A88773-6EE1-484E-AADE-FE631E01463B}" dt="2025-11-24T04:19:52.490" v="639705"/>
          <ac:spMkLst>
            <pc:docMk/>
            <pc:sldMk cId="671354928" sldId="2147483092"/>
            <ac:spMk id="1450" creationId="{B0EBF798-81F1-1362-0977-73152228C84F}"/>
          </ac:spMkLst>
        </pc:spChg>
        <pc:spChg chg="mod ord">
          <ac:chgData name="Yudi Zhu" userId="571e1a55-055f-4c28-8b35-fca6dd1c1369" providerId="ADAL" clId="{75A88773-6EE1-484E-AADE-FE631E01463B}" dt="2025-11-24T04:19:52.490" v="639709"/>
          <ac:spMkLst>
            <pc:docMk/>
            <pc:sldMk cId="671354928" sldId="2147483092"/>
            <ac:spMk id="1451" creationId="{3BED6355-5683-B228-BCF9-0FFDD02D5F63}"/>
          </ac:spMkLst>
        </pc:spChg>
        <pc:spChg chg="del mod ord">
          <ac:chgData name="Yudi Zhu" userId="571e1a55-055f-4c28-8b35-fca6dd1c1369" providerId="ADAL" clId="{75A88773-6EE1-484E-AADE-FE631E01463B}" dt="2025-11-21T09:49:22.269" v="417661"/>
          <ac:spMkLst>
            <pc:docMk/>
            <pc:sldMk cId="671354928" sldId="2147483092"/>
            <ac:spMk id="1479" creationId="{49867667-9299-8561-96BD-86DE7284E782}"/>
          </ac:spMkLst>
        </pc:spChg>
        <pc:spChg chg="del mod ord">
          <ac:chgData name="Yudi Zhu" userId="571e1a55-055f-4c28-8b35-fca6dd1c1369" providerId="ADAL" clId="{75A88773-6EE1-484E-AADE-FE631E01463B}" dt="2025-11-21T09:49:22.284" v="417667"/>
          <ac:spMkLst>
            <pc:docMk/>
            <pc:sldMk cId="671354928" sldId="2147483092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4T04:19:52.423" v="639571"/>
          <ac:spMkLst>
            <pc:docMk/>
            <pc:sldMk cId="671354928" sldId="2147483092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4T04:19:52.413" v="639529"/>
          <ac:spMkLst>
            <pc:docMk/>
            <pc:sldMk cId="671354928" sldId="2147483092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4T04:19:52.473" v="639693"/>
          <ac:spMkLst>
            <pc:docMk/>
            <pc:sldMk cId="671354928" sldId="2147483092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4T04:19:52.490" v="639712"/>
          <ac:spMkLst>
            <pc:docMk/>
            <pc:sldMk cId="671354928" sldId="2147483092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4T04:19:52.490" v="639717"/>
          <ac:spMkLst>
            <pc:docMk/>
            <pc:sldMk cId="671354928" sldId="2147483092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4T04:19:52.490" v="639723"/>
          <ac:spMkLst>
            <pc:docMk/>
            <pc:sldMk cId="671354928" sldId="2147483092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4T04:19:52.490" v="639724"/>
          <ac:spMkLst>
            <pc:docMk/>
            <pc:sldMk cId="671354928" sldId="2147483092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4T04:19:52.490" v="639725"/>
          <ac:spMkLst>
            <pc:docMk/>
            <pc:sldMk cId="671354928" sldId="2147483092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4T04:19:52.473" v="639695"/>
          <ac:spMkLst>
            <pc:docMk/>
            <pc:sldMk cId="671354928" sldId="2147483092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4T04:19:52.473" v="639700"/>
          <ac:spMkLst>
            <pc:docMk/>
            <pc:sldMk cId="671354928" sldId="2147483092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4T04:19:52.490" v="639703"/>
          <ac:spMkLst>
            <pc:docMk/>
            <pc:sldMk cId="671354928" sldId="2147483092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4T04:19:52.490" v="639726"/>
          <ac:spMkLst>
            <pc:docMk/>
            <pc:sldMk cId="671354928" sldId="2147483092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4T04:19:52.490" v="639718"/>
          <ac:spMkLst>
            <pc:docMk/>
            <pc:sldMk cId="671354928" sldId="2147483092"/>
            <ac:spMk id="1691" creationId="{C50F3DAA-EFE1-8572-5206-F1A4416A7C6F}"/>
          </ac:spMkLst>
        </pc:spChg>
        <pc:spChg chg="mod">
          <ac:chgData name="Yudi Zhu" userId="571e1a55-055f-4c28-8b35-fca6dd1c1369" providerId="ADAL" clId="{75A88773-6EE1-484E-AADE-FE631E01463B}" dt="2025-11-24T04:19:52.508" v="639742"/>
          <ac:spMkLst>
            <pc:docMk/>
            <pc:sldMk cId="671354928" sldId="2147483092"/>
            <ac:spMk id="1723" creationId="{4500BE63-029C-8CC6-1A95-233F327A1EC8}"/>
          </ac:spMkLst>
        </pc:spChg>
        <pc:spChg chg="del mod">
          <ac:chgData name="Yudi Zhu" userId="571e1a55-055f-4c28-8b35-fca6dd1c1369" providerId="ADAL" clId="{75A88773-6EE1-484E-AADE-FE631E01463B}" dt="2025-11-24T04:13:52.716" v="622969"/>
          <ac:spMkLst>
            <pc:docMk/>
            <pc:sldMk cId="671354928" sldId="2147483092"/>
            <ac:spMk id="1790" creationId="{097625FA-5686-DCF5-B817-A29F9D4727EA}"/>
          </ac:spMkLst>
        </pc:spChg>
        <pc:spChg chg="del mod">
          <ac:chgData name="Yudi Zhu" userId="571e1a55-055f-4c28-8b35-fca6dd1c1369" providerId="ADAL" clId="{75A88773-6EE1-484E-AADE-FE631E01463B}" dt="2025-11-24T04:13:52.716" v="622972"/>
          <ac:spMkLst>
            <pc:docMk/>
            <pc:sldMk cId="671354928" sldId="2147483092"/>
            <ac:spMk id="1791" creationId="{DEF9D83D-D4C4-4027-4A1D-F5596539654C}"/>
          </ac:spMkLst>
        </pc:spChg>
        <pc:spChg chg="del mod">
          <ac:chgData name="Yudi Zhu" userId="571e1a55-055f-4c28-8b35-fca6dd1c1369" providerId="ADAL" clId="{75A88773-6EE1-484E-AADE-FE631E01463B}" dt="2025-11-24T04:13:52.732" v="622973"/>
          <ac:spMkLst>
            <pc:docMk/>
            <pc:sldMk cId="671354928" sldId="2147483092"/>
            <ac:spMk id="1792" creationId="{457AA552-7E43-4131-3939-67AF0903A526}"/>
          </ac:spMkLst>
        </pc:spChg>
        <pc:spChg chg="del mod ord">
          <ac:chgData name="Yudi Zhu" userId="571e1a55-055f-4c28-8b35-fca6dd1c1369" providerId="ADAL" clId="{75A88773-6EE1-484E-AADE-FE631E01463B}" dt="2025-11-24T04:13:52.733" v="622975"/>
          <ac:spMkLst>
            <pc:docMk/>
            <pc:sldMk cId="671354928" sldId="2147483092"/>
            <ac:spMk id="1793" creationId="{49B7EED3-55F2-EC31-271D-C5C5BE26DD37}"/>
          </ac:spMkLst>
        </pc:spChg>
        <pc:spChg chg="del mod">
          <ac:chgData name="Yudi Zhu" userId="571e1a55-055f-4c28-8b35-fca6dd1c1369" providerId="ADAL" clId="{75A88773-6EE1-484E-AADE-FE631E01463B}" dt="2025-11-24T04:13:52.716" v="622968"/>
          <ac:spMkLst>
            <pc:docMk/>
            <pc:sldMk cId="671354928" sldId="2147483092"/>
            <ac:spMk id="1794" creationId="{C46898E2-09A3-DE10-6BB4-419D080C0C97}"/>
          </ac:spMkLst>
        </pc:spChg>
        <pc:spChg chg="del mod">
          <ac:chgData name="Yudi Zhu" userId="571e1a55-055f-4c28-8b35-fca6dd1c1369" providerId="ADAL" clId="{75A88773-6EE1-484E-AADE-FE631E01463B}" dt="2025-11-24T04:13:52.716" v="622970"/>
          <ac:spMkLst>
            <pc:docMk/>
            <pc:sldMk cId="671354928" sldId="2147483092"/>
            <ac:spMk id="1795" creationId="{56231662-B4A5-BFA4-F972-D6312D2A7DFA}"/>
          </ac:spMkLst>
        </pc:spChg>
        <pc:spChg chg="del mod ord">
          <ac:chgData name="Yudi Zhu" userId="571e1a55-055f-4c28-8b35-fca6dd1c1369" providerId="ADAL" clId="{75A88773-6EE1-484E-AADE-FE631E01463B}" dt="2025-11-24T04:13:52.733" v="622976"/>
          <ac:spMkLst>
            <pc:docMk/>
            <pc:sldMk cId="671354928" sldId="2147483092"/>
            <ac:spMk id="1796" creationId="{B96FE47B-79DC-89A5-2C60-01F5168C6F48}"/>
          </ac:spMkLst>
        </pc:spChg>
        <pc:spChg chg="del mod">
          <ac:chgData name="Yudi Zhu" userId="571e1a55-055f-4c28-8b35-fca6dd1c1369" providerId="ADAL" clId="{75A88773-6EE1-484E-AADE-FE631E01463B}" dt="2025-11-24T04:13:52.734" v="622977"/>
          <ac:spMkLst>
            <pc:docMk/>
            <pc:sldMk cId="671354928" sldId="2147483092"/>
            <ac:spMk id="1797" creationId="{0B25F4BA-5FF3-F040-8305-7A2E2C6277DC}"/>
          </ac:spMkLst>
        </pc:spChg>
        <pc:spChg chg="del mod">
          <ac:chgData name="Yudi Zhu" userId="571e1a55-055f-4c28-8b35-fca6dd1c1369" providerId="ADAL" clId="{75A88773-6EE1-484E-AADE-FE631E01463B}" dt="2025-11-24T04:13:52.734" v="622978"/>
          <ac:spMkLst>
            <pc:docMk/>
            <pc:sldMk cId="671354928" sldId="2147483092"/>
            <ac:spMk id="1798" creationId="{BAF78A19-A084-6BDB-AF15-EEDDA69BD191}"/>
          </ac:spMkLst>
        </pc:spChg>
        <pc:spChg chg="del mod ord">
          <ac:chgData name="Yudi Zhu" userId="571e1a55-055f-4c28-8b35-fca6dd1c1369" providerId="ADAL" clId="{75A88773-6EE1-484E-AADE-FE631E01463B}" dt="2025-11-24T04:13:52.735" v="622980"/>
          <ac:spMkLst>
            <pc:docMk/>
            <pc:sldMk cId="671354928" sldId="2147483092"/>
            <ac:spMk id="1799" creationId="{B9719039-1DC2-ED72-5DB7-C91F2F087453}"/>
          </ac:spMkLst>
        </pc:spChg>
        <pc:spChg chg="del mod">
          <ac:chgData name="Yudi Zhu" userId="571e1a55-055f-4c28-8b35-fca6dd1c1369" providerId="ADAL" clId="{75A88773-6EE1-484E-AADE-FE631E01463B}" dt="2025-11-24T04:13:52.716" v="622971"/>
          <ac:spMkLst>
            <pc:docMk/>
            <pc:sldMk cId="671354928" sldId="2147483092"/>
            <ac:spMk id="1800" creationId="{75FE1217-CF43-2C19-09C9-A9FAED99A004}"/>
          </ac:spMkLst>
        </pc:spChg>
        <pc:spChg chg="del mod">
          <ac:chgData name="Yudi Zhu" userId="571e1a55-055f-4c28-8b35-fca6dd1c1369" providerId="ADAL" clId="{75A88773-6EE1-484E-AADE-FE631E01463B}" dt="2025-11-24T04:13:52.735" v="622981"/>
          <ac:spMkLst>
            <pc:docMk/>
            <pc:sldMk cId="671354928" sldId="2147483092"/>
            <ac:spMk id="1801" creationId="{E8C41538-DD19-A841-9118-B8BC74499792}"/>
          </ac:spMkLst>
        </pc:spChg>
        <pc:spChg chg="mod">
          <ac:chgData name="Yudi Zhu" userId="571e1a55-055f-4c28-8b35-fca6dd1c1369" providerId="ADAL" clId="{75A88773-6EE1-484E-AADE-FE631E01463B}" dt="2025-11-24T04:19:52.473" v="639694"/>
          <ac:spMkLst>
            <pc:docMk/>
            <pc:sldMk cId="671354928" sldId="2147483092"/>
            <ac:spMk id="1851" creationId="{55435E9D-DD6B-12E6-3E01-6C50EF33F500}"/>
          </ac:spMkLst>
        </pc:spChg>
        <pc:spChg chg="add del mod ord">
          <ac:chgData name="Yudi Zhu" userId="571e1a55-055f-4c28-8b35-fca6dd1c1369" providerId="ADAL" clId="{75A88773-6EE1-484E-AADE-FE631E01463B}" dt="2025-11-21T09:51:33.937" v="422075"/>
          <ac:spMkLst>
            <pc:docMk/>
            <pc:sldMk cId="671354928" sldId="2147483092"/>
            <ac:spMk id="1856" creationId="{75AA75AD-F5D4-F059-39CE-E4C55F43A172}"/>
          </ac:spMkLst>
        </pc:spChg>
        <pc:spChg chg="add del mod modVis">
          <ac:chgData name="Yudi Zhu" userId="571e1a55-055f-4c28-8b35-fca6dd1c1369" providerId="ADAL" clId="{75A88773-6EE1-484E-AADE-FE631E01463B}" dt="2025-11-21T09:51:34.484" v="422351"/>
          <ac:spMkLst>
            <pc:docMk/>
            <pc:sldMk cId="671354928" sldId="2147483092"/>
            <ac:spMk id="1858" creationId="{24B79E95-949F-D5ED-67F6-CE8A487718F4}"/>
          </ac:spMkLst>
        </pc:spChg>
        <pc:spChg chg="add del mod modVis">
          <ac:chgData name="Yudi Zhu" userId="571e1a55-055f-4c28-8b35-fca6dd1c1369" providerId="ADAL" clId="{75A88773-6EE1-484E-AADE-FE631E01463B}" dt="2025-11-21T09:53:27.288" v="424875" actId="962"/>
          <ac:spMkLst>
            <pc:docMk/>
            <pc:sldMk cId="671354928" sldId="2147483092"/>
            <ac:spMk id="1864" creationId="{ADFDD6B6-1391-C7A3-B71F-4AD9EE2F19A3}"/>
          </ac:spMkLst>
        </pc:spChg>
        <pc:spChg chg="add del mod modVis">
          <ac:chgData name="Yudi Zhu" userId="571e1a55-055f-4c28-8b35-fca6dd1c1369" providerId="ADAL" clId="{75A88773-6EE1-484E-AADE-FE631E01463B}" dt="2025-11-21T09:53:24.807" v="424668"/>
          <ac:spMkLst>
            <pc:docMk/>
            <pc:sldMk cId="671354928" sldId="2147483092"/>
            <ac:spMk id="1867" creationId="{BB410258-5615-5FC8-C730-7CC039535B3E}"/>
          </ac:spMkLst>
        </pc:spChg>
        <pc:spChg chg="add del mod modVis">
          <ac:chgData name="Yudi Zhu" userId="571e1a55-055f-4c28-8b35-fca6dd1c1369" providerId="ADAL" clId="{75A88773-6EE1-484E-AADE-FE631E01463B}" dt="2025-11-21T10:03:37.673" v="438941" actId="962"/>
          <ac:spMkLst>
            <pc:docMk/>
            <pc:sldMk cId="671354928" sldId="2147483092"/>
            <ac:spMk id="1870" creationId="{2CA9A0F4-BC0B-AFCC-FC0E-6CAEB83847D3}"/>
          </ac:spMkLst>
        </pc:spChg>
        <pc:spChg chg="add del mod modVis">
          <ac:chgData name="Yudi Zhu" userId="571e1a55-055f-4c28-8b35-fca6dd1c1369" providerId="ADAL" clId="{75A88773-6EE1-484E-AADE-FE631E01463B}" dt="2025-11-21T10:03:37.355" v="438722" actId="962"/>
          <ac:spMkLst>
            <pc:docMk/>
            <pc:sldMk cId="671354928" sldId="2147483092"/>
            <ac:spMk id="1872" creationId="{3A35F5EF-7250-DF0C-6E55-68F07F685E56}"/>
          </ac:spMkLst>
        </pc:spChg>
        <pc:spChg chg="add del mod modVis">
          <ac:chgData name="Yudi Zhu" userId="571e1a55-055f-4c28-8b35-fca6dd1c1369" providerId="ADAL" clId="{75A88773-6EE1-484E-AADE-FE631E01463B}" dt="2025-11-21T10:11:56.080" v="458396" actId="962"/>
          <ac:spMkLst>
            <pc:docMk/>
            <pc:sldMk cId="671354928" sldId="2147483092"/>
            <ac:spMk id="1875" creationId="{163F33ED-BF17-4F7D-3A75-27AD2A6801F8}"/>
          </ac:spMkLst>
        </pc:spChg>
        <pc:spChg chg="add del mod modVis">
          <ac:chgData name="Yudi Zhu" userId="571e1a55-055f-4c28-8b35-fca6dd1c1369" providerId="ADAL" clId="{75A88773-6EE1-484E-AADE-FE631E01463B}" dt="2025-11-21T10:11:51.472" v="458294"/>
          <ac:spMkLst>
            <pc:docMk/>
            <pc:sldMk cId="671354928" sldId="2147483092"/>
            <ac:spMk id="1876" creationId="{3A8E0423-CDEF-BF14-399B-9570066553BA}"/>
          </ac:spMkLst>
        </pc:spChg>
        <pc:spChg chg="add del mod modVis">
          <ac:chgData name="Yudi Zhu" userId="571e1a55-055f-4c28-8b35-fca6dd1c1369" providerId="ADAL" clId="{75A88773-6EE1-484E-AADE-FE631E01463B}" dt="2025-11-21T10:11:50.112" v="458094"/>
          <ac:spMkLst>
            <pc:docMk/>
            <pc:sldMk cId="671354928" sldId="2147483092"/>
            <ac:spMk id="1879" creationId="{B2930D13-061D-B4A4-FC44-48118DBC8442}"/>
          </ac:spMkLst>
        </pc:spChg>
        <pc:spChg chg="add del mod modVis">
          <ac:chgData name="Yudi Zhu" userId="571e1a55-055f-4c28-8b35-fca6dd1c1369" providerId="ADAL" clId="{75A88773-6EE1-484E-AADE-FE631E01463B}" dt="2025-11-21T10:11:48.961" v="457964" actId="962"/>
          <ac:spMkLst>
            <pc:docMk/>
            <pc:sldMk cId="671354928" sldId="2147483092"/>
            <ac:spMk id="1881" creationId="{2C55A24D-0030-F158-400C-9886B5FF0AFF}"/>
          </ac:spMkLst>
        </pc:spChg>
        <pc:spChg chg="add del mod modVis">
          <ac:chgData name="Yudi Zhu" userId="571e1a55-055f-4c28-8b35-fca6dd1c1369" providerId="ADAL" clId="{75A88773-6EE1-484E-AADE-FE631E01463B}" dt="2025-11-21T10:12:19.392" v="459927"/>
          <ac:spMkLst>
            <pc:docMk/>
            <pc:sldMk cId="671354928" sldId="2147483092"/>
            <ac:spMk id="1898" creationId="{59363CEB-1C86-DAA7-3942-7FB5F4654B73}"/>
          </ac:spMkLst>
        </pc:spChg>
        <pc:spChg chg="add del mod">
          <ac:chgData name="Yudi Zhu" userId="571e1a55-055f-4c28-8b35-fca6dd1c1369" providerId="ADAL" clId="{75A88773-6EE1-484E-AADE-FE631E01463B}" dt="2025-11-21T10:12:42.262" v="461438"/>
          <ac:spMkLst>
            <pc:docMk/>
            <pc:sldMk cId="671354928" sldId="2147483092"/>
            <ac:spMk id="1902" creationId="{9FE19557-4CE4-DDB9-34E0-CC5EE46A0710}"/>
          </ac:spMkLst>
        </pc:spChg>
        <pc:spChg chg="add del mod modVis">
          <ac:chgData name="Yudi Zhu" userId="571e1a55-055f-4c28-8b35-fca6dd1c1369" providerId="ADAL" clId="{75A88773-6EE1-484E-AADE-FE631E01463B}" dt="2025-11-21T10:12:25.455" v="460740"/>
          <ac:spMkLst>
            <pc:docMk/>
            <pc:sldMk cId="671354928" sldId="2147483092"/>
            <ac:spMk id="1903" creationId="{843E2EA3-50FC-7235-BE65-2C1E2E31FFB6}"/>
          </ac:spMkLst>
        </pc:spChg>
        <pc:spChg chg="add del mod">
          <ac:chgData name="Yudi Zhu" userId="571e1a55-055f-4c28-8b35-fca6dd1c1369" providerId="ADAL" clId="{75A88773-6EE1-484E-AADE-FE631E01463B}" dt="2025-11-21T10:12:42.261" v="461437"/>
          <ac:spMkLst>
            <pc:docMk/>
            <pc:sldMk cId="671354928" sldId="2147483092"/>
            <ac:spMk id="1904" creationId="{24608201-BB53-4D0D-D8E1-54FDA1E70D83}"/>
          </ac:spMkLst>
        </pc:spChg>
        <pc:spChg chg="add del mod modVis">
          <ac:chgData name="Yudi Zhu" userId="571e1a55-055f-4c28-8b35-fca6dd1c1369" providerId="ADAL" clId="{75A88773-6EE1-484E-AADE-FE631E01463B}" dt="2025-11-21T10:12:32.023" v="461016"/>
          <ac:spMkLst>
            <pc:docMk/>
            <pc:sldMk cId="671354928" sldId="2147483092"/>
            <ac:spMk id="1908" creationId="{DC588F3D-A47A-CEF7-180F-3C740A83DF6F}"/>
          </ac:spMkLst>
        </pc:spChg>
        <pc:spChg chg="add del mod modVis">
          <ac:chgData name="Yudi Zhu" userId="571e1a55-055f-4c28-8b35-fca6dd1c1369" providerId="ADAL" clId="{75A88773-6EE1-484E-AADE-FE631E01463B}" dt="2025-11-21T10:12:37.256" v="461434"/>
          <ac:spMkLst>
            <pc:docMk/>
            <pc:sldMk cId="671354928" sldId="2147483092"/>
            <ac:spMk id="1910" creationId="{32D56DCB-6B2F-4FFA-90D7-7283C0CB2DF3}"/>
          </ac:spMkLst>
        </pc:spChg>
        <pc:spChg chg="add del mod modVis">
          <ac:chgData name="Yudi Zhu" userId="571e1a55-055f-4c28-8b35-fca6dd1c1369" providerId="ADAL" clId="{75A88773-6EE1-484E-AADE-FE631E01463B}" dt="2025-11-21T10:14:14.750" v="466628"/>
          <ac:spMkLst>
            <pc:docMk/>
            <pc:sldMk cId="671354928" sldId="2147483092"/>
            <ac:spMk id="1918" creationId="{430E5786-A373-0C4C-EFBC-32F6FB1CCE7F}"/>
          </ac:spMkLst>
        </pc:spChg>
        <pc:grpChg chg="mod ord">
          <ac:chgData name="Yudi Zhu" userId="571e1a55-055f-4c28-8b35-fca6dd1c1369" providerId="ADAL" clId="{75A88773-6EE1-484E-AADE-FE631E01463B}" dt="2025-11-24T04:19:52.505" v="639737"/>
          <ac:grpSpMkLst>
            <pc:docMk/>
            <pc:sldMk cId="671354928" sldId="2147483092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4T04:19:52.506" v="639739"/>
          <ac:grpSpMkLst>
            <pc:docMk/>
            <pc:sldMk cId="671354928" sldId="2147483092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4T04:19:52.507" v="639741"/>
          <ac:grpSpMkLst>
            <pc:docMk/>
            <pc:sldMk cId="671354928" sldId="2147483092"/>
            <ac:grpSpMk id="1604" creationId="{CAC77667-D6BB-F83B-AA16-FAE5D5B780AA}"/>
          </ac:grpSpMkLst>
        </pc:grpChg>
        <pc:graphicFrameChg chg="add del mod">
          <ac:chgData name="Yudi Zhu" userId="571e1a55-055f-4c28-8b35-fca6dd1c1369" providerId="ADAL" clId="{75A88773-6EE1-484E-AADE-FE631E01463B}" dt="2025-11-24T04:13:52.883" v="623067"/>
          <ac:graphicFrameMkLst>
            <pc:docMk/>
            <pc:sldMk cId="671354928" sldId="2147483092"/>
            <ac:graphicFrameMk id="5" creationId="{D4589F16-B60C-04DE-8000-E5C308C971F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52.356" v="639512"/>
          <ac:graphicFrameMkLst>
            <pc:docMk/>
            <pc:sldMk cId="671354928" sldId="2147483092"/>
            <ac:graphicFrameMk id="9" creationId="{948CCA98-0301-DC21-5BAA-1C78BD258EDE}"/>
          </ac:graphicFrameMkLst>
        </pc:graphicFrameChg>
        <pc:graphicFrameChg chg="mod">
          <ac:chgData name="Yudi Zhu" userId="571e1a55-055f-4c28-8b35-fca6dd1c1369" providerId="ADAL" clId="{75A88773-6EE1-484E-AADE-FE631E01463B}" dt="2025-11-24T04:19:52.509" v="639744"/>
          <ac:graphicFrameMkLst>
            <pc:docMk/>
            <pc:sldMk cId="671354928" sldId="2147483092"/>
            <ac:graphicFrameMk id="11" creationId="{06D8B66D-C873-80E6-487B-D6B21C51228A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2.421" v="639554"/>
          <ac:graphicFrameMkLst>
            <pc:docMk/>
            <pc:sldMk cId="671354928" sldId="2147483092"/>
            <ac:graphicFrameMk id="12" creationId="{4C9EB17B-8784-7A0C-52C7-B3EC90BDC0A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3:37.765" v="409222"/>
          <ac:graphicFrameMkLst>
            <pc:docMk/>
            <pc:sldMk cId="671354928" sldId="2147483092"/>
            <ac:graphicFrameMk id="16" creationId="{DEC7A217-F8A8-D1B6-96A8-BA12C8C4C189}"/>
          </ac:graphicFrameMkLst>
        </pc:graphicFrameChg>
        <pc:graphicFrameChg chg="add mod">
          <ac:chgData name="Yudi Zhu" userId="571e1a55-055f-4c28-8b35-fca6dd1c1369" providerId="ADAL" clId="{75A88773-6EE1-484E-AADE-FE631E01463B}" dt="2025-11-21T09:23:30.128" v="408916"/>
          <ac:graphicFrameMkLst>
            <pc:docMk/>
            <pc:sldMk cId="671354928" sldId="2147483092"/>
            <ac:graphicFrameMk id="24" creationId="{D0E93543-F093-1297-5728-6E9D289A386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3:43.352" v="409486"/>
          <ac:graphicFrameMkLst>
            <pc:docMk/>
            <pc:sldMk cId="671354928" sldId="2147483092"/>
            <ac:graphicFrameMk id="26" creationId="{BFB96B04-9ED6-CAAA-F237-7D6840D8FE7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3:52.813" v="410364"/>
          <ac:graphicFrameMkLst>
            <pc:docMk/>
            <pc:sldMk cId="671354928" sldId="2147483092"/>
            <ac:graphicFrameMk id="28" creationId="{86DB6229-A349-86E3-B19C-959699D4D1C2}"/>
          </ac:graphicFrameMkLst>
        </pc:graphicFrameChg>
        <pc:graphicFrameChg chg="add mod">
          <ac:chgData name="Yudi Zhu" userId="571e1a55-055f-4c28-8b35-fca6dd1c1369" providerId="ADAL" clId="{75A88773-6EE1-484E-AADE-FE631E01463B}" dt="2025-11-21T09:23:49.511" v="410067"/>
          <ac:graphicFrameMkLst>
            <pc:docMk/>
            <pc:sldMk cId="671354928" sldId="2147483092"/>
            <ac:graphicFrameMk id="30" creationId="{30E09D48-E3F6-A9E4-FFFE-B1B2F59B49F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3:56.632" v="410681"/>
          <ac:graphicFrameMkLst>
            <pc:docMk/>
            <pc:sldMk cId="671354928" sldId="2147483092"/>
            <ac:graphicFrameMk id="32" creationId="{07085C41-CA22-7AE6-1BE0-50DFB6DD38F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02.812" v="410901"/>
          <ac:graphicFrameMkLst>
            <pc:docMk/>
            <pc:sldMk cId="671354928" sldId="2147483092"/>
            <ac:graphicFrameMk id="37" creationId="{368E1B15-53D4-48CF-39C0-BD5D11ECC41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07.131" v="411121"/>
          <ac:graphicFrameMkLst>
            <pc:docMk/>
            <pc:sldMk cId="671354928" sldId="2147483092"/>
            <ac:graphicFrameMk id="38" creationId="{FECE13E1-3CBD-8DEC-A238-3F0B0D114E8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15.397" v="411341"/>
          <ac:graphicFrameMkLst>
            <pc:docMk/>
            <pc:sldMk cId="671354928" sldId="2147483092"/>
            <ac:graphicFrameMk id="39" creationId="{F49B952C-340F-8FDA-AD2D-30487F29232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19.703" v="411561"/>
          <ac:graphicFrameMkLst>
            <pc:docMk/>
            <pc:sldMk cId="671354928" sldId="2147483092"/>
            <ac:graphicFrameMk id="40" creationId="{62787028-49B0-2593-6B3C-D8995E931D8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24.661" v="411781"/>
          <ac:graphicFrameMkLst>
            <pc:docMk/>
            <pc:sldMk cId="671354928" sldId="2147483092"/>
            <ac:graphicFrameMk id="41" creationId="{53A01BB4-B068-7863-F4A3-879E8700E81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28.115" v="412091"/>
          <ac:graphicFrameMkLst>
            <pc:docMk/>
            <pc:sldMk cId="671354928" sldId="2147483092"/>
            <ac:graphicFrameMk id="42" creationId="{506E2B5E-57A8-C41E-DFC7-5B1CB443C36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49:48.962" v="418070"/>
          <ac:graphicFrameMkLst>
            <pc:docMk/>
            <pc:sldMk cId="671354928" sldId="2147483092"/>
            <ac:graphicFrameMk id="43" creationId="{BDB78E0E-C12A-DAA5-8375-802279DFE72A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2.471" v="639650"/>
          <ac:graphicFrameMkLst>
            <pc:docMk/>
            <pc:sldMk cId="671354928" sldId="2147483092"/>
            <ac:graphicFrameMk id="53" creationId="{5273AB40-6F3F-7517-EF20-27DB9C5A105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49:57.983" v="418317"/>
          <ac:graphicFrameMkLst>
            <pc:docMk/>
            <pc:sldMk cId="671354928" sldId="2147483092"/>
            <ac:graphicFrameMk id="54" creationId="{F708CC85-EDCB-671F-1690-17391F6F990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0:26.260" v="418561"/>
          <ac:graphicFrameMkLst>
            <pc:docMk/>
            <pc:sldMk cId="671354928" sldId="2147483092"/>
            <ac:graphicFrameMk id="55" creationId="{C4D70CEE-2609-4B01-592F-91A3137F02A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2:51.228" v="422917"/>
          <ac:graphicFrameMkLst>
            <pc:docMk/>
            <pc:sldMk cId="671354928" sldId="2147483092"/>
            <ac:graphicFrameMk id="56" creationId="{4946022D-1694-C441-0682-994C192CC4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0:40.030" v="419549"/>
          <ac:graphicFrameMkLst>
            <pc:docMk/>
            <pc:sldMk cId="671354928" sldId="2147483092"/>
            <ac:graphicFrameMk id="58" creationId="{1E407397-6ECB-1980-E70D-DD1E663B83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0:41.731" v="419935"/>
          <ac:graphicFrameMkLst>
            <pc:docMk/>
            <pc:sldMk cId="671354928" sldId="2147483092"/>
            <ac:graphicFrameMk id="59" creationId="{1E7E4500-6E65-45BC-8BAD-BDFE035D35E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0:42.923" v="420321"/>
          <ac:graphicFrameMkLst>
            <pc:docMk/>
            <pc:sldMk cId="671354928" sldId="2147483092"/>
            <ac:graphicFrameMk id="60" creationId="{358370B3-5DBD-4CD4-7ADA-D45A751B24A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1:31.253" v="421326"/>
          <ac:graphicFrameMkLst>
            <pc:docMk/>
            <pc:sldMk cId="671354928" sldId="2147483092"/>
            <ac:graphicFrameMk id="61" creationId="{71D8DA00-DD9A-0B1A-A730-66A8AEF5F8A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17.978" v="466897"/>
          <ac:graphicFrameMkLst>
            <pc:docMk/>
            <pc:sldMk cId="671354928" sldId="2147483092"/>
            <ac:graphicFrameMk id="129" creationId="{33DB7664-D905-7F3D-9D55-CC2239160D3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1:57:21.076" v="477707"/>
          <ac:graphicFrameMkLst>
            <pc:docMk/>
            <pc:sldMk cId="671354928" sldId="2147483092"/>
            <ac:graphicFrameMk id="130" creationId="{406A00D2-D4DE-CAA5-CABC-C4BAE66EB173}"/>
          </ac:graphicFrameMkLst>
        </pc:graphicFrameChg>
        <pc:graphicFrameChg chg="del mod">
          <ac:chgData name="Yudi Zhu" userId="571e1a55-055f-4c28-8b35-fca6dd1c1369" providerId="ADAL" clId="{75A88773-6EE1-484E-AADE-FE631E01463B}" dt="2025-11-21T09:50:39.026" v="419159"/>
          <ac:graphicFrameMkLst>
            <pc:docMk/>
            <pc:sldMk cId="671354928" sldId="2147483092"/>
            <ac:graphicFrameMk id="1841" creationId="{75CA4059-95BE-974C-1015-A32F93ED2263}"/>
          </ac:graphicFrameMkLst>
        </pc:graphicFrameChg>
        <pc:graphicFrameChg chg="del">
          <ac:chgData name="Yudi Zhu" userId="571e1a55-055f-4c28-8b35-fca6dd1c1369" providerId="ADAL" clId="{75A88773-6EE1-484E-AADE-FE631E01463B}" dt="2025-11-21T09:23:06.815" v="407799"/>
          <ac:graphicFrameMkLst>
            <pc:docMk/>
            <pc:sldMk cId="671354928" sldId="2147483092"/>
            <ac:graphicFrameMk id="1842" creationId="{6017CCC4-E106-6DD9-EAE7-C5CB880BFB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1:33.997" v="422115"/>
          <ac:graphicFrameMkLst>
            <pc:docMk/>
            <pc:sldMk cId="671354928" sldId="2147483092"/>
            <ac:graphicFrameMk id="1857" creationId="{A8113F94-B3E0-D0CC-518F-B89E1955A95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1:47.362" v="422355"/>
          <ac:graphicFrameMkLst>
            <pc:docMk/>
            <pc:sldMk cId="671354928" sldId="2147483092"/>
            <ac:graphicFrameMk id="1859" creationId="{5909281C-85C2-6454-FB3F-F831752A6D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1:55.505" v="422595"/>
          <ac:graphicFrameMkLst>
            <pc:docMk/>
            <pc:sldMk cId="671354928" sldId="2147483092"/>
            <ac:graphicFrameMk id="1860" creationId="{516E28A5-61C7-5D4D-D2B6-DC19EE24D56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14.625" v="466396"/>
          <ac:graphicFrameMkLst>
            <pc:docMk/>
            <pc:sldMk cId="671354928" sldId="2147483092"/>
            <ac:graphicFrameMk id="1861" creationId="{EBF5C51D-12D5-023C-0493-14753D72CB2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2:53.508" v="423147"/>
          <ac:graphicFrameMkLst>
            <pc:docMk/>
            <pc:sldMk cId="671354928" sldId="2147483092"/>
            <ac:graphicFrameMk id="1862" creationId="{4A50D4C1-F62F-C6D0-ABA4-B7696CD0E55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19.225" v="459709"/>
          <ac:graphicFrameMkLst>
            <pc:docMk/>
            <pc:sldMk cId="671354928" sldId="2147483092"/>
            <ac:graphicFrameMk id="1863" creationId="{0139DF65-1423-F9F8-8BFD-FB3910FCF0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3:27.253" v="424827" actId="1076"/>
          <ac:graphicFrameMkLst>
            <pc:docMk/>
            <pc:sldMk cId="671354928" sldId="2147483092"/>
            <ac:graphicFrameMk id="1865" creationId="{4B037EAA-9514-9DF3-CA4A-0A791B8EE13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3:25.273" v="424748"/>
          <ac:graphicFrameMkLst>
            <pc:docMk/>
            <pc:sldMk cId="671354928" sldId="2147483092"/>
            <ac:graphicFrameMk id="1866" creationId="{C833BDA5-EE21-CCDA-82FD-3B6289B45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3:24.807" v="424668"/>
          <ac:graphicFrameMkLst>
            <pc:docMk/>
            <pc:sldMk cId="671354928" sldId="2147483092"/>
            <ac:graphicFrameMk id="1868" creationId="{42BF241B-493C-CCB0-BE68-56F7C4BA2F6A}"/>
          </ac:graphicFrameMkLst>
        </pc:graphicFrameChg>
        <pc:graphicFrameChg chg="add mod">
          <ac:chgData name="Yudi Zhu" userId="571e1a55-055f-4c28-8b35-fca6dd1c1369" providerId="ADAL" clId="{75A88773-6EE1-484E-AADE-FE631E01463B}" dt="2025-11-21T09:53:24.807" v="424668"/>
          <ac:graphicFrameMkLst>
            <pc:docMk/>
            <pc:sldMk cId="671354928" sldId="2147483092"/>
            <ac:graphicFrameMk id="1869" creationId="{8AE25A47-DF30-C75F-1861-A4CDA700D41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7.537" v="438802" actId="1076"/>
          <ac:graphicFrameMkLst>
            <pc:docMk/>
            <pc:sldMk cId="671354928" sldId="2147483092"/>
            <ac:graphicFrameMk id="1871" creationId="{C8CE33E8-0F15-F481-EA7F-F793E4F255D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7.355" v="438709" actId="1076"/>
          <ac:graphicFrameMkLst>
            <pc:docMk/>
            <pc:sldMk cId="671354928" sldId="2147483092"/>
            <ac:graphicFrameMk id="1873" creationId="{5C2ECC7A-249A-7703-0E47-E5BABF803ED6}"/>
          </ac:graphicFrameMkLst>
        </pc:graphicFrameChg>
        <pc:graphicFrameChg chg="add mod">
          <ac:chgData name="Yudi Zhu" userId="571e1a55-055f-4c28-8b35-fca6dd1c1369" providerId="ADAL" clId="{75A88773-6EE1-484E-AADE-FE631E01463B}" dt="2025-11-21T10:03:37.324" v="438632" actId="1076"/>
          <ac:graphicFrameMkLst>
            <pc:docMk/>
            <pc:sldMk cId="671354928" sldId="2147483092"/>
            <ac:graphicFrameMk id="1874" creationId="{93505DDC-A3D8-F5AC-E054-6EE1EE68DB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51.472" v="458294"/>
          <ac:graphicFrameMkLst>
            <pc:docMk/>
            <pc:sldMk cId="671354928" sldId="2147483092"/>
            <ac:graphicFrameMk id="1877" creationId="{AB5CCFF9-06EB-2385-7E01-188DDCFCE8EA}"/>
          </ac:graphicFrameMkLst>
        </pc:graphicFrameChg>
        <pc:graphicFrameChg chg="del mod">
          <ac:chgData name="Yudi Zhu" userId="571e1a55-055f-4c28-8b35-fca6dd1c1369" providerId="ADAL" clId="{75A88773-6EE1-484E-AADE-FE631E01463B}" dt="2025-11-21T09:49:22.566" v="417793"/>
          <ac:graphicFrameMkLst>
            <pc:docMk/>
            <pc:sldMk cId="671354928" sldId="2147483092"/>
            <ac:graphicFrameMk id="1878" creationId="{327F4ECA-FAFB-527F-C5AC-4EC826B3A84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50.112" v="458094"/>
          <ac:graphicFrameMkLst>
            <pc:docMk/>
            <pc:sldMk cId="671354928" sldId="2147483092"/>
            <ac:graphicFrameMk id="1880" creationId="{49BBE62C-5F9C-3A0A-F1A7-F14A3ED2840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8.913" v="457924" actId="1076"/>
          <ac:graphicFrameMkLst>
            <pc:docMk/>
            <pc:sldMk cId="671354928" sldId="2147483092"/>
            <ac:graphicFrameMk id="1882" creationId="{B3AD801A-5094-0593-5CC6-3757A5D9E0A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7.805" v="457839"/>
          <ac:graphicFrameMkLst>
            <pc:docMk/>
            <pc:sldMk cId="671354928" sldId="2147483092"/>
            <ac:graphicFrameMk id="1883" creationId="{BF19809C-4FD6-5A7B-F49F-FD71480987E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7.515" v="457763"/>
          <ac:graphicFrameMkLst>
            <pc:docMk/>
            <pc:sldMk cId="671354928" sldId="2147483092"/>
            <ac:graphicFrameMk id="1884" creationId="{909094F9-3EE5-75F6-85D5-5A83643A820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7.225" v="457670"/>
          <ac:graphicFrameMkLst>
            <pc:docMk/>
            <pc:sldMk cId="671354928" sldId="2147483092"/>
            <ac:graphicFrameMk id="1886" creationId="{87948137-09A7-EFC7-211F-9618D1B4F42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6.980" v="457567"/>
          <ac:graphicFrameMkLst>
            <pc:docMk/>
            <pc:sldMk cId="671354928" sldId="2147483092"/>
            <ac:graphicFrameMk id="1890" creationId="{DD328282-DD00-E786-CF38-D40180439B9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6.445" v="457448"/>
          <ac:graphicFrameMkLst>
            <pc:docMk/>
            <pc:sldMk cId="671354928" sldId="2147483092"/>
            <ac:graphicFrameMk id="1891" creationId="{FDABC521-5458-99F3-A876-319501BC0D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5.810" v="457360"/>
          <ac:graphicFrameMkLst>
            <pc:docMk/>
            <pc:sldMk cId="671354928" sldId="2147483092"/>
            <ac:graphicFrameMk id="1892" creationId="{FB3F7E04-6852-9BFA-EFF6-EE5BF5C1F8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4.926" v="457269"/>
          <ac:graphicFrameMkLst>
            <pc:docMk/>
            <pc:sldMk cId="671354928" sldId="2147483092"/>
            <ac:graphicFrameMk id="1893" creationId="{91534ACE-E184-8C27-FCF8-F6B0084ACC2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1:44.211" v="457165"/>
          <ac:graphicFrameMkLst>
            <pc:docMk/>
            <pc:sldMk cId="671354928" sldId="2147483092"/>
            <ac:graphicFrameMk id="1896" creationId="{EB3F0BFE-5866-4239-A6DA-9FF564AD1E71}"/>
          </ac:graphicFrameMkLst>
        </pc:graphicFrameChg>
        <pc:graphicFrameChg chg="add mod">
          <ac:chgData name="Yudi Zhu" userId="571e1a55-055f-4c28-8b35-fca6dd1c1369" providerId="ADAL" clId="{75A88773-6EE1-484E-AADE-FE631E01463B}" dt="2025-11-21T10:11:43.161" v="457041"/>
          <ac:graphicFrameMkLst>
            <pc:docMk/>
            <pc:sldMk cId="671354928" sldId="2147483092"/>
            <ac:graphicFrameMk id="1897" creationId="{AE9ACCB5-E8AF-33CB-DE5B-90C04F2674C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22.589" v="459931"/>
          <ac:graphicFrameMkLst>
            <pc:docMk/>
            <pc:sldMk cId="671354928" sldId="2147483092"/>
            <ac:graphicFrameMk id="1899" creationId="{197895B0-5CBC-00E9-8FC9-45306FE1821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24.172" v="460151"/>
          <ac:graphicFrameMkLst>
            <pc:docMk/>
            <pc:sldMk cId="671354928" sldId="2147483092"/>
            <ac:graphicFrameMk id="1900" creationId="{1D8AC42B-C9B9-06CF-51EB-29BDAC36B1E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25.278" v="460499"/>
          <ac:graphicFrameMkLst>
            <pc:docMk/>
            <pc:sldMk cId="671354928" sldId="2147483092"/>
            <ac:graphicFrameMk id="1901" creationId="{880DE090-5C92-1906-FF42-E22C7570FD3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31.837" v="460778"/>
          <ac:graphicFrameMkLst>
            <pc:docMk/>
            <pc:sldMk cId="671354928" sldId="2147483092"/>
            <ac:graphicFrameMk id="1907" creationId="{0747BC7C-AE6A-0094-25A0-91BEBF434C0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37.061" v="461186"/>
          <ac:graphicFrameMkLst>
            <pc:docMk/>
            <pc:sldMk cId="671354928" sldId="2147483092"/>
            <ac:graphicFrameMk id="1909" creationId="{46A96CEE-D261-C850-DB0C-E0FD4484297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42.292" v="461440"/>
          <ac:graphicFrameMkLst>
            <pc:docMk/>
            <pc:sldMk cId="671354928" sldId="2147483092"/>
            <ac:graphicFrameMk id="1916" creationId="{F8127564-D07D-E3B8-1221-AF80C451610D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2.439" v="639591"/>
          <ac:graphicFrameMkLst>
            <pc:docMk/>
            <pc:sldMk cId="671354928" sldId="2147483092"/>
            <ac:graphicFrameMk id="1917" creationId="{EC574B99-D104-C565-8A30-147348DEEB5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15.315" v="466661"/>
          <ac:graphicFrameMkLst>
            <pc:docMk/>
            <pc:sldMk cId="671354928" sldId="2147483092"/>
            <ac:graphicFrameMk id="1919" creationId="{95803C42-A818-BA0E-5843-1928EF0E7EC6}"/>
          </ac:graphicFrameMkLst>
        </pc:graphicFrameChg>
        <pc:cxnChg chg="add mod ord">
          <ac:chgData name="Yudi Zhu" userId="571e1a55-055f-4c28-8b35-fca6dd1c1369" providerId="ADAL" clId="{75A88773-6EE1-484E-AADE-FE631E01463B}" dt="2025-11-24T04:19:52.420" v="639551"/>
          <ac:cxnSpMkLst>
            <pc:docMk/>
            <pc:sldMk cId="671354928" sldId="2147483092"/>
            <ac:cxnSpMk id="4" creationId="{6B108A33-3E2F-67CD-EA3E-5915A8AAA406}"/>
          </ac:cxnSpMkLst>
        </pc:cxnChg>
        <pc:cxnChg chg="add mod ord">
          <ac:chgData name="Yudi Zhu" userId="571e1a55-055f-4c28-8b35-fca6dd1c1369" providerId="ADAL" clId="{75A88773-6EE1-484E-AADE-FE631E01463B}" dt="2025-11-24T04:19:52.420" v="639553"/>
          <ac:cxnSpMkLst>
            <pc:docMk/>
            <pc:sldMk cId="671354928" sldId="2147483092"/>
            <ac:cxnSpMk id="10" creationId="{E0AFE5A1-6561-A2E5-2DD8-227064BAD8CC}"/>
          </ac:cxnSpMkLst>
        </pc:cxnChg>
        <pc:cxnChg chg="add mod ord">
          <ac:chgData name="Yudi Zhu" userId="571e1a55-055f-4c28-8b35-fca6dd1c1369" providerId="ADAL" clId="{75A88773-6EE1-484E-AADE-FE631E01463B}" dt="2025-11-21T09:23:30.128" v="408916"/>
          <ac:cxnSpMkLst>
            <pc:docMk/>
            <pc:sldMk cId="671354928" sldId="2147483092"/>
            <ac:cxnSpMk id="22" creationId="{E92C4F9D-9C3D-76B1-0E82-BCC49DC98F03}"/>
          </ac:cxnSpMkLst>
        </pc:cxnChg>
        <pc:cxnChg chg="add mod ord">
          <ac:chgData name="Yudi Zhu" userId="571e1a55-055f-4c28-8b35-fca6dd1c1369" providerId="ADAL" clId="{75A88773-6EE1-484E-AADE-FE631E01463B}" dt="2025-11-21T09:23:30.128" v="408916"/>
          <ac:cxnSpMkLst>
            <pc:docMk/>
            <pc:sldMk cId="671354928" sldId="2147483092"/>
            <ac:cxnSpMk id="23" creationId="{8EC96283-EB21-F074-A45D-D5527F5A8A05}"/>
          </ac:cxnSpMkLst>
        </pc:cxnChg>
        <pc:cxnChg chg="add del mod ord">
          <ac:chgData name="Yudi Zhu" userId="571e1a55-055f-4c28-8b35-fca6dd1c1369" providerId="ADAL" clId="{75A88773-6EE1-484E-AADE-FE631E01463B}" dt="2025-11-21T10:12:18.644" v="459410"/>
          <ac:cxnSpMkLst>
            <pc:docMk/>
            <pc:sldMk cId="671354928" sldId="2147483092"/>
            <ac:cxnSpMk id="33" creationId="{7AAA0163-D737-220F-7DEE-BF3C596482FB}"/>
          </ac:cxnSpMkLst>
        </pc:cxnChg>
        <pc:cxnChg chg="add del mod ord">
          <ac:chgData name="Yudi Zhu" userId="571e1a55-055f-4c28-8b35-fca6dd1c1369" providerId="ADAL" clId="{75A88773-6EE1-484E-AADE-FE631E01463B}" dt="2025-11-21T10:12:18.644" v="459408"/>
          <ac:cxnSpMkLst>
            <pc:docMk/>
            <pc:sldMk cId="671354928" sldId="2147483092"/>
            <ac:cxnSpMk id="34" creationId="{BC1CD5DF-7D8C-D66B-3E9C-53A27C768BAE}"/>
          </ac:cxnSpMkLst>
        </pc:cxnChg>
        <pc:cxnChg chg="mod ord">
          <ac:chgData name="Yudi Zhu" userId="571e1a55-055f-4c28-8b35-fca6dd1c1369" providerId="ADAL" clId="{75A88773-6EE1-484E-AADE-FE631E01463B}" dt="2025-11-24T04:19:52.417" v="639543"/>
          <ac:cxnSpMkLst>
            <pc:docMk/>
            <pc:sldMk cId="671354928" sldId="2147483092"/>
            <ac:cxnSpMk id="35" creationId="{E6530368-09A5-8CD9-EC3E-C6B7643D79D6}"/>
          </ac:cxnSpMkLst>
        </pc:cxnChg>
        <pc:cxnChg chg="add del mod ord">
          <ac:chgData name="Yudi Zhu" userId="571e1a55-055f-4c28-8b35-fca6dd1c1369" providerId="ADAL" clId="{75A88773-6EE1-484E-AADE-FE631E01463B}" dt="2025-11-21T10:12:18.644" v="459406"/>
          <ac:cxnSpMkLst>
            <pc:docMk/>
            <pc:sldMk cId="671354928" sldId="2147483092"/>
            <ac:cxnSpMk id="36" creationId="{7D0727A7-F83D-726E-C6F0-3BA3C71AF9E0}"/>
          </ac:cxnSpMkLst>
        </pc:cxnChg>
        <pc:cxnChg chg="add mod ord">
          <ac:chgData name="Yudi Zhu" userId="571e1a55-055f-4c28-8b35-fca6dd1c1369" providerId="ADAL" clId="{75A88773-6EE1-484E-AADE-FE631E01463B}" dt="2025-11-24T04:19:52.473" v="639666"/>
          <ac:cxnSpMkLst>
            <pc:docMk/>
            <pc:sldMk cId="671354928" sldId="2147483092"/>
            <ac:cxnSpMk id="48" creationId="{C8CA7B26-570F-3709-C902-123F4223968C}"/>
          </ac:cxnSpMkLst>
        </pc:cxnChg>
        <pc:cxnChg chg="add mod ord">
          <ac:chgData name="Yudi Zhu" userId="571e1a55-055f-4c28-8b35-fca6dd1c1369" providerId="ADAL" clId="{75A88773-6EE1-484E-AADE-FE631E01463B}" dt="2025-11-24T04:19:52.473" v="639670"/>
          <ac:cxnSpMkLst>
            <pc:docMk/>
            <pc:sldMk cId="671354928" sldId="2147483092"/>
            <ac:cxnSpMk id="49" creationId="{4DF9D507-D1AA-9EEC-6529-2F1036B69073}"/>
          </ac:cxnSpMkLst>
        </pc:cxnChg>
        <pc:cxnChg chg="add mod ord">
          <ac:chgData name="Yudi Zhu" userId="571e1a55-055f-4c28-8b35-fca6dd1c1369" providerId="ADAL" clId="{75A88773-6EE1-484E-AADE-FE631E01463B}" dt="2025-11-24T04:19:52.473" v="639680"/>
          <ac:cxnSpMkLst>
            <pc:docMk/>
            <pc:sldMk cId="671354928" sldId="2147483092"/>
            <ac:cxnSpMk id="50" creationId="{2D12A43E-872D-DFC0-CFF5-51E24E653010}"/>
          </ac:cxnSpMkLst>
        </pc:cxnChg>
        <pc:cxnChg chg="add mod ord">
          <ac:chgData name="Yudi Zhu" userId="571e1a55-055f-4c28-8b35-fca6dd1c1369" providerId="ADAL" clId="{75A88773-6EE1-484E-AADE-FE631E01463B}" dt="2025-11-24T04:19:52.473" v="639654"/>
          <ac:cxnSpMkLst>
            <pc:docMk/>
            <pc:sldMk cId="671354928" sldId="2147483092"/>
            <ac:cxnSpMk id="51" creationId="{388B36E9-A0A7-ECCC-A852-F9948A9A5E2B}"/>
          </ac:cxnSpMkLst>
        </pc:cxnChg>
        <pc:cxnChg chg="add mod ord">
          <ac:chgData name="Yudi Zhu" userId="571e1a55-055f-4c28-8b35-fca6dd1c1369" providerId="ADAL" clId="{75A88773-6EE1-484E-AADE-FE631E01463B}" dt="2025-11-24T04:19:52.473" v="639656"/>
          <ac:cxnSpMkLst>
            <pc:docMk/>
            <pc:sldMk cId="671354928" sldId="2147483092"/>
            <ac:cxnSpMk id="52" creationId="{E4A8CF0A-7486-69C0-D848-A96636103C4F}"/>
          </ac:cxnSpMkLst>
        </pc:cxnChg>
        <pc:cxnChg chg="mod ord">
          <ac:chgData name="Yudi Zhu" userId="571e1a55-055f-4c28-8b35-fca6dd1c1369" providerId="ADAL" clId="{75A88773-6EE1-484E-AADE-FE631E01463B}" dt="2025-11-24T04:19:52.414" v="639533"/>
          <ac:cxnSpMkLst>
            <pc:docMk/>
            <pc:sldMk cId="671354928" sldId="2147483092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4T04:19:52.466" v="639640"/>
          <ac:cxnSpMkLst>
            <pc:docMk/>
            <pc:sldMk cId="671354928" sldId="2147483092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4T04:19:52.415" v="639535"/>
          <ac:cxnSpMkLst>
            <pc:docMk/>
            <pc:sldMk cId="671354928" sldId="2147483092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4T04:19:52.419" v="639549"/>
          <ac:cxnSpMkLst>
            <pc:docMk/>
            <pc:sldMk cId="671354928" sldId="2147483092"/>
            <ac:cxnSpMk id="431" creationId="{5AA105B7-A2E6-B910-AAFB-0A129E5A83EE}"/>
          </ac:cxnSpMkLst>
        </pc:cxnChg>
        <pc:cxnChg chg="mod ord">
          <ac:chgData name="Yudi Zhu" userId="571e1a55-055f-4c28-8b35-fca6dd1c1369" providerId="ADAL" clId="{75A88773-6EE1-484E-AADE-FE631E01463B}" dt="2025-11-24T04:19:52.416" v="639539"/>
          <ac:cxnSpMkLst>
            <pc:docMk/>
            <pc:sldMk cId="671354928" sldId="2147483092"/>
            <ac:cxnSpMk id="488" creationId="{D28D1E49-68EF-4D63-E72E-25882683E109}"/>
          </ac:cxnSpMkLst>
        </pc:cxnChg>
        <pc:cxnChg chg="mod ord">
          <ac:chgData name="Yudi Zhu" userId="571e1a55-055f-4c28-8b35-fca6dd1c1369" providerId="ADAL" clId="{75A88773-6EE1-484E-AADE-FE631E01463B}" dt="2025-11-24T04:19:52.418" v="639545"/>
          <ac:cxnSpMkLst>
            <pc:docMk/>
            <pc:sldMk cId="671354928" sldId="2147483092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4T04:19:52.416" v="639537"/>
          <ac:cxnSpMkLst>
            <pc:docMk/>
            <pc:sldMk cId="671354928" sldId="2147483092"/>
            <ac:cxnSpMk id="501" creationId="{31BBDF1D-384A-CA1B-E5CC-8D290EBDEE93}"/>
          </ac:cxnSpMkLst>
        </pc:cxnChg>
        <pc:cxnChg chg="add del mod ord">
          <ac:chgData name="Yudi Zhu" userId="571e1a55-055f-4c28-8b35-fca6dd1c1369" providerId="ADAL" clId="{75A88773-6EE1-484E-AADE-FE631E01463B}" dt="2025-11-21T10:12:18.644" v="459412"/>
          <ac:cxnSpMkLst>
            <pc:docMk/>
            <pc:sldMk cId="671354928" sldId="2147483092"/>
            <ac:cxnSpMk id="550" creationId="{6CD00907-2A9C-1E33-80B9-E0465A3BC831}"/>
          </ac:cxnSpMkLst>
        </pc:cxnChg>
        <pc:cxnChg chg="del">
          <ac:chgData name="Yudi Zhu" userId="571e1a55-055f-4c28-8b35-fca6dd1c1369" providerId="ADAL" clId="{75A88773-6EE1-484E-AADE-FE631E01463B}" dt="2025-11-21T09:23:06.815" v="407779"/>
          <ac:cxnSpMkLst>
            <pc:docMk/>
            <pc:sldMk cId="671354928" sldId="2147483092"/>
            <ac:cxnSpMk id="553" creationId="{5E069998-40BE-875B-7E9C-72CBB2D585E6}"/>
          </ac:cxnSpMkLst>
        </pc:cxnChg>
        <pc:cxnChg chg="add del mod ord">
          <ac:chgData name="Yudi Zhu" userId="571e1a55-055f-4c28-8b35-fca6dd1c1369" providerId="ADAL" clId="{75A88773-6EE1-484E-AADE-FE631E01463B}" dt="2025-11-21T10:12:18.644" v="459404"/>
          <ac:cxnSpMkLst>
            <pc:docMk/>
            <pc:sldMk cId="671354928" sldId="2147483092"/>
            <ac:cxnSpMk id="555" creationId="{C85D946B-2BB8-5E01-0A36-2EDD703FB15B}"/>
          </ac:cxnSpMkLst>
        </pc:cxnChg>
        <pc:cxnChg chg="mod ord">
          <ac:chgData name="Yudi Zhu" userId="571e1a55-055f-4c28-8b35-fca6dd1c1369" providerId="ADAL" clId="{75A88773-6EE1-484E-AADE-FE631E01463B}" dt="2025-11-24T04:19:52.417" v="639541"/>
          <ac:cxnSpMkLst>
            <pc:docMk/>
            <pc:sldMk cId="671354928" sldId="2147483092"/>
            <ac:cxnSpMk id="1220" creationId="{414B61A7-9B67-9450-135B-E84FE46F6ABE}"/>
          </ac:cxnSpMkLst>
        </pc:cxnChg>
        <pc:cxnChg chg="mod ord">
          <ac:chgData name="Yudi Zhu" userId="571e1a55-055f-4c28-8b35-fca6dd1c1369" providerId="ADAL" clId="{75A88773-6EE1-484E-AADE-FE631E01463B}" dt="2025-11-24T04:19:52.419" v="639547"/>
          <ac:cxnSpMkLst>
            <pc:docMk/>
            <pc:sldMk cId="671354928" sldId="2147483092"/>
            <ac:cxnSpMk id="1221" creationId="{C051EBC2-367F-7868-4767-FF881D2E6AF4}"/>
          </ac:cxnSpMkLst>
        </pc:cxnChg>
        <pc:cxnChg chg="del">
          <ac:chgData name="Yudi Zhu" userId="571e1a55-055f-4c28-8b35-fca6dd1c1369" providerId="ADAL" clId="{75A88773-6EE1-484E-AADE-FE631E01463B}" dt="2025-11-21T09:23:06.815" v="407781"/>
          <ac:cxnSpMkLst>
            <pc:docMk/>
            <pc:sldMk cId="671354928" sldId="2147483092"/>
            <ac:cxnSpMk id="1238" creationId="{71AF031F-02A1-FEDE-8313-97FE206A024E}"/>
          </ac:cxnSpMkLst>
        </pc:cxnChg>
        <pc:cxnChg chg="mod ord">
          <ac:chgData name="Yudi Zhu" userId="571e1a55-055f-4c28-8b35-fca6dd1c1369" providerId="ADAL" clId="{75A88773-6EE1-484E-AADE-FE631E01463B}" dt="2025-11-24T04:19:52.490" v="639728"/>
          <ac:cxnSpMkLst>
            <pc:docMk/>
            <pc:sldMk cId="671354928" sldId="2147483092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4T04:19:52.490" v="639730"/>
          <ac:cxnSpMkLst>
            <pc:docMk/>
            <pc:sldMk cId="671354928" sldId="2147483092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4T04:19:52.490" v="639732"/>
          <ac:cxnSpMkLst>
            <pc:docMk/>
            <pc:sldMk cId="671354928" sldId="2147483092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4T04:19:52.472" v="639652"/>
          <ac:cxnSpMkLst>
            <pc:docMk/>
            <pc:sldMk cId="671354928" sldId="2147483092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4T04:19:52.473" v="639660"/>
          <ac:cxnSpMkLst>
            <pc:docMk/>
            <pc:sldMk cId="671354928" sldId="2147483092"/>
            <ac:cxnSpMk id="1427" creationId="{8CD1BFBD-29D4-7EFA-3730-7685282ECB0D}"/>
          </ac:cxnSpMkLst>
        </pc:cxnChg>
        <pc:cxnChg chg="mod ord">
          <ac:chgData name="Yudi Zhu" userId="571e1a55-055f-4c28-8b35-fca6dd1c1369" providerId="ADAL" clId="{75A88773-6EE1-484E-AADE-FE631E01463B}" dt="2025-11-24T04:19:52.473" v="639674"/>
          <ac:cxnSpMkLst>
            <pc:docMk/>
            <pc:sldMk cId="671354928" sldId="2147483092"/>
            <ac:cxnSpMk id="1455" creationId="{7DF33E7B-CAA0-6353-13B4-76A8E48B02D6}"/>
          </ac:cxnSpMkLst>
        </pc:cxnChg>
        <pc:cxnChg chg="mod ord">
          <ac:chgData name="Yudi Zhu" userId="571e1a55-055f-4c28-8b35-fca6dd1c1369" providerId="ADAL" clId="{75A88773-6EE1-484E-AADE-FE631E01463B}" dt="2025-11-24T04:19:52.473" v="639678"/>
          <ac:cxnSpMkLst>
            <pc:docMk/>
            <pc:sldMk cId="671354928" sldId="2147483092"/>
            <ac:cxnSpMk id="1456" creationId="{3FDAA0F8-29A1-AA7E-5A7C-A2B636BE75F3}"/>
          </ac:cxnSpMkLst>
        </pc:cxnChg>
        <pc:cxnChg chg="mod ord">
          <ac:chgData name="Yudi Zhu" userId="571e1a55-055f-4c28-8b35-fca6dd1c1369" providerId="ADAL" clId="{75A88773-6EE1-484E-AADE-FE631E01463B}" dt="2025-11-24T04:19:52.473" v="639668"/>
          <ac:cxnSpMkLst>
            <pc:docMk/>
            <pc:sldMk cId="671354928" sldId="2147483092"/>
            <ac:cxnSpMk id="1457" creationId="{8A58C40D-72F6-5A46-1D4E-6E17FD7ECEA7}"/>
          </ac:cxnSpMkLst>
        </pc:cxnChg>
        <pc:cxnChg chg="mod ord">
          <ac:chgData name="Yudi Zhu" userId="571e1a55-055f-4c28-8b35-fca6dd1c1369" providerId="ADAL" clId="{75A88773-6EE1-484E-AADE-FE631E01463B}" dt="2025-11-24T04:19:52.473" v="639662"/>
          <ac:cxnSpMkLst>
            <pc:docMk/>
            <pc:sldMk cId="671354928" sldId="2147483092"/>
            <ac:cxnSpMk id="1458" creationId="{644B05D6-18A1-FFCB-778E-957F2CD30EA6}"/>
          </ac:cxnSpMkLst>
        </pc:cxnChg>
        <pc:cxnChg chg="mod ord">
          <ac:chgData name="Yudi Zhu" userId="571e1a55-055f-4c28-8b35-fca6dd1c1369" providerId="ADAL" clId="{75A88773-6EE1-484E-AADE-FE631E01463B}" dt="2025-11-24T04:19:52.473" v="639676"/>
          <ac:cxnSpMkLst>
            <pc:docMk/>
            <pc:sldMk cId="671354928" sldId="2147483092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4T04:19:52.473" v="639664"/>
          <ac:cxnSpMkLst>
            <pc:docMk/>
            <pc:sldMk cId="671354928" sldId="2147483092"/>
            <ac:cxnSpMk id="1460" creationId="{A666E717-6FE4-0BC0-50E0-4F8E82044624}"/>
          </ac:cxnSpMkLst>
        </pc:cxnChg>
        <pc:cxnChg chg="mod ord">
          <ac:chgData name="Yudi Zhu" userId="571e1a55-055f-4c28-8b35-fca6dd1c1369" providerId="ADAL" clId="{75A88773-6EE1-484E-AADE-FE631E01463B}" dt="2025-11-24T04:19:52.473" v="639672"/>
          <ac:cxnSpMkLst>
            <pc:docMk/>
            <pc:sldMk cId="671354928" sldId="2147483092"/>
            <ac:cxnSpMk id="1462" creationId="{B25EED74-3BE6-1A25-FFAA-ED5F7EF0AB47}"/>
          </ac:cxnSpMkLst>
        </pc:cxnChg>
        <pc:cxnChg chg="mod ord">
          <ac:chgData name="Yudi Zhu" userId="571e1a55-055f-4c28-8b35-fca6dd1c1369" providerId="ADAL" clId="{75A88773-6EE1-484E-AADE-FE631E01463B}" dt="2025-11-24T04:19:52.473" v="639682"/>
          <ac:cxnSpMkLst>
            <pc:docMk/>
            <pc:sldMk cId="671354928" sldId="2147483092"/>
            <ac:cxnSpMk id="1464" creationId="{92007F0A-B7EA-5A8E-1784-4FB8BFEEA8DA}"/>
          </ac:cxnSpMkLst>
        </pc:cxnChg>
        <pc:cxnChg chg="mod ord">
          <ac:chgData name="Yudi Zhu" userId="571e1a55-055f-4c28-8b35-fca6dd1c1369" providerId="ADAL" clId="{75A88773-6EE1-484E-AADE-FE631E01463B}" dt="2025-11-24T04:19:52.473" v="639684"/>
          <ac:cxnSpMkLst>
            <pc:docMk/>
            <pc:sldMk cId="671354928" sldId="2147483092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4T04:19:52.473" v="639686"/>
          <ac:cxnSpMkLst>
            <pc:docMk/>
            <pc:sldMk cId="671354928" sldId="2147483092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4T04:19:52.473" v="639688"/>
          <ac:cxnSpMkLst>
            <pc:docMk/>
            <pc:sldMk cId="671354928" sldId="2147483092"/>
            <ac:cxnSpMk id="1468" creationId="{DB3DA2FD-3F9C-7D07-1499-92AEE88BBABE}"/>
          </ac:cxnSpMkLst>
        </pc:cxnChg>
        <pc:cxnChg chg="mod ord">
          <ac:chgData name="Yudi Zhu" userId="571e1a55-055f-4c28-8b35-fca6dd1c1369" providerId="ADAL" clId="{75A88773-6EE1-484E-AADE-FE631E01463B}" dt="2025-11-24T04:19:52.473" v="639690"/>
          <ac:cxnSpMkLst>
            <pc:docMk/>
            <pc:sldMk cId="671354928" sldId="2147483092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4T04:19:52.473" v="639658"/>
          <ac:cxnSpMkLst>
            <pc:docMk/>
            <pc:sldMk cId="671354928" sldId="2147483092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4T04:19:52.473" v="639692"/>
          <ac:cxnSpMkLst>
            <pc:docMk/>
            <pc:sldMk cId="671354928" sldId="2147483092"/>
            <ac:cxnSpMk id="1819" creationId="{89A23327-5608-B9B1-48B6-09A5B94BD12A}"/>
          </ac:cxnSpMkLst>
        </pc:cxnChg>
        <pc:cxnChg chg="add del mod ord">
          <ac:chgData name="Yudi Zhu" userId="571e1a55-055f-4c28-8b35-fca6dd1c1369" providerId="ADAL" clId="{75A88773-6EE1-484E-AADE-FE631E01463B}" dt="2025-11-21T10:11:47.225" v="457670"/>
          <ac:cxnSpMkLst>
            <pc:docMk/>
            <pc:sldMk cId="671354928" sldId="2147483092"/>
            <ac:cxnSpMk id="1885" creationId="{F55263EA-9775-6B02-159F-0B65E5DD3446}"/>
          </ac:cxnSpMkLst>
        </pc:cxnChg>
        <pc:cxnChg chg="add del mod ord">
          <ac:chgData name="Yudi Zhu" userId="571e1a55-055f-4c28-8b35-fca6dd1c1369" providerId="ADAL" clId="{75A88773-6EE1-484E-AADE-FE631E01463B}" dt="2025-11-21T10:11:46.980" v="457567"/>
          <ac:cxnSpMkLst>
            <pc:docMk/>
            <pc:sldMk cId="671354928" sldId="2147483092"/>
            <ac:cxnSpMk id="1887" creationId="{FD414E7D-1958-FEA8-5446-F7A19468FCD9}"/>
          </ac:cxnSpMkLst>
        </pc:cxnChg>
        <pc:cxnChg chg="add del mod ord">
          <ac:chgData name="Yudi Zhu" userId="571e1a55-055f-4c28-8b35-fca6dd1c1369" providerId="ADAL" clId="{75A88773-6EE1-484E-AADE-FE631E01463B}" dt="2025-11-21T10:11:46.980" v="457567"/>
          <ac:cxnSpMkLst>
            <pc:docMk/>
            <pc:sldMk cId="671354928" sldId="2147483092"/>
            <ac:cxnSpMk id="1888" creationId="{01414DEE-AD86-7CC3-5146-41EAECC57508}"/>
          </ac:cxnSpMkLst>
        </pc:cxnChg>
        <pc:cxnChg chg="add del mod ord">
          <ac:chgData name="Yudi Zhu" userId="571e1a55-055f-4c28-8b35-fca6dd1c1369" providerId="ADAL" clId="{75A88773-6EE1-484E-AADE-FE631E01463B}" dt="2025-11-21T10:11:46.980" v="457567"/>
          <ac:cxnSpMkLst>
            <pc:docMk/>
            <pc:sldMk cId="671354928" sldId="2147483092"/>
            <ac:cxnSpMk id="1889" creationId="{EFCDD914-6BC4-5B7C-7F1F-7542FF062E2C}"/>
          </ac:cxnSpMkLst>
        </pc:cxnChg>
        <pc:cxnChg chg="add del mod ord">
          <ac:chgData name="Yudi Zhu" userId="571e1a55-055f-4c28-8b35-fca6dd1c1369" providerId="ADAL" clId="{75A88773-6EE1-484E-AADE-FE631E01463B}" dt="2025-11-21T10:11:44.211" v="457165"/>
          <ac:cxnSpMkLst>
            <pc:docMk/>
            <pc:sldMk cId="671354928" sldId="2147483092"/>
            <ac:cxnSpMk id="1894" creationId="{0B6EBD70-01E2-7E0D-5CD7-53863F0D15A8}"/>
          </ac:cxnSpMkLst>
        </pc:cxnChg>
        <pc:cxnChg chg="add del mod ord">
          <ac:chgData name="Yudi Zhu" userId="571e1a55-055f-4c28-8b35-fca6dd1c1369" providerId="ADAL" clId="{75A88773-6EE1-484E-AADE-FE631E01463B}" dt="2025-11-21T10:11:44.211" v="457165"/>
          <ac:cxnSpMkLst>
            <pc:docMk/>
            <pc:sldMk cId="671354928" sldId="2147483092"/>
            <ac:cxnSpMk id="1895" creationId="{FF940B67-738D-E491-A51D-4D1D01A8EC96}"/>
          </ac:cxnSpMkLst>
        </pc:cxnChg>
        <pc:cxnChg chg="add mod ord">
          <ac:chgData name="Yudi Zhu" userId="571e1a55-055f-4c28-8b35-fca6dd1c1369" providerId="ADAL" clId="{75A88773-6EE1-484E-AADE-FE631E01463B}" dt="2025-11-24T04:19:52.440" v="639593"/>
          <ac:cxnSpMkLst>
            <pc:docMk/>
            <pc:sldMk cId="671354928" sldId="2147483092"/>
            <ac:cxnSpMk id="1905" creationId="{3EF73878-4A6F-6991-BFA3-01DA7445D6B4}"/>
          </ac:cxnSpMkLst>
        </pc:cxnChg>
        <pc:cxnChg chg="add mod ord">
          <ac:chgData name="Yudi Zhu" userId="571e1a55-055f-4c28-8b35-fca6dd1c1369" providerId="ADAL" clId="{75A88773-6EE1-484E-AADE-FE631E01463B}" dt="2025-11-24T04:19:52.443" v="639605"/>
          <ac:cxnSpMkLst>
            <pc:docMk/>
            <pc:sldMk cId="671354928" sldId="2147483092"/>
            <ac:cxnSpMk id="1906" creationId="{A6CF85EC-E022-CBB3-26D5-DA69546B5B09}"/>
          </ac:cxnSpMkLst>
        </pc:cxnChg>
        <pc:cxnChg chg="add mod ord">
          <ac:chgData name="Yudi Zhu" userId="571e1a55-055f-4c28-8b35-fca6dd1c1369" providerId="ADAL" clId="{75A88773-6EE1-484E-AADE-FE631E01463B}" dt="2025-11-24T04:19:52.440" v="639595"/>
          <ac:cxnSpMkLst>
            <pc:docMk/>
            <pc:sldMk cId="671354928" sldId="2147483092"/>
            <ac:cxnSpMk id="1911" creationId="{6BB19183-84DA-1D0B-E333-8B33819A9767}"/>
          </ac:cxnSpMkLst>
        </pc:cxnChg>
        <pc:cxnChg chg="add mod ord">
          <ac:chgData name="Yudi Zhu" userId="571e1a55-055f-4c28-8b35-fca6dd1c1369" providerId="ADAL" clId="{75A88773-6EE1-484E-AADE-FE631E01463B}" dt="2025-11-24T04:19:52.441" v="639597"/>
          <ac:cxnSpMkLst>
            <pc:docMk/>
            <pc:sldMk cId="671354928" sldId="2147483092"/>
            <ac:cxnSpMk id="1912" creationId="{D3EDF2EC-737C-6343-C835-BA6ABB2FB9A2}"/>
          </ac:cxnSpMkLst>
        </pc:cxnChg>
        <pc:cxnChg chg="add mod ord">
          <ac:chgData name="Yudi Zhu" userId="571e1a55-055f-4c28-8b35-fca6dd1c1369" providerId="ADAL" clId="{75A88773-6EE1-484E-AADE-FE631E01463B}" dt="2025-11-24T04:19:52.442" v="639599"/>
          <ac:cxnSpMkLst>
            <pc:docMk/>
            <pc:sldMk cId="671354928" sldId="2147483092"/>
            <ac:cxnSpMk id="1913" creationId="{B855A9F9-1744-B00F-68B0-04895CD64E58}"/>
          </ac:cxnSpMkLst>
        </pc:cxnChg>
        <pc:cxnChg chg="add mod ord">
          <ac:chgData name="Yudi Zhu" userId="571e1a55-055f-4c28-8b35-fca6dd1c1369" providerId="ADAL" clId="{75A88773-6EE1-484E-AADE-FE631E01463B}" dt="2025-11-24T04:19:52.442" v="639601"/>
          <ac:cxnSpMkLst>
            <pc:docMk/>
            <pc:sldMk cId="671354928" sldId="2147483092"/>
            <ac:cxnSpMk id="1914" creationId="{B392C00A-50E2-53BC-3B29-94BCBCDBD094}"/>
          </ac:cxnSpMkLst>
        </pc:cxnChg>
        <pc:cxnChg chg="add mod ord">
          <ac:chgData name="Yudi Zhu" userId="571e1a55-055f-4c28-8b35-fca6dd1c1369" providerId="ADAL" clId="{75A88773-6EE1-484E-AADE-FE631E01463B}" dt="2025-11-24T04:19:52.443" v="639603"/>
          <ac:cxnSpMkLst>
            <pc:docMk/>
            <pc:sldMk cId="671354928" sldId="2147483092"/>
            <ac:cxnSpMk id="1915" creationId="{9D0073C7-4C42-2F06-99DD-958FD0F16AB5}"/>
          </ac:cxnSpMkLst>
        </pc:cxnChg>
      </pc:sldChg>
      <pc:sldChg chg="addSp delSp modSp add del mod">
        <pc:chgData name="Yudi Zhu" userId="571e1a55-055f-4c28-8b35-fca6dd1c1369" providerId="ADAL" clId="{75A88773-6EE1-484E-AADE-FE631E01463B}" dt="2025-11-21T07:13:15.898" v="227802" actId="47"/>
        <pc:sldMkLst>
          <pc:docMk/>
          <pc:sldMk cId="3747587241" sldId="2147483092"/>
        </pc:sldMkLst>
        <pc:spChg chg="mod ord">
          <ac:chgData name="Yudi Zhu" userId="571e1a55-055f-4c28-8b35-fca6dd1c1369" providerId="ADAL" clId="{75A88773-6EE1-484E-AADE-FE631E01463B}" dt="2025-11-21T07:13:08.492" v="227266"/>
          <ac:spMkLst>
            <pc:docMk/>
            <pc:sldMk cId="3747587241" sldId="2147483092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1T07:11:46.558" v="216530"/>
          <ac:spMkLst>
            <pc:docMk/>
            <pc:sldMk cId="3747587241" sldId="2147483092"/>
            <ac:spMk id="3" creationId="{C0AE94E9-1C38-F100-954E-3B2AD7D5D7AF}"/>
          </ac:spMkLst>
        </pc:spChg>
        <pc:spChg chg="del mod">
          <ac:chgData name="Yudi Zhu" userId="571e1a55-055f-4c28-8b35-fca6dd1c1369" providerId="ADAL" clId="{75A88773-6EE1-484E-AADE-FE631E01463B}" dt="2025-11-21T07:11:50.925" v="216704"/>
          <ac:spMkLst>
            <pc:docMk/>
            <pc:sldMk cId="3747587241" sldId="2147483092"/>
            <ac:spMk id="4" creationId="{1E320187-E70B-936A-7572-67D0D7FF27AD}"/>
          </ac:spMkLst>
        </pc:spChg>
        <pc:spChg chg="add del mod">
          <ac:chgData name="Yudi Zhu" userId="571e1a55-055f-4c28-8b35-fca6dd1c1369" providerId="ADAL" clId="{75A88773-6EE1-484E-AADE-FE631E01463B}" dt="2025-11-21T07:13:12.999" v="227789"/>
          <ac:spMkLst>
            <pc:docMk/>
            <pc:sldMk cId="3747587241" sldId="2147483092"/>
            <ac:spMk id="6" creationId="{76E711A8-8AA5-D9E4-A723-68F42ACBBB73}"/>
          </ac:spMkLst>
        </pc:spChg>
        <pc:spChg chg="add del mod modVis">
          <ac:chgData name="Yudi Zhu" userId="571e1a55-055f-4c28-8b35-fca6dd1c1369" providerId="ADAL" clId="{75A88773-6EE1-484E-AADE-FE631E01463B}" dt="2025-11-21T07:12:00.940" v="217066"/>
          <ac:spMkLst>
            <pc:docMk/>
            <pc:sldMk cId="3747587241" sldId="2147483092"/>
            <ac:spMk id="7" creationId="{A4568CD7-11BB-8CFF-48DA-413A8F46791A}"/>
          </ac:spMkLst>
        </pc:spChg>
        <pc:spChg chg="add del mod">
          <ac:chgData name="Yudi Zhu" userId="571e1a55-055f-4c28-8b35-fca6dd1c1369" providerId="ADAL" clId="{75A88773-6EE1-484E-AADE-FE631E01463B}" dt="2025-11-21T07:13:12.988" v="227775"/>
          <ac:spMkLst>
            <pc:docMk/>
            <pc:sldMk cId="3747587241" sldId="2147483092"/>
            <ac:spMk id="8" creationId="{4D22D0A5-0281-77F4-327A-22FE07BFE01B}"/>
          </ac:spMkLst>
        </pc:spChg>
        <pc:spChg chg="add del mod">
          <ac:chgData name="Yudi Zhu" userId="571e1a55-055f-4c28-8b35-fca6dd1c1369" providerId="ADAL" clId="{75A88773-6EE1-484E-AADE-FE631E01463B}" dt="2025-11-21T07:13:12.981" v="227754"/>
          <ac:spMkLst>
            <pc:docMk/>
            <pc:sldMk cId="3747587241" sldId="2147483092"/>
            <ac:spMk id="9" creationId="{D46188D2-BBFE-D1E8-4AA6-E374101D4314}"/>
          </ac:spMkLst>
        </pc:spChg>
        <pc:spChg chg="add del mod">
          <ac:chgData name="Yudi Zhu" userId="571e1a55-055f-4c28-8b35-fca6dd1c1369" providerId="ADAL" clId="{75A88773-6EE1-484E-AADE-FE631E01463B}" dt="2025-11-21T07:13:12.970" v="227735"/>
          <ac:spMkLst>
            <pc:docMk/>
            <pc:sldMk cId="3747587241" sldId="2147483092"/>
            <ac:spMk id="15" creationId="{DBC75CF7-F90D-46E0-F2A1-06F1F077DF92}"/>
          </ac:spMkLst>
        </pc:spChg>
        <pc:spChg chg="add del mod">
          <ac:chgData name="Yudi Zhu" userId="571e1a55-055f-4c28-8b35-fca6dd1c1369" providerId="ADAL" clId="{75A88773-6EE1-484E-AADE-FE631E01463B}" dt="2025-11-21T07:13:12.959" v="227716"/>
          <ac:spMkLst>
            <pc:docMk/>
            <pc:sldMk cId="3747587241" sldId="2147483092"/>
            <ac:spMk id="16" creationId="{B1A5FABD-EA37-AAC2-D3FE-3656E0F45BDA}"/>
          </ac:spMkLst>
        </pc:spChg>
        <pc:spChg chg="add del mod">
          <ac:chgData name="Yudi Zhu" userId="571e1a55-055f-4c28-8b35-fca6dd1c1369" providerId="ADAL" clId="{75A88773-6EE1-484E-AADE-FE631E01463B}" dt="2025-11-21T07:13:12.932" v="227695"/>
          <ac:spMkLst>
            <pc:docMk/>
            <pc:sldMk cId="3747587241" sldId="2147483092"/>
            <ac:spMk id="17" creationId="{E4D3531D-D816-3B69-96A7-BB0C557141AE}"/>
          </ac:spMkLst>
        </pc:spChg>
        <pc:spChg chg="add del mod">
          <ac:chgData name="Yudi Zhu" userId="571e1a55-055f-4c28-8b35-fca6dd1c1369" providerId="ADAL" clId="{75A88773-6EE1-484E-AADE-FE631E01463B}" dt="2025-11-21T07:13:12.932" v="227676"/>
          <ac:spMkLst>
            <pc:docMk/>
            <pc:sldMk cId="3747587241" sldId="2147483092"/>
            <ac:spMk id="18" creationId="{7C0ED6A2-A184-5782-405A-A9C93BD72CEF}"/>
          </ac:spMkLst>
        </pc:spChg>
        <pc:spChg chg="add del mod">
          <ac:chgData name="Yudi Zhu" userId="571e1a55-055f-4c28-8b35-fca6dd1c1369" providerId="ADAL" clId="{75A88773-6EE1-484E-AADE-FE631E01463B}" dt="2025-11-21T07:13:12.916" v="227657"/>
          <ac:spMkLst>
            <pc:docMk/>
            <pc:sldMk cId="3747587241" sldId="2147483092"/>
            <ac:spMk id="19" creationId="{FAFD16E2-A1F1-85DB-39A2-83EF29334F8F}"/>
          </ac:spMkLst>
        </pc:spChg>
        <pc:spChg chg="add del mod">
          <ac:chgData name="Yudi Zhu" userId="571e1a55-055f-4c28-8b35-fca6dd1c1369" providerId="ADAL" clId="{75A88773-6EE1-484E-AADE-FE631E01463B}" dt="2025-11-21T07:13:12.901" v="227638"/>
          <ac:spMkLst>
            <pc:docMk/>
            <pc:sldMk cId="3747587241" sldId="2147483092"/>
            <ac:spMk id="20" creationId="{612F1A0A-51BF-AB23-95B1-AE33750F9DBA}"/>
          </ac:spMkLst>
        </pc:spChg>
        <pc:spChg chg="add del mod">
          <ac:chgData name="Yudi Zhu" userId="571e1a55-055f-4c28-8b35-fca6dd1c1369" providerId="ADAL" clId="{75A88773-6EE1-484E-AADE-FE631E01463B}" dt="2025-11-21T07:13:12.885" v="227619"/>
          <ac:spMkLst>
            <pc:docMk/>
            <pc:sldMk cId="3747587241" sldId="2147483092"/>
            <ac:spMk id="21" creationId="{15FF27A2-E466-FD15-18F6-878F27E1FC96}"/>
          </ac:spMkLst>
        </pc:spChg>
        <pc:spChg chg="add del mod">
          <ac:chgData name="Yudi Zhu" userId="571e1a55-055f-4c28-8b35-fca6dd1c1369" providerId="ADAL" clId="{75A88773-6EE1-484E-AADE-FE631E01463B}" dt="2025-11-21T07:13:12.885" v="227600"/>
          <ac:spMkLst>
            <pc:docMk/>
            <pc:sldMk cId="3747587241" sldId="2147483092"/>
            <ac:spMk id="22" creationId="{382647C4-C516-69F2-EF73-06B650398373}"/>
          </ac:spMkLst>
        </pc:spChg>
        <pc:spChg chg="add del mod">
          <ac:chgData name="Yudi Zhu" userId="571e1a55-055f-4c28-8b35-fca6dd1c1369" providerId="ADAL" clId="{75A88773-6EE1-484E-AADE-FE631E01463B}" dt="2025-11-21T07:13:12.869" v="227581"/>
          <ac:spMkLst>
            <pc:docMk/>
            <pc:sldMk cId="3747587241" sldId="2147483092"/>
            <ac:spMk id="23" creationId="{50CFA3F2-D7D9-F12D-EF1B-45581BCF4ABF}"/>
          </ac:spMkLst>
        </pc:spChg>
        <pc:spChg chg="add del mod modVis">
          <ac:chgData name="Yudi Zhu" userId="571e1a55-055f-4c28-8b35-fca6dd1c1369" providerId="ADAL" clId="{75A88773-6EE1-484E-AADE-FE631E01463B}" dt="2025-11-21T07:12:27.129" v="222553"/>
          <ac:spMkLst>
            <pc:docMk/>
            <pc:sldMk cId="3747587241" sldId="2147483092"/>
            <ac:spMk id="24" creationId="{C82E036B-4CAE-3231-7151-1C0F6427049E}"/>
          </ac:spMkLst>
        </pc:spChg>
        <pc:spChg chg="add del mod">
          <ac:chgData name="Yudi Zhu" userId="571e1a55-055f-4c28-8b35-fca6dd1c1369" providerId="ADAL" clId="{75A88773-6EE1-484E-AADE-FE631E01463B}" dt="2025-11-21T07:13:13.003" v="227797"/>
          <ac:spMkLst>
            <pc:docMk/>
            <pc:sldMk cId="3747587241" sldId="2147483092"/>
            <ac:spMk id="25" creationId="{1AF57CCC-DBBA-A660-157D-47AB8D7CAF24}"/>
          </ac:spMkLst>
        </pc:spChg>
        <pc:spChg chg="add del mod">
          <ac:chgData name="Yudi Zhu" userId="571e1a55-055f-4c28-8b35-fca6dd1c1369" providerId="ADAL" clId="{75A88773-6EE1-484E-AADE-FE631E01463B}" dt="2025-11-21T07:13:13.003" v="227796"/>
          <ac:spMkLst>
            <pc:docMk/>
            <pc:sldMk cId="3747587241" sldId="2147483092"/>
            <ac:spMk id="26" creationId="{0AF900BA-6F44-3327-7528-92CE451C3B5B}"/>
          </ac:spMkLst>
        </pc:spChg>
        <pc:spChg chg="add del mod">
          <ac:chgData name="Yudi Zhu" userId="571e1a55-055f-4c28-8b35-fca6dd1c1369" providerId="ADAL" clId="{75A88773-6EE1-484E-AADE-FE631E01463B}" dt="2025-11-21T07:13:12.999" v="227793"/>
          <ac:spMkLst>
            <pc:docMk/>
            <pc:sldMk cId="3747587241" sldId="2147483092"/>
            <ac:spMk id="27" creationId="{0EABB113-0C05-ABCD-32E0-7E5150E257EF}"/>
          </ac:spMkLst>
        </pc:spChg>
        <pc:spChg chg="add del mod">
          <ac:chgData name="Yudi Zhu" userId="571e1a55-055f-4c28-8b35-fca6dd1c1369" providerId="ADAL" clId="{75A88773-6EE1-484E-AADE-FE631E01463B}" dt="2025-11-21T07:13:12.999" v="227792"/>
          <ac:spMkLst>
            <pc:docMk/>
            <pc:sldMk cId="3747587241" sldId="2147483092"/>
            <ac:spMk id="28" creationId="{E9639F42-9376-328C-2AD6-38932593FD5B}"/>
          </ac:spMkLst>
        </pc:spChg>
        <pc:spChg chg="add del mod">
          <ac:chgData name="Yudi Zhu" userId="571e1a55-055f-4c28-8b35-fca6dd1c1369" providerId="ADAL" clId="{75A88773-6EE1-484E-AADE-FE631E01463B}" dt="2025-11-21T07:12:38.404" v="223025"/>
          <ac:spMkLst>
            <pc:docMk/>
            <pc:sldMk cId="3747587241" sldId="2147483092"/>
            <ac:spMk id="29" creationId="{226B4C7E-3514-FD09-3D93-3D7B7D93D837}"/>
          </ac:spMkLst>
        </pc:spChg>
        <pc:spChg chg="add del mod">
          <ac:chgData name="Yudi Zhu" userId="571e1a55-055f-4c28-8b35-fca6dd1c1369" providerId="ADAL" clId="{75A88773-6EE1-484E-AADE-FE631E01463B}" dt="2025-11-21T07:12:38.404" v="223028"/>
          <ac:spMkLst>
            <pc:docMk/>
            <pc:sldMk cId="3747587241" sldId="2147483092"/>
            <ac:spMk id="30" creationId="{E204A16C-C6CA-18E5-79F8-6D8985610E51}"/>
          </ac:spMkLst>
        </pc:spChg>
        <pc:spChg chg="add del mod ord">
          <ac:chgData name="Yudi Zhu" userId="571e1a55-055f-4c28-8b35-fca6dd1c1369" providerId="ADAL" clId="{75A88773-6EE1-484E-AADE-FE631E01463B}" dt="2025-11-21T07:12:38.404" v="223038"/>
          <ac:spMkLst>
            <pc:docMk/>
            <pc:sldMk cId="3747587241" sldId="2147483092"/>
            <ac:spMk id="32" creationId="{2956DBEB-DB95-BE9E-B990-4F9326A2E4D4}"/>
          </ac:spMkLst>
        </pc:spChg>
        <pc:spChg chg="add del mod">
          <ac:chgData name="Yudi Zhu" userId="571e1a55-055f-4c28-8b35-fca6dd1c1369" providerId="ADAL" clId="{75A88773-6EE1-484E-AADE-FE631E01463B}" dt="2025-11-21T07:12:38.404" v="223036"/>
          <ac:spMkLst>
            <pc:docMk/>
            <pc:sldMk cId="3747587241" sldId="2147483092"/>
            <ac:spMk id="37" creationId="{817D6C90-6561-C417-6A90-30A4C16B5E36}"/>
          </ac:spMkLst>
        </pc:spChg>
        <pc:spChg chg="add del mod">
          <ac:chgData name="Yudi Zhu" userId="571e1a55-055f-4c28-8b35-fca6dd1c1369" providerId="ADAL" clId="{75A88773-6EE1-484E-AADE-FE631E01463B}" dt="2025-11-21T07:12:36.471" v="222557"/>
          <ac:spMkLst>
            <pc:docMk/>
            <pc:sldMk cId="3747587241" sldId="2147483092"/>
            <ac:spMk id="38" creationId="{E84E74EF-3726-8809-9D2A-F181E256C19C}"/>
          </ac:spMkLst>
        </pc:spChg>
        <pc:spChg chg="add del mod">
          <ac:chgData name="Yudi Zhu" userId="571e1a55-055f-4c28-8b35-fca6dd1c1369" providerId="ADAL" clId="{75A88773-6EE1-484E-AADE-FE631E01463B}" dt="2025-11-21T07:12:38.419" v="223049"/>
          <ac:spMkLst>
            <pc:docMk/>
            <pc:sldMk cId="3747587241" sldId="2147483092"/>
            <ac:spMk id="39" creationId="{6A7BC641-8A22-E177-C947-8A4E21C1DFFA}"/>
          </ac:spMkLst>
        </pc:spChg>
        <pc:spChg chg="add del mod">
          <ac:chgData name="Yudi Zhu" userId="571e1a55-055f-4c28-8b35-fca6dd1c1369" providerId="ADAL" clId="{75A88773-6EE1-484E-AADE-FE631E01463B}" dt="2025-11-21T07:12:38.419" v="223054"/>
          <ac:spMkLst>
            <pc:docMk/>
            <pc:sldMk cId="3747587241" sldId="2147483092"/>
            <ac:spMk id="40" creationId="{9AC3A929-ABA9-576B-7A5A-EB13893DA8F8}"/>
          </ac:spMkLst>
        </pc:spChg>
        <pc:spChg chg="add del mod">
          <ac:chgData name="Yudi Zhu" userId="571e1a55-055f-4c28-8b35-fca6dd1c1369" providerId="ADAL" clId="{75A88773-6EE1-484E-AADE-FE631E01463B}" dt="2025-11-21T07:12:38.404" v="223020"/>
          <ac:spMkLst>
            <pc:docMk/>
            <pc:sldMk cId="3747587241" sldId="2147483092"/>
            <ac:spMk id="41" creationId="{5CACAB0F-3286-078B-B4DF-BCFC5D91EB65}"/>
          </ac:spMkLst>
        </pc:spChg>
        <pc:spChg chg="add del mod">
          <ac:chgData name="Yudi Zhu" userId="571e1a55-055f-4c28-8b35-fca6dd1c1369" providerId="ADAL" clId="{75A88773-6EE1-484E-AADE-FE631E01463B}" dt="2025-11-21T07:12:38.419" v="223041"/>
          <ac:spMkLst>
            <pc:docMk/>
            <pc:sldMk cId="3747587241" sldId="2147483092"/>
            <ac:spMk id="42" creationId="{3B532BE6-24E8-195E-C627-5268F2EB4F7B}"/>
          </ac:spMkLst>
        </pc:spChg>
        <pc:spChg chg="del mod">
          <ac:chgData name="Yudi Zhu" userId="571e1a55-055f-4c28-8b35-fca6dd1c1369" providerId="ADAL" clId="{75A88773-6EE1-484E-AADE-FE631E01463B}" dt="2025-11-21T07:11:50.880" v="216563"/>
          <ac:spMkLst>
            <pc:docMk/>
            <pc:sldMk cId="3747587241" sldId="2147483092"/>
            <ac:spMk id="43" creationId="{189AC015-0A56-6CC4-1793-33E575ABA112}"/>
          </ac:spMkLst>
        </pc:spChg>
        <pc:spChg chg="add del mod">
          <ac:chgData name="Yudi Zhu" userId="571e1a55-055f-4c28-8b35-fca6dd1c1369" providerId="ADAL" clId="{75A88773-6EE1-484E-AADE-FE631E01463B}" dt="2025-11-21T07:12:36.471" v="222559"/>
          <ac:spMkLst>
            <pc:docMk/>
            <pc:sldMk cId="3747587241" sldId="2147483092"/>
            <ac:spMk id="44" creationId="{F14683ED-FEEA-5F68-95B0-A7630AD15FBF}"/>
          </ac:spMkLst>
        </pc:spChg>
        <pc:spChg chg="add del mod">
          <ac:chgData name="Yudi Zhu" userId="571e1a55-055f-4c28-8b35-fca6dd1c1369" providerId="ADAL" clId="{75A88773-6EE1-484E-AADE-FE631E01463B}" dt="2025-11-21T07:12:38.419" v="223057"/>
          <ac:spMkLst>
            <pc:docMk/>
            <pc:sldMk cId="3747587241" sldId="2147483092"/>
            <ac:spMk id="45" creationId="{A66B9E54-81FD-83E6-4F39-5BED335623CB}"/>
          </ac:spMkLst>
        </pc:spChg>
        <pc:spChg chg="add del mod">
          <ac:chgData name="Yudi Zhu" userId="571e1a55-055f-4c28-8b35-fca6dd1c1369" providerId="ADAL" clId="{75A88773-6EE1-484E-AADE-FE631E01463B}" dt="2025-11-21T07:12:38.419" v="223062"/>
          <ac:spMkLst>
            <pc:docMk/>
            <pc:sldMk cId="3747587241" sldId="2147483092"/>
            <ac:spMk id="46" creationId="{9A25B2CE-6FED-3697-24DB-59549D8FEF3B}"/>
          </ac:spMkLst>
        </pc:spChg>
        <pc:spChg chg="add del mod">
          <ac:chgData name="Yudi Zhu" userId="571e1a55-055f-4c28-8b35-fca6dd1c1369" providerId="ADAL" clId="{75A88773-6EE1-484E-AADE-FE631E01463B}" dt="2025-11-21T07:12:38.419" v="223067"/>
          <ac:spMkLst>
            <pc:docMk/>
            <pc:sldMk cId="3747587241" sldId="2147483092"/>
            <ac:spMk id="47" creationId="{E37308E6-7558-4C0A-45AB-2AEE8E24DE5D}"/>
          </ac:spMkLst>
        </pc:spChg>
        <pc:spChg chg="add del mod">
          <ac:chgData name="Yudi Zhu" userId="571e1a55-055f-4c28-8b35-fca6dd1c1369" providerId="ADAL" clId="{75A88773-6EE1-484E-AADE-FE631E01463B}" dt="2025-11-21T07:12:38.419" v="223070"/>
          <ac:spMkLst>
            <pc:docMk/>
            <pc:sldMk cId="3747587241" sldId="2147483092"/>
            <ac:spMk id="48" creationId="{2E96B387-4ACB-8BD1-5115-5CC67AC9F20C}"/>
          </ac:spMkLst>
        </pc:spChg>
        <pc:spChg chg="add del mod">
          <ac:chgData name="Yudi Zhu" userId="571e1a55-055f-4c28-8b35-fca6dd1c1369" providerId="ADAL" clId="{75A88773-6EE1-484E-AADE-FE631E01463B}" dt="2025-11-21T07:12:36.471" v="222560"/>
          <ac:spMkLst>
            <pc:docMk/>
            <pc:sldMk cId="3747587241" sldId="2147483092"/>
            <ac:spMk id="49" creationId="{853889D2-EB9C-CBA6-4741-71B7A08C89BE}"/>
          </ac:spMkLst>
        </pc:spChg>
        <pc:spChg chg="add del mod">
          <ac:chgData name="Yudi Zhu" userId="571e1a55-055f-4c28-8b35-fca6dd1c1369" providerId="ADAL" clId="{75A88773-6EE1-484E-AADE-FE631E01463B}" dt="2025-11-21T07:12:38.419" v="223073"/>
          <ac:spMkLst>
            <pc:docMk/>
            <pc:sldMk cId="3747587241" sldId="2147483092"/>
            <ac:spMk id="50" creationId="{FC06FFC6-0F47-7BF5-39AB-CF7C61F50BE8}"/>
          </ac:spMkLst>
        </pc:spChg>
        <pc:spChg chg="add del mod">
          <ac:chgData name="Yudi Zhu" userId="571e1a55-055f-4c28-8b35-fca6dd1c1369" providerId="ADAL" clId="{75A88773-6EE1-484E-AADE-FE631E01463B}" dt="2025-11-21T07:12:38.404" v="223033"/>
          <ac:spMkLst>
            <pc:docMk/>
            <pc:sldMk cId="3747587241" sldId="2147483092"/>
            <ac:spMk id="51" creationId="{B115C729-BD65-5AFB-14B7-EAD351D4AB8A}"/>
          </ac:spMkLst>
        </pc:spChg>
        <pc:spChg chg="add del mod">
          <ac:chgData name="Yudi Zhu" userId="571e1a55-055f-4c28-8b35-fca6dd1c1369" providerId="ADAL" clId="{75A88773-6EE1-484E-AADE-FE631E01463B}" dt="2025-11-21T07:12:38.404" v="223015"/>
          <ac:spMkLst>
            <pc:docMk/>
            <pc:sldMk cId="3747587241" sldId="2147483092"/>
            <ac:spMk id="52" creationId="{C8E21A15-D0F7-1431-D759-D78BED63FF34}"/>
          </ac:spMkLst>
        </pc:spChg>
        <pc:spChg chg="add del mod">
          <ac:chgData name="Yudi Zhu" userId="571e1a55-055f-4c28-8b35-fca6dd1c1369" providerId="ADAL" clId="{75A88773-6EE1-484E-AADE-FE631E01463B}" dt="2025-11-21T07:12:38.437" v="223084"/>
          <ac:spMkLst>
            <pc:docMk/>
            <pc:sldMk cId="3747587241" sldId="2147483092"/>
            <ac:spMk id="53" creationId="{D748C54E-E695-9643-F7C5-1C2C4651974D}"/>
          </ac:spMkLst>
        </pc:spChg>
        <pc:spChg chg="add del mod">
          <ac:chgData name="Yudi Zhu" userId="571e1a55-055f-4c28-8b35-fca6dd1c1369" providerId="ADAL" clId="{75A88773-6EE1-484E-AADE-FE631E01463B}" dt="2025-11-21T07:12:36.458" v="222556"/>
          <ac:spMkLst>
            <pc:docMk/>
            <pc:sldMk cId="3747587241" sldId="2147483092"/>
            <ac:spMk id="54" creationId="{96F05548-EE0A-CE43-C38A-33E401DCE176}"/>
          </ac:spMkLst>
        </pc:spChg>
        <pc:spChg chg="add del mod">
          <ac:chgData name="Yudi Zhu" userId="571e1a55-055f-4c28-8b35-fca6dd1c1369" providerId="ADAL" clId="{75A88773-6EE1-484E-AADE-FE631E01463B}" dt="2025-11-21T07:12:38.439" v="223089"/>
          <ac:spMkLst>
            <pc:docMk/>
            <pc:sldMk cId="3747587241" sldId="2147483092"/>
            <ac:spMk id="55" creationId="{2F8E0B2B-3AF8-E470-E1C3-9DD47D52CE05}"/>
          </ac:spMkLst>
        </pc:spChg>
        <pc:spChg chg="add del mod">
          <ac:chgData name="Yudi Zhu" userId="571e1a55-055f-4c28-8b35-fca6dd1c1369" providerId="ADAL" clId="{75A88773-6EE1-484E-AADE-FE631E01463B}" dt="2025-11-21T07:12:38.441" v="223097"/>
          <ac:spMkLst>
            <pc:docMk/>
            <pc:sldMk cId="3747587241" sldId="2147483092"/>
            <ac:spMk id="56" creationId="{5906E8CE-917D-6FEB-0CAF-574662B8D51A}"/>
          </ac:spMkLst>
        </pc:spChg>
        <pc:spChg chg="add del mod">
          <ac:chgData name="Yudi Zhu" userId="571e1a55-055f-4c28-8b35-fca6dd1c1369" providerId="ADAL" clId="{75A88773-6EE1-484E-AADE-FE631E01463B}" dt="2025-11-21T07:12:38.441" v="223110"/>
          <ac:spMkLst>
            <pc:docMk/>
            <pc:sldMk cId="3747587241" sldId="2147483092"/>
            <ac:spMk id="57" creationId="{2160AE04-ACBB-2718-FD9F-9E83B17DF687}"/>
          </ac:spMkLst>
        </pc:spChg>
        <pc:spChg chg="add del mod">
          <ac:chgData name="Yudi Zhu" userId="571e1a55-055f-4c28-8b35-fca6dd1c1369" providerId="ADAL" clId="{75A88773-6EE1-484E-AADE-FE631E01463B}" dt="2025-11-21T07:12:38.419" v="223044"/>
          <ac:spMkLst>
            <pc:docMk/>
            <pc:sldMk cId="3747587241" sldId="2147483092"/>
            <ac:spMk id="58" creationId="{76545B3F-E429-F701-9F0E-BDA798EE1FFB}"/>
          </ac:spMkLst>
        </pc:spChg>
        <pc:spChg chg="add del mod ord">
          <ac:chgData name="Yudi Zhu" userId="571e1a55-055f-4c28-8b35-fca6dd1c1369" providerId="ADAL" clId="{75A88773-6EE1-484E-AADE-FE631E01463B}" dt="2025-11-21T07:12:36.471" v="222562"/>
          <ac:spMkLst>
            <pc:docMk/>
            <pc:sldMk cId="3747587241" sldId="2147483092"/>
            <ac:spMk id="59" creationId="{095E420D-0668-1D11-1C67-36B1641B79CA}"/>
          </ac:spMkLst>
        </pc:spChg>
        <pc:spChg chg="add del mod">
          <ac:chgData name="Yudi Zhu" userId="571e1a55-055f-4c28-8b35-fca6dd1c1369" providerId="ADAL" clId="{75A88773-6EE1-484E-AADE-FE631E01463B}" dt="2025-11-21T07:12:38.441" v="223092"/>
          <ac:spMkLst>
            <pc:docMk/>
            <pc:sldMk cId="3747587241" sldId="2147483092"/>
            <ac:spMk id="60" creationId="{4550CAA8-6EE3-395F-0447-0B0623B7DC25}"/>
          </ac:spMkLst>
        </pc:spChg>
        <pc:spChg chg="add del mod">
          <ac:chgData name="Yudi Zhu" userId="571e1a55-055f-4c28-8b35-fca6dd1c1369" providerId="ADAL" clId="{75A88773-6EE1-484E-AADE-FE631E01463B}" dt="2025-11-21T07:12:38.436" v="223081"/>
          <ac:spMkLst>
            <pc:docMk/>
            <pc:sldMk cId="3747587241" sldId="2147483092"/>
            <ac:spMk id="61" creationId="{B0DEE645-BE97-11D5-2EE6-709F1CF13183}"/>
          </ac:spMkLst>
        </pc:spChg>
        <pc:spChg chg="add del mod">
          <ac:chgData name="Yudi Zhu" userId="571e1a55-055f-4c28-8b35-fca6dd1c1369" providerId="ADAL" clId="{75A88773-6EE1-484E-AADE-FE631E01463B}" dt="2025-11-21T07:12:38.419" v="223078"/>
          <ac:spMkLst>
            <pc:docMk/>
            <pc:sldMk cId="3747587241" sldId="2147483092"/>
            <ac:spMk id="62" creationId="{139DEC10-BC5B-4FC3-23B4-3AA578ED2EC7}"/>
          </ac:spMkLst>
        </pc:spChg>
        <pc:spChg chg="add del mod">
          <ac:chgData name="Yudi Zhu" userId="571e1a55-055f-4c28-8b35-fca6dd1c1369" providerId="ADAL" clId="{75A88773-6EE1-484E-AADE-FE631E01463B}" dt="2025-11-21T07:12:38.441" v="223115"/>
          <ac:spMkLst>
            <pc:docMk/>
            <pc:sldMk cId="3747587241" sldId="2147483092"/>
            <ac:spMk id="63" creationId="{6ACDFFAC-E661-251B-E453-69CCE1264DD7}"/>
          </ac:spMkLst>
        </pc:spChg>
        <pc:spChg chg="del mod">
          <ac:chgData name="Yudi Zhu" userId="571e1a55-055f-4c28-8b35-fca6dd1c1369" providerId="ADAL" clId="{75A88773-6EE1-484E-AADE-FE631E01463B}" dt="2025-11-21T07:11:50.941" v="216716"/>
          <ac:spMkLst>
            <pc:docMk/>
            <pc:sldMk cId="3747587241" sldId="2147483092"/>
            <ac:spMk id="111" creationId="{AAA06325-DD3B-1CF5-19E0-9763AE69D5C6}"/>
          </ac:spMkLst>
        </pc:spChg>
        <pc:spChg chg="del mod">
          <ac:chgData name="Yudi Zhu" userId="571e1a55-055f-4c28-8b35-fca6dd1c1369" providerId="ADAL" clId="{75A88773-6EE1-484E-AADE-FE631E01463B}" dt="2025-11-21T07:11:50.941" v="216713"/>
          <ac:spMkLst>
            <pc:docMk/>
            <pc:sldMk cId="3747587241" sldId="2147483092"/>
            <ac:spMk id="113" creationId="{BACA35AB-657D-B05E-DF52-33CF5B061AD0}"/>
          </ac:spMkLst>
        </pc:spChg>
        <pc:spChg chg="del mod">
          <ac:chgData name="Yudi Zhu" userId="571e1a55-055f-4c28-8b35-fca6dd1c1369" providerId="ADAL" clId="{75A88773-6EE1-484E-AADE-FE631E01463B}" dt="2025-11-21T07:11:50.941" v="216710"/>
          <ac:spMkLst>
            <pc:docMk/>
            <pc:sldMk cId="3747587241" sldId="2147483092"/>
            <ac:spMk id="114" creationId="{7FFF1B82-CF66-34A4-7ED1-AA02B7DBB995}"/>
          </ac:spMkLst>
        </pc:spChg>
        <pc:spChg chg="del mod">
          <ac:chgData name="Yudi Zhu" userId="571e1a55-055f-4c28-8b35-fca6dd1c1369" providerId="ADAL" clId="{75A88773-6EE1-484E-AADE-FE631E01463B}" dt="2025-11-21T07:11:50.941" v="216707"/>
          <ac:spMkLst>
            <pc:docMk/>
            <pc:sldMk cId="3747587241" sldId="2147483092"/>
            <ac:spMk id="115" creationId="{E776C8B1-75DA-0EEE-827A-E179C8E4BA66}"/>
          </ac:spMkLst>
        </pc:spChg>
        <pc:spChg chg="del mod ord">
          <ac:chgData name="Yudi Zhu" userId="571e1a55-055f-4c28-8b35-fca6dd1c1369" providerId="ADAL" clId="{75A88773-6EE1-484E-AADE-FE631E01463B}" dt="2025-11-21T07:11:50.941" v="216715"/>
          <ac:spMkLst>
            <pc:docMk/>
            <pc:sldMk cId="3747587241" sldId="2147483092"/>
            <ac:spMk id="161" creationId="{D7C7A34F-9435-43FF-7A14-24AF27C200D7}"/>
          </ac:spMkLst>
        </pc:spChg>
        <pc:spChg chg="del mod ord">
          <ac:chgData name="Yudi Zhu" userId="571e1a55-055f-4c28-8b35-fca6dd1c1369" providerId="ADAL" clId="{75A88773-6EE1-484E-AADE-FE631E01463B}" dt="2025-11-21T07:11:50.941" v="216712"/>
          <ac:spMkLst>
            <pc:docMk/>
            <pc:sldMk cId="3747587241" sldId="2147483092"/>
            <ac:spMk id="162" creationId="{ED91CF86-890C-90AA-30D2-DC6BFFF3C2BF}"/>
          </ac:spMkLst>
        </pc:spChg>
        <pc:spChg chg="del mod ord">
          <ac:chgData name="Yudi Zhu" userId="571e1a55-055f-4c28-8b35-fca6dd1c1369" providerId="ADAL" clId="{75A88773-6EE1-484E-AADE-FE631E01463B}" dt="2025-11-21T07:11:50.941" v="216709"/>
          <ac:spMkLst>
            <pc:docMk/>
            <pc:sldMk cId="3747587241" sldId="2147483092"/>
            <ac:spMk id="163" creationId="{B5E27FF8-8719-E6CD-410C-9D4063E6817E}"/>
          </ac:spMkLst>
        </pc:spChg>
        <pc:spChg chg="del mod ord">
          <ac:chgData name="Yudi Zhu" userId="571e1a55-055f-4c28-8b35-fca6dd1c1369" providerId="ADAL" clId="{75A88773-6EE1-484E-AADE-FE631E01463B}" dt="2025-11-21T07:11:50.925" v="216706"/>
          <ac:spMkLst>
            <pc:docMk/>
            <pc:sldMk cId="3747587241" sldId="2147483092"/>
            <ac:spMk id="164" creationId="{53C87306-3229-73B7-59CE-1DF6450616CB}"/>
          </ac:spMkLst>
        </pc:spChg>
        <pc:spChg chg="del mod">
          <ac:chgData name="Yudi Zhu" userId="571e1a55-055f-4c28-8b35-fca6dd1c1369" providerId="ADAL" clId="{75A88773-6EE1-484E-AADE-FE631E01463B}" dt="2025-11-21T07:11:50.925" v="216702"/>
          <ac:spMkLst>
            <pc:docMk/>
            <pc:sldMk cId="3747587241" sldId="2147483092"/>
            <ac:spMk id="189" creationId="{A38A0DE1-4833-0E48-273A-DE66AAA9136E}"/>
          </ac:spMkLst>
        </pc:spChg>
        <pc:spChg chg="del mod ord">
          <ac:chgData name="Yudi Zhu" userId="571e1a55-055f-4c28-8b35-fca6dd1c1369" providerId="ADAL" clId="{75A88773-6EE1-484E-AADE-FE631E01463B}" dt="2025-11-21T07:11:50.925" v="216701"/>
          <ac:spMkLst>
            <pc:docMk/>
            <pc:sldMk cId="3747587241" sldId="2147483092"/>
            <ac:spMk id="190" creationId="{E16538C0-3D5F-4203-015A-27389412030D}"/>
          </ac:spMkLst>
        </pc:spChg>
        <pc:spChg chg="del mod">
          <ac:chgData name="Yudi Zhu" userId="571e1a55-055f-4c28-8b35-fca6dd1c1369" providerId="ADAL" clId="{75A88773-6EE1-484E-AADE-FE631E01463B}" dt="2025-11-21T07:11:50.925" v="216699"/>
          <ac:spMkLst>
            <pc:docMk/>
            <pc:sldMk cId="3747587241" sldId="2147483092"/>
            <ac:spMk id="191" creationId="{EDA41538-10ED-795F-0C27-38DCDE23D037}"/>
          </ac:spMkLst>
        </pc:spChg>
        <pc:spChg chg="del mod ord">
          <ac:chgData name="Yudi Zhu" userId="571e1a55-055f-4c28-8b35-fca6dd1c1369" providerId="ADAL" clId="{75A88773-6EE1-484E-AADE-FE631E01463B}" dt="2025-11-21T07:11:50.925" v="216698"/>
          <ac:spMkLst>
            <pc:docMk/>
            <pc:sldMk cId="3747587241" sldId="2147483092"/>
            <ac:spMk id="192" creationId="{785268F3-6588-CEAA-E7EF-3A9AABCEB157}"/>
          </ac:spMkLst>
        </pc:spChg>
        <pc:spChg chg="del mod ord">
          <ac:chgData name="Yudi Zhu" userId="571e1a55-055f-4c28-8b35-fca6dd1c1369" providerId="ADAL" clId="{75A88773-6EE1-484E-AADE-FE631E01463B}" dt="2025-11-21T07:11:50.925" v="216693"/>
          <ac:spMkLst>
            <pc:docMk/>
            <pc:sldMk cId="3747587241" sldId="2147483092"/>
            <ac:spMk id="193" creationId="{519A2482-49D4-6CDF-8CAF-AD01276B3C1C}"/>
          </ac:spMkLst>
        </pc:spChg>
        <pc:spChg chg="del mod">
          <ac:chgData name="Yudi Zhu" userId="571e1a55-055f-4c28-8b35-fca6dd1c1369" providerId="ADAL" clId="{75A88773-6EE1-484E-AADE-FE631E01463B}" dt="2025-11-21T07:11:50.925" v="216691"/>
          <ac:spMkLst>
            <pc:docMk/>
            <pc:sldMk cId="3747587241" sldId="2147483092"/>
            <ac:spMk id="194" creationId="{EA6E0424-A005-D6DA-17EC-54E141CFD37B}"/>
          </ac:spMkLst>
        </pc:spChg>
        <pc:spChg chg="del mod ord">
          <ac:chgData name="Yudi Zhu" userId="571e1a55-055f-4c28-8b35-fca6dd1c1369" providerId="ADAL" clId="{75A88773-6EE1-484E-AADE-FE631E01463B}" dt="2025-11-21T07:11:50.925" v="216690"/>
          <ac:spMkLst>
            <pc:docMk/>
            <pc:sldMk cId="3747587241" sldId="2147483092"/>
            <ac:spMk id="195" creationId="{E09338CA-55CD-233A-E604-15E21C3BA359}"/>
          </ac:spMkLst>
        </pc:spChg>
        <pc:spChg chg="del mod ord">
          <ac:chgData name="Yudi Zhu" userId="571e1a55-055f-4c28-8b35-fca6dd1c1369" providerId="ADAL" clId="{75A88773-6EE1-484E-AADE-FE631E01463B}" dt="2025-11-21T07:11:50.925" v="216688"/>
          <ac:spMkLst>
            <pc:docMk/>
            <pc:sldMk cId="3747587241" sldId="2147483092"/>
            <ac:spMk id="196" creationId="{0B6D1AD6-DDF3-4843-8C63-7126B6264FAE}"/>
          </ac:spMkLst>
        </pc:spChg>
        <pc:spChg chg="del mod ord">
          <ac:chgData name="Yudi Zhu" userId="571e1a55-055f-4c28-8b35-fca6dd1c1369" providerId="ADAL" clId="{75A88773-6EE1-484E-AADE-FE631E01463B}" dt="2025-11-21T07:11:50.925" v="216683"/>
          <ac:spMkLst>
            <pc:docMk/>
            <pc:sldMk cId="3747587241" sldId="2147483092"/>
            <ac:spMk id="197" creationId="{62402099-70CE-559E-944E-DF5A73B73C6E}"/>
          </ac:spMkLst>
        </pc:spChg>
        <pc:spChg chg="del mod ord">
          <ac:chgData name="Yudi Zhu" userId="571e1a55-055f-4c28-8b35-fca6dd1c1369" providerId="ADAL" clId="{75A88773-6EE1-484E-AADE-FE631E01463B}" dt="2025-11-21T07:11:50.925" v="216668"/>
          <ac:spMkLst>
            <pc:docMk/>
            <pc:sldMk cId="3747587241" sldId="2147483092"/>
            <ac:spMk id="198" creationId="{CD2DFD54-FAD9-AEBA-870F-AA24BFB83B1B}"/>
          </ac:spMkLst>
        </pc:spChg>
        <pc:spChg chg="del mod ord">
          <ac:chgData name="Yudi Zhu" userId="571e1a55-055f-4c28-8b35-fca6dd1c1369" providerId="ADAL" clId="{75A88773-6EE1-484E-AADE-FE631E01463B}" dt="2025-11-21T07:11:50.915" v="216666"/>
          <ac:spMkLst>
            <pc:docMk/>
            <pc:sldMk cId="3747587241" sldId="2147483092"/>
            <ac:spMk id="199" creationId="{D0E183DF-CF35-3F1C-5E9D-DC3DFF135170}"/>
          </ac:spMkLst>
        </pc:spChg>
        <pc:spChg chg="del mod ord">
          <ac:chgData name="Yudi Zhu" userId="571e1a55-055f-4c28-8b35-fca6dd1c1369" providerId="ADAL" clId="{75A88773-6EE1-484E-AADE-FE631E01463B}" dt="2025-11-21T07:11:50.909" v="216639"/>
          <ac:spMkLst>
            <pc:docMk/>
            <pc:sldMk cId="3747587241" sldId="2147483092"/>
            <ac:spMk id="200" creationId="{B6A680EC-E82B-15C6-F4F5-E507B42298C5}"/>
          </ac:spMkLst>
        </pc:spChg>
        <pc:spChg chg="del mod">
          <ac:chgData name="Yudi Zhu" userId="571e1a55-055f-4c28-8b35-fca6dd1c1369" providerId="ADAL" clId="{75A88773-6EE1-484E-AADE-FE631E01463B}" dt="2025-11-21T07:11:50.909" v="216632"/>
          <ac:spMkLst>
            <pc:docMk/>
            <pc:sldMk cId="3747587241" sldId="2147483092"/>
            <ac:spMk id="201" creationId="{D7ECEB66-5488-E807-5D5D-E256344EF198}"/>
          </ac:spMkLst>
        </pc:spChg>
        <pc:spChg chg="del mod ord">
          <ac:chgData name="Yudi Zhu" userId="571e1a55-055f-4c28-8b35-fca6dd1c1369" providerId="ADAL" clId="{75A88773-6EE1-484E-AADE-FE631E01463B}" dt="2025-11-21T07:11:50.906" v="216626"/>
          <ac:spMkLst>
            <pc:docMk/>
            <pc:sldMk cId="3747587241" sldId="2147483092"/>
            <ac:spMk id="202" creationId="{8C2A606B-B469-4D4B-1351-5BBE9071CF38}"/>
          </ac:spMkLst>
        </pc:spChg>
        <pc:spChg chg="del mod ord">
          <ac:chgData name="Yudi Zhu" userId="571e1a55-055f-4c28-8b35-fca6dd1c1369" providerId="ADAL" clId="{75A88773-6EE1-484E-AADE-FE631E01463B}" dt="2025-11-21T07:11:50.905" v="216624"/>
          <ac:spMkLst>
            <pc:docMk/>
            <pc:sldMk cId="3747587241" sldId="2147483092"/>
            <ac:spMk id="203" creationId="{730E504D-F1FD-F4EA-95BF-A91C3D7A1B5C}"/>
          </ac:spMkLst>
        </pc:spChg>
        <pc:spChg chg="del mod">
          <ac:chgData name="Yudi Zhu" userId="571e1a55-055f-4c28-8b35-fca6dd1c1369" providerId="ADAL" clId="{75A88773-6EE1-484E-AADE-FE631E01463B}" dt="2025-11-21T07:11:50.879" v="216559"/>
          <ac:spMkLst>
            <pc:docMk/>
            <pc:sldMk cId="3747587241" sldId="2147483092"/>
            <ac:spMk id="204" creationId="{F62453E3-B8DC-1FA4-4FF5-50532DD3D498}"/>
          </ac:spMkLst>
        </pc:spChg>
        <pc:spChg chg="del mod ord">
          <ac:chgData name="Yudi Zhu" userId="571e1a55-055f-4c28-8b35-fca6dd1c1369" providerId="ADAL" clId="{75A88773-6EE1-484E-AADE-FE631E01463B}" dt="2025-11-21T07:11:50.925" v="216681"/>
          <ac:spMkLst>
            <pc:docMk/>
            <pc:sldMk cId="3747587241" sldId="2147483092"/>
            <ac:spMk id="259" creationId="{87B7291B-E24A-8979-F3BF-3CBCACB6DC5D}"/>
          </ac:spMkLst>
        </pc:spChg>
        <pc:spChg chg="del mod">
          <ac:chgData name="Yudi Zhu" userId="571e1a55-055f-4c28-8b35-fca6dd1c1369" providerId="ADAL" clId="{75A88773-6EE1-484E-AADE-FE631E01463B}" dt="2025-11-21T07:11:50.925" v="216679"/>
          <ac:spMkLst>
            <pc:docMk/>
            <pc:sldMk cId="3747587241" sldId="2147483092"/>
            <ac:spMk id="260" creationId="{81D0BC8A-DBEF-2F93-B4EE-4E3469A0CACB}"/>
          </ac:spMkLst>
        </pc:spChg>
        <pc:spChg chg="del mod">
          <ac:chgData name="Yudi Zhu" userId="571e1a55-055f-4c28-8b35-fca6dd1c1369" providerId="ADAL" clId="{75A88773-6EE1-484E-AADE-FE631E01463B}" dt="2025-11-21T07:11:50.925" v="216676"/>
          <ac:spMkLst>
            <pc:docMk/>
            <pc:sldMk cId="3747587241" sldId="2147483092"/>
            <ac:spMk id="261" creationId="{C6F4285F-F052-2A51-0D4D-42B89971C8A4}"/>
          </ac:spMkLst>
        </pc:spChg>
        <pc:spChg chg="del mod">
          <ac:chgData name="Yudi Zhu" userId="571e1a55-055f-4c28-8b35-fca6dd1c1369" providerId="ADAL" clId="{75A88773-6EE1-484E-AADE-FE631E01463B}" dt="2025-11-21T07:11:50.915" v="216664"/>
          <ac:spMkLst>
            <pc:docMk/>
            <pc:sldMk cId="3747587241" sldId="2147483092"/>
            <ac:spMk id="262" creationId="{A32B7318-4CE5-C193-2EF6-59AFC27E59D1}"/>
          </ac:spMkLst>
        </pc:spChg>
        <pc:spChg chg="del mod ord">
          <ac:chgData name="Yudi Zhu" userId="571e1a55-055f-4c28-8b35-fca6dd1c1369" providerId="ADAL" clId="{75A88773-6EE1-484E-AADE-FE631E01463B}" dt="2025-11-21T07:11:50.915" v="216661"/>
          <ac:spMkLst>
            <pc:docMk/>
            <pc:sldMk cId="3747587241" sldId="2147483092"/>
            <ac:spMk id="263" creationId="{39D6A759-6FD0-6DCC-504C-CE9124DAB3F6}"/>
          </ac:spMkLst>
        </pc:spChg>
        <pc:spChg chg="del mod">
          <ac:chgData name="Yudi Zhu" userId="571e1a55-055f-4c28-8b35-fca6dd1c1369" providerId="ADAL" clId="{75A88773-6EE1-484E-AADE-FE631E01463B}" dt="2025-11-21T07:11:50.915" v="216654"/>
          <ac:spMkLst>
            <pc:docMk/>
            <pc:sldMk cId="3747587241" sldId="2147483092"/>
            <ac:spMk id="264" creationId="{C9068BA3-5650-8D7A-3630-6383E5F517D9}"/>
          </ac:spMkLst>
        </pc:spChg>
        <pc:spChg chg="del mod ord">
          <ac:chgData name="Yudi Zhu" userId="571e1a55-055f-4c28-8b35-fca6dd1c1369" providerId="ADAL" clId="{75A88773-6EE1-484E-AADE-FE631E01463B}" dt="2025-11-21T07:11:50.915" v="216651"/>
          <ac:spMkLst>
            <pc:docMk/>
            <pc:sldMk cId="3747587241" sldId="2147483092"/>
            <ac:spMk id="265" creationId="{A9B1BA3C-A784-48EB-A779-AE69BE292729}"/>
          </ac:spMkLst>
        </pc:spChg>
        <pc:spChg chg="del mod ord">
          <ac:chgData name="Yudi Zhu" userId="571e1a55-055f-4c28-8b35-fca6dd1c1369" providerId="ADAL" clId="{75A88773-6EE1-484E-AADE-FE631E01463B}" dt="2025-11-21T07:11:50.915" v="216649"/>
          <ac:spMkLst>
            <pc:docMk/>
            <pc:sldMk cId="3747587241" sldId="2147483092"/>
            <ac:spMk id="266" creationId="{021C2C06-32BC-999C-1B5F-E60AF091F4A2}"/>
          </ac:spMkLst>
        </pc:spChg>
        <pc:spChg chg="del mod">
          <ac:chgData name="Yudi Zhu" userId="571e1a55-055f-4c28-8b35-fca6dd1c1369" providerId="ADAL" clId="{75A88773-6EE1-484E-AADE-FE631E01463B}" dt="2025-11-21T07:11:50.915" v="216647"/>
          <ac:spMkLst>
            <pc:docMk/>
            <pc:sldMk cId="3747587241" sldId="2147483092"/>
            <ac:spMk id="267" creationId="{1274F31A-ACA7-CF0C-C873-EC9D745262B3}"/>
          </ac:spMkLst>
        </pc:spChg>
        <pc:spChg chg="del mod ord">
          <ac:chgData name="Yudi Zhu" userId="571e1a55-055f-4c28-8b35-fca6dd1c1369" providerId="ADAL" clId="{75A88773-6EE1-484E-AADE-FE631E01463B}" dt="2025-11-21T07:11:50.909" v="216637"/>
          <ac:spMkLst>
            <pc:docMk/>
            <pc:sldMk cId="3747587241" sldId="2147483092"/>
            <ac:spMk id="268" creationId="{63641A3C-4BD6-C3D4-8BD5-A96B2C37BC89}"/>
          </ac:spMkLst>
        </pc:spChg>
        <pc:spChg chg="del mod">
          <ac:chgData name="Yudi Zhu" userId="571e1a55-055f-4c28-8b35-fca6dd1c1369" providerId="ADAL" clId="{75A88773-6EE1-484E-AADE-FE631E01463B}" dt="2025-11-21T07:11:50.909" v="216635"/>
          <ac:spMkLst>
            <pc:docMk/>
            <pc:sldMk cId="3747587241" sldId="2147483092"/>
            <ac:spMk id="269" creationId="{8BA872E0-C184-9871-1510-817FC41481EC}"/>
          </ac:spMkLst>
        </pc:spChg>
        <pc:spChg chg="del mod ord">
          <ac:chgData name="Yudi Zhu" userId="571e1a55-055f-4c28-8b35-fca6dd1c1369" providerId="ADAL" clId="{75A88773-6EE1-484E-AADE-FE631E01463B}" dt="2025-11-21T07:11:50.904" v="216622"/>
          <ac:spMkLst>
            <pc:docMk/>
            <pc:sldMk cId="3747587241" sldId="2147483092"/>
            <ac:spMk id="270" creationId="{CA40EE68-9031-F0B5-5831-2A929C74DEA1}"/>
          </ac:spMkLst>
        </pc:spChg>
        <pc:spChg chg="del mod">
          <ac:chgData name="Yudi Zhu" userId="571e1a55-055f-4c28-8b35-fca6dd1c1369" providerId="ADAL" clId="{75A88773-6EE1-484E-AADE-FE631E01463B}" dt="2025-11-21T07:11:50.903" v="216620"/>
          <ac:spMkLst>
            <pc:docMk/>
            <pc:sldMk cId="3747587241" sldId="2147483092"/>
            <ac:spMk id="271" creationId="{81BD74DE-949C-B8FA-7053-7EE928DA072F}"/>
          </ac:spMkLst>
        </pc:spChg>
        <pc:spChg chg="del mod ord">
          <ac:chgData name="Yudi Zhu" userId="571e1a55-055f-4c28-8b35-fca6dd1c1369" providerId="ADAL" clId="{75A88773-6EE1-484E-AADE-FE631E01463B}" dt="2025-11-21T07:11:50.901" v="216614"/>
          <ac:spMkLst>
            <pc:docMk/>
            <pc:sldMk cId="3747587241" sldId="2147483092"/>
            <ac:spMk id="272" creationId="{F36449D0-54C0-2FB6-F309-C9F1DE9DF509}"/>
          </ac:spMkLst>
        </pc:spChg>
        <pc:spChg chg="del mod ord">
          <ac:chgData name="Yudi Zhu" userId="571e1a55-055f-4c28-8b35-fca6dd1c1369" providerId="ADAL" clId="{75A88773-6EE1-484E-AADE-FE631E01463B}" dt="2025-11-21T07:11:50.900" v="216612"/>
          <ac:spMkLst>
            <pc:docMk/>
            <pc:sldMk cId="3747587241" sldId="2147483092"/>
            <ac:spMk id="273" creationId="{678DED9E-7DD1-F815-954C-990D8B6F600F}"/>
          </ac:spMkLst>
        </pc:spChg>
        <pc:spChg chg="del mod">
          <ac:chgData name="Yudi Zhu" userId="571e1a55-055f-4c28-8b35-fca6dd1c1369" providerId="ADAL" clId="{75A88773-6EE1-484E-AADE-FE631E01463B}" dt="2025-11-21T07:11:50.899" v="216610"/>
          <ac:spMkLst>
            <pc:docMk/>
            <pc:sldMk cId="3747587241" sldId="2147483092"/>
            <ac:spMk id="274" creationId="{662B5D3D-FF48-59E5-89A5-237AA5074D28}"/>
          </ac:spMkLst>
        </pc:spChg>
        <pc:spChg chg="del mod">
          <ac:chgData name="Yudi Zhu" userId="571e1a55-055f-4c28-8b35-fca6dd1c1369" providerId="ADAL" clId="{75A88773-6EE1-484E-AADE-FE631E01463B}" dt="2025-11-21T07:11:50.898" v="216607"/>
          <ac:spMkLst>
            <pc:docMk/>
            <pc:sldMk cId="3747587241" sldId="2147483092"/>
            <ac:spMk id="275" creationId="{7BF6CB6E-B5C6-C73F-F334-CA7FE8C134B3}"/>
          </ac:spMkLst>
        </pc:spChg>
        <pc:spChg chg="del mod">
          <ac:chgData name="Yudi Zhu" userId="571e1a55-055f-4c28-8b35-fca6dd1c1369" providerId="ADAL" clId="{75A88773-6EE1-484E-AADE-FE631E01463B}" dt="2025-11-21T07:11:50.895" v="216599"/>
          <ac:spMkLst>
            <pc:docMk/>
            <pc:sldMk cId="3747587241" sldId="2147483092"/>
            <ac:spMk id="276" creationId="{B4C84B4A-B643-3113-F3CD-9094CF439AE0}"/>
          </ac:spMkLst>
        </pc:spChg>
        <pc:spChg chg="del mod ord">
          <ac:chgData name="Yudi Zhu" userId="571e1a55-055f-4c28-8b35-fca6dd1c1369" providerId="ADAL" clId="{75A88773-6EE1-484E-AADE-FE631E01463B}" dt="2025-11-21T07:11:50.894" v="216596"/>
          <ac:spMkLst>
            <pc:docMk/>
            <pc:sldMk cId="3747587241" sldId="2147483092"/>
            <ac:spMk id="277" creationId="{D923854C-4709-B2B4-3A15-42DCFF1D326C}"/>
          </ac:spMkLst>
        </pc:spChg>
        <pc:spChg chg="del mod ord">
          <ac:chgData name="Yudi Zhu" userId="571e1a55-055f-4c28-8b35-fca6dd1c1369" providerId="ADAL" clId="{75A88773-6EE1-484E-AADE-FE631E01463B}" dt="2025-11-21T07:11:50.893" v="216594"/>
          <ac:spMkLst>
            <pc:docMk/>
            <pc:sldMk cId="3747587241" sldId="2147483092"/>
            <ac:spMk id="278" creationId="{FEBD7077-37D5-EB71-EA7E-E7A430BDB063}"/>
          </ac:spMkLst>
        </pc:spChg>
        <pc:spChg chg="del mod">
          <ac:chgData name="Yudi Zhu" userId="571e1a55-055f-4c28-8b35-fca6dd1c1369" providerId="ADAL" clId="{75A88773-6EE1-484E-AADE-FE631E01463B}" dt="2025-11-21T07:11:50.892" v="216592"/>
          <ac:spMkLst>
            <pc:docMk/>
            <pc:sldMk cId="3747587241" sldId="2147483092"/>
            <ac:spMk id="279" creationId="{2767FF82-BA4F-16C9-6C00-E6695D490AE3}"/>
          </ac:spMkLst>
        </pc:spChg>
        <pc:spChg chg="del mod ord">
          <ac:chgData name="Yudi Zhu" userId="571e1a55-055f-4c28-8b35-fca6dd1c1369" providerId="ADAL" clId="{75A88773-6EE1-484E-AADE-FE631E01463B}" dt="2025-11-21T07:11:50.889" v="216586"/>
          <ac:spMkLst>
            <pc:docMk/>
            <pc:sldMk cId="3747587241" sldId="2147483092"/>
            <ac:spMk id="280" creationId="{92C81569-DE6A-5AC3-F9F9-4133710F9D41}"/>
          </ac:spMkLst>
        </pc:spChg>
        <pc:spChg chg="del mod ord">
          <ac:chgData name="Yudi Zhu" userId="571e1a55-055f-4c28-8b35-fca6dd1c1369" providerId="ADAL" clId="{75A88773-6EE1-484E-AADE-FE631E01463B}" dt="2025-11-21T07:11:50.889" v="216584"/>
          <ac:spMkLst>
            <pc:docMk/>
            <pc:sldMk cId="3747587241" sldId="2147483092"/>
            <ac:spMk id="281" creationId="{16C66CCA-7438-331F-34E0-B0031A988237}"/>
          </ac:spMkLst>
        </pc:spChg>
        <pc:spChg chg="del mod">
          <ac:chgData name="Yudi Zhu" userId="571e1a55-055f-4c28-8b35-fca6dd1c1369" providerId="ADAL" clId="{75A88773-6EE1-484E-AADE-FE631E01463B}" dt="2025-11-21T07:11:50.888" v="216582"/>
          <ac:spMkLst>
            <pc:docMk/>
            <pc:sldMk cId="3747587241" sldId="2147483092"/>
            <ac:spMk id="282" creationId="{59381CCB-919A-6C68-8F65-A06E4A0C3B3F}"/>
          </ac:spMkLst>
        </pc:spChg>
        <pc:spChg chg="del mod">
          <ac:chgData name="Yudi Zhu" userId="571e1a55-055f-4c28-8b35-fca6dd1c1369" providerId="ADAL" clId="{75A88773-6EE1-484E-AADE-FE631E01463B}" dt="2025-11-21T07:11:50.887" v="216579"/>
          <ac:spMkLst>
            <pc:docMk/>
            <pc:sldMk cId="3747587241" sldId="2147483092"/>
            <ac:spMk id="283" creationId="{6553ECB0-7688-C67D-8F69-CE00CBFB0847}"/>
          </ac:spMkLst>
        </pc:spChg>
        <pc:spChg chg="del mod ord">
          <ac:chgData name="Yudi Zhu" userId="571e1a55-055f-4c28-8b35-fca6dd1c1369" providerId="ADAL" clId="{75A88773-6EE1-484E-AADE-FE631E01463B}" dt="2025-11-21T07:11:50.884" v="216573"/>
          <ac:spMkLst>
            <pc:docMk/>
            <pc:sldMk cId="3747587241" sldId="2147483092"/>
            <ac:spMk id="284" creationId="{A5FDB546-6BD1-F548-965A-F09E5CDE380F}"/>
          </ac:spMkLst>
        </pc:spChg>
        <pc:spChg chg="del mod ord">
          <ac:chgData name="Yudi Zhu" userId="571e1a55-055f-4c28-8b35-fca6dd1c1369" providerId="ADAL" clId="{75A88773-6EE1-484E-AADE-FE631E01463B}" dt="2025-11-21T07:11:50.883" v="216571"/>
          <ac:spMkLst>
            <pc:docMk/>
            <pc:sldMk cId="3747587241" sldId="2147483092"/>
            <ac:spMk id="285" creationId="{A410F8FC-5A3E-1B3F-572A-5D1DFD67B97A}"/>
          </ac:spMkLst>
        </pc:spChg>
        <pc:spChg chg="del mod">
          <ac:chgData name="Yudi Zhu" userId="571e1a55-055f-4c28-8b35-fca6dd1c1369" providerId="ADAL" clId="{75A88773-6EE1-484E-AADE-FE631E01463B}" dt="2025-11-21T07:11:50.883" v="216569"/>
          <ac:spMkLst>
            <pc:docMk/>
            <pc:sldMk cId="3747587241" sldId="2147483092"/>
            <ac:spMk id="286" creationId="{B548C6D7-E746-2EA4-D2DD-9DB97287A5FF}"/>
          </ac:spMkLst>
        </pc:spChg>
        <pc:spChg chg="del mod">
          <ac:chgData name="Yudi Zhu" userId="571e1a55-055f-4c28-8b35-fca6dd1c1369" providerId="ADAL" clId="{75A88773-6EE1-484E-AADE-FE631E01463B}" dt="2025-11-21T07:11:50.881" v="216566"/>
          <ac:spMkLst>
            <pc:docMk/>
            <pc:sldMk cId="3747587241" sldId="2147483092"/>
            <ac:spMk id="287" creationId="{D8F5EB48-43BF-8B45-6733-5B61FC35C28E}"/>
          </ac:spMkLst>
        </pc:spChg>
        <pc:spChg chg="mod ord">
          <ac:chgData name="Yudi Zhu" userId="571e1a55-055f-4c28-8b35-fca6dd1c1369" providerId="ADAL" clId="{75A88773-6EE1-484E-AADE-FE631E01463B}" dt="2025-11-21T07:13:08.502" v="227286"/>
          <ac:spMkLst>
            <pc:docMk/>
            <pc:sldMk cId="3747587241" sldId="2147483092"/>
            <ac:spMk id="310" creationId="{A62D9D2E-0539-BC42-9659-99DFC65D701D}"/>
          </ac:spMkLst>
        </pc:spChg>
        <pc:spChg chg="mod ord">
          <ac:chgData name="Yudi Zhu" userId="571e1a55-055f-4c28-8b35-fca6dd1c1369" providerId="ADAL" clId="{75A88773-6EE1-484E-AADE-FE631E01463B}" dt="2025-11-21T07:13:08.502" v="227288"/>
          <ac:spMkLst>
            <pc:docMk/>
            <pc:sldMk cId="3747587241" sldId="2147483092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1T07:13:08.502" v="227289"/>
          <ac:spMkLst>
            <pc:docMk/>
            <pc:sldMk cId="3747587241" sldId="2147483092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1T07:13:08.506" v="227290"/>
          <ac:spMkLst>
            <pc:docMk/>
            <pc:sldMk cId="3747587241" sldId="2147483092"/>
            <ac:spMk id="313" creationId="{827DA0DD-952F-B61A-2B04-57F6B386C3EA}"/>
          </ac:spMkLst>
        </pc:spChg>
        <pc:spChg chg="mod ord">
          <ac:chgData name="Yudi Zhu" userId="571e1a55-055f-4c28-8b35-fca6dd1c1369" providerId="ADAL" clId="{75A88773-6EE1-484E-AADE-FE631E01463B}" dt="2025-11-21T07:13:08.506" v="227292"/>
          <ac:spMkLst>
            <pc:docMk/>
            <pc:sldMk cId="3747587241" sldId="2147483092"/>
            <ac:spMk id="314" creationId="{60C55FFD-9FE8-A10C-A7D3-CA5764CCB488}"/>
          </ac:spMkLst>
        </pc:spChg>
        <pc:spChg chg="mod ord">
          <ac:chgData name="Yudi Zhu" userId="571e1a55-055f-4c28-8b35-fca6dd1c1369" providerId="ADAL" clId="{75A88773-6EE1-484E-AADE-FE631E01463B}" dt="2025-11-21T07:13:08.506" v="227294"/>
          <ac:spMkLst>
            <pc:docMk/>
            <pc:sldMk cId="3747587241" sldId="2147483092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1T07:13:08.506" v="227295"/>
          <ac:spMkLst>
            <pc:docMk/>
            <pc:sldMk cId="3747587241" sldId="2147483092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1T07:13:08.506" v="227296"/>
          <ac:spMkLst>
            <pc:docMk/>
            <pc:sldMk cId="3747587241" sldId="2147483092"/>
            <ac:spMk id="317" creationId="{1D23DDD7-01E3-3FF9-8371-E4779A37DBD6}"/>
          </ac:spMkLst>
        </pc:spChg>
        <pc:spChg chg="mod ord">
          <ac:chgData name="Yudi Zhu" userId="571e1a55-055f-4c28-8b35-fca6dd1c1369" providerId="ADAL" clId="{75A88773-6EE1-484E-AADE-FE631E01463B}" dt="2025-11-21T07:13:08.506" v="227298"/>
          <ac:spMkLst>
            <pc:docMk/>
            <pc:sldMk cId="3747587241" sldId="2147483092"/>
            <ac:spMk id="318" creationId="{FBCB803E-54EC-7A3B-9145-7A6054CAD134}"/>
          </ac:spMkLst>
        </pc:spChg>
        <pc:spChg chg="mod ord">
          <ac:chgData name="Yudi Zhu" userId="571e1a55-055f-4c28-8b35-fca6dd1c1369" providerId="ADAL" clId="{75A88773-6EE1-484E-AADE-FE631E01463B}" dt="2025-11-21T07:13:08.506" v="227300"/>
          <ac:spMkLst>
            <pc:docMk/>
            <pc:sldMk cId="3747587241" sldId="2147483092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1T07:13:08.506" v="227301"/>
          <ac:spMkLst>
            <pc:docMk/>
            <pc:sldMk cId="3747587241" sldId="2147483092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1T07:13:08.506" v="227302"/>
          <ac:spMkLst>
            <pc:docMk/>
            <pc:sldMk cId="3747587241" sldId="2147483092"/>
            <ac:spMk id="321" creationId="{34B3D78E-834D-E319-B7C9-CD06E40453BF}"/>
          </ac:spMkLst>
        </pc:spChg>
        <pc:spChg chg="mod">
          <ac:chgData name="Yudi Zhu" userId="571e1a55-055f-4c28-8b35-fca6dd1c1369" providerId="ADAL" clId="{75A88773-6EE1-484E-AADE-FE631E01463B}" dt="2025-11-21T07:13:08.506" v="227303"/>
          <ac:spMkLst>
            <pc:docMk/>
            <pc:sldMk cId="3747587241" sldId="2147483092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1T07:13:08.523" v="227324"/>
          <ac:spMkLst>
            <pc:docMk/>
            <pc:sldMk cId="3747587241" sldId="2147483092"/>
            <ac:spMk id="323" creationId="{735D4EDA-AD3C-5A72-B819-57EBBCE24CD8}"/>
          </ac:spMkLst>
        </pc:spChg>
        <pc:spChg chg="mod ord">
          <ac:chgData name="Yudi Zhu" userId="571e1a55-055f-4c28-8b35-fca6dd1c1369" providerId="ADAL" clId="{75A88773-6EE1-484E-AADE-FE631E01463B}" dt="2025-11-21T07:13:08.506" v="227307"/>
          <ac:spMkLst>
            <pc:docMk/>
            <pc:sldMk cId="3747587241" sldId="2147483092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1T07:13:08.518" v="227308"/>
          <ac:spMkLst>
            <pc:docMk/>
            <pc:sldMk cId="3747587241" sldId="2147483092"/>
            <ac:spMk id="325" creationId="{AB71B1E4-3D2E-C2AD-858A-42B64874728B}"/>
          </ac:spMkLst>
        </pc:spChg>
        <pc:spChg chg="mod ord">
          <ac:chgData name="Yudi Zhu" userId="571e1a55-055f-4c28-8b35-fca6dd1c1369" providerId="ADAL" clId="{75A88773-6EE1-484E-AADE-FE631E01463B}" dt="2025-11-21T07:13:08.519" v="227310"/>
          <ac:spMkLst>
            <pc:docMk/>
            <pc:sldMk cId="3747587241" sldId="2147483092"/>
            <ac:spMk id="326" creationId="{C7F59C0F-9502-E9D5-62BB-F976ECCD8766}"/>
          </ac:spMkLst>
        </pc:spChg>
        <pc:spChg chg="mod ord">
          <ac:chgData name="Yudi Zhu" userId="571e1a55-055f-4c28-8b35-fca6dd1c1369" providerId="ADAL" clId="{75A88773-6EE1-484E-AADE-FE631E01463B}" dt="2025-11-21T07:13:08.519" v="227312"/>
          <ac:spMkLst>
            <pc:docMk/>
            <pc:sldMk cId="3747587241" sldId="2147483092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1T07:13:08.519" v="227313"/>
          <ac:spMkLst>
            <pc:docMk/>
            <pc:sldMk cId="3747587241" sldId="2147483092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1T07:13:08.519" v="227314"/>
          <ac:spMkLst>
            <pc:docMk/>
            <pc:sldMk cId="3747587241" sldId="2147483092"/>
            <ac:spMk id="329" creationId="{1D947013-A486-3EAC-83B6-9A5337E1F588}"/>
          </ac:spMkLst>
        </pc:spChg>
        <pc:spChg chg="mod ord">
          <ac:chgData name="Yudi Zhu" userId="571e1a55-055f-4c28-8b35-fca6dd1c1369" providerId="ADAL" clId="{75A88773-6EE1-484E-AADE-FE631E01463B}" dt="2025-11-21T07:13:08.523" v="227316"/>
          <ac:spMkLst>
            <pc:docMk/>
            <pc:sldMk cId="3747587241" sldId="2147483092"/>
            <ac:spMk id="330" creationId="{5BF0E0DB-D8B0-7FBE-D30A-6DFDD08C285E}"/>
          </ac:spMkLst>
        </pc:spChg>
        <pc:spChg chg="mod ord">
          <ac:chgData name="Yudi Zhu" userId="571e1a55-055f-4c28-8b35-fca6dd1c1369" providerId="ADAL" clId="{75A88773-6EE1-484E-AADE-FE631E01463B}" dt="2025-11-21T07:13:08.523" v="227318"/>
          <ac:spMkLst>
            <pc:docMk/>
            <pc:sldMk cId="3747587241" sldId="2147483092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1T07:13:08.523" v="227319"/>
          <ac:spMkLst>
            <pc:docMk/>
            <pc:sldMk cId="3747587241" sldId="2147483092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1T07:13:08.523" v="227320"/>
          <ac:spMkLst>
            <pc:docMk/>
            <pc:sldMk cId="3747587241" sldId="2147483092"/>
            <ac:spMk id="333" creationId="{1B021153-CBBD-C311-9A33-3887037A6E38}"/>
          </ac:spMkLst>
        </pc:spChg>
        <pc:spChg chg="mod ord">
          <ac:chgData name="Yudi Zhu" userId="571e1a55-055f-4c28-8b35-fca6dd1c1369" providerId="ADAL" clId="{75A88773-6EE1-484E-AADE-FE631E01463B}" dt="2025-11-21T07:13:08.523" v="227322"/>
          <ac:spMkLst>
            <pc:docMk/>
            <pc:sldMk cId="3747587241" sldId="2147483092"/>
            <ac:spMk id="334" creationId="{0574B8A2-DAE9-FA77-CD25-3C79BC310A04}"/>
          </ac:spMkLst>
        </pc:spChg>
        <pc:spChg chg="mod ord">
          <ac:chgData name="Yudi Zhu" userId="571e1a55-055f-4c28-8b35-fca6dd1c1369" providerId="ADAL" clId="{75A88773-6EE1-484E-AADE-FE631E01463B}" dt="2025-11-21T07:13:08.523" v="227333"/>
          <ac:spMkLst>
            <pc:docMk/>
            <pc:sldMk cId="3747587241" sldId="2147483092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1T07:13:08.523" v="227325"/>
          <ac:spMkLst>
            <pc:docMk/>
            <pc:sldMk cId="3747587241" sldId="2147483092"/>
            <ac:spMk id="336" creationId="{36445EF4-EDAE-86E1-A720-9E3036E4FB46}"/>
          </ac:spMkLst>
        </pc:spChg>
        <pc:spChg chg="mod ord">
          <ac:chgData name="Yudi Zhu" userId="571e1a55-055f-4c28-8b35-fca6dd1c1369" providerId="ADAL" clId="{75A88773-6EE1-484E-AADE-FE631E01463B}" dt="2025-11-21T07:13:08.523" v="227335"/>
          <ac:spMkLst>
            <pc:docMk/>
            <pc:sldMk cId="3747587241" sldId="2147483092"/>
            <ac:spMk id="337" creationId="{36AB1D7E-40D3-61B5-A55C-A396D415FF17}"/>
          </ac:spMkLst>
        </pc:spChg>
        <pc:spChg chg="mod ord">
          <ac:chgData name="Yudi Zhu" userId="571e1a55-055f-4c28-8b35-fca6dd1c1369" providerId="ADAL" clId="{75A88773-6EE1-484E-AADE-FE631E01463B}" dt="2025-11-21T07:13:08.523" v="227328"/>
          <ac:spMkLst>
            <pc:docMk/>
            <pc:sldMk cId="3747587241" sldId="2147483092"/>
            <ac:spMk id="338" creationId="{AE1A4FDE-AEAE-1F18-9776-ECAA66344E31}"/>
          </ac:spMkLst>
        </pc:spChg>
        <pc:spChg chg="mod ord">
          <ac:chgData name="Yudi Zhu" userId="571e1a55-055f-4c28-8b35-fca6dd1c1369" providerId="ADAL" clId="{75A88773-6EE1-484E-AADE-FE631E01463B}" dt="2025-11-21T07:13:08.523" v="227330"/>
          <ac:spMkLst>
            <pc:docMk/>
            <pc:sldMk cId="3747587241" sldId="2147483092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1T07:13:08.523" v="227331"/>
          <ac:spMkLst>
            <pc:docMk/>
            <pc:sldMk cId="3747587241" sldId="2147483092"/>
            <ac:spMk id="340" creationId="{F9C7A847-ECDA-65CC-C8B2-3D1C85EBEC3B}"/>
          </ac:spMkLst>
        </pc:spChg>
        <pc:spChg chg="mod">
          <ac:chgData name="Yudi Zhu" userId="571e1a55-055f-4c28-8b35-fca6dd1c1369" providerId="ADAL" clId="{75A88773-6EE1-484E-AADE-FE631E01463B}" dt="2025-11-21T07:13:08.535" v="227341"/>
          <ac:spMkLst>
            <pc:docMk/>
            <pc:sldMk cId="3747587241" sldId="2147483092"/>
            <ac:spMk id="341" creationId="{FFD06BCD-2690-21DF-FA66-BC770219146D}"/>
          </ac:spMkLst>
        </pc:spChg>
        <pc:spChg chg="mod">
          <ac:chgData name="Yudi Zhu" userId="571e1a55-055f-4c28-8b35-fca6dd1c1369" providerId="ADAL" clId="{75A88773-6EE1-484E-AADE-FE631E01463B}" dt="2025-11-21T07:13:08.534" v="227336"/>
          <ac:spMkLst>
            <pc:docMk/>
            <pc:sldMk cId="3747587241" sldId="2147483092"/>
            <ac:spMk id="342" creationId="{5F9DF103-C1E2-AA69-9A66-0545A8C8A5E7}"/>
          </ac:spMkLst>
        </pc:spChg>
        <pc:spChg chg="mod ord">
          <ac:chgData name="Yudi Zhu" userId="571e1a55-055f-4c28-8b35-fca6dd1c1369" providerId="ADAL" clId="{75A88773-6EE1-484E-AADE-FE631E01463B}" dt="2025-11-21T07:13:08.506" v="227305"/>
          <ac:spMkLst>
            <pc:docMk/>
            <pc:sldMk cId="3747587241" sldId="2147483092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1T07:13:08.535" v="227337"/>
          <ac:spMkLst>
            <pc:docMk/>
            <pc:sldMk cId="3747587241" sldId="2147483092"/>
            <ac:spMk id="344" creationId="{95A458C9-636A-ED3C-EFA8-833B370930EB}"/>
          </ac:spMkLst>
        </pc:spChg>
        <pc:spChg chg="mod">
          <ac:chgData name="Yudi Zhu" userId="571e1a55-055f-4c28-8b35-fca6dd1c1369" providerId="ADAL" clId="{75A88773-6EE1-484E-AADE-FE631E01463B}" dt="2025-11-21T07:13:08.535" v="227338"/>
          <ac:spMkLst>
            <pc:docMk/>
            <pc:sldMk cId="3747587241" sldId="2147483092"/>
            <ac:spMk id="345" creationId="{A7062455-DCFB-CA90-BAB0-FE5B0F9A7539}"/>
          </ac:spMkLst>
        </pc:spChg>
        <pc:spChg chg="mod ord">
          <ac:chgData name="Yudi Zhu" userId="571e1a55-055f-4c28-8b35-fca6dd1c1369" providerId="ADAL" clId="{75A88773-6EE1-484E-AADE-FE631E01463B}" dt="2025-11-21T07:13:08.535" v="227340"/>
          <ac:spMkLst>
            <pc:docMk/>
            <pc:sldMk cId="3747587241" sldId="2147483092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1T07:13:08.502" v="227283"/>
          <ac:spMkLst>
            <pc:docMk/>
            <pc:sldMk cId="3747587241" sldId="2147483092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1T07:13:08.502" v="227284"/>
          <ac:spMkLst>
            <pc:docMk/>
            <pc:sldMk cId="3747587241" sldId="2147483092"/>
            <ac:spMk id="348" creationId="{3608E0DB-8595-B77B-55B5-68521F1BF056}"/>
          </ac:spMkLst>
        </pc:spChg>
        <pc:spChg chg="mod">
          <ac:chgData name="Yudi Zhu" userId="571e1a55-055f-4c28-8b35-fca6dd1c1369" providerId="ADAL" clId="{75A88773-6EE1-484E-AADE-FE631E01463B}" dt="2025-11-21T07:13:08.523" v="227326"/>
          <ac:spMkLst>
            <pc:docMk/>
            <pc:sldMk cId="3747587241" sldId="2147483092"/>
            <ac:spMk id="349" creationId="{C07A0974-E552-0814-6C01-89E5836B344E}"/>
          </ac:spMkLst>
        </pc:spChg>
        <pc:spChg chg="mod">
          <ac:chgData name="Yudi Zhu" userId="571e1a55-055f-4c28-8b35-fca6dd1c1369" providerId="ADAL" clId="{75A88773-6EE1-484E-AADE-FE631E01463B}" dt="2025-11-21T07:13:08.535" v="227342"/>
          <ac:spMkLst>
            <pc:docMk/>
            <pc:sldMk cId="3747587241" sldId="2147483092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1T07:13:08.535" v="227343"/>
          <ac:spMkLst>
            <pc:docMk/>
            <pc:sldMk cId="3747587241" sldId="2147483092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1T07:13:08.535" v="227346"/>
          <ac:spMkLst>
            <pc:docMk/>
            <pc:sldMk cId="3747587241" sldId="2147483092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1T07:13:08.535" v="227347"/>
          <ac:spMkLst>
            <pc:docMk/>
            <pc:sldMk cId="3747587241" sldId="2147483092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1T07:13:08.535" v="227348"/>
          <ac:spMkLst>
            <pc:docMk/>
            <pc:sldMk cId="3747587241" sldId="2147483092"/>
            <ac:spMk id="355" creationId="{B8F8C981-C881-6238-8329-8E7159CC921D}"/>
          </ac:spMkLst>
        </pc:spChg>
        <pc:spChg chg="del mod ord">
          <ac:chgData name="Yudi Zhu" userId="571e1a55-055f-4c28-8b35-fca6dd1c1369" providerId="ADAL" clId="{75A88773-6EE1-484E-AADE-FE631E01463B}" dt="2025-11-21T07:11:50.877" v="216558"/>
          <ac:spMkLst>
            <pc:docMk/>
            <pc:sldMk cId="3747587241" sldId="2147483092"/>
            <ac:spMk id="406" creationId="{CFD4AA38-3647-3428-3926-8E37A09B1745}"/>
          </ac:spMkLst>
        </pc:spChg>
        <pc:spChg chg="del mod">
          <ac:chgData name="Yudi Zhu" userId="571e1a55-055f-4c28-8b35-fca6dd1c1369" providerId="ADAL" clId="{75A88773-6EE1-484E-AADE-FE631E01463B}" dt="2025-11-21T07:11:50.925" v="216703"/>
          <ac:spMkLst>
            <pc:docMk/>
            <pc:sldMk cId="3747587241" sldId="2147483092"/>
            <ac:spMk id="438" creationId="{62D78070-DE7E-284B-5B21-541428776154}"/>
          </ac:spMkLst>
        </pc:spChg>
        <pc:spChg chg="del mod">
          <ac:chgData name="Yudi Zhu" userId="571e1a55-055f-4c28-8b35-fca6dd1c1369" providerId="ADAL" clId="{75A88773-6EE1-484E-AADE-FE631E01463B}" dt="2025-11-21T07:11:50.925" v="216696"/>
          <ac:spMkLst>
            <pc:docMk/>
            <pc:sldMk cId="3747587241" sldId="2147483092"/>
            <ac:spMk id="439" creationId="{1C66012C-3FA6-F111-9FFF-74D92A707899}"/>
          </ac:spMkLst>
        </pc:spChg>
        <pc:spChg chg="del mod">
          <ac:chgData name="Yudi Zhu" userId="571e1a55-055f-4c28-8b35-fca6dd1c1369" providerId="ADAL" clId="{75A88773-6EE1-484E-AADE-FE631E01463B}" dt="2025-11-21T07:11:50.925" v="216686"/>
          <ac:spMkLst>
            <pc:docMk/>
            <pc:sldMk cId="3747587241" sldId="2147483092"/>
            <ac:spMk id="440" creationId="{AC2CF271-77C6-6648-1A1F-CBB95DAD21BA}"/>
          </ac:spMkLst>
        </pc:spChg>
        <pc:spChg chg="del mod">
          <ac:chgData name="Yudi Zhu" userId="571e1a55-055f-4c28-8b35-fca6dd1c1369" providerId="ADAL" clId="{75A88773-6EE1-484E-AADE-FE631E01463B}" dt="2025-11-21T07:11:50.925" v="216673"/>
          <ac:spMkLst>
            <pc:docMk/>
            <pc:sldMk cId="3747587241" sldId="2147483092"/>
            <ac:spMk id="441" creationId="{20B85966-7344-67CA-CAB4-D7D9CFB1261C}"/>
          </ac:spMkLst>
        </pc:spChg>
        <pc:spChg chg="del mod">
          <ac:chgData name="Yudi Zhu" userId="571e1a55-055f-4c28-8b35-fca6dd1c1369" providerId="ADAL" clId="{75A88773-6EE1-484E-AADE-FE631E01463B}" dt="2025-11-21T07:11:50.915" v="216659"/>
          <ac:spMkLst>
            <pc:docMk/>
            <pc:sldMk cId="3747587241" sldId="2147483092"/>
            <ac:spMk id="442" creationId="{826F3FD2-5597-DC00-142B-6D8DCE63F800}"/>
          </ac:spMkLst>
        </pc:spChg>
        <pc:spChg chg="del mod">
          <ac:chgData name="Yudi Zhu" userId="571e1a55-055f-4c28-8b35-fca6dd1c1369" providerId="ADAL" clId="{75A88773-6EE1-484E-AADE-FE631E01463B}" dt="2025-11-21T07:11:50.909" v="216644"/>
          <ac:spMkLst>
            <pc:docMk/>
            <pc:sldMk cId="3747587241" sldId="2147483092"/>
            <ac:spMk id="443" creationId="{1F0AA58B-ED6E-1C59-B0AA-9E91D68A9880}"/>
          </ac:spMkLst>
        </pc:spChg>
        <pc:spChg chg="del mod">
          <ac:chgData name="Yudi Zhu" userId="571e1a55-055f-4c28-8b35-fca6dd1c1369" providerId="ADAL" clId="{75A88773-6EE1-484E-AADE-FE631E01463B}" dt="2025-11-21T07:11:50.907" v="216629"/>
          <ac:spMkLst>
            <pc:docMk/>
            <pc:sldMk cId="3747587241" sldId="2147483092"/>
            <ac:spMk id="444" creationId="{06F4A8F2-A9A7-6F3A-D942-115147A8428A}"/>
          </ac:spMkLst>
        </pc:spChg>
        <pc:spChg chg="del mod">
          <ac:chgData name="Yudi Zhu" userId="571e1a55-055f-4c28-8b35-fca6dd1c1369" providerId="ADAL" clId="{75A88773-6EE1-484E-AADE-FE631E01463B}" dt="2025-11-21T07:11:50.902" v="216617"/>
          <ac:spMkLst>
            <pc:docMk/>
            <pc:sldMk cId="3747587241" sldId="2147483092"/>
            <ac:spMk id="445" creationId="{8B0B53EE-EDD2-D4FD-BDEE-B2343300E71D}"/>
          </ac:spMkLst>
        </pc:spChg>
        <pc:spChg chg="del mod">
          <ac:chgData name="Yudi Zhu" userId="571e1a55-055f-4c28-8b35-fca6dd1c1369" providerId="ADAL" clId="{75A88773-6EE1-484E-AADE-FE631E01463B}" dt="2025-11-21T07:11:50.897" v="216604"/>
          <ac:spMkLst>
            <pc:docMk/>
            <pc:sldMk cId="3747587241" sldId="2147483092"/>
            <ac:spMk id="446" creationId="{0CEDD400-05FB-BF78-A39E-515714B9559B}"/>
          </ac:spMkLst>
        </pc:spChg>
        <pc:spChg chg="del mod">
          <ac:chgData name="Yudi Zhu" userId="571e1a55-055f-4c28-8b35-fca6dd1c1369" providerId="ADAL" clId="{75A88773-6EE1-484E-AADE-FE631E01463B}" dt="2025-11-21T07:11:50.891" v="216589"/>
          <ac:spMkLst>
            <pc:docMk/>
            <pc:sldMk cId="3747587241" sldId="2147483092"/>
            <ac:spMk id="447" creationId="{5F049847-FA42-FD30-41B7-E45D8A7549FE}"/>
          </ac:spMkLst>
        </pc:spChg>
        <pc:spChg chg="del mod">
          <ac:chgData name="Yudi Zhu" userId="571e1a55-055f-4c28-8b35-fca6dd1c1369" providerId="ADAL" clId="{75A88773-6EE1-484E-AADE-FE631E01463B}" dt="2025-11-21T07:11:50.885" v="216576"/>
          <ac:spMkLst>
            <pc:docMk/>
            <pc:sldMk cId="3747587241" sldId="2147483092"/>
            <ac:spMk id="448" creationId="{66D618E2-5FAC-928A-C6EA-CA5C5279C1F2}"/>
          </ac:spMkLst>
        </pc:spChg>
        <pc:spChg chg="del mod">
          <ac:chgData name="Yudi Zhu" userId="571e1a55-055f-4c28-8b35-fca6dd1c1369" providerId="ADAL" clId="{75A88773-6EE1-484E-AADE-FE631E01463B}" dt="2025-11-21T07:11:50.880" v="216562"/>
          <ac:spMkLst>
            <pc:docMk/>
            <pc:sldMk cId="3747587241" sldId="2147483092"/>
            <ac:spMk id="449" creationId="{DAACE3F6-87E7-B9D9-41FA-CCAFB83A2375}"/>
          </ac:spMkLst>
        </pc:spChg>
        <pc:spChg chg="add del mod">
          <ac:chgData name="Yudi Zhu" userId="571e1a55-055f-4c28-8b35-fca6dd1c1369" providerId="ADAL" clId="{75A88773-6EE1-484E-AADE-FE631E01463B}" dt="2025-11-21T07:12:36.471" v="222563"/>
          <ac:spMkLst>
            <pc:docMk/>
            <pc:sldMk cId="3747587241" sldId="2147483092"/>
            <ac:spMk id="453" creationId="{FBB36D07-4298-5FD8-DD00-A556A1E3D4F0}"/>
          </ac:spMkLst>
        </pc:spChg>
        <pc:spChg chg="add del mod">
          <ac:chgData name="Yudi Zhu" userId="571e1a55-055f-4c28-8b35-fca6dd1c1369" providerId="ADAL" clId="{75A88773-6EE1-484E-AADE-FE631E01463B}" dt="2025-11-21T07:12:38.451" v="223118"/>
          <ac:spMkLst>
            <pc:docMk/>
            <pc:sldMk cId="3747587241" sldId="2147483092"/>
            <ac:spMk id="454" creationId="{A99716E3-E79C-212B-1B03-21ACCBFB8560}"/>
          </ac:spMkLst>
        </pc:spChg>
        <pc:spChg chg="add del mod">
          <ac:chgData name="Yudi Zhu" userId="571e1a55-055f-4c28-8b35-fca6dd1c1369" providerId="ADAL" clId="{75A88773-6EE1-484E-AADE-FE631E01463B}" dt="2025-11-21T07:12:38.453" v="223123"/>
          <ac:spMkLst>
            <pc:docMk/>
            <pc:sldMk cId="3747587241" sldId="2147483092"/>
            <ac:spMk id="455" creationId="{AE6DB8F5-6436-E886-CD74-E21A554FF2B0}"/>
          </ac:spMkLst>
        </pc:spChg>
        <pc:spChg chg="add del mod">
          <ac:chgData name="Yudi Zhu" userId="571e1a55-055f-4c28-8b35-fca6dd1c1369" providerId="ADAL" clId="{75A88773-6EE1-484E-AADE-FE631E01463B}" dt="2025-11-21T07:12:38.453" v="223133"/>
          <ac:spMkLst>
            <pc:docMk/>
            <pc:sldMk cId="3747587241" sldId="2147483092"/>
            <ac:spMk id="456" creationId="{BF30F824-FA5C-5C97-56F1-A86AA0F75F8B}"/>
          </ac:spMkLst>
        </pc:spChg>
        <pc:spChg chg="add del mod">
          <ac:chgData name="Yudi Zhu" userId="571e1a55-055f-4c28-8b35-fca6dd1c1369" providerId="ADAL" clId="{75A88773-6EE1-484E-AADE-FE631E01463B}" dt="2025-11-21T07:12:38.453" v="223136"/>
          <ac:spMkLst>
            <pc:docMk/>
            <pc:sldMk cId="3747587241" sldId="2147483092"/>
            <ac:spMk id="457" creationId="{30A24BB9-2B04-5F82-A4ED-EC014A77A896}"/>
          </ac:spMkLst>
        </pc:spChg>
        <pc:spChg chg="add del mod">
          <ac:chgData name="Yudi Zhu" userId="571e1a55-055f-4c28-8b35-fca6dd1c1369" providerId="ADAL" clId="{75A88773-6EE1-484E-AADE-FE631E01463B}" dt="2025-11-21T07:12:36.471" v="222558"/>
          <ac:spMkLst>
            <pc:docMk/>
            <pc:sldMk cId="3747587241" sldId="2147483092"/>
            <ac:spMk id="458" creationId="{789EAAD5-7337-EFCF-A20E-22C9BA1DE302}"/>
          </ac:spMkLst>
        </pc:spChg>
        <pc:spChg chg="add del mod">
          <ac:chgData name="Yudi Zhu" userId="571e1a55-055f-4c28-8b35-fca6dd1c1369" providerId="ADAL" clId="{75A88773-6EE1-484E-AADE-FE631E01463B}" dt="2025-11-21T07:12:38.441" v="223105"/>
          <ac:spMkLst>
            <pc:docMk/>
            <pc:sldMk cId="3747587241" sldId="2147483092"/>
            <ac:spMk id="459" creationId="{40EC96C9-374E-253A-9273-20CE4A4D6BAA}"/>
          </ac:spMkLst>
        </pc:spChg>
        <pc:spChg chg="add del mod">
          <ac:chgData name="Yudi Zhu" userId="571e1a55-055f-4c28-8b35-fca6dd1c1369" providerId="ADAL" clId="{75A88773-6EE1-484E-AADE-FE631E01463B}" dt="2025-11-21T07:12:38.453" v="223141"/>
          <ac:spMkLst>
            <pc:docMk/>
            <pc:sldMk cId="3747587241" sldId="2147483092"/>
            <ac:spMk id="460" creationId="{8E38D57A-4E69-4AA7-9477-5F81FD3EFB54}"/>
          </ac:spMkLst>
        </pc:spChg>
        <pc:spChg chg="add del mod">
          <ac:chgData name="Yudi Zhu" userId="571e1a55-055f-4c28-8b35-fca6dd1c1369" providerId="ADAL" clId="{75A88773-6EE1-484E-AADE-FE631E01463B}" dt="2025-11-21T07:12:38.453" v="223152"/>
          <ac:spMkLst>
            <pc:docMk/>
            <pc:sldMk cId="3747587241" sldId="2147483092"/>
            <ac:spMk id="461" creationId="{B7CF7906-BCC1-239C-9C09-85BD70244B2A}"/>
          </ac:spMkLst>
        </pc:spChg>
        <pc:spChg chg="add del mod">
          <ac:chgData name="Yudi Zhu" userId="571e1a55-055f-4c28-8b35-fca6dd1c1369" providerId="ADAL" clId="{75A88773-6EE1-484E-AADE-FE631E01463B}" dt="2025-11-21T07:12:38.453" v="223149"/>
          <ac:spMkLst>
            <pc:docMk/>
            <pc:sldMk cId="3747587241" sldId="2147483092"/>
            <ac:spMk id="462" creationId="{53873ACF-7085-0700-7447-890305A0740C}"/>
          </ac:spMkLst>
        </pc:spChg>
        <pc:spChg chg="add del mod">
          <ac:chgData name="Yudi Zhu" userId="571e1a55-055f-4c28-8b35-fca6dd1c1369" providerId="ADAL" clId="{75A88773-6EE1-484E-AADE-FE631E01463B}" dt="2025-11-21T07:12:36.471" v="222564"/>
          <ac:spMkLst>
            <pc:docMk/>
            <pc:sldMk cId="3747587241" sldId="2147483092"/>
            <ac:spMk id="463" creationId="{31AC3D22-E58B-6E92-67CE-A05F884457CB}"/>
          </ac:spMkLst>
        </pc:spChg>
        <pc:spChg chg="add del mod">
          <ac:chgData name="Yudi Zhu" userId="571e1a55-055f-4c28-8b35-fca6dd1c1369" providerId="ADAL" clId="{75A88773-6EE1-484E-AADE-FE631E01463B}" dt="2025-11-21T07:12:38.467" v="223155"/>
          <ac:spMkLst>
            <pc:docMk/>
            <pc:sldMk cId="3747587241" sldId="2147483092"/>
            <ac:spMk id="464" creationId="{7830BA38-CEE3-06F0-C250-EBFFDFA62993}"/>
          </ac:spMkLst>
        </pc:spChg>
        <pc:spChg chg="add del mod">
          <ac:chgData name="Yudi Zhu" userId="571e1a55-055f-4c28-8b35-fca6dd1c1369" providerId="ADAL" clId="{75A88773-6EE1-484E-AADE-FE631E01463B}" dt="2025-11-21T07:12:38.467" v="223160"/>
          <ac:spMkLst>
            <pc:docMk/>
            <pc:sldMk cId="3747587241" sldId="2147483092"/>
            <ac:spMk id="465" creationId="{3C964EE4-8437-C3B3-123F-7F3FEFB8D3A0}"/>
          </ac:spMkLst>
        </pc:spChg>
        <pc:spChg chg="add del mod">
          <ac:chgData name="Yudi Zhu" userId="571e1a55-055f-4c28-8b35-fca6dd1c1369" providerId="ADAL" clId="{75A88773-6EE1-484E-AADE-FE631E01463B}" dt="2025-11-21T07:12:38.467" v="223165"/>
          <ac:spMkLst>
            <pc:docMk/>
            <pc:sldMk cId="3747587241" sldId="2147483092"/>
            <ac:spMk id="466" creationId="{CA1AC553-C557-7774-543E-0013E53FBA9C}"/>
          </ac:spMkLst>
        </pc:spChg>
        <pc:spChg chg="add del mod">
          <ac:chgData name="Yudi Zhu" userId="571e1a55-055f-4c28-8b35-fca6dd1c1369" providerId="ADAL" clId="{75A88773-6EE1-484E-AADE-FE631E01463B}" dt="2025-11-21T07:12:38.404" v="223010"/>
          <ac:spMkLst>
            <pc:docMk/>
            <pc:sldMk cId="3747587241" sldId="2147483092"/>
            <ac:spMk id="467" creationId="{2D9AD545-003F-CA83-108F-19E125B40ACA}"/>
          </ac:spMkLst>
        </pc:spChg>
        <pc:spChg chg="add del mod">
          <ac:chgData name="Yudi Zhu" userId="571e1a55-055f-4c28-8b35-fca6dd1c1369" providerId="ADAL" clId="{75A88773-6EE1-484E-AADE-FE631E01463B}" dt="2025-11-21T07:12:36.471" v="222565"/>
          <ac:spMkLst>
            <pc:docMk/>
            <pc:sldMk cId="3747587241" sldId="2147483092"/>
            <ac:spMk id="468" creationId="{D3587669-93E4-1CA8-400B-24EC2D699A43}"/>
          </ac:spMkLst>
        </pc:spChg>
        <pc:spChg chg="add del mod">
          <ac:chgData name="Yudi Zhu" userId="571e1a55-055f-4c28-8b35-fca6dd1c1369" providerId="ADAL" clId="{75A88773-6EE1-484E-AADE-FE631E01463B}" dt="2025-11-21T07:12:38.441" v="223100"/>
          <ac:spMkLst>
            <pc:docMk/>
            <pc:sldMk cId="3747587241" sldId="2147483092"/>
            <ac:spMk id="469" creationId="{7112F14D-C0C6-0053-AB04-4C471BD1724A}"/>
          </ac:spMkLst>
        </pc:spChg>
        <pc:spChg chg="add del mod">
          <ac:chgData name="Yudi Zhu" userId="571e1a55-055f-4c28-8b35-fca6dd1c1369" providerId="ADAL" clId="{75A88773-6EE1-484E-AADE-FE631E01463B}" dt="2025-11-21T07:12:38.467" v="223170"/>
          <ac:spMkLst>
            <pc:docMk/>
            <pc:sldMk cId="3747587241" sldId="2147483092"/>
            <ac:spMk id="470" creationId="{AF7C245B-8279-97EA-F908-19991BD5657A}"/>
          </ac:spMkLst>
        </pc:spChg>
        <pc:spChg chg="add del mod">
          <ac:chgData name="Yudi Zhu" userId="571e1a55-055f-4c28-8b35-fca6dd1c1369" providerId="ADAL" clId="{75A88773-6EE1-484E-AADE-FE631E01463B}" dt="2025-11-21T07:12:38.467" v="223175"/>
          <ac:spMkLst>
            <pc:docMk/>
            <pc:sldMk cId="3747587241" sldId="2147483092"/>
            <ac:spMk id="471" creationId="{E35DA6BD-29FF-EEEF-E08E-0900956A357F}"/>
          </ac:spMkLst>
        </pc:spChg>
        <pc:spChg chg="add del mod">
          <ac:chgData name="Yudi Zhu" userId="571e1a55-055f-4c28-8b35-fca6dd1c1369" providerId="ADAL" clId="{75A88773-6EE1-484E-AADE-FE631E01463B}" dt="2025-11-21T07:12:38.467" v="223178"/>
          <ac:spMkLst>
            <pc:docMk/>
            <pc:sldMk cId="3747587241" sldId="2147483092"/>
            <ac:spMk id="472" creationId="{344BA08D-690C-A86D-D92E-C728668A684C}"/>
          </ac:spMkLst>
        </pc:spChg>
        <pc:spChg chg="add del mod">
          <ac:chgData name="Yudi Zhu" userId="571e1a55-055f-4c28-8b35-fca6dd1c1369" providerId="ADAL" clId="{75A88773-6EE1-484E-AADE-FE631E01463B}" dt="2025-11-21T07:12:36.471" v="222566"/>
          <ac:spMkLst>
            <pc:docMk/>
            <pc:sldMk cId="3747587241" sldId="2147483092"/>
            <ac:spMk id="473" creationId="{6FE21C63-9D30-BCC4-B3EF-8614F5E875F7}"/>
          </ac:spMkLst>
        </pc:spChg>
        <pc:spChg chg="mod">
          <ac:chgData name="Yudi Zhu" userId="571e1a55-055f-4c28-8b35-fca6dd1c1369" providerId="ADAL" clId="{75A88773-6EE1-484E-AADE-FE631E01463B}" dt="2025-11-21T07:13:08.492" v="227268"/>
          <ac:spMkLst>
            <pc:docMk/>
            <pc:sldMk cId="3747587241" sldId="2147483092"/>
            <ac:spMk id="474" creationId="{EA4A294D-33DC-B620-45B5-33283D8D7C26}"/>
          </ac:spMkLst>
        </pc:spChg>
        <pc:spChg chg="mod">
          <ac:chgData name="Yudi Zhu" userId="571e1a55-055f-4c28-8b35-fca6dd1c1369" providerId="ADAL" clId="{75A88773-6EE1-484E-AADE-FE631E01463B}" dt="2025-11-21T07:13:08.492" v="227269"/>
          <ac:spMkLst>
            <pc:docMk/>
            <pc:sldMk cId="3747587241" sldId="2147483092"/>
            <ac:spMk id="475" creationId="{01D2B1B9-B44A-500F-99F0-4EB098ED4BFB}"/>
          </ac:spMkLst>
        </pc:spChg>
        <pc:spChg chg="mod">
          <ac:chgData name="Yudi Zhu" userId="571e1a55-055f-4c28-8b35-fca6dd1c1369" providerId="ADAL" clId="{75A88773-6EE1-484E-AADE-FE631E01463B}" dt="2025-11-21T07:13:08.492" v="227270"/>
          <ac:spMkLst>
            <pc:docMk/>
            <pc:sldMk cId="3747587241" sldId="2147483092"/>
            <ac:spMk id="476" creationId="{8B7D162F-71FB-118B-7344-28AA5F838272}"/>
          </ac:spMkLst>
        </pc:spChg>
        <pc:spChg chg="mod">
          <ac:chgData name="Yudi Zhu" userId="571e1a55-055f-4c28-8b35-fca6dd1c1369" providerId="ADAL" clId="{75A88773-6EE1-484E-AADE-FE631E01463B}" dt="2025-11-21T07:13:08.492" v="227271"/>
          <ac:spMkLst>
            <pc:docMk/>
            <pc:sldMk cId="3747587241" sldId="2147483092"/>
            <ac:spMk id="477" creationId="{5884CB9A-3565-01FD-0F88-E2A61CB6A90F}"/>
          </ac:spMkLst>
        </pc:spChg>
        <pc:spChg chg="mod">
          <ac:chgData name="Yudi Zhu" userId="571e1a55-055f-4c28-8b35-fca6dd1c1369" providerId="ADAL" clId="{75A88773-6EE1-484E-AADE-FE631E01463B}" dt="2025-11-21T07:13:08.492" v="227272"/>
          <ac:spMkLst>
            <pc:docMk/>
            <pc:sldMk cId="3747587241" sldId="2147483092"/>
            <ac:spMk id="478" creationId="{127B0F5A-5F8A-2D0F-C3B7-DCD38B84FDEB}"/>
          </ac:spMkLst>
        </pc:spChg>
        <pc:spChg chg="add del mod">
          <ac:chgData name="Yudi Zhu" userId="571e1a55-055f-4c28-8b35-fca6dd1c1369" providerId="ADAL" clId="{75A88773-6EE1-484E-AADE-FE631E01463B}" dt="2025-11-21T07:12:38.467" v="223183"/>
          <ac:spMkLst>
            <pc:docMk/>
            <pc:sldMk cId="3747587241" sldId="2147483092"/>
            <ac:spMk id="479" creationId="{BE736D08-83FA-5AA7-A74E-C27F23999FA4}"/>
          </ac:spMkLst>
        </pc:spChg>
        <pc:spChg chg="add del mod">
          <ac:chgData name="Yudi Zhu" userId="571e1a55-055f-4c28-8b35-fca6dd1c1369" providerId="ADAL" clId="{75A88773-6EE1-484E-AADE-FE631E01463B}" dt="2025-11-21T07:12:38.453" v="223146"/>
          <ac:spMkLst>
            <pc:docMk/>
            <pc:sldMk cId="3747587241" sldId="2147483092"/>
            <ac:spMk id="480" creationId="{C83513DF-5B76-DB9E-40AF-9CE250E1AF58}"/>
          </ac:spMkLst>
        </pc:spChg>
        <pc:spChg chg="add del mod">
          <ac:chgData name="Yudi Zhu" userId="571e1a55-055f-4c28-8b35-fca6dd1c1369" providerId="ADAL" clId="{75A88773-6EE1-484E-AADE-FE631E01463B}" dt="2025-11-21T07:12:38.453" v="223128"/>
          <ac:spMkLst>
            <pc:docMk/>
            <pc:sldMk cId="3747587241" sldId="2147483092"/>
            <ac:spMk id="481" creationId="{9199415E-FC9A-1CB0-F2AD-C09DF9B8811C}"/>
          </ac:spMkLst>
        </pc:spChg>
        <pc:spChg chg="add del mod">
          <ac:chgData name="Yudi Zhu" userId="571e1a55-055f-4c28-8b35-fca6dd1c1369" providerId="ADAL" clId="{75A88773-6EE1-484E-AADE-FE631E01463B}" dt="2025-11-21T07:12:38.467" v="223186"/>
          <ac:spMkLst>
            <pc:docMk/>
            <pc:sldMk cId="3747587241" sldId="2147483092"/>
            <ac:spMk id="482" creationId="{6F7FF983-D192-3148-BA38-0AF891E784BA}"/>
          </ac:spMkLst>
        </pc:spChg>
        <pc:spChg chg="add del mod ord">
          <ac:chgData name="Yudi Zhu" userId="571e1a55-055f-4c28-8b35-fca6dd1c1369" providerId="ADAL" clId="{75A88773-6EE1-484E-AADE-FE631E01463B}" dt="2025-11-21T07:12:36.471" v="222568"/>
          <ac:spMkLst>
            <pc:docMk/>
            <pc:sldMk cId="3747587241" sldId="2147483092"/>
            <ac:spMk id="483" creationId="{2330D8EB-9630-EB23-7720-C26DBEC87830}"/>
          </ac:spMkLst>
        </pc:spChg>
        <pc:spChg chg="add del mod modVis">
          <ac:chgData name="Yudi Zhu" userId="571e1a55-055f-4c28-8b35-fca6dd1c1369" providerId="ADAL" clId="{75A88773-6EE1-484E-AADE-FE631E01463B}" dt="2025-11-21T07:13:08.638" v="227574"/>
          <ac:spMkLst>
            <pc:docMk/>
            <pc:sldMk cId="3747587241" sldId="2147483092"/>
            <ac:spMk id="514" creationId="{9E35AC52-1EB5-BC51-8FAD-0429F4E4D2AD}"/>
          </ac:spMkLst>
        </pc:spChg>
        <pc:spChg chg="add del mod">
          <ac:chgData name="Yudi Zhu" userId="571e1a55-055f-4c28-8b35-fca6dd1c1369" providerId="ADAL" clId="{75A88773-6EE1-484E-AADE-FE631E01463B}" dt="2025-11-21T07:13:12.999" v="227788"/>
          <ac:spMkLst>
            <pc:docMk/>
            <pc:sldMk cId="3747587241" sldId="2147483092"/>
            <ac:spMk id="515" creationId="{B66FD7CF-83EA-5B73-C0F0-8E33B499DF4A}"/>
          </ac:spMkLst>
        </pc:spChg>
        <pc:spChg chg="add del mod">
          <ac:chgData name="Yudi Zhu" userId="571e1a55-055f-4c28-8b35-fca6dd1c1369" providerId="ADAL" clId="{75A88773-6EE1-484E-AADE-FE631E01463B}" dt="2025-11-21T07:13:12.988" v="227783"/>
          <ac:spMkLst>
            <pc:docMk/>
            <pc:sldMk cId="3747587241" sldId="2147483092"/>
            <ac:spMk id="516" creationId="{2A74E958-436A-A638-4EBC-161D96B041B8}"/>
          </ac:spMkLst>
        </pc:spChg>
        <pc:spChg chg="add del mod ord">
          <ac:chgData name="Yudi Zhu" userId="571e1a55-055f-4c28-8b35-fca6dd1c1369" providerId="ADAL" clId="{75A88773-6EE1-484E-AADE-FE631E01463B}" dt="2025-11-21T07:13:12.988" v="227780"/>
          <ac:spMkLst>
            <pc:docMk/>
            <pc:sldMk cId="3747587241" sldId="2147483092"/>
            <ac:spMk id="517" creationId="{6A326AF6-F6DC-33E1-A41C-77158B64B003}"/>
          </ac:spMkLst>
        </pc:spChg>
        <pc:spChg chg="add del mod">
          <ac:chgData name="Yudi Zhu" userId="571e1a55-055f-4c28-8b35-fca6dd1c1369" providerId="ADAL" clId="{75A88773-6EE1-484E-AADE-FE631E01463B}" dt="2025-11-21T07:13:12.988" v="227778"/>
          <ac:spMkLst>
            <pc:docMk/>
            <pc:sldMk cId="3747587241" sldId="2147483092"/>
            <ac:spMk id="518" creationId="{C27A9221-8711-F2A7-C22E-C9059845AB7F}"/>
          </ac:spMkLst>
        </pc:spChg>
        <pc:spChg chg="add del mod">
          <ac:chgData name="Yudi Zhu" userId="571e1a55-055f-4c28-8b35-fca6dd1c1369" providerId="ADAL" clId="{75A88773-6EE1-484E-AADE-FE631E01463B}" dt="2025-11-21T07:13:12.988" v="227772"/>
          <ac:spMkLst>
            <pc:docMk/>
            <pc:sldMk cId="3747587241" sldId="2147483092"/>
            <ac:spMk id="519" creationId="{5CCFC4AE-4602-864C-EE74-BDB9D2C037A8}"/>
          </ac:spMkLst>
        </pc:spChg>
        <pc:spChg chg="add del mod">
          <ac:chgData name="Yudi Zhu" userId="571e1a55-055f-4c28-8b35-fca6dd1c1369" providerId="ADAL" clId="{75A88773-6EE1-484E-AADE-FE631E01463B}" dt="2025-11-21T07:13:12.988" v="227767"/>
          <ac:spMkLst>
            <pc:docMk/>
            <pc:sldMk cId="3747587241" sldId="2147483092"/>
            <ac:spMk id="520" creationId="{01F76B6A-B1BA-329B-5E49-B32A37FCB715}"/>
          </ac:spMkLst>
        </pc:spChg>
        <pc:spChg chg="add del mod">
          <ac:chgData name="Yudi Zhu" userId="571e1a55-055f-4c28-8b35-fca6dd1c1369" providerId="ADAL" clId="{75A88773-6EE1-484E-AADE-FE631E01463B}" dt="2025-11-21T07:13:12.985" v="227762"/>
          <ac:spMkLst>
            <pc:docMk/>
            <pc:sldMk cId="3747587241" sldId="2147483092"/>
            <ac:spMk id="521" creationId="{ADCD21B8-2F43-C6D7-7965-64B3F2B03805}"/>
          </ac:spMkLst>
        </pc:spChg>
        <pc:spChg chg="add del mod">
          <ac:chgData name="Yudi Zhu" userId="571e1a55-055f-4c28-8b35-fca6dd1c1369" providerId="ADAL" clId="{75A88773-6EE1-484E-AADE-FE631E01463B}" dt="2025-11-21T07:13:12.982" v="227757"/>
          <ac:spMkLst>
            <pc:docMk/>
            <pc:sldMk cId="3747587241" sldId="2147483092"/>
            <ac:spMk id="522" creationId="{70194E72-2089-B45D-95FB-12581E7BB935}"/>
          </ac:spMkLst>
        </pc:spChg>
        <pc:spChg chg="add del mod">
          <ac:chgData name="Yudi Zhu" userId="571e1a55-055f-4c28-8b35-fca6dd1c1369" providerId="ADAL" clId="{75A88773-6EE1-484E-AADE-FE631E01463B}" dt="2025-11-21T07:13:12.980" v="227751"/>
          <ac:spMkLst>
            <pc:docMk/>
            <pc:sldMk cId="3747587241" sldId="2147483092"/>
            <ac:spMk id="524" creationId="{F8EE71C8-72B6-3918-E028-E2F16508D5D3}"/>
          </ac:spMkLst>
        </pc:spChg>
        <pc:spChg chg="add del mod">
          <ac:chgData name="Yudi Zhu" userId="571e1a55-055f-4c28-8b35-fca6dd1c1369" providerId="ADAL" clId="{75A88773-6EE1-484E-AADE-FE631E01463B}" dt="2025-11-21T07:13:12.978" v="227748"/>
          <ac:spMkLst>
            <pc:docMk/>
            <pc:sldMk cId="3747587241" sldId="2147483092"/>
            <ac:spMk id="525" creationId="{E5F61FFD-0B61-2672-CEFC-2C68AB092F9A}"/>
          </ac:spMkLst>
        </pc:spChg>
        <pc:spChg chg="add del mod">
          <ac:chgData name="Yudi Zhu" userId="571e1a55-055f-4c28-8b35-fca6dd1c1369" providerId="ADAL" clId="{75A88773-6EE1-484E-AADE-FE631E01463B}" dt="2025-11-21T07:13:12.975" v="227743"/>
          <ac:spMkLst>
            <pc:docMk/>
            <pc:sldMk cId="3747587241" sldId="2147483092"/>
            <ac:spMk id="526" creationId="{9CEFB52A-5959-DD6C-B82F-3AB59F2C54A5}"/>
          </ac:spMkLst>
        </pc:spChg>
        <pc:spChg chg="add del mod">
          <ac:chgData name="Yudi Zhu" userId="571e1a55-055f-4c28-8b35-fca6dd1c1369" providerId="ADAL" clId="{75A88773-6EE1-484E-AADE-FE631E01463B}" dt="2025-11-21T07:13:12.972" v="227738"/>
          <ac:spMkLst>
            <pc:docMk/>
            <pc:sldMk cId="3747587241" sldId="2147483092"/>
            <ac:spMk id="527" creationId="{42D073EE-4465-5FEE-074A-8445B6F278AC}"/>
          </ac:spMkLst>
        </pc:spChg>
        <pc:spChg chg="add del mod">
          <ac:chgData name="Yudi Zhu" userId="571e1a55-055f-4c28-8b35-fca6dd1c1369" providerId="ADAL" clId="{75A88773-6EE1-484E-AADE-FE631E01463B}" dt="2025-11-21T07:13:12.968" v="227732"/>
          <ac:spMkLst>
            <pc:docMk/>
            <pc:sldMk cId="3747587241" sldId="2147483092"/>
            <ac:spMk id="528" creationId="{60D85CA6-6468-7A21-AC48-E1CDA05FA66E}"/>
          </ac:spMkLst>
        </pc:spChg>
        <pc:spChg chg="add del mod">
          <ac:chgData name="Yudi Zhu" userId="571e1a55-055f-4c28-8b35-fca6dd1c1369" providerId="ADAL" clId="{75A88773-6EE1-484E-AADE-FE631E01463B}" dt="2025-11-21T07:13:12.966" v="227729"/>
          <ac:spMkLst>
            <pc:docMk/>
            <pc:sldMk cId="3747587241" sldId="2147483092"/>
            <ac:spMk id="529" creationId="{20DDF496-41F3-215F-8D57-9D504E8A5196}"/>
          </ac:spMkLst>
        </pc:spChg>
        <pc:spChg chg="add del mod">
          <ac:chgData name="Yudi Zhu" userId="571e1a55-055f-4c28-8b35-fca6dd1c1369" providerId="ADAL" clId="{75A88773-6EE1-484E-AADE-FE631E01463B}" dt="2025-11-21T07:13:12.963" v="227724"/>
          <ac:spMkLst>
            <pc:docMk/>
            <pc:sldMk cId="3747587241" sldId="2147483092"/>
            <ac:spMk id="530" creationId="{549A0552-DDB0-645F-E32F-82C961CC24FF}"/>
          </ac:spMkLst>
        </pc:spChg>
        <pc:spChg chg="add del mod">
          <ac:chgData name="Yudi Zhu" userId="571e1a55-055f-4c28-8b35-fca6dd1c1369" providerId="ADAL" clId="{75A88773-6EE1-484E-AADE-FE631E01463B}" dt="2025-11-21T07:13:12.961" v="227719"/>
          <ac:spMkLst>
            <pc:docMk/>
            <pc:sldMk cId="3747587241" sldId="2147483092"/>
            <ac:spMk id="531" creationId="{96D8C972-3F5D-F252-0441-6C2E704A4425}"/>
          </ac:spMkLst>
        </pc:spChg>
        <pc:spChg chg="add del mod">
          <ac:chgData name="Yudi Zhu" userId="571e1a55-055f-4c28-8b35-fca6dd1c1369" providerId="ADAL" clId="{75A88773-6EE1-484E-AADE-FE631E01463B}" dt="2025-11-21T07:13:12.957" v="227713"/>
          <ac:spMkLst>
            <pc:docMk/>
            <pc:sldMk cId="3747587241" sldId="2147483092"/>
            <ac:spMk id="532" creationId="{859B010F-5C04-900A-6855-72228025DD60}"/>
          </ac:spMkLst>
        </pc:spChg>
        <pc:spChg chg="add del mod">
          <ac:chgData name="Yudi Zhu" userId="571e1a55-055f-4c28-8b35-fca6dd1c1369" providerId="ADAL" clId="{75A88773-6EE1-484E-AADE-FE631E01463B}" dt="2025-11-21T07:13:12.948" v="227708"/>
          <ac:spMkLst>
            <pc:docMk/>
            <pc:sldMk cId="3747587241" sldId="2147483092"/>
            <ac:spMk id="534" creationId="{8B60B186-1127-3562-75B5-AB83920DFC3D}"/>
          </ac:spMkLst>
        </pc:spChg>
        <pc:spChg chg="add del mod">
          <ac:chgData name="Yudi Zhu" userId="571e1a55-055f-4c28-8b35-fca6dd1c1369" providerId="ADAL" clId="{75A88773-6EE1-484E-AADE-FE631E01463B}" dt="2025-11-21T07:13:12.948" v="227703"/>
          <ac:spMkLst>
            <pc:docMk/>
            <pc:sldMk cId="3747587241" sldId="2147483092"/>
            <ac:spMk id="538" creationId="{156C4E44-A76F-8895-C949-A394B9A16979}"/>
          </ac:spMkLst>
        </pc:spChg>
        <pc:spChg chg="add del mod">
          <ac:chgData name="Yudi Zhu" userId="571e1a55-055f-4c28-8b35-fca6dd1c1369" providerId="ADAL" clId="{75A88773-6EE1-484E-AADE-FE631E01463B}" dt="2025-11-21T07:13:12.932" v="227698"/>
          <ac:spMkLst>
            <pc:docMk/>
            <pc:sldMk cId="3747587241" sldId="2147483092"/>
            <ac:spMk id="539" creationId="{29854963-658A-0CDA-F6FD-C65CE768821A}"/>
          </ac:spMkLst>
        </pc:spChg>
        <pc:spChg chg="add del mod">
          <ac:chgData name="Yudi Zhu" userId="571e1a55-055f-4c28-8b35-fca6dd1c1369" providerId="ADAL" clId="{75A88773-6EE1-484E-AADE-FE631E01463B}" dt="2025-11-21T07:13:12.932" v="227692"/>
          <ac:spMkLst>
            <pc:docMk/>
            <pc:sldMk cId="3747587241" sldId="2147483092"/>
            <ac:spMk id="540" creationId="{6B3B788B-6BC8-411B-A400-03CE39207E6F}"/>
          </ac:spMkLst>
        </pc:spChg>
        <pc:spChg chg="add del mod">
          <ac:chgData name="Yudi Zhu" userId="571e1a55-055f-4c28-8b35-fca6dd1c1369" providerId="ADAL" clId="{75A88773-6EE1-484E-AADE-FE631E01463B}" dt="2025-11-21T07:13:12.932" v="227689"/>
          <ac:spMkLst>
            <pc:docMk/>
            <pc:sldMk cId="3747587241" sldId="2147483092"/>
            <ac:spMk id="541" creationId="{48DBB070-D282-F0DB-2595-A7231F46117B}"/>
          </ac:spMkLst>
        </pc:spChg>
        <pc:spChg chg="add del mod">
          <ac:chgData name="Yudi Zhu" userId="571e1a55-055f-4c28-8b35-fca6dd1c1369" providerId="ADAL" clId="{75A88773-6EE1-484E-AADE-FE631E01463B}" dt="2025-11-21T07:13:12.932" v="227686"/>
          <ac:spMkLst>
            <pc:docMk/>
            <pc:sldMk cId="3747587241" sldId="2147483092"/>
            <ac:spMk id="542" creationId="{3F4FB16C-73B2-6621-DEA9-4AF80D4ACDFC}"/>
          </ac:spMkLst>
        </pc:spChg>
        <pc:spChg chg="add del mod">
          <ac:chgData name="Yudi Zhu" userId="571e1a55-055f-4c28-8b35-fca6dd1c1369" providerId="ADAL" clId="{75A88773-6EE1-484E-AADE-FE631E01463B}" dt="2025-11-21T07:13:12.932" v="227681"/>
          <ac:spMkLst>
            <pc:docMk/>
            <pc:sldMk cId="3747587241" sldId="2147483092"/>
            <ac:spMk id="543" creationId="{B7ABAD37-F36C-9699-439A-E0724FC7E15D}"/>
          </ac:spMkLst>
        </pc:spChg>
        <pc:spChg chg="add del mod">
          <ac:chgData name="Yudi Zhu" userId="571e1a55-055f-4c28-8b35-fca6dd1c1369" providerId="ADAL" clId="{75A88773-6EE1-484E-AADE-FE631E01463B}" dt="2025-11-21T07:13:12.932" v="227673"/>
          <ac:spMkLst>
            <pc:docMk/>
            <pc:sldMk cId="3747587241" sldId="2147483092"/>
            <ac:spMk id="544" creationId="{DB5461AD-C5AF-C937-684D-8F4D1C6F2BE6}"/>
          </ac:spMkLst>
        </pc:spChg>
        <pc:spChg chg="add del mod">
          <ac:chgData name="Yudi Zhu" userId="571e1a55-055f-4c28-8b35-fca6dd1c1369" providerId="ADAL" clId="{75A88773-6EE1-484E-AADE-FE631E01463B}" dt="2025-11-21T07:13:12.916" v="227670"/>
          <ac:spMkLst>
            <pc:docMk/>
            <pc:sldMk cId="3747587241" sldId="2147483092"/>
            <ac:spMk id="545" creationId="{6C051F09-DEE4-611B-A601-79D51BEB62B6}"/>
          </ac:spMkLst>
        </pc:spChg>
        <pc:spChg chg="add del mod">
          <ac:chgData name="Yudi Zhu" userId="571e1a55-055f-4c28-8b35-fca6dd1c1369" providerId="ADAL" clId="{75A88773-6EE1-484E-AADE-FE631E01463B}" dt="2025-11-21T07:13:12.916" v="227665"/>
          <ac:spMkLst>
            <pc:docMk/>
            <pc:sldMk cId="3747587241" sldId="2147483092"/>
            <ac:spMk id="546" creationId="{6F1D1B60-36AE-4942-21AC-558152D3FA6B}"/>
          </ac:spMkLst>
        </pc:spChg>
        <pc:spChg chg="add del mod">
          <ac:chgData name="Yudi Zhu" userId="571e1a55-055f-4c28-8b35-fca6dd1c1369" providerId="ADAL" clId="{75A88773-6EE1-484E-AADE-FE631E01463B}" dt="2025-11-21T07:13:12.916" v="227660"/>
          <ac:spMkLst>
            <pc:docMk/>
            <pc:sldMk cId="3747587241" sldId="2147483092"/>
            <ac:spMk id="547" creationId="{062905DA-BED1-7CC6-A636-13A3F944F3FE}"/>
          </ac:spMkLst>
        </pc:spChg>
        <pc:spChg chg="add del mod">
          <ac:chgData name="Yudi Zhu" userId="571e1a55-055f-4c28-8b35-fca6dd1c1369" providerId="ADAL" clId="{75A88773-6EE1-484E-AADE-FE631E01463B}" dt="2025-11-21T07:13:12.916" v="227654"/>
          <ac:spMkLst>
            <pc:docMk/>
            <pc:sldMk cId="3747587241" sldId="2147483092"/>
            <ac:spMk id="548" creationId="{13C7EDEF-76CB-436B-0234-F1EEFED66BC0}"/>
          </ac:spMkLst>
        </pc:spChg>
        <pc:spChg chg="add del mod">
          <ac:chgData name="Yudi Zhu" userId="571e1a55-055f-4c28-8b35-fca6dd1c1369" providerId="ADAL" clId="{75A88773-6EE1-484E-AADE-FE631E01463B}" dt="2025-11-21T07:13:12.916" v="227649"/>
          <ac:spMkLst>
            <pc:docMk/>
            <pc:sldMk cId="3747587241" sldId="2147483092"/>
            <ac:spMk id="549" creationId="{10079EC1-62D4-FEE9-B957-9EFDE9B65083}"/>
          </ac:spMkLst>
        </pc:spChg>
        <pc:spChg chg="add del mod">
          <ac:chgData name="Yudi Zhu" userId="571e1a55-055f-4c28-8b35-fca6dd1c1369" providerId="ADAL" clId="{75A88773-6EE1-484E-AADE-FE631E01463B}" dt="2025-11-21T07:13:12.901" v="227644"/>
          <ac:spMkLst>
            <pc:docMk/>
            <pc:sldMk cId="3747587241" sldId="2147483092"/>
            <ac:spMk id="551" creationId="{8338D0F8-715F-2DEC-3D5F-4A64D6CC5130}"/>
          </ac:spMkLst>
        </pc:spChg>
        <pc:spChg chg="add del mod">
          <ac:chgData name="Yudi Zhu" userId="571e1a55-055f-4c28-8b35-fca6dd1c1369" providerId="ADAL" clId="{75A88773-6EE1-484E-AADE-FE631E01463B}" dt="2025-11-21T07:13:12.901" v="227641"/>
          <ac:spMkLst>
            <pc:docMk/>
            <pc:sldMk cId="3747587241" sldId="2147483092"/>
            <ac:spMk id="552" creationId="{9FBA08E1-E6D7-C050-2486-2BFB76D706A2}"/>
          </ac:spMkLst>
        </pc:spChg>
        <pc:spChg chg="add del mod">
          <ac:chgData name="Yudi Zhu" userId="571e1a55-055f-4c28-8b35-fca6dd1c1369" providerId="ADAL" clId="{75A88773-6EE1-484E-AADE-FE631E01463B}" dt="2025-11-21T07:13:12.901" v="227635"/>
          <ac:spMkLst>
            <pc:docMk/>
            <pc:sldMk cId="3747587241" sldId="2147483092"/>
            <ac:spMk id="556" creationId="{DB719F92-EF40-5F8A-A42A-F96A58283F76}"/>
          </ac:spMkLst>
        </pc:spChg>
        <pc:spChg chg="add del mod">
          <ac:chgData name="Yudi Zhu" userId="571e1a55-055f-4c28-8b35-fca6dd1c1369" providerId="ADAL" clId="{75A88773-6EE1-484E-AADE-FE631E01463B}" dt="2025-11-21T07:13:12.901" v="227632"/>
          <ac:spMkLst>
            <pc:docMk/>
            <pc:sldMk cId="3747587241" sldId="2147483092"/>
            <ac:spMk id="557" creationId="{22A4A5BD-1913-5A46-8334-107A2BE624EA}"/>
          </ac:spMkLst>
        </pc:spChg>
        <pc:spChg chg="add del mod">
          <ac:chgData name="Yudi Zhu" userId="571e1a55-055f-4c28-8b35-fca6dd1c1369" providerId="ADAL" clId="{75A88773-6EE1-484E-AADE-FE631E01463B}" dt="2025-11-21T07:13:12.901" v="227627"/>
          <ac:spMkLst>
            <pc:docMk/>
            <pc:sldMk cId="3747587241" sldId="2147483092"/>
            <ac:spMk id="558" creationId="{1A4C5237-7314-0E70-1C52-B92D004B83D1}"/>
          </ac:spMkLst>
        </pc:spChg>
        <pc:spChg chg="add del mod">
          <ac:chgData name="Yudi Zhu" userId="571e1a55-055f-4c28-8b35-fca6dd1c1369" providerId="ADAL" clId="{75A88773-6EE1-484E-AADE-FE631E01463B}" dt="2025-11-21T07:13:12.899" v="227622"/>
          <ac:spMkLst>
            <pc:docMk/>
            <pc:sldMk cId="3747587241" sldId="2147483092"/>
            <ac:spMk id="559" creationId="{1D9FB619-938A-A26F-421D-DBF87B68F7D8}"/>
          </ac:spMkLst>
        </pc:spChg>
        <pc:spChg chg="add del mod">
          <ac:chgData name="Yudi Zhu" userId="571e1a55-055f-4c28-8b35-fca6dd1c1369" providerId="ADAL" clId="{75A88773-6EE1-484E-AADE-FE631E01463B}" dt="2025-11-21T07:13:12.885" v="227616"/>
          <ac:spMkLst>
            <pc:docMk/>
            <pc:sldMk cId="3747587241" sldId="2147483092"/>
            <ac:spMk id="560" creationId="{8D87D5A8-419F-AF1D-9CDB-D026AEE99648}"/>
          </ac:spMkLst>
        </pc:spChg>
        <pc:spChg chg="add del mod">
          <ac:chgData name="Yudi Zhu" userId="571e1a55-055f-4c28-8b35-fca6dd1c1369" providerId="ADAL" clId="{75A88773-6EE1-484E-AADE-FE631E01463B}" dt="2025-11-21T07:13:12.885" v="227613"/>
          <ac:spMkLst>
            <pc:docMk/>
            <pc:sldMk cId="3747587241" sldId="2147483092"/>
            <ac:spMk id="561" creationId="{0C4271BD-11F7-130A-D42C-9601CE546DD3}"/>
          </ac:spMkLst>
        </pc:spChg>
        <pc:spChg chg="add del mod">
          <ac:chgData name="Yudi Zhu" userId="571e1a55-055f-4c28-8b35-fca6dd1c1369" providerId="ADAL" clId="{75A88773-6EE1-484E-AADE-FE631E01463B}" dt="2025-11-21T07:13:12.885" v="227608"/>
          <ac:spMkLst>
            <pc:docMk/>
            <pc:sldMk cId="3747587241" sldId="2147483092"/>
            <ac:spMk id="562" creationId="{014CF98B-3BAF-AEEE-3DA8-89AF0A81157E}"/>
          </ac:spMkLst>
        </pc:spChg>
        <pc:spChg chg="add del mod">
          <ac:chgData name="Yudi Zhu" userId="571e1a55-055f-4c28-8b35-fca6dd1c1369" providerId="ADAL" clId="{75A88773-6EE1-484E-AADE-FE631E01463B}" dt="2025-11-21T07:13:12.885" v="227603"/>
          <ac:spMkLst>
            <pc:docMk/>
            <pc:sldMk cId="3747587241" sldId="2147483092"/>
            <ac:spMk id="563" creationId="{4347ADDC-733C-9E8B-5140-2FD2276605C2}"/>
          </ac:spMkLst>
        </pc:spChg>
        <pc:spChg chg="add del mod">
          <ac:chgData name="Yudi Zhu" userId="571e1a55-055f-4c28-8b35-fca6dd1c1369" providerId="ADAL" clId="{75A88773-6EE1-484E-AADE-FE631E01463B}" dt="2025-11-21T07:13:12.869" v="227597"/>
          <ac:spMkLst>
            <pc:docMk/>
            <pc:sldMk cId="3747587241" sldId="2147483092"/>
            <ac:spMk id="564" creationId="{18EB61AB-E70E-53D4-BA49-76ABBC05746D}"/>
          </ac:spMkLst>
        </pc:spChg>
        <pc:spChg chg="add del mod">
          <ac:chgData name="Yudi Zhu" userId="571e1a55-055f-4c28-8b35-fca6dd1c1369" providerId="ADAL" clId="{75A88773-6EE1-484E-AADE-FE631E01463B}" dt="2025-11-21T07:13:12.869" v="227592"/>
          <ac:spMkLst>
            <pc:docMk/>
            <pc:sldMk cId="3747587241" sldId="2147483092"/>
            <ac:spMk id="565" creationId="{79FBE016-8DD7-2480-87D8-7268F54F5866}"/>
          </ac:spMkLst>
        </pc:spChg>
        <pc:spChg chg="add del mod">
          <ac:chgData name="Yudi Zhu" userId="571e1a55-055f-4c28-8b35-fca6dd1c1369" providerId="ADAL" clId="{75A88773-6EE1-484E-AADE-FE631E01463B}" dt="2025-11-21T07:13:12.869" v="227587"/>
          <ac:spMkLst>
            <pc:docMk/>
            <pc:sldMk cId="3747587241" sldId="2147483092"/>
            <ac:spMk id="566" creationId="{6645F684-F09B-0F10-A75F-D1C2873D2BA2}"/>
          </ac:spMkLst>
        </pc:spChg>
        <pc:spChg chg="add del mod">
          <ac:chgData name="Yudi Zhu" userId="571e1a55-055f-4c28-8b35-fca6dd1c1369" providerId="ADAL" clId="{75A88773-6EE1-484E-AADE-FE631E01463B}" dt="2025-11-21T07:13:12.869" v="227584"/>
          <ac:spMkLst>
            <pc:docMk/>
            <pc:sldMk cId="3747587241" sldId="2147483092"/>
            <ac:spMk id="567" creationId="{53EE2C20-008D-7931-CCB8-CD1840C10662}"/>
          </ac:spMkLst>
        </pc:spChg>
        <pc:spChg chg="add del mod ord">
          <ac:chgData name="Yudi Zhu" userId="571e1a55-055f-4c28-8b35-fca6dd1c1369" providerId="ADAL" clId="{75A88773-6EE1-484E-AADE-FE631E01463B}" dt="2025-11-21T07:13:12.853" v="227578"/>
          <ac:spMkLst>
            <pc:docMk/>
            <pc:sldMk cId="3747587241" sldId="2147483092"/>
            <ac:spMk id="568" creationId="{1B925C3B-73D9-8F9B-48BC-357624AB8AB4}"/>
          </ac:spMkLst>
        </pc:spChg>
        <pc:graphicFrameChg chg="add del mod">
          <ac:chgData name="Yudi Zhu" userId="571e1a55-055f-4c28-8b35-fca6dd1c1369" providerId="ADAL" clId="{75A88773-6EE1-484E-AADE-FE631E01463B}" dt="2025-11-21T07:11:50.941" v="216718"/>
          <ac:graphicFrameMkLst>
            <pc:docMk/>
            <pc:sldMk cId="3747587241" sldId="2147483092"/>
            <ac:graphicFrameMk id="5" creationId="{5351F75A-A2A7-CACD-D550-E26CF020039F}"/>
          </ac:graphicFrameMkLst>
        </pc:graphicFrameChg>
        <pc:graphicFrameChg chg="mod">
          <ac:chgData name="Yudi Zhu" userId="571e1a55-055f-4c28-8b35-fca6dd1c1369" providerId="ADAL" clId="{75A88773-6EE1-484E-AADE-FE631E01463B}" dt="2025-11-21T07:13:13.003" v="227801"/>
          <ac:graphicFrameMkLst>
            <pc:docMk/>
            <pc:sldMk cId="3747587241" sldId="2147483092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2:02.809" v="217094"/>
          <ac:graphicFrameMkLst>
            <pc:docMk/>
            <pc:sldMk cId="3747587241" sldId="2147483092"/>
            <ac:graphicFrameMk id="13" creationId="{82171D4C-28E6-A403-784D-E46834DA27F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2:26.901" v="222227"/>
          <ac:graphicFrameMkLst>
            <pc:docMk/>
            <pc:sldMk cId="3747587241" sldId="2147483092"/>
            <ac:graphicFrameMk id="14" creationId="{E42D4E18-C069-1A15-A341-23AB59F9C63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2:36.578" v="222692"/>
          <ac:graphicFrameMkLst>
            <pc:docMk/>
            <pc:sldMk cId="3747587241" sldId="2147483092"/>
            <ac:graphicFrameMk id="126" creationId="{305AEA64-1687-13C7-4C31-B954A62CF2E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2:38.506" v="223212"/>
          <ac:graphicFrameMkLst>
            <pc:docMk/>
            <pc:sldMk cId="3747587241" sldId="2147483092"/>
            <ac:graphicFrameMk id="512" creationId="{69D48D7A-C258-5837-3C20-12F0F79B8BA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3:08.454" v="227259"/>
          <ac:graphicFrameMkLst>
            <pc:docMk/>
            <pc:sldMk cId="3747587241" sldId="2147483092"/>
            <ac:graphicFrameMk id="513" creationId="{D9F4F9DC-42C9-626D-CA5B-95CE9D3B4B44}"/>
          </ac:graphicFrameMkLst>
        </pc:graphicFrameChg>
        <pc:graphicFrameChg chg="mod ord">
          <ac:chgData name="Yudi Zhu" userId="571e1a55-055f-4c28-8b35-fca6dd1c1369" providerId="ADAL" clId="{75A88773-6EE1-484E-AADE-FE631E01463B}" dt="2025-11-21T07:13:08.535" v="227350"/>
          <ac:graphicFrameMkLst>
            <pc:docMk/>
            <pc:sldMk cId="3747587241" sldId="2147483092"/>
            <ac:graphicFrameMk id="523" creationId="{7BE15C71-6EDB-9423-3D24-CB44A16525E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7:13:13.003" v="227799"/>
          <ac:graphicFrameMkLst>
            <pc:docMk/>
            <pc:sldMk cId="3747587241" sldId="2147483092"/>
            <ac:graphicFrameMk id="580" creationId="{0B222389-C0C0-4F41-6CA7-DA0944F2CE3D}"/>
          </ac:graphicFrameMkLst>
        </pc:graphicFrameChg>
        <pc:graphicFrameChg chg="mod">
          <ac:chgData name="Yudi Zhu" userId="571e1a55-055f-4c28-8b35-fca6dd1c1369" providerId="ADAL" clId="{75A88773-6EE1-484E-AADE-FE631E01463B}" dt="2025-11-21T07:13:08.492" v="227267"/>
          <ac:graphicFrameMkLst>
            <pc:docMk/>
            <pc:sldMk cId="3747587241" sldId="2147483092"/>
            <ac:graphicFrameMk id="591" creationId="{9E782374-10B6-E38F-64EE-8FFD5F179AA2}"/>
          </ac:graphicFrameMkLst>
        </pc:graphicFrameChg>
        <pc:graphicFrameChg chg="del">
          <ac:chgData name="Yudi Zhu" userId="571e1a55-055f-4c28-8b35-fca6dd1c1369" providerId="ADAL" clId="{75A88773-6EE1-484E-AADE-FE631E01463B}" dt="2025-11-21T07:11:46.391" v="216212"/>
          <ac:graphicFrameMkLst>
            <pc:docMk/>
            <pc:sldMk cId="3747587241" sldId="2147483092"/>
            <ac:graphicFrameMk id="663" creationId="{2D1F331F-6F2C-DDDD-6C01-64C09FED8802}"/>
          </ac:graphicFrameMkLst>
        </pc:graphicFrameChg>
        <pc:cxnChg chg="add del mod ord">
          <ac:chgData name="Yudi Zhu" userId="571e1a55-055f-4c28-8b35-fca6dd1c1369" providerId="ADAL" clId="{75A88773-6EE1-484E-AADE-FE631E01463B}" dt="2025-11-21T07:13:12.988" v="227774"/>
          <ac:cxnSpMkLst>
            <pc:docMk/>
            <pc:sldMk cId="3747587241" sldId="2147483092"/>
            <ac:cxnSpMk id="10" creationId="{5E4625C0-85F4-B20D-5709-B2F27E85FB2B}"/>
          </ac:cxnSpMkLst>
        </pc:cxnChg>
        <pc:cxnChg chg="add del mod ord">
          <ac:chgData name="Yudi Zhu" userId="571e1a55-055f-4c28-8b35-fca6dd1c1369" providerId="ADAL" clId="{75A88773-6EE1-484E-AADE-FE631E01463B}" dt="2025-11-21T07:13:12.981" v="227753"/>
          <ac:cxnSpMkLst>
            <pc:docMk/>
            <pc:sldMk cId="3747587241" sldId="2147483092"/>
            <ac:cxnSpMk id="12" creationId="{04E942BB-D84F-8F01-4F56-8447D4022525}"/>
          </ac:cxnSpMkLst>
        </pc:cxnChg>
        <pc:cxnChg chg="del mod ord">
          <ac:chgData name="Yudi Zhu" userId="571e1a55-055f-4c28-8b35-fca6dd1c1369" providerId="ADAL" clId="{75A88773-6EE1-484E-AADE-FE631E01463B}" dt="2025-11-21T07:11:50.925" v="216672"/>
          <ac:cxnSpMkLst>
            <pc:docMk/>
            <pc:sldMk cId="3747587241" sldId="2147483092"/>
            <ac:cxnSpMk id="31" creationId="{D26841A6-9DC3-0740-7551-3075E2B9F93B}"/>
          </ac:cxnSpMkLst>
        </pc:cxnChg>
        <pc:cxnChg chg="del mod ord">
          <ac:chgData name="Yudi Zhu" userId="571e1a55-055f-4c28-8b35-fca6dd1c1369" providerId="ADAL" clId="{75A88773-6EE1-484E-AADE-FE631E01463B}" dt="2025-11-21T07:11:50.909" v="216643"/>
          <ac:cxnSpMkLst>
            <pc:docMk/>
            <pc:sldMk cId="3747587241" sldId="2147483092"/>
            <ac:cxnSpMk id="33" creationId="{D8CC9065-D422-8648-E1FE-A4AD825FEDF1}"/>
          </ac:cxnSpMkLst>
        </pc:cxnChg>
        <pc:cxnChg chg="del mod ord">
          <ac:chgData name="Yudi Zhu" userId="571e1a55-055f-4c28-8b35-fca6dd1c1369" providerId="ADAL" clId="{75A88773-6EE1-484E-AADE-FE631E01463B}" dt="2025-11-21T07:11:50.906" v="216628"/>
          <ac:cxnSpMkLst>
            <pc:docMk/>
            <pc:sldMk cId="3747587241" sldId="2147483092"/>
            <ac:cxnSpMk id="34" creationId="{7148BD18-26B0-0BC4-5969-6900494D6B7E}"/>
          </ac:cxnSpMkLst>
        </pc:cxnChg>
        <pc:cxnChg chg="del mod ord">
          <ac:chgData name="Yudi Zhu" userId="571e1a55-055f-4c28-8b35-fca6dd1c1369" providerId="ADAL" clId="{75A88773-6EE1-484E-AADE-FE631E01463B}" dt="2025-11-21T07:11:50.902" v="216616"/>
          <ac:cxnSpMkLst>
            <pc:docMk/>
            <pc:sldMk cId="3747587241" sldId="2147483092"/>
            <ac:cxnSpMk id="35" creationId="{E6530368-09A5-8CD9-EC3E-C6B7643D79D6}"/>
          </ac:cxnSpMkLst>
        </pc:cxnChg>
        <pc:cxnChg chg="del mod ord">
          <ac:chgData name="Yudi Zhu" userId="571e1a55-055f-4c28-8b35-fca6dd1c1369" providerId="ADAL" clId="{75A88773-6EE1-484E-AADE-FE631E01463B}" dt="2025-11-21T07:11:50.897" v="216603"/>
          <ac:cxnSpMkLst>
            <pc:docMk/>
            <pc:sldMk cId="3747587241" sldId="2147483092"/>
            <ac:cxnSpMk id="36" creationId="{45F631CA-8AA2-38D6-175D-287D78EA1600}"/>
          </ac:cxnSpMkLst>
        </pc:cxnChg>
        <pc:cxnChg chg="add del mod ord">
          <ac:chgData name="Yudi Zhu" userId="571e1a55-055f-4c28-8b35-fca6dd1c1369" providerId="ADAL" clId="{75A88773-6EE1-484E-AADE-FE631E01463B}" dt="2025-11-21T07:12:38.404" v="223032"/>
          <ac:cxnSpMkLst>
            <pc:docMk/>
            <pc:sldMk cId="3747587241" sldId="2147483092"/>
            <ac:cxnSpMk id="64" creationId="{C13C4D46-BD73-E733-58FA-CE72640691B7}"/>
          </ac:cxnSpMkLst>
        </pc:cxnChg>
        <pc:cxnChg chg="add del mod ord">
          <ac:chgData name="Yudi Zhu" userId="571e1a55-055f-4c28-8b35-fca6dd1c1369" providerId="ADAL" clId="{75A88773-6EE1-484E-AADE-FE631E01463B}" dt="2025-11-21T07:12:38.404" v="223030"/>
          <ac:cxnSpMkLst>
            <pc:docMk/>
            <pc:sldMk cId="3747587241" sldId="2147483092"/>
            <ac:cxnSpMk id="65" creationId="{A8FE5D81-E008-1B7B-CB7D-5D3FA65BDDE9}"/>
          </ac:cxnSpMkLst>
        </pc:cxnChg>
        <pc:cxnChg chg="add del mod ord">
          <ac:chgData name="Yudi Zhu" userId="571e1a55-055f-4c28-8b35-fca6dd1c1369" providerId="ADAL" clId="{75A88773-6EE1-484E-AADE-FE631E01463B}" dt="2025-11-21T07:12:38.419" v="223072"/>
          <ac:cxnSpMkLst>
            <pc:docMk/>
            <pc:sldMk cId="3747587241" sldId="2147483092"/>
            <ac:cxnSpMk id="66" creationId="{C90F0CB6-45D6-BF2A-261C-601A3163A598}"/>
          </ac:cxnSpMkLst>
        </pc:cxnChg>
        <pc:cxnChg chg="add del mod ord">
          <ac:chgData name="Yudi Zhu" userId="571e1a55-055f-4c28-8b35-fca6dd1c1369" providerId="ADAL" clId="{75A88773-6EE1-484E-AADE-FE631E01463B}" dt="2025-11-21T07:12:38.419" v="223043"/>
          <ac:cxnSpMkLst>
            <pc:docMk/>
            <pc:sldMk cId="3747587241" sldId="2147483092"/>
            <ac:cxnSpMk id="67" creationId="{9ABB1168-EAB8-3923-2B51-A4736D25C5F3}"/>
          </ac:cxnSpMkLst>
        </pc:cxnChg>
        <pc:cxnChg chg="add del mod ord">
          <ac:chgData name="Yudi Zhu" userId="571e1a55-055f-4c28-8b35-fca6dd1c1369" providerId="ADAL" clId="{75A88773-6EE1-484E-AADE-FE631E01463B}" dt="2025-11-21T07:12:38.441" v="223109"/>
          <ac:cxnSpMkLst>
            <pc:docMk/>
            <pc:sldMk cId="3747587241" sldId="2147483092"/>
            <ac:cxnSpMk id="68" creationId="{335CAEE2-C47C-AE64-D5F5-E13F5E261B23}"/>
          </ac:cxnSpMkLst>
        </pc:cxnChg>
        <pc:cxnChg chg="add del mod ord">
          <ac:chgData name="Yudi Zhu" userId="571e1a55-055f-4c28-8b35-fca6dd1c1369" providerId="ADAL" clId="{75A88773-6EE1-484E-AADE-FE631E01463B}" dt="2025-11-21T07:12:38.441" v="223096"/>
          <ac:cxnSpMkLst>
            <pc:docMk/>
            <pc:sldMk cId="3747587241" sldId="2147483092"/>
            <ac:cxnSpMk id="69" creationId="{DC9EB643-CEE3-B950-EBC8-DE78A796704C}"/>
          </ac:cxnSpMkLst>
        </pc:cxnChg>
        <pc:cxnChg chg="add del mod ord">
          <ac:chgData name="Yudi Zhu" userId="571e1a55-055f-4c28-8b35-fca6dd1c1369" providerId="ADAL" clId="{75A88773-6EE1-484E-AADE-FE631E01463B}" dt="2025-11-21T07:12:38.441" v="223094"/>
          <ac:cxnSpMkLst>
            <pc:docMk/>
            <pc:sldMk cId="3747587241" sldId="2147483092"/>
            <ac:cxnSpMk id="70" creationId="{92EDECD4-FE2A-E6D3-DC6A-ACA781335809}"/>
          </ac:cxnSpMkLst>
        </pc:cxnChg>
        <pc:cxnChg chg="add del mod ord">
          <ac:chgData name="Yudi Zhu" userId="571e1a55-055f-4c28-8b35-fca6dd1c1369" providerId="ADAL" clId="{75A88773-6EE1-484E-AADE-FE631E01463B}" dt="2025-11-21T07:12:38.439" v="223088"/>
          <ac:cxnSpMkLst>
            <pc:docMk/>
            <pc:sldMk cId="3747587241" sldId="2147483092"/>
            <ac:cxnSpMk id="71" creationId="{3F7FBA9E-F92F-563A-6879-DBA83CAB903C}"/>
          </ac:cxnSpMkLst>
        </pc:cxnChg>
        <pc:cxnChg chg="add del mod ord">
          <ac:chgData name="Yudi Zhu" userId="571e1a55-055f-4c28-8b35-fca6dd1c1369" providerId="ADAL" clId="{75A88773-6EE1-484E-AADE-FE631E01463B}" dt="2025-11-21T07:12:38.438" v="223086"/>
          <ac:cxnSpMkLst>
            <pc:docMk/>
            <pc:sldMk cId="3747587241" sldId="2147483092"/>
            <ac:cxnSpMk id="72" creationId="{578169E3-B58B-2F60-CA76-8E5BC0BF1EDA}"/>
          </ac:cxnSpMkLst>
        </pc:cxnChg>
        <pc:cxnChg chg="add del mod ord">
          <ac:chgData name="Yudi Zhu" userId="571e1a55-055f-4c28-8b35-fca6dd1c1369" providerId="ADAL" clId="{75A88773-6EE1-484E-AADE-FE631E01463B}" dt="2025-11-21T07:12:38.441" v="223114"/>
          <ac:cxnSpMkLst>
            <pc:docMk/>
            <pc:sldMk cId="3747587241" sldId="2147483092"/>
            <ac:cxnSpMk id="73" creationId="{3D8BDE96-A81D-D082-7A7B-559D2E1E1F47}"/>
          </ac:cxnSpMkLst>
        </pc:cxnChg>
        <pc:cxnChg chg="add del mod ord">
          <ac:chgData name="Yudi Zhu" userId="571e1a55-055f-4c28-8b35-fca6dd1c1369" providerId="ADAL" clId="{75A88773-6EE1-484E-AADE-FE631E01463B}" dt="2025-11-21T07:12:38.441" v="223112"/>
          <ac:cxnSpMkLst>
            <pc:docMk/>
            <pc:sldMk cId="3747587241" sldId="2147483092"/>
            <ac:cxnSpMk id="74" creationId="{3512E242-8A73-8294-2123-C6E1E62571AB}"/>
          </ac:cxnSpMkLst>
        </pc:cxnChg>
        <pc:cxnChg chg="add del mod ord">
          <ac:chgData name="Yudi Zhu" userId="571e1a55-055f-4c28-8b35-fca6dd1c1369" providerId="ADAL" clId="{75A88773-6EE1-484E-AADE-FE631E01463B}" dt="2025-11-21T07:12:38.419" v="223077"/>
          <ac:cxnSpMkLst>
            <pc:docMk/>
            <pc:sldMk cId="3747587241" sldId="2147483092"/>
            <ac:cxnSpMk id="75" creationId="{B55F9A71-1B42-25FC-D8CC-A8D40AE70882}"/>
          </ac:cxnSpMkLst>
        </pc:cxnChg>
        <pc:cxnChg chg="add del mod ord">
          <ac:chgData name="Yudi Zhu" userId="571e1a55-055f-4c28-8b35-fca6dd1c1369" providerId="ADAL" clId="{75A88773-6EE1-484E-AADE-FE631E01463B}" dt="2025-11-21T07:12:38.419" v="223075"/>
          <ac:cxnSpMkLst>
            <pc:docMk/>
            <pc:sldMk cId="3747587241" sldId="2147483092"/>
            <ac:cxnSpMk id="76" creationId="{8F7612E3-FDEC-AC3C-CF0D-44775FE02969}"/>
          </ac:cxnSpMkLst>
        </pc:cxnChg>
        <pc:cxnChg chg="add del mod ord">
          <ac:chgData name="Yudi Zhu" userId="571e1a55-055f-4c28-8b35-fca6dd1c1369" providerId="ADAL" clId="{75A88773-6EE1-484E-AADE-FE631E01463B}" dt="2025-11-21T07:12:38.436" v="223080"/>
          <ac:cxnSpMkLst>
            <pc:docMk/>
            <pc:sldMk cId="3747587241" sldId="2147483092"/>
            <ac:cxnSpMk id="77" creationId="{12A17E83-ABE2-CC92-F043-A7AA8E75EBFB}"/>
          </ac:cxnSpMkLst>
        </pc:cxnChg>
        <pc:cxnChg chg="add del mod ord">
          <ac:chgData name="Yudi Zhu" userId="571e1a55-055f-4c28-8b35-fca6dd1c1369" providerId="ADAL" clId="{75A88773-6EE1-484E-AADE-FE631E01463B}" dt="2025-11-21T07:12:38.439" v="223091"/>
          <ac:cxnSpMkLst>
            <pc:docMk/>
            <pc:sldMk cId="3747587241" sldId="2147483092"/>
            <ac:cxnSpMk id="78" creationId="{D3BE3C8F-AE72-5942-F932-E320DEC661AE}"/>
          </ac:cxnSpMkLst>
        </pc:cxnChg>
        <pc:cxnChg chg="add del mod ord">
          <ac:chgData name="Yudi Zhu" userId="571e1a55-055f-4c28-8b35-fca6dd1c1369" providerId="ADAL" clId="{75A88773-6EE1-484E-AADE-FE631E01463B}" dt="2025-11-21T07:12:38.453" v="223135"/>
          <ac:cxnSpMkLst>
            <pc:docMk/>
            <pc:sldMk cId="3747587241" sldId="2147483092"/>
            <ac:cxnSpMk id="79" creationId="{4A6E6589-7D99-403B-FF5A-5649E7CC9C5E}"/>
          </ac:cxnSpMkLst>
        </pc:cxnChg>
        <pc:cxnChg chg="add del mod ord">
          <ac:chgData name="Yudi Zhu" userId="571e1a55-055f-4c28-8b35-fca6dd1c1369" providerId="ADAL" clId="{75A88773-6EE1-484E-AADE-FE631E01463B}" dt="2025-11-21T07:12:38.453" v="223132"/>
          <ac:cxnSpMkLst>
            <pc:docMk/>
            <pc:sldMk cId="3747587241" sldId="2147483092"/>
            <ac:cxnSpMk id="80" creationId="{6987CBC3-6691-ACB2-609A-9480CF003978}"/>
          </ac:cxnSpMkLst>
        </pc:cxnChg>
        <pc:cxnChg chg="add del mod ord">
          <ac:chgData name="Yudi Zhu" userId="571e1a55-055f-4c28-8b35-fca6dd1c1369" providerId="ADAL" clId="{75A88773-6EE1-484E-AADE-FE631E01463B}" dt="2025-11-21T07:12:38.453" v="223130"/>
          <ac:cxnSpMkLst>
            <pc:docMk/>
            <pc:sldMk cId="3747587241" sldId="2147483092"/>
            <ac:cxnSpMk id="81" creationId="{4D3BDD46-AE0B-05D3-2B03-759EEA5F099C}"/>
          </ac:cxnSpMkLst>
        </pc:cxnChg>
        <pc:cxnChg chg="add del mod ord">
          <ac:chgData name="Yudi Zhu" userId="571e1a55-055f-4c28-8b35-fca6dd1c1369" providerId="ADAL" clId="{75A88773-6EE1-484E-AADE-FE631E01463B}" dt="2025-11-21T07:12:38.453" v="223122"/>
          <ac:cxnSpMkLst>
            <pc:docMk/>
            <pc:sldMk cId="3747587241" sldId="2147483092"/>
            <ac:cxnSpMk id="82" creationId="{55BA6D3D-98A3-DB86-8058-54C323AB209F}"/>
          </ac:cxnSpMkLst>
        </pc:cxnChg>
        <pc:cxnChg chg="add del mod ord">
          <ac:chgData name="Yudi Zhu" userId="571e1a55-055f-4c28-8b35-fca6dd1c1369" providerId="ADAL" clId="{75A88773-6EE1-484E-AADE-FE631E01463B}" dt="2025-11-21T07:12:38.451" v="223120"/>
          <ac:cxnSpMkLst>
            <pc:docMk/>
            <pc:sldMk cId="3747587241" sldId="2147483092"/>
            <ac:cxnSpMk id="83" creationId="{319A47E5-4EFE-A123-4E19-7F321EC5B6F3}"/>
          </ac:cxnSpMkLst>
        </pc:cxnChg>
        <pc:cxnChg chg="add del mod ord">
          <ac:chgData name="Yudi Zhu" userId="571e1a55-055f-4c28-8b35-fca6dd1c1369" providerId="ADAL" clId="{75A88773-6EE1-484E-AADE-FE631E01463B}" dt="2025-11-21T07:12:38.451" v="223117"/>
          <ac:cxnSpMkLst>
            <pc:docMk/>
            <pc:sldMk cId="3747587241" sldId="2147483092"/>
            <ac:cxnSpMk id="84" creationId="{86D8C682-269D-0A7D-E6D4-681DEFA57A11}"/>
          </ac:cxnSpMkLst>
        </pc:cxnChg>
        <pc:cxnChg chg="add del mod ord">
          <ac:chgData name="Yudi Zhu" userId="571e1a55-055f-4c28-8b35-fca6dd1c1369" providerId="ADAL" clId="{75A88773-6EE1-484E-AADE-FE631E01463B}" dt="2025-11-21T07:12:38.453" v="223148"/>
          <ac:cxnSpMkLst>
            <pc:docMk/>
            <pc:sldMk cId="3747587241" sldId="2147483092"/>
            <ac:cxnSpMk id="85" creationId="{6449F05E-34BC-307A-AC23-9BA2AAC2C74C}"/>
          </ac:cxnSpMkLst>
        </pc:cxnChg>
        <pc:cxnChg chg="add del mod ord">
          <ac:chgData name="Yudi Zhu" userId="571e1a55-055f-4c28-8b35-fca6dd1c1369" providerId="ADAL" clId="{75A88773-6EE1-484E-AADE-FE631E01463B}" dt="2025-11-21T07:12:38.453" v="223151"/>
          <ac:cxnSpMkLst>
            <pc:docMk/>
            <pc:sldMk cId="3747587241" sldId="2147483092"/>
            <ac:cxnSpMk id="86" creationId="{26816CB5-F580-8D56-4C53-7CBE535841C5}"/>
          </ac:cxnSpMkLst>
        </pc:cxnChg>
        <pc:cxnChg chg="add del mod ord">
          <ac:chgData name="Yudi Zhu" userId="571e1a55-055f-4c28-8b35-fca6dd1c1369" providerId="ADAL" clId="{75A88773-6EE1-484E-AADE-FE631E01463B}" dt="2025-11-21T07:12:38.453" v="223140"/>
          <ac:cxnSpMkLst>
            <pc:docMk/>
            <pc:sldMk cId="3747587241" sldId="2147483092"/>
            <ac:cxnSpMk id="87" creationId="{67ED8982-C04B-A843-AA5B-4B758950860E}"/>
          </ac:cxnSpMkLst>
        </pc:cxnChg>
        <pc:cxnChg chg="add del mod ord">
          <ac:chgData name="Yudi Zhu" userId="571e1a55-055f-4c28-8b35-fca6dd1c1369" providerId="ADAL" clId="{75A88773-6EE1-484E-AADE-FE631E01463B}" dt="2025-11-21T07:12:38.453" v="223138"/>
          <ac:cxnSpMkLst>
            <pc:docMk/>
            <pc:sldMk cId="3747587241" sldId="2147483092"/>
            <ac:cxnSpMk id="88" creationId="{03382B6C-E1A4-E338-9B74-9F28E94FAAA5}"/>
          </ac:cxnSpMkLst>
        </pc:cxnChg>
        <pc:cxnChg chg="add del mod ord">
          <ac:chgData name="Yudi Zhu" userId="571e1a55-055f-4c28-8b35-fca6dd1c1369" providerId="ADAL" clId="{75A88773-6EE1-484E-AADE-FE631E01463B}" dt="2025-11-21T07:12:38.441" v="223104"/>
          <ac:cxnSpMkLst>
            <pc:docMk/>
            <pc:sldMk cId="3747587241" sldId="2147483092"/>
            <ac:cxnSpMk id="89" creationId="{53B5484A-E2F2-8511-CAA1-468D45BE0C8E}"/>
          </ac:cxnSpMkLst>
        </pc:cxnChg>
        <pc:cxnChg chg="add del mod ord">
          <ac:chgData name="Yudi Zhu" userId="571e1a55-055f-4c28-8b35-fca6dd1c1369" providerId="ADAL" clId="{75A88773-6EE1-484E-AADE-FE631E01463B}" dt="2025-11-21T07:12:38.441" v="223102"/>
          <ac:cxnSpMkLst>
            <pc:docMk/>
            <pc:sldMk cId="3747587241" sldId="2147483092"/>
            <ac:cxnSpMk id="90" creationId="{687D033F-6A55-944F-920D-80BB9BB4FB42}"/>
          </ac:cxnSpMkLst>
        </pc:cxnChg>
        <pc:cxnChg chg="add del mod ord">
          <ac:chgData name="Yudi Zhu" userId="571e1a55-055f-4c28-8b35-fca6dd1c1369" providerId="ADAL" clId="{75A88773-6EE1-484E-AADE-FE631E01463B}" dt="2025-11-21T07:12:38.404" v="223009"/>
          <ac:cxnSpMkLst>
            <pc:docMk/>
            <pc:sldMk cId="3747587241" sldId="2147483092"/>
            <ac:cxnSpMk id="91" creationId="{DA22AFEB-83DD-9944-6175-5EAA6CE0064B}"/>
          </ac:cxnSpMkLst>
        </pc:cxnChg>
        <pc:cxnChg chg="add del mod ord">
          <ac:chgData name="Yudi Zhu" userId="571e1a55-055f-4c28-8b35-fca6dd1c1369" providerId="ADAL" clId="{75A88773-6EE1-484E-AADE-FE631E01463B}" dt="2025-11-21T07:12:38.467" v="223164"/>
          <ac:cxnSpMkLst>
            <pc:docMk/>
            <pc:sldMk cId="3747587241" sldId="2147483092"/>
            <ac:cxnSpMk id="92" creationId="{F5DE7D10-8512-4C7F-1C36-6453ACB0C1B2}"/>
          </ac:cxnSpMkLst>
        </pc:cxnChg>
        <pc:cxnChg chg="add del mod ord">
          <ac:chgData name="Yudi Zhu" userId="571e1a55-055f-4c28-8b35-fca6dd1c1369" providerId="ADAL" clId="{75A88773-6EE1-484E-AADE-FE631E01463B}" dt="2025-11-21T07:12:38.467" v="223162"/>
          <ac:cxnSpMkLst>
            <pc:docMk/>
            <pc:sldMk cId="3747587241" sldId="2147483092"/>
            <ac:cxnSpMk id="93" creationId="{8DE7DBDD-9699-4C75-147A-B6DE3908E94B}"/>
          </ac:cxnSpMkLst>
        </pc:cxnChg>
        <pc:cxnChg chg="add del mod ord">
          <ac:chgData name="Yudi Zhu" userId="571e1a55-055f-4c28-8b35-fca6dd1c1369" providerId="ADAL" clId="{75A88773-6EE1-484E-AADE-FE631E01463B}" dt="2025-11-21T07:12:38.467" v="223159"/>
          <ac:cxnSpMkLst>
            <pc:docMk/>
            <pc:sldMk cId="3747587241" sldId="2147483092"/>
            <ac:cxnSpMk id="94" creationId="{3EA462DF-ECB2-FB1E-6224-07AC2E9546CB}"/>
          </ac:cxnSpMkLst>
        </pc:cxnChg>
        <pc:cxnChg chg="add del mod ord">
          <ac:chgData name="Yudi Zhu" userId="571e1a55-055f-4c28-8b35-fca6dd1c1369" providerId="ADAL" clId="{75A88773-6EE1-484E-AADE-FE631E01463B}" dt="2025-11-21T07:12:38.467" v="223157"/>
          <ac:cxnSpMkLst>
            <pc:docMk/>
            <pc:sldMk cId="3747587241" sldId="2147483092"/>
            <ac:cxnSpMk id="95" creationId="{B4B6ED0A-BBC7-6DCF-7A54-25890AD042CA}"/>
          </ac:cxnSpMkLst>
        </pc:cxnChg>
        <pc:cxnChg chg="add del mod ord">
          <ac:chgData name="Yudi Zhu" userId="571e1a55-055f-4c28-8b35-fca6dd1c1369" providerId="ADAL" clId="{75A88773-6EE1-484E-AADE-FE631E01463B}" dt="2025-11-21T07:12:38.453" v="223154"/>
          <ac:cxnSpMkLst>
            <pc:docMk/>
            <pc:sldMk cId="3747587241" sldId="2147483092"/>
            <ac:cxnSpMk id="96" creationId="{47EA6D47-368E-5B6B-26EC-9365129D9D3C}"/>
          </ac:cxnSpMkLst>
        </pc:cxnChg>
        <pc:cxnChg chg="add del mod ord">
          <ac:chgData name="Yudi Zhu" userId="571e1a55-055f-4c28-8b35-fca6dd1c1369" providerId="ADAL" clId="{75A88773-6EE1-484E-AADE-FE631E01463B}" dt="2025-11-21T07:12:38.467" v="223177"/>
          <ac:cxnSpMkLst>
            <pc:docMk/>
            <pc:sldMk cId="3747587241" sldId="2147483092"/>
            <ac:cxnSpMk id="97" creationId="{4110F585-C6E3-8C34-EE8F-C94CA5DD99D4}"/>
          </ac:cxnSpMkLst>
        </pc:cxnChg>
        <pc:cxnChg chg="add del mod ord">
          <ac:chgData name="Yudi Zhu" userId="571e1a55-055f-4c28-8b35-fca6dd1c1369" providerId="ADAL" clId="{75A88773-6EE1-484E-AADE-FE631E01463B}" dt="2025-11-21T07:12:38.467" v="223174"/>
          <ac:cxnSpMkLst>
            <pc:docMk/>
            <pc:sldMk cId="3747587241" sldId="2147483092"/>
            <ac:cxnSpMk id="98" creationId="{404D9DE9-59CE-6F0C-69D6-F5FC3E984670}"/>
          </ac:cxnSpMkLst>
        </pc:cxnChg>
        <pc:cxnChg chg="add del mod ord">
          <ac:chgData name="Yudi Zhu" userId="571e1a55-055f-4c28-8b35-fca6dd1c1369" providerId="ADAL" clId="{75A88773-6EE1-484E-AADE-FE631E01463B}" dt="2025-11-21T07:12:38.467" v="223172"/>
          <ac:cxnSpMkLst>
            <pc:docMk/>
            <pc:sldMk cId="3747587241" sldId="2147483092"/>
            <ac:cxnSpMk id="99" creationId="{FEA1838D-5C96-77B7-EE55-008C9975A643}"/>
          </ac:cxnSpMkLst>
        </pc:cxnChg>
        <pc:cxnChg chg="add del mod ord">
          <ac:chgData name="Yudi Zhu" userId="571e1a55-055f-4c28-8b35-fca6dd1c1369" providerId="ADAL" clId="{75A88773-6EE1-484E-AADE-FE631E01463B}" dt="2025-11-21T07:12:38.467" v="223169"/>
          <ac:cxnSpMkLst>
            <pc:docMk/>
            <pc:sldMk cId="3747587241" sldId="2147483092"/>
            <ac:cxnSpMk id="100" creationId="{86B823AC-195A-DD57-A176-A35DE9CD9004}"/>
          </ac:cxnSpMkLst>
        </pc:cxnChg>
        <pc:cxnChg chg="add del mod ord">
          <ac:chgData name="Yudi Zhu" userId="571e1a55-055f-4c28-8b35-fca6dd1c1369" providerId="ADAL" clId="{75A88773-6EE1-484E-AADE-FE631E01463B}" dt="2025-11-21T07:12:38.467" v="223167"/>
          <ac:cxnSpMkLst>
            <pc:docMk/>
            <pc:sldMk cId="3747587241" sldId="2147483092"/>
            <ac:cxnSpMk id="101" creationId="{E3D9ABC1-F851-388C-93E2-4E23E036BEF2}"/>
          </ac:cxnSpMkLst>
        </pc:cxnChg>
        <pc:cxnChg chg="add del mod ord">
          <ac:chgData name="Yudi Zhu" userId="571e1a55-055f-4c28-8b35-fca6dd1c1369" providerId="ADAL" clId="{75A88773-6EE1-484E-AADE-FE631E01463B}" dt="2025-11-21T07:12:38.441" v="223099"/>
          <ac:cxnSpMkLst>
            <pc:docMk/>
            <pc:sldMk cId="3747587241" sldId="2147483092"/>
            <ac:cxnSpMk id="102" creationId="{D4B7DE29-11DD-40D3-ED32-6EEAD3E0840B}"/>
          </ac:cxnSpMkLst>
        </pc:cxnChg>
        <pc:cxnChg chg="add del mod ord">
          <ac:chgData name="Yudi Zhu" userId="571e1a55-055f-4c28-8b35-fca6dd1c1369" providerId="ADAL" clId="{75A88773-6EE1-484E-AADE-FE631E01463B}" dt="2025-11-21T07:12:38.467" v="223185"/>
          <ac:cxnSpMkLst>
            <pc:docMk/>
            <pc:sldMk cId="3747587241" sldId="2147483092"/>
            <ac:cxnSpMk id="103" creationId="{C4886998-4EFE-C31E-27DC-4D923B9DA2A3}"/>
          </ac:cxnSpMkLst>
        </pc:cxnChg>
        <pc:cxnChg chg="add del mod ord">
          <ac:chgData name="Yudi Zhu" userId="571e1a55-055f-4c28-8b35-fca6dd1c1369" providerId="ADAL" clId="{75A88773-6EE1-484E-AADE-FE631E01463B}" dt="2025-11-21T07:12:38.453" v="223127"/>
          <ac:cxnSpMkLst>
            <pc:docMk/>
            <pc:sldMk cId="3747587241" sldId="2147483092"/>
            <ac:cxnSpMk id="104" creationId="{A0A6A128-AC66-1646-F4CF-AA3B74578178}"/>
          </ac:cxnSpMkLst>
        </pc:cxnChg>
        <pc:cxnChg chg="add del mod ord">
          <ac:chgData name="Yudi Zhu" userId="571e1a55-055f-4c28-8b35-fca6dd1c1369" providerId="ADAL" clId="{75A88773-6EE1-484E-AADE-FE631E01463B}" dt="2025-11-21T07:12:38.453" v="223125"/>
          <ac:cxnSpMkLst>
            <pc:docMk/>
            <pc:sldMk cId="3747587241" sldId="2147483092"/>
            <ac:cxnSpMk id="105" creationId="{004B302F-47C6-D051-3795-004B7F7A76C5}"/>
          </ac:cxnSpMkLst>
        </pc:cxnChg>
        <pc:cxnChg chg="add del mod ord">
          <ac:chgData name="Yudi Zhu" userId="571e1a55-055f-4c28-8b35-fca6dd1c1369" providerId="ADAL" clId="{75A88773-6EE1-484E-AADE-FE631E01463B}" dt="2025-11-21T07:12:38.453" v="223145"/>
          <ac:cxnSpMkLst>
            <pc:docMk/>
            <pc:sldMk cId="3747587241" sldId="2147483092"/>
            <ac:cxnSpMk id="106" creationId="{3E091350-C6AF-80C4-0E01-0658DA76DA38}"/>
          </ac:cxnSpMkLst>
        </pc:cxnChg>
        <pc:cxnChg chg="add del mod ord">
          <ac:chgData name="Yudi Zhu" userId="571e1a55-055f-4c28-8b35-fca6dd1c1369" providerId="ADAL" clId="{75A88773-6EE1-484E-AADE-FE631E01463B}" dt="2025-11-21T07:12:38.453" v="223143"/>
          <ac:cxnSpMkLst>
            <pc:docMk/>
            <pc:sldMk cId="3747587241" sldId="2147483092"/>
            <ac:cxnSpMk id="107" creationId="{63739111-6711-0811-5C1C-7D274B1B90D1}"/>
          </ac:cxnSpMkLst>
        </pc:cxnChg>
        <pc:cxnChg chg="add del mod ord">
          <ac:chgData name="Yudi Zhu" userId="571e1a55-055f-4c28-8b35-fca6dd1c1369" providerId="ADAL" clId="{75A88773-6EE1-484E-AADE-FE631E01463B}" dt="2025-11-21T07:12:38.467" v="223182"/>
          <ac:cxnSpMkLst>
            <pc:docMk/>
            <pc:sldMk cId="3747587241" sldId="2147483092"/>
            <ac:cxnSpMk id="108" creationId="{B5C5DF94-812F-1CB4-EC64-FF8D6471240F}"/>
          </ac:cxnSpMkLst>
        </pc:cxnChg>
        <pc:cxnChg chg="del mod ord">
          <ac:chgData name="Yudi Zhu" userId="571e1a55-055f-4c28-8b35-fca6dd1c1369" providerId="ADAL" clId="{75A88773-6EE1-484E-AADE-FE631E01463B}" dt="2025-11-21T07:11:50.879" v="216561"/>
          <ac:cxnSpMkLst>
            <pc:docMk/>
            <pc:sldMk cId="3747587241" sldId="2147483092"/>
            <ac:cxnSpMk id="109" creationId="{704A8212-DD5D-0F92-2E79-11BA243AA1CE}"/>
          </ac:cxnSpMkLst>
        </pc:cxnChg>
        <pc:cxnChg chg="add del mod ord">
          <ac:chgData name="Yudi Zhu" userId="571e1a55-055f-4c28-8b35-fca6dd1c1369" providerId="ADAL" clId="{75A88773-6EE1-484E-AADE-FE631E01463B}" dt="2025-11-21T07:12:38.467" v="223180"/>
          <ac:cxnSpMkLst>
            <pc:docMk/>
            <pc:sldMk cId="3747587241" sldId="2147483092"/>
            <ac:cxnSpMk id="110" creationId="{BFA8930D-5A25-7FAF-F301-7CB07FC81EE9}"/>
          </ac:cxnSpMkLst>
        </pc:cxnChg>
        <pc:cxnChg chg="add del mod ord">
          <ac:chgData name="Yudi Zhu" userId="571e1a55-055f-4c28-8b35-fca6dd1c1369" providerId="ADAL" clId="{75A88773-6EE1-484E-AADE-FE631E01463B}" dt="2025-11-21T07:13:12.999" v="227795"/>
          <ac:cxnSpMkLst>
            <pc:docMk/>
            <pc:sldMk cId="3747587241" sldId="2147483092"/>
            <ac:cxnSpMk id="112" creationId="{36CFBADB-58E7-C31D-A70D-3A1EFB69D634}"/>
          </ac:cxnSpMkLst>
        </pc:cxnChg>
        <pc:cxnChg chg="add del mod ord">
          <ac:chgData name="Yudi Zhu" userId="571e1a55-055f-4c28-8b35-fca6dd1c1369" providerId="ADAL" clId="{75A88773-6EE1-484E-AADE-FE631E01463B}" dt="2025-11-21T07:13:12.999" v="227791"/>
          <ac:cxnSpMkLst>
            <pc:docMk/>
            <pc:sldMk cId="3747587241" sldId="2147483092"/>
            <ac:cxnSpMk id="116" creationId="{86D4B94B-2192-281F-CB99-F107E580F3BC}"/>
          </ac:cxnSpMkLst>
        </pc:cxnChg>
        <pc:cxnChg chg="add del mod ord">
          <ac:chgData name="Yudi Zhu" userId="571e1a55-055f-4c28-8b35-fca6dd1c1369" providerId="ADAL" clId="{75A88773-6EE1-484E-AADE-FE631E01463B}" dt="2025-11-21T07:13:12.969" v="227734"/>
          <ac:cxnSpMkLst>
            <pc:docMk/>
            <pc:sldMk cId="3747587241" sldId="2147483092"/>
            <ac:cxnSpMk id="117" creationId="{17CFAB96-08A2-BD44-6877-6C7EFFC0912C}"/>
          </ac:cxnSpMkLst>
        </pc:cxnChg>
        <pc:cxnChg chg="add del mod ord">
          <ac:chgData name="Yudi Zhu" userId="571e1a55-055f-4c28-8b35-fca6dd1c1369" providerId="ADAL" clId="{75A88773-6EE1-484E-AADE-FE631E01463B}" dt="2025-11-21T07:13:12.959" v="227715"/>
          <ac:cxnSpMkLst>
            <pc:docMk/>
            <pc:sldMk cId="3747587241" sldId="2147483092"/>
            <ac:cxnSpMk id="118" creationId="{59545FBB-675C-A653-F158-D3AB1EA46316}"/>
          </ac:cxnSpMkLst>
        </pc:cxnChg>
        <pc:cxnChg chg="add del mod ord">
          <ac:chgData name="Yudi Zhu" userId="571e1a55-055f-4c28-8b35-fca6dd1c1369" providerId="ADAL" clId="{75A88773-6EE1-484E-AADE-FE631E01463B}" dt="2025-11-21T07:13:12.932" v="227694"/>
          <ac:cxnSpMkLst>
            <pc:docMk/>
            <pc:sldMk cId="3747587241" sldId="2147483092"/>
            <ac:cxnSpMk id="119" creationId="{D9521A6E-F212-6BD5-6DB3-F5C573311E0A}"/>
          </ac:cxnSpMkLst>
        </pc:cxnChg>
        <pc:cxnChg chg="add del mod ord">
          <ac:chgData name="Yudi Zhu" userId="571e1a55-055f-4c28-8b35-fca6dd1c1369" providerId="ADAL" clId="{75A88773-6EE1-484E-AADE-FE631E01463B}" dt="2025-11-21T07:13:12.932" v="227675"/>
          <ac:cxnSpMkLst>
            <pc:docMk/>
            <pc:sldMk cId="3747587241" sldId="2147483092"/>
            <ac:cxnSpMk id="120" creationId="{1A453FFD-AD52-5178-1203-4580B0FBFF23}"/>
          </ac:cxnSpMkLst>
        </pc:cxnChg>
        <pc:cxnChg chg="add del mod ord">
          <ac:chgData name="Yudi Zhu" userId="571e1a55-055f-4c28-8b35-fca6dd1c1369" providerId="ADAL" clId="{75A88773-6EE1-484E-AADE-FE631E01463B}" dt="2025-11-21T07:13:12.916" v="227656"/>
          <ac:cxnSpMkLst>
            <pc:docMk/>
            <pc:sldMk cId="3747587241" sldId="2147483092"/>
            <ac:cxnSpMk id="121" creationId="{346FD178-190D-D532-92FA-AFC66A8CD497}"/>
          </ac:cxnSpMkLst>
        </pc:cxnChg>
        <pc:cxnChg chg="add del mod ord">
          <ac:chgData name="Yudi Zhu" userId="571e1a55-055f-4c28-8b35-fca6dd1c1369" providerId="ADAL" clId="{75A88773-6EE1-484E-AADE-FE631E01463B}" dt="2025-11-21T07:13:12.901" v="227637"/>
          <ac:cxnSpMkLst>
            <pc:docMk/>
            <pc:sldMk cId="3747587241" sldId="2147483092"/>
            <ac:cxnSpMk id="122" creationId="{578DBE42-932C-8E80-5397-4A2B31CF1343}"/>
          </ac:cxnSpMkLst>
        </pc:cxnChg>
        <pc:cxnChg chg="add del mod ord">
          <ac:chgData name="Yudi Zhu" userId="571e1a55-055f-4c28-8b35-fca6dd1c1369" providerId="ADAL" clId="{75A88773-6EE1-484E-AADE-FE631E01463B}" dt="2025-11-21T07:13:12.885" v="227618"/>
          <ac:cxnSpMkLst>
            <pc:docMk/>
            <pc:sldMk cId="3747587241" sldId="2147483092"/>
            <ac:cxnSpMk id="123" creationId="{B5E7076D-2220-9CC0-5620-DB87F393DD66}"/>
          </ac:cxnSpMkLst>
        </pc:cxnChg>
        <pc:cxnChg chg="add del mod ord">
          <ac:chgData name="Yudi Zhu" userId="571e1a55-055f-4c28-8b35-fca6dd1c1369" providerId="ADAL" clId="{75A88773-6EE1-484E-AADE-FE631E01463B}" dt="2025-11-21T07:13:12.885" v="227599"/>
          <ac:cxnSpMkLst>
            <pc:docMk/>
            <pc:sldMk cId="3747587241" sldId="2147483092"/>
            <ac:cxnSpMk id="124" creationId="{22121870-90B4-7225-BD78-91EF9A3206DB}"/>
          </ac:cxnSpMkLst>
        </pc:cxnChg>
        <pc:cxnChg chg="add del mod ord">
          <ac:chgData name="Yudi Zhu" userId="571e1a55-055f-4c28-8b35-fca6dd1c1369" providerId="ADAL" clId="{75A88773-6EE1-484E-AADE-FE631E01463B}" dt="2025-11-21T07:13:12.853" v="227580"/>
          <ac:cxnSpMkLst>
            <pc:docMk/>
            <pc:sldMk cId="3747587241" sldId="2147483092"/>
            <ac:cxnSpMk id="125" creationId="{F7D98234-3D2E-D75A-2DFC-E6DD04EF83E0}"/>
          </ac:cxnSpMkLst>
        </pc:cxnChg>
        <pc:cxnChg chg="add del mod ord">
          <ac:chgData name="Yudi Zhu" userId="571e1a55-055f-4c28-8b35-fca6dd1c1369" providerId="ADAL" clId="{75A88773-6EE1-484E-AADE-FE631E01463B}" dt="2025-11-21T07:12:38.441" v="223107"/>
          <ac:cxnSpMkLst>
            <pc:docMk/>
            <pc:sldMk cId="3747587241" sldId="2147483092"/>
            <ac:cxnSpMk id="127" creationId="{A5DF5124-129C-B94D-5CFD-38933794D8A8}"/>
          </ac:cxnSpMkLst>
        </pc:cxnChg>
        <pc:cxnChg chg="add del mod ord">
          <ac:chgData name="Yudi Zhu" userId="571e1a55-055f-4c28-8b35-fca6dd1c1369" providerId="ADAL" clId="{75A88773-6EE1-484E-AADE-FE631E01463B}" dt="2025-11-21T07:13:12.987" v="227766"/>
          <ac:cxnSpMkLst>
            <pc:docMk/>
            <pc:sldMk cId="3747587241" sldId="2147483092"/>
            <ac:cxnSpMk id="128" creationId="{C6195E78-BF62-2DAA-8762-F3345139E11D}"/>
          </ac:cxnSpMkLst>
        </pc:cxnChg>
        <pc:cxnChg chg="add del mod ord">
          <ac:chgData name="Yudi Zhu" userId="571e1a55-055f-4c28-8b35-fca6dd1c1369" providerId="ADAL" clId="{75A88773-6EE1-484E-AADE-FE631E01463B}" dt="2025-11-21T07:13:12.986" v="227764"/>
          <ac:cxnSpMkLst>
            <pc:docMk/>
            <pc:sldMk cId="3747587241" sldId="2147483092"/>
            <ac:cxnSpMk id="129" creationId="{E84F0011-5152-1E49-FCDA-C56620B9F6FC}"/>
          </ac:cxnSpMkLst>
        </pc:cxnChg>
        <pc:cxnChg chg="add del mod ord">
          <ac:chgData name="Yudi Zhu" userId="571e1a55-055f-4c28-8b35-fca6dd1c1369" providerId="ADAL" clId="{75A88773-6EE1-484E-AADE-FE631E01463B}" dt="2025-11-21T07:13:12.988" v="227771"/>
          <ac:cxnSpMkLst>
            <pc:docMk/>
            <pc:sldMk cId="3747587241" sldId="2147483092"/>
            <ac:cxnSpMk id="130" creationId="{457FBA05-3521-CEEC-F24D-A411ECC351C7}"/>
          </ac:cxnSpMkLst>
        </pc:cxnChg>
        <pc:cxnChg chg="add del mod ord">
          <ac:chgData name="Yudi Zhu" userId="571e1a55-055f-4c28-8b35-fca6dd1c1369" providerId="ADAL" clId="{75A88773-6EE1-484E-AADE-FE631E01463B}" dt="2025-11-21T07:13:12.988" v="227769"/>
          <ac:cxnSpMkLst>
            <pc:docMk/>
            <pc:sldMk cId="3747587241" sldId="2147483092"/>
            <ac:cxnSpMk id="131" creationId="{4C812131-1A73-712E-6992-A3644975C1FB}"/>
          </ac:cxnSpMkLst>
        </pc:cxnChg>
        <pc:cxnChg chg="add del mod ord">
          <ac:chgData name="Yudi Zhu" userId="571e1a55-055f-4c28-8b35-fca6dd1c1369" providerId="ADAL" clId="{75A88773-6EE1-484E-AADE-FE631E01463B}" dt="2025-11-21T07:13:12.971" v="227737"/>
          <ac:cxnSpMkLst>
            <pc:docMk/>
            <pc:sldMk cId="3747587241" sldId="2147483092"/>
            <ac:cxnSpMk id="132" creationId="{FF5AE75F-0D28-FD00-172D-12904B975D30}"/>
          </ac:cxnSpMkLst>
        </pc:cxnChg>
        <pc:cxnChg chg="add del mod ord">
          <ac:chgData name="Yudi Zhu" userId="571e1a55-055f-4c28-8b35-fca6dd1c1369" providerId="ADAL" clId="{75A88773-6EE1-484E-AADE-FE631E01463B}" dt="2025-11-21T07:13:12.974" v="227742"/>
          <ac:cxnSpMkLst>
            <pc:docMk/>
            <pc:sldMk cId="3747587241" sldId="2147483092"/>
            <ac:cxnSpMk id="133" creationId="{7310552F-0152-9A7B-F1F5-6DD1CEA3A4D1}"/>
          </ac:cxnSpMkLst>
        </pc:cxnChg>
        <pc:cxnChg chg="add del mod ord">
          <ac:chgData name="Yudi Zhu" userId="571e1a55-055f-4c28-8b35-fca6dd1c1369" providerId="ADAL" clId="{75A88773-6EE1-484E-AADE-FE631E01463B}" dt="2025-11-21T07:13:12.973" v="227740"/>
          <ac:cxnSpMkLst>
            <pc:docMk/>
            <pc:sldMk cId="3747587241" sldId="2147483092"/>
            <ac:cxnSpMk id="134" creationId="{94993A38-6EB3-69CA-FBF2-051FF0ADAF3B}"/>
          </ac:cxnSpMkLst>
        </pc:cxnChg>
        <pc:cxnChg chg="add del mod ord">
          <ac:chgData name="Yudi Zhu" userId="571e1a55-055f-4c28-8b35-fca6dd1c1369" providerId="ADAL" clId="{75A88773-6EE1-484E-AADE-FE631E01463B}" dt="2025-11-21T07:13:12.977" v="227747"/>
          <ac:cxnSpMkLst>
            <pc:docMk/>
            <pc:sldMk cId="3747587241" sldId="2147483092"/>
            <ac:cxnSpMk id="135" creationId="{9264A388-0CDA-0343-BC54-7060F62AF663}"/>
          </ac:cxnSpMkLst>
        </pc:cxnChg>
        <pc:cxnChg chg="add del mod ord">
          <ac:chgData name="Yudi Zhu" userId="571e1a55-055f-4c28-8b35-fca6dd1c1369" providerId="ADAL" clId="{75A88773-6EE1-484E-AADE-FE631E01463B}" dt="2025-11-21T07:13:12.976" v="227745"/>
          <ac:cxnSpMkLst>
            <pc:docMk/>
            <pc:sldMk cId="3747587241" sldId="2147483092"/>
            <ac:cxnSpMk id="136" creationId="{FEBAD1BF-4ACF-AB97-8B0A-8427DAD7BFB5}"/>
          </ac:cxnSpMkLst>
        </pc:cxnChg>
        <pc:cxnChg chg="add del mod ord">
          <ac:chgData name="Yudi Zhu" userId="571e1a55-055f-4c28-8b35-fca6dd1c1369" providerId="ADAL" clId="{75A88773-6EE1-484E-AADE-FE631E01463B}" dt="2025-11-21T07:13:12.979" v="227750"/>
          <ac:cxnSpMkLst>
            <pc:docMk/>
            <pc:sldMk cId="3747587241" sldId="2147483092"/>
            <ac:cxnSpMk id="137" creationId="{75B859AB-0D20-1CCA-01A3-F487390FCC4B}"/>
          </ac:cxnSpMkLst>
        </pc:cxnChg>
        <pc:cxnChg chg="add del mod ord">
          <ac:chgData name="Yudi Zhu" userId="571e1a55-055f-4c28-8b35-fca6dd1c1369" providerId="ADAL" clId="{75A88773-6EE1-484E-AADE-FE631E01463B}" dt="2025-11-21T07:13:12.960" v="227718"/>
          <ac:cxnSpMkLst>
            <pc:docMk/>
            <pc:sldMk cId="3747587241" sldId="2147483092"/>
            <ac:cxnSpMk id="138" creationId="{AA0B85F6-DEC8-2CA7-CAF6-BD5EC68E24F2}"/>
          </ac:cxnSpMkLst>
        </pc:cxnChg>
        <pc:cxnChg chg="add del mod ord">
          <ac:chgData name="Yudi Zhu" userId="571e1a55-055f-4c28-8b35-fca6dd1c1369" providerId="ADAL" clId="{75A88773-6EE1-484E-AADE-FE631E01463B}" dt="2025-11-21T07:13:12.963" v="227723"/>
          <ac:cxnSpMkLst>
            <pc:docMk/>
            <pc:sldMk cId="3747587241" sldId="2147483092"/>
            <ac:cxnSpMk id="139" creationId="{9BC0AA65-1050-FDF6-7412-4542E66DAD8D}"/>
          </ac:cxnSpMkLst>
        </pc:cxnChg>
        <pc:cxnChg chg="add del mod ord">
          <ac:chgData name="Yudi Zhu" userId="571e1a55-055f-4c28-8b35-fca6dd1c1369" providerId="ADAL" clId="{75A88773-6EE1-484E-AADE-FE631E01463B}" dt="2025-11-21T07:13:12.962" v="227721"/>
          <ac:cxnSpMkLst>
            <pc:docMk/>
            <pc:sldMk cId="3747587241" sldId="2147483092"/>
            <ac:cxnSpMk id="140" creationId="{90716B03-0EFB-F892-0B4A-661E0D4AFFC1}"/>
          </ac:cxnSpMkLst>
        </pc:cxnChg>
        <pc:cxnChg chg="add del mod ord">
          <ac:chgData name="Yudi Zhu" userId="571e1a55-055f-4c28-8b35-fca6dd1c1369" providerId="ADAL" clId="{75A88773-6EE1-484E-AADE-FE631E01463B}" dt="2025-11-21T07:13:12.965" v="227728"/>
          <ac:cxnSpMkLst>
            <pc:docMk/>
            <pc:sldMk cId="3747587241" sldId="2147483092"/>
            <ac:cxnSpMk id="141" creationId="{63EF9025-FD2F-76D1-210B-978D2CC22C69}"/>
          </ac:cxnSpMkLst>
        </pc:cxnChg>
        <pc:cxnChg chg="add del mod ord">
          <ac:chgData name="Yudi Zhu" userId="571e1a55-055f-4c28-8b35-fca6dd1c1369" providerId="ADAL" clId="{75A88773-6EE1-484E-AADE-FE631E01463B}" dt="2025-11-21T07:13:12.964" v="227726"/>
          <ac:cxnSpMkLst>
            <pc:docMk/>
            <pc:sldMk cId="3747587241" sldId="2147483092"/>
            <ac:cxnSpMk id="142" creationId="{42B10410-9532-EC53-D665-3E00C0E803C2}"/>
          </ac:cxnSpMkLst>
        </pc:cxnChg>
        <pc:cxnChg chg="add del mod ord">
          <ac:chgData name="Yudi Zhu" userId="571e1a55-055f-4c28-8b35-fca6dd1c1369" providerId="ADAL" clId="{75A88773-6EE1-484E-AADE-FE631E01463B}" dt="2025-11-21T07:13:12.967" v="227731"/>
          <ac:cxnSpMkLst>
            <pc:docMk/>
            <pc:sldMk cId="3747587241" sldId="2147483092"/>
            <ac:cxnSpMk id="143" creationId="{D1A22747-541F-2C2F-5565-F00DAC41D508}"/>
          </ac:cxnSpMkLst>
        </pc:cxnChg>
        <pc:cxnChg chg="add del mod ord">
          <ac:chgData name="Yudi Zhu" userId="571e1a55-055f-4c28-8b35-fca6dd1c1369" providerId="ADAL" clId="{75A88773-6EE1-484E-AADE-FE631E01463B}" dt="2025-11-21T07:13:12.932" v="227697"/>
          <ac:cxnSpMkLst>
            <pc:docMk/>
            <pc:sldMk cId="3747587241" sldId="2147483092"/>
            <ac:cxnSpMk id="144" creationId="{F427462D-B729-1EF5-177A-4C66C5F3E402}"/>
          </ac:cxnSpMkLst>
        </pc:cxnChg>
        <pc:cxnChg chg="add del mod ord">
          <ac:chgData name="Yudi Zhu" userId="571e1a55-055f-4c28-8b35-fca6dd1c1369" providerId="ADAL" clId="{75A88773-6EE1-484E-AADE-FE631E01463B}" dt="2025-11-21T07:13:12.948" v="227702"/>
          <ac:cxnSpMkLst>
            <pc:docMk/>
            <pc:sldMk cId="3747587241" sldId="2147483092"/>
            <ac:cxnSpMk id="145" creationId="{B1CB94EC-593E-791D-3F36-185F5D1DA570}"/>
          </ac:cxnSpMkLst>
        </pc:cxnChg>
        <pc:cxnChg chg="add del mod ord">
          <ac:chgData name="Yudi Zhu" userId="571e1a55-055f-4c28-8b35-fca6dd1c1369" providerId="ADAL" clId="{75A88773-6EE1-484E-AADE-FE631E01463B}" dt="2025-11-21T07:13:12.948" v="227700"/>
          <ac:cxnSpMkLst>
            <pc:docMk/>
            <pc:sldMk cId="3747587241" sldId="2147483092"/>
            <ac:cxnSpMk id="146" creationId="{381AAA6C-4FD3-6790-E48B-D36EA8A24B63}"/>
          </ac:cxnSpMkLst>
        </pc:cxnChg>
        <pc:cxnChg chg="add del mod ord">
          <ac:chgData name="Yudi Zhu" userId="571e1a55-055f-4c28-8b35-fca6dd1c1369" providerId="ADAL" clId="{75A88773-6EE1-484E-AADE-FE631E01463B}" dt="2025-11-21T07:13:12.948" v="227707"/>
          <ac:cxnSpMkLst>
            <pc:docMk/>
            <pc:sldMk cId="3747587241" sldId="2147483092"/>
            <ac:cxnSpMk id="147" creationId="{14C915DC-5B07-3D4B-56C2-55A279BAEED9}"/>
          </ac:cxnSpMkLst>
        </pc:cxnChg>
        <pc:cxnChg chg="add del mod ord">
          <ac:chgData name="Yudi Zhu" userId="571e1a55-055f-4c28-8b35-fca6dd1c1369" providerId="ADAL" clId="{75A88773-6EE1-484E-AADE-FE631E01463B}" dt="2025-11-21T07:13:12.948" v="227705"/>
          <ac:cxnSpMkLst>
            <pc:docMk/>
            <pc:sldMk cId="3747587241" sldId="2147483092"/>
            <ac:cxnSpMk id="148" creationId="{D8EF4E05-7BD5-D94B-9727-BE18201F7429}"/>
          </ac:cxnSpMkLst>
        </pc:cxnChg>
        <pc:cxnChg chg="add del mod ord">
          <ac:chgData name="Yudi Zhu" userId="571e1a55-055f-4c28-8b35-fca6dd1c1369" providerId="ADAL" clId="{75A88773-6EE1-484E-AADE-FE631E01463B}" dt="2025-11-21T07:13:12.957" v="227712"/>
          <ac:cxnSpMkLst>
            <pc:docMk/>
            <pc:sldMk cId="3747587241" sldId="2147483092"/>
            <ac:cxnSpMk id="149" creationId="{F2D0638A-0F1E-0B68-1DEB-D766CE4A961F}"/>
          </ac:cxnSpMkLst>
        </pc:cxnChg>
        <pc:cxnChg chg="add del mod ord">
          <ac:chgData name="Yudi Zhu" userId="571e1a55-055f-4c28-8b35-fca6dd1c1369" providerId="ADAL" clId="{75A88773-6EE1-484E-AADE-FE631E01463B}" dt="2025-11-21T07:13:12.955" v="227710"/>
          <ac:cxnSpMkLst>
            <pc:docMk/>
            <pc:sldMk cId="3747587241" sldId="2147483092"/>
            <ac:cxnSpMk id="150" creationId="{0C896182-6F9A-CB6C-6DA5-AB7635E80A09}"/>
          </ac:cxnSpMkLst>
        </pc:cxnChg>
        <pc:cxnChg chg="add del mod ord">
          <ac:chgData name="Yudi Zhu" userId="571e1a55-055f-4c28-8b35-fca6dd1c1369" providerId="ADAL" clId="{75A88773-6EE1-484E-AADE-FE631E01463B}" dt="2025-11-21T07:13:12.932" v="227680"/>
          <ac:cxnSpMkLst>
            <pc:docMk/>
            <pc:sldMk cId="3747587241" sldId="2147483092"/>
            <ac:cxnSpMk id="151" creationId="{8C3304B4-546D-6C99-468C-9548F162C440}"/>
          </ac:cxnSpMkLst>
        </pc:cxnChg>
        <pc:cxnChg chg="add del mod ord">
          <ac:chgData name="Yudi Zhu" userId="571e1a55-055f-4c28-8b35-fca6dd1c1369" providerId="ADAL" clId="{75A88773-6EE1-484E-AADE-FE631E01463B}" dt="2025-11-21T07:13:12.932" v="227678"/>
          <ac:cxnSpMkLst>
            <pc:docMk/>
            <pc:sldMk cId="3747587241" sldId="2147483092"/>
            <ac:cxnSpMk id="152" creationId="{DAF7B03E-9EC9-B968-C219-25BF1F44D999}"/>
          </ac:cxnSpMkLst>
        </pc:cxnChg>
        <pc:cxnChg chg="del mod ord">
          <ac:chgData name="Yudi Zhu" userId="571e1a55-055f-4c28-8b35-fca6dd1c1369" providerId="ADAL" clId="{75A88773-6EE1-484E-AADE-FE631E01463B}" dt="2025-11-21T07:11:50.925" v="216685"/>
          <ac:cxnSpMkLst>
            <pc:docMk/>
            <pc:sldMk cId="3747587241" sldId="2147483092"/>
            <ac:cxnSpMk id="153" creationId="{3D86BA23-82AC-89CB-0C7A-64BE0C2149C7}"/>
          </ac:cxnSpMkLst>
        </pc:cxnChg>
        <pc:cxnChg chg="add del mod ord">
          <ac:chgData name="Yudi Zhu" userId="571e1a55-055f-4c28-8b35-fca6dd1c1369" providerId="ADAL" clId="{75A88773-6EE1-484E-AADE-FE631E01463B}" dt="2025-11-21T07:13:12.932" v="227685"/>
          <ac:cxnSpMkLst>
            <pc:docMk/>
            <pc:sldMk cId="3747587241" sldId="2147483092"/>
            <ac:cxnSpMk id="154" creationId="{ED7034D7-ECF2-A05B-3D68-D2C69F281E65}"/>
          </ac:cxnSpMkLst>
        </pc:cxnChg>
        <pc:cxnChg chg="add del mod ord">
          <ac:chgData name="Yudi Zhu" userId="571e1a55-055f-4c28-8b35-fca6dd1c1369" providerId="ADAL" clId="{75A88773-6EE1-484E-AADE-FE631E01463B}" dt="2025-11-21T07:13:12.932" v="227683"/>
          <ac:cxnSpMkLst>
            <pc:docMk/>
            <pc:sldMk cId="3747587241" sldId="2147483092"/>
            <ac:cxnSpMk id="155" creationId="{FB00C5AE-26E4-3D05-6360-C1C21C632C04}"/>
          </ac:cxnSpMkLst>
        </pc:cxnChg>
        <pc:cxnChg chg="add del mod ord">
          <ac:chgData name="Yudi Zhu" userId="571e1a55-055f-4c28-8b35-fca6dd1c1369" providerId="ADAL" clId="{75A88773-6EE1-484E-AADE-FE631E01463B}" dt="2025-11-21T07:13:12.932" v="227688"/>
          <ac:cxnSpMkLst>
            <pc:docMk/>
            <pc:sldMk cId="3747587241" sldId="2147483092"/>
            <ac:cxnSpMk id="156" creationId="{73D40B3A-6685-D758-1893-7D366EEA622C}"/>
          </ac:cxnSpMkLst>
        </pc:cxnChg>
        <pc:cxnChg chg="add del mod ord">
          <ac:chgData name="Yudi Zhu" userId="571e1a55-055f-4c28-8b35-fca6dd1c1369" providerId="ADAL" clId="{75A88773-6EE1-484E-AADE-FE631E01463B}" dt="2025-11-21T07:13:12.932" v="227691"/>
          <ac:cxnSpMkLst>
            <pc:docMk/>
            <pc:sldMk cId="3747587241" sldId="2147483092"/>
            <ac:cxnSpMk id="157" creationId="{89368441-7E51-1E8A-A200-94913E5C3DD3}"/>
          </ac:cxnSpMkLst>
        </pc:cxnChg>
        <pc:cxnChg chg="add del mod ord">
          <ac:chgData name="Yudi Zhu" userId="571e1a55-055f-4c28-8b35-fca6dd1c1369" providerId="ADAL" clId="{75A88773-6EE1-484E-AADE-FE631E01463B}" dt="2025-11-21T07:13:12.916" v="227659"/>
          <ac:cxnSpMkLst>
            <pc:docMk/>
            <pc:sldMk cId="3747587241" sldId="2147483092"/>
            <ac:cxnSpMk id="158" creationId="{8884CCB3-7881-2A84-3AF9-9AD37222162F}"/>
          </ac:cxnSpMkLst>
        </pc:cxnChg>
        <pc:cxnChg chg="add del mod ord">
          <ac:chgData name="Yudi Zhu" userId="571e1a55-055f-4c28-8b35-fca6dd1c1369" providerId="ADAL" clId="{75A88773-6EE1-484E-AADE-FE631E01463B}" dt="2025-11-21T07:13:12.916" v="227664"/>
          <ac:cxnSpMkLst>
            <pc:docMk/>
            <pc:sldMk cId="3747587241" sldId="2147483092"/>
            <ac:cxnSpMk id="159" creationId="{1C429C06-2CE9-C2B5-3C20-6DFF7677F63C}"/>
          </ac:cxnSpMkLst>
        </pc:cxnChg>
        <pc:cxnChg chg="add del mod ord">
          <ac:chgData name="Yudi Zhu" userId="571e1a55-055f-4c28-8b35-fca6dd1c1369" providerId="ADAL" clId="{75A88773-6EE1-484E-AADE-FE631E01463B}" dt="2025-11-21T07:13:12.916" v="227662"/>
          <ac:cxnSpMkLst>
            <pc:docMk/>
            <pc:sldMk cId="3747587241" sldId="2147483092"/>
            <ac:cxnSpMk id="160" creationId="{6BA54610-5196-C373-6C77-F0D585DE5709}"/>
          </ac:cxnSpMkLst>
        </pc:cxnChg>
        <pc:cxnChg chg="add del mod ord">
          <ac:chgData name="Yudi Zhu" userId="571e1a55-055f-4c28-8b35-fca6dd1c1369" providerId="ADAL" clId="{75A88773-6EE1-484E-AADE-FE631E01463B}" dt="2025-11-21T07:13:12.916" v="227669"/>
          <ac:cxnSpMkLst>
            <pc:docMk/>
            <pc:sldMk cId="3747587241" sldId="2147483092"/>
            <ac:cxnSpMk id="165" creationId="{AC533BD8-9372-1397-F369-4722DDFA4626}"/>
          </ac:cxnSpMkLst>
        </pc:cxnChg>
        <pc:cxnChg chg="add del mod ord">
          <ac:chgData name="Yudi Zhu" userId="571e1a55-055f-4c28-8b35-fca6dd1c1369" providerId="ADAL" clId="{75A88773-6EE1-484E-AADE-FE631E01463B}" dt="2025-11-21T07:13:12.916" v="227667"/>
          <ac:cxnSpMkLst>
            <pc:docMk/>
            <pc:sldMk cId="3747587241" sldId="2147483092"/>
            <ac:cxnSpMk id="166" creationId="{05584F48-7C53-C665-0B70-3C29027DB95D}"/>
          </ac:cxnSpMkLst>
        </pc:cxnChg>
        <pc:cxnChg chg="add del mod ord">
          <ac:chgData name="Yudi Zhu" userId="571e1a55-055f-4c28-8b35-fca6dd1c1369" providerId="ADAL" clId="{75A88773-6EE1-484E-AADE-FE631E01463B}" dt="2025-11-21T07:13:12.916" v="227672"/>
          <ac:cxnSpMkLst>
            <pc:docMk/>
            <pc:sldMk cId="3747587241" sldId="2147483092"/>
            <ac:cxnSpMk id="167" creationId="{8376E40A-172A-858B-633C-FA2588763BEC}"/>
          </ac:cxnSpMkLst>
        </pc:cxnChg>
        <pc:cxnChg chg="add del mod ord">
          <ac:chgData name="Yudi Zhu" userId="571e1a55-055f-4c28-8b35-fca6dd1c1369" providerId="ADAL" clId="{75A88773-6EE1-484E-AADE-FE631E01463B}" dt="2025-11-21T07:13:12.901" v="227640"/>
          <ac:cxnSpMkLst>
            <pc:docMk/>
            <pc:sldMk cId="3747587241" sldId="2147483092"/>
            <ac:cxnSpMk id="168" creationId="{2C912CA0-37A6-4199-4D0B-51AEDB275410}"/>
          </ac:cxnSpMkLst>
        </pc:cxnChg>
        <pc:cxnChg chg="add del mod ord">
          <ac:chgData name="Yudi Zhu" userId="571e1a55-055f-4c28-8b35-fca6dd1c1369" providerId="ADAL" clId="{75A88773-6EE1-484E-AADE-FE631E01463B}" dt="2025-11-21T07:13:12.901" v="227643"/>
          <ac:cxnSpMkLst>
            <pc:docMk/>
            <pc:sldMk cId="3747587241" sldId="2147483092"/>
            <ac:cxnSpMk id="169" creationId="{42E61783-4E7E-980C-A761-9795C57694CE}"/>
          </ac:cxnSpMkLst>
        </pc:cxnChg>
        <pc:cxnChg chg="add del mod ord">
          <ac:chgData name="Yudi Zhu" userId="571e1a55-055f-4c28-8b35-fca6dd1c1369" providerId="ADAL" clId="{75A88773-6EE1-484E-AADE-FE631E01463B}" dt="2025-11-21T07:13:12.901" v="227648"/>
          <ac:cxnSpMkLst>
            <pc:docMk/>
            <pc:sldMk cId="3747587241" sldId="2147483092"/>
            <ac:cxnSpMk id="170" creationId="{9D92BA3D-E055-089F-5663-65208930277E}"/>
          </ac:cxnSpMkLst>
        </pc:cxnChg>
        <pc:cxnChg chg="add del mod ord">
          <ac:chgData name="Yudi Zhu" userId="571e1a55-055f-4c28-8b35-fca6dd1c1369" providerId="ADAL" clId="{75A88773-6EE1-484E-AADE-FE631E01463B}" dt="2025-11-21T07:13:12.901" v="227646"/>
          <ac:cxnSpMkLst>
            <pc:docMk/>
            <pc:sldMk cId="3747587241" sldId="2147483092"/>
            <ac:cxnSpMk id="171" creationId="{1F80443E-CEAB-5359-DFF3-950ADFD1241C}"/>
          </ac:cxnSpMkLst>
        </pc:cxnChg>
        <pc:cxnChg chg="add del mod ord">
          <ac:chgData name="Yudi Zhu" userId="571e1a55-055f-4c28-8b35-fca6dd1c1369" providerId="ADAL" clId="{75A88773-6EE1-484E-AADE-FE631E01463B}" dt="2025-11-21T07:13:12.916" v="227653"/>
          <ac:cxnSpMkLst>
            <pc:docMk/>
            <pc:sldMk cId="3747587241" sldId="2147483092"/>
            <ac:cxnSpMk id="172" creationId="{302CFBA1-D8F3-B75D-3C24-A12D2CB22EAF}"/>
          </ac:cxnSpMkLst>
        </pc:cxnChg>
        <pc:cxnChg chg="add del mod ord">
          <ac:chgData name="Yudi Zhu" userId="571e1a55-055f-4c28-8b35-fca6dd1c1369" providerId="ADAL" clId="{75A88773-6EE1-484E-AADE-FE631E01463B}" dt="2025-11-21T07:13:12.916" v="227651"/>
          <ac:cxnSpMkLst>
            <pc:docMk/>
            <pc:sldMk cId="3747587241" sldId="2147483092"/>
            <ac:cxnSpMk id="173" creationId="{6C0AD8C0-DD4F-2560-743E-710430CFD909}"/>
          </ac:cxnSpMkLst>
        </pc:cxnChg>
        <pc:cxnChg chg="add del mod ord">
          <ac:chgData name="Yudi Zhu" userId="571e1a55-055f-4c28-8b35-fca6dd1c1369" providerId="ADAL" clId="{75A88773-6EE1-484E-AADE-FE631E01463B}" dt="2025-11-21T07:13:12.899" v="227621"/>
          <ac:cxnSpMkLst>
            <pc:docMk/>
            <pc:sldMk cId="3747587241" sldId="2147483092"/>
            <ac:cxnSpMk id="174" creationId="{86254D12-7286-59E0-97AD-F06C2169D15D}"/>
          </ac:cxnSpMkLst>
        </pc:cxnChg>
        <pc:cxnChg chg="add del mod ord">
          <ac:chgData name="Yudi Zhu" userId="571e1a55-055f-4c28-8b35-fca6dd1c1369" providerId="ADAL" clId="{75A88773-6EE1-484E-AADE-FE631E01463B}" dt="2025-11-21T07:13:12.901" v="227626"/>
          <ac:cxnSpMkLst>
            <pc:docMk/>
            <pc:sldMk cId="3747587241" sldId="2147483092"/>
            <ac:cxnSpMk id="175" creationId="{ACFB5335-EFF4-11D1-BD44-5AAB85FEE6AD}"/>
          </ac:cxnSpMkLst>
        </pc:cxnChg>
        <pc:cxnChg chg="add del mod ord">
          <ac:chgData name="Yudi Zhu" userId="571e1a55-055f-4c28-8b35-fca6dd1c1369" providerId="ADAL" clId="{75A88773-6EE1-484E-AADE-FE631E01463B}" dt="2025-11-21T07:13:12.901" v="227624"/>
          <ac:cxnSpMkLst>
            <pc:docMk/>
            <pc:sldMk cId="3747587241" sldId="2147483092"/>
            <ac:cxnSpMk id="176" creationId="{7D36ACCF-837B-5D42-15A9-1CE57B5A2F6A}"/>
          </ac:cxnSpMkLst>
        </pc:cxnChg>
        <pc:cxnChg chg="add del mod ord">
          <ac:chgData name="Yudi Zhu" userId="571e1a55-055f-4c28-8b35-fca6dd1c1369" providerId="ADAL" clId="{75A88773-6EE1-484E-AADE-FE631E01463B}" dt="2025-11-21T07:13:12.901" v="227631"/>
          <ac:cxnSpMkLst>
            <pc:docMk/>
            <pc:sldMk cId="3747587241" sldId="2147483092"/>
            <ac:cxnSpMk id="177" creationId="{A34BBD04-D9A2-FD8E-73A2-8086FA9205C8}"/>
          </ac:cxnSpMkLst>
        </pc:cxnChg>
        <pc:cxnChg chg="add del mod ord">
          <ac:chgData name="Yudi Zhu" userId="571e1a55-055f-4c28-8b35-fca6dd1c1369" providerId="ADAL" clId="{75A88773-6EE1-484E-AADE-FE631E01463B}" dt="2025-11-21T07:13:12.901" v="227629"/>
          <ac:cxnSpMkLst>
            <pc:docMk/>
            <pc:sldMk cId="3747587241" sldId="2147483092"/>
            <ac:cxnSpMk id="178" creationId="{A709580C-3454-5EA1-9516-F3421944F07A}"/>
          </ac:cxnSpMkLst>
        </pc:cxnChg>
        <pc:cxnChg chg="add del mod ord">
          <ac:chgData name="Yudi Zhu" userId="571e1a55-055f-4c28-8b35-fca6dd1c1369" providerId="ADAL" clId="{75A88773-6EE1-484E-AADE-FE631E01463B}" dt="2025-11-21T07:13:12.901" v="227634"/>
          <ac:cxnSpMkLst>
            <pc:docMk/>
            <pc:sldMk cId="3747587241" sldId="2147483092"/>
            <ac:cxnSpMk id="179" creationId="{7F151E58-9052-B107-EA47-8B01AEFAB7A8}"/>
          </ac:cxnSpMkLst>
        </pc:cxnChg>
        <pc:cxnChg chg="add del mod ord">
          <ac:chgData name="Yudi Zhu" userId="571e1a55-055f-4c28-8b35-fca6dd1c1369" providerId="ADAL" clId="{75A88773-6EE1-484E-AADE-FE631E01463B}" dt="2025-11-21T07:13:12.885" v="227602"/>
          <ac:cxnSpMkLst>
            <pc:docMk/>
            <pc:sldMk cId="3747587241" sldId="2147483092"/>
            <ac:cxnSpMk id="180" creationId="{8F978B22-1E15-36EC-9959-0D9ABBBF532F}"/>
          </ac:cxnSpMkLst>
        </pc:cxnChg>
        <pc:cxnChg chg="add del mod ord">
          <ac:chgData name="Yudi Zhu" userId="571e1a55-055f-4c28-8b35-fca6dd1c1369" providerId="ADAL" clId="{75A88773-6EE1-484E-AADE-FE631E01463B}" dt="2025-11-21T07:13:12.885" v="227607"/>
          <ac:cxnSpMkLst>
            <pc:docMk/>
            <pc:sldMk cId="3747587241" sldId="2147483092"/>
            <ac:cxnSpMk id="181" creationId="{D99672A3-AD29-DC9B-6F69-5EF1F5D960AB}"/>
          </ac:cxnSpMkLst>
        </pc:cxnChg>
        <pc:cxnChg chg="add del mod ord">
          <ac:chgData name="Yudi Zhu" userId="571e1a55-055f-4c28-8b35-fca6dd1c1369" providerId="ADAL" clId="{75A88773-6EE1-484E-AADE-FE631E01463B}" dt="2025-11-21T07:13:12.885" v="227605"/>
          <ac:cxnSpMkLst>
            <pc:docMk/>
            <pc:sldMk cId="3747587241" sldId="2147483092"/>
            <ac:cxnSpMk id="182" creationId="{F2FC91C0-5E5E-E1FC-1E7E-9D8B74511877}"/>
          </ac:cxnSpMkLst>
        </pc:cxnChg>
        <pc:cxnChg chg="add del mod ord">
          <ac:chgData name="Yudi Zhu" userId="571e1a55-055f-4c28-8b35-fca6dd1c1369" providerId="ADAL" clId="{75A88773-6EE1-484E-AADE-FE631E01463B}" dt="2025-11-21T07:13:12.885" v="227612"/>
          <ac:cxnSpMkLst>
            <pc:docMk/>
            <pc:sldMk cId="3747587241" sldId="2147483092"/>
            <ac:cxnSpMk id="183" creationId="{C5F80F1E-D9EC-8739-A285-7E4A90107FEB}"/>
          </ac:cxnSpMkLst>
        </pc:cxnChg>
        <pc:cxnChg chg="add del mod ord">
          <ac:chgData name="Yudi Zhu" userId="571e1a55-055f-4c28-8b35-fca6dd1c1369" providerId="ADAL" clId="{75A88773-6EE1-484E-AADE-FE631E01463B}" dt="2025-11-21T07:13:12.885" v="227610"/>
          <ac:cxnSpMkLst>
            <pc:docMk/>
            <pc:sldMk cId="3747587241" sldId="2147483092"/>
            <ac:cxnSpMk id="184" creationId="{509B4A0F-B0E5-3B82-19DF-A7E27F39B005}"/>
          </ac:cxnSpMkLst>
        </pc:cxnChg>
        <pc:cxnChg chg="add del mod ord">
          <ac:chgData name="Yudi Zhu" userId="571e1a55-055f-4c28-8b35-fca6dd1c1369" providerId="ADAL" clId="{75A88773-6EE1-484E-AADE-FE631E01463B}" dt="2025-11-21T07:13:12.885" v="227615"/>
          <ac:cxnSpMkLst>
            <pc:docMk/>
            <pc:sldMk cId="3747587241" sldId="2147483092"/>
            <ac:cxnSpMk id="185" creationId="{9AE3FAA2-2BB6-ADEF-D145-3C5FFE00C110}"/>
          </ac:cxnSpMkLst>
        </pc:cxnChg>
        <pc:cxnChg chg="add del mod ord">
          <ac:chgData name="Yudi Zhu" userId="571e1a55-055f-4c28-8b35-fca6dd1c1369" providerId="ADAL" clId="{75A88773-6EE1-484E-AADE-FE631E01463B}" dt="2025-11-21T07:13:12.869" v="227583"/>
          <ac:cxnSpMkLst>
            <pc:docMk/>
            <pc:sldMk cId="3747587241" sldId="2147483092"/>
            <ac:cxnSpMk id="186" creationId="{536869B2-BDC2-DC5D-CC6C-48F599A90A06}"/>
          </ac:cxnSpMkLst>
        </pc:cxnChg>
        <pc:cxnChg chg="add del mod ord">
          <ac:chgData name="Yudi Zhu" userId="571e1a55-055f-4c28-8b35-fca6dd1c1369" providerId="ADAL" clId="{75A88773-6EE1-484E-AADE-FE631E01463B}" dt="2025-11-21T07:13:12.869" v="227586"/>
          <ac:cxnSpMkLst>
            <pc:docMk/>
            <pc:sldMk cId="3747587241" sldId="2147483092"/>
            <ac:cxnSpMk id="187" creationId="{C595D63A-D56A-92F9-9ACE-D7750FC8AAA1}"/>
          </ac:cxnSpMkLst>
        </pc:cxnChg>
        <pc:cxnChg chg="add del mod ord">
          <ac:chgData name="Yudi Zhu" userId="571e1a55-055f-4c28-8b35-fca6dd1c1369" providerId="ADAL" clId="{75A88773-6EE1-484E-AADE-FE631E01463B}" dt="2025-11-21T07:13:12.869" v="227591"/>
          <ac:cxnSpMkLst>
            <pc:docMk/>
            <pc:sldMk cId="3747587241" sldId="2147483092"/>
            <ac:cxnSpMk id="188" creationId="{BA3D74F6-DDDB-DE4C-0C6B-FBE57B07694E}"/>
          </ac:cxnSpMkLst>
        </pc:cxnChg>
        <pc:cxnChg chg="del mod ord">
          <ac:chgData name="Yudi Zhu" userId="571e1a55-055f-4c28-8b35-fca6dd1c1369" providerId="ADAL" clId="{75A88773-6EE1-484E-AADE-FE631E01463B}" dt="2025-11-21T07:11:50.908" v="216631"/>
          <ac:cxnSpMkLst>
            <pc:docMk/>
            <pc:sldMk cId="3747587241" sldId="2147483092"/>
            <ac:cxnSpMk id="221" creationId="{05668C3C-3FE5-FC7D-B8EB-6BC700BD5F6E}"/>
          </ac:cxnSpMkLst>
        </pc:cxnChg>
        <pc:cxnChg chg="del mod ord">
          <ac:chgData name="Yudi Zhu" userId="571e1a55-055f-4c28-8b35-fca6dd1c1369" providerId="ADAL" clId="{75A88773-6EE1-484E-AADE-FE631E01463B}" dt="2025-11-21T07:11:50.909" v="216634"/>
          <ac:cxnSpMkLst>
            <pc:docMk/>
            <pc:sldMk cId="3747587241" sldId="2147483092"/>
            <ac:cxnSpMk id="223" creationId="{34990D9C-5D30-26F9-992D-877D0A2AE3FF}"/>
          </ac:cxnSpMkLst>
        </pc:cxnChg>
        <pc:cxnChg chg="del mod ord">
          <ac:chgData name="Yudi Zhu" userId="571e1a55-055f-4c28-8b35-fca6dd1c1369" providerId="ADAL" clId="{75A88773-6EE1-484E-AADE-FE631E01463B}" dt="2025-11-21T07:11:50.891" v="216591"/>
          <ac:cxnSpMkLst>
            <pc:docMk/>
            <pc:sldMk cId="3747587241" sldId="2147483092"/>
            <ac:cxnSpMk id="234" creationId="{5DE3B6EE-49C8-1F9A-6C4E-4D6416C1B593}"/>
          </ac:cxnSpMkLst>
        </pc:cxnChg>
        <pc:cxnChg chg="del mod ord">
          <ac:chgData name="Yudi Zhu" userId="571e1a55-055f-4c28-8b35-fca6dd1c1369" providerId="ADAL" clId="{75A88773-6EE1-484E-AADE-FE631E01463B}" dt="2025-11-21T07:11:50.898" v="216606"/>
          <ac:cxnSpMkLst>
            <pc:docMk/>
            <pc:sldMk cId="3747587241" sldId="2147483092"/>
            <ac:cxnSpMk id="291" creationId="{0D1F8862-41F0-F3D6-8665-EF6D11CF9CA1}"/>
          </ac:cxnSpMkLst>
        </pc:cxnChg>
        <pc:cxnChg chg="del mod ord">
          <ac:chgData name="Yudi Zhu" userId="571e1a55-055f-4c28-8b35-fca6dd1c1369" providerId="ADAL" clId="{75A88773-6EE1-484E-AADE-FE631E01463B}" dt="2025-11-21T07:11:50.895" v="216598"/>
          <ac:cxnSpMkLst>
            <pc:docMk/>
            <pc:sldMk cId="3747587241" sldId="2147483092"/>
            <ac:cxnSpMk id="292" creationId="{9DF565FF-D20F-B171-3D6A-184A3ACF81B7}"/>
          </ac:cxnSpMkLst>
        </pc:cxnChg>
        <pc:cxnChg chg="del mod ord">
          <ac:chgData name="Yudi Zhu" userId="571e1a55-055f-4c28-8b35-fca6dd1c1369" providerId="ADAL" clId="{75A88773-6EE1-484E-AADE-FE631E01463B}" dt="2025-11-21T07:11:50.881" v="216565"/>
          <ac:cxnSpMkLst>
            <pc:docMk/>
            <pc:sldMk cId="3747587241" sldId="2147483092"/>
            <ac:cxnSpMk id="293" creationId="{2F616CA8-081B-6BFA-EABE-6251C5444812}"/>
          </ac:cxnSpMkLst>
        </pc:cxnChg>
        <pc:cxnChg chg="del mod ord">
          <ac:chgData name="Yudi Zhu" userId="571e1a55-055f-4c28-8b35-fca6dd1c1369" providerId="ADAL" clId="{75A88773-6EE1-484E-AADE-FE631E01463B}" dt="2025-11-21T07:11:50.890" v="216588"/>
          <ac:cxnSpMkLst>
            <pc:docMk/>
            <pc:sldMk cId="3747587241" sldId="2147483092"/>
            <ac:cxnSpMk id="294" creationId="{6AA15796-9B04-C8BE-AA28-B275C6DF7A90}"/>
          </ac:cxnSpMkLst>
        </pc:cxnChg>
        <pc:cxnChg chg="mod ord">
          <ac:chgData name="Yudi Zhu" userId="571e1a55-055f-4c28-8b35-fca6dd1c1369" providerId="ADAL" clId="{75A88773-6EE1-484E-AADE-FE631E01463B}" dt="2025-11-21T07:13:08.535" v="227345"/>
          <ac:cxnSpMkLst>
            <pc:docMk/>
            <pc:sldMk cId="3747587241" sldId="2147483092"/>
            <ac:cxnSpMk id="352" creationId="{4263A71F-EC78-DFDC-7D74-6EA9067C3D93}"/>
          </ac:cxnSpMkLst>
        </pc:cxnChg>
        <pc:cxnChg chg="del mod ord">
          <ac:chgData name="Yudi Zhu" userId="571e1a55-055f-4c28-8b35-fca6dd1c1369" providerId="ADAL" clId="{75A88773-6EE1-484E-AADE-FE631E01463B}" dt="2025-11-21T07:11:50.915" v="216658"/>
          <ac:cxnSpMkLst>
            <pc:docMk/>
            <pc:sldMk cId="3747587241" sldId="2147483092"/>
            <ac:cxnSpMk id="371" creationId="{7695CBD2-4E90-8BFA-3385-A06388B444C4}"/>
          </ac:cxnSpMkLst>
        </pc:cxnChg>
        <pc:cxnChg chg="del mod ord">
          <ac:chgData name="Yudi Zhu" userId="571e1a55-055f-4c28-8b35-fca6dd1c1369" providerId="ADAL" clId="{75A88773-6EE1-484E-AADE-FE631E01463B}" dt="2025-11-21T07:11:50.899" v="216609"/>
          <ac:cxnSpMkLst>
            <pc:docMk/>
            <pc:sldMk cId="3747587241" sldId="2147483092"/>
            <ac:cxnSpMk id="403" creationId="{BA9128B5-EF49-4B69-CDE7-E997B27CCCBA}"/>
          </ac:cxnSpMkLst>
        </pc:cxnChg>
        <pc:cxnChg chg="del mod ord">
          <ac:chgData name="Yudi Zhu" userId="571e1a55-055f-4c28-8b35-fca6dd1c1369" providerId="ADAL" clId="{75A88773-6EE1-484E-AADE-FE631E01463B}" dt="2025-11-21T07:11:50.886" v="216578"/>
          <ac:cxnSpMkLst>
            <pc:docMk/>
            <pc:sldMk cId="3747587241" sldId="2147483092"/>
            <ac:cxnSpMk id="404" creationId="{837DB185-7A5F-383C-F23A-AF1F1C40A0BD}"/>
          </ac:cxnSpMkLst>
        </pc:cxnChg>
        <pc:cxnChg chg="del mod ord">
          <ac:chgData name="Yudi Zhu" userId="571e1a55-055f-4c28-8b35-fca6dd1c1369" providerId="ADAL" clId="{75A88773-6EE1-484E-AADE-FE631E01463B}" dt="2025-11-21T07:11:50.877" v="216556"/>
          <ac:cxnSpMkLst>
            <pc:docMk/>
            <pc:sldMk cId="3747587241" sldId="2147483092"/>
            <ac:cxnSpMk id="409" creationId="{19664E6A-F000-66FF-52F8-AF3581B5173B}"/>
          </ac:cxnSpMkLst>
        </pc:cxnChg>
        <pc:cxnChg chg="del mod ord">
          <ac:chgData name="Yudi Zhu" userId="571e1a55-055f-4c28-8b35-fca6dd1c1369" providerId="ADAL" clId="{75A88773-6EE1-484E-AADE-FE631E01463B}" dt="2025-11-21T07:11:50.868" v="216536"/>
          <ac:cxnSpMkLst>
            <pc:docMk/>
            <pc:sldMk cId="3747587241" sldId="2147483092"/>
            <ac:cxnSpMk id="410" creationId="{9C7A6258-CD2E-9B36-125B-23984FFB4791}"/>
          </ac:cxnSpMkLst>
        </pc:cxnChg>
        <pc:cxnChg chg="del mod ord">
          <ac:chgData name="Yudi Zhu" userId="571e1a55-055f-4c28-8b35-fca6dd1c1369" providerId="ADAL" clId="{75A88773-6EE1-484E-AADE-FE631E01463B}" dt="2025-11-21T07:11:50.856" v="216534"/>
          <ac:cxnSpMkLst>
            <pc:docMk/>
            <pc:sldMk cId="3747587241" sldId="2147483092"/>
            <ac:cxnSpMk id="411" creationId="{446A87B7-FD8F-245A-DAD5-1AAE64996598}"/>
          </ac:cxnSpMkLst>
        </pc:cxnChg>
        <pc:cxnChg chg="del mod ord">
          <ac:chgData name="Yudi Zhu" userId="571e1a55-055f-4c28-8b35-fca6dd1c1369" providerId="ADAL" clId="{75A88773-6EE1-484E-AADE-FE631E01463B}" dt="2025-11-21T07:11:50.925" v="216675"/>
          <ac:cxnSpMkLst>
            <pc:docMk/>
            <pc:sldMk cId="3747587241" sldId="2147483092"/>
            <ac:cxnSpMk id="424" creationId="{AEEDCDF5-3E29-C5F1-4E78-1E954BEE7ED8}"/>
          </ac:cxnSpMkLst>
        </pc:cxnChg>
        <pc:cxnChg chg="del mod ord">
          <ac:chgData name="Yudi Zhu" userId="571e1a55-055f-4c28-8b35-fca6dd1c1369" providerId="ADAL" clId="{75A88773-6EE1-484E-AADE-FE631E01463B}" dt="2025-11-21T07:11:50.925" v="216678"/>
          <ac:cxnSpMkLst>
            <pc:docMk/>
            <pc:sldMk cId="3747587241" sldId="2147483092"/>
            <ac:cxnSpMk id="425" creationId="{4B0A3594-549B-47C5-B814-A5FC41C5DAD8}"/>
          </ac:cxnSpMkLst>
        </pc:cxnChg>
        <pc:cxnChg chg="del mod ord">
          <ac:chgData name="Yudi Zhu" userId="571e1a55-055f-4c28-8b35-fca6dd1c1369" providerId="ADAL" clId="{75A88773-6EE1-484E-AADE-FE631E01463B}" dt="2025-11-21T07:11:50.915" v="216646"/>
          <ac:cxnSpMkLst>
            <pc:docMk/>
            <pc:sldMk cId="3747587241" sldId="2147483092"/>
            <ac:cxnSpMk id="426" creationId="{B2CCE869-98B3-1271-4467-FCDC36152852}"/>
          </ac:cxnSpMkLst>
        </pc:cxnChg>
        <pc:cxnChg chg="del mod ord">
          <ac:chgData name="Yudi Zhu" userId="571e1a55-055f-4c28-8b35-fca6dd1c1369" providerId="ADAL" clId="{75A88773-6EE1-484E-AADE-FE631E01463B}" dt="2025-11-21T07:11:50.887" v="216581"/>
          <ac:cxnSpMkLst>
            <pc:docMk/>
            <pc:sldMk cId="3747587241" sldId="2147483092"/>
            <ac:cxnSpMk id="427" creationId="{2FCE6CB7-618A-8664-DF5D-6AC89AB6BBD0}"/>
          </ac:cxnSpMkLst>
        </pc:cxnChg>
        <pc:cxnChg chg="del mod ord">
          <ac:chgData name="Yudi Zhu" userId="571e1a55-055f-4c28-8b35-fca6dd1c1369" providerId="ADAL" clId="{75A88773-6EE1-484E-AADE-FE631E01463B}" dt="2025-11-21T07:11:50.925" v="216670"/>
          <ac:cxnSpMkLst>
            <pc:docMk/>
            <pc:sldMk cId="3747587241" sldId="2147483092"/>
            <ac:cxnSpMk id="428" creationId="{69E7427C-117E-56BC-C7B6-997EB645D1E0}"/>
          </ac:cxnSpMkLst>
        </pc:cxnChg>
        <pc:cxnChg chg="del mod ord">
          <ac:chgData name="Yudi Zhu" userId="571e1a55-055f-4c28-8b35-fca6dd1c1369" providerId="ADAL" clId="{75A88773-6EE1-484E-AADE-FE631E01463B}" dt="2025-11-21T07:11:50.885" v="216575"/>
          <ac:cxnSpMkLst>
            <pc:docMk/>
            <pc:sldMk cId="3747587241" sldId="2147483092"/>
            <ac:cxnSpMk id="431" creationId="{5AA105B7-A2E6-B910-AAFB-0A129E5A83EE}"/>
          </ac:cxnSpMkLst>
        </pc:cxnChg>
        <pc:cxnChg chg="del mod ord">
          <ac:chgData name="Yudi Zhu" userId="571e1a55-055f-4c28-8b35-fca6dd1c1369" providerId="ADAL" clId="{75A88773-6EE1-484E-AADE-FE631E01463B}" dt="2025-11-21T07:11:50.925" v="216695"/>
          <ac:cxnSpMkLst>
            <pc:docMk/>
            <pc:sldMk cId="3747587241" sldId="2147483092"/>
            <ac:cxnSpMk id="434" creationId="{5C1E66C5-45CB-E95A-9D3B-932FF92EC7EF}"/>
          </ac:cxnSpMkLst>
        </pc:cxnChg>
        <pc:cxnChg chg="del mod ord">
          <ac:chgData name="Yudi Zhu" userId="571e1a55-055f-4c28-8b35-fca6dd1c1369" providerId="ADAL" clId="{75A88773-6EE1-484E-AADE-FE631E01463B}" dt="2025-11-21T07:11:50.868" v="216538"/>
          <ac:cxnSpMkLst>
            <pc:docMk/>
            <pc:sldMk cId="3747587241" sldId="2147483092"/>
            <ac:cxnSpMk id="435" creationId="{ECA162E7-4A39-1A48-0620-6F602A22B9FB}"/>
          </ac:cxnSpMkLst>
        </pc:cxnChg>
        <pc:cxnChg chg="del mod ord">
          <ac:chgData name="Yudi Zhu" userId="571e1a55-055f-4c28-8b35-fca6dd1c1369" providerId="ADAL" clId="{75A88773-6EE1-484E-AADE-FE631E01463B}" dt="2025-11-21T07:11:50.876" v="216554"/>
          <ac:cxnSpMkLst>
            <pc:docMk/>
            <pc:sldMk cId="3747587241" sldId="2147483092"/>
            <ac:cxnSpMk id="450" creationId="{E08A7E24-6FD0-D422-C285-8574FB6C2C10}"/>
          </ac:cxnSpMkLst>
        </pc:cxnChg>
        <pc:cxnChg chg="del mod ord">
          <ac:chgData name="Yudi Zhu" userId="571e1a55-055f-4c28-8b35-fca6dd1c1369" providerId="ADAL" clId="{75A88773-6EE1-484E-AADE-FE631E01463B}" dt="2025-11-21T07:11:50.876" v="216552"/>
          <ac:cxnSpMkLst>
            <pc:docMk/>
            <pc:sldMk cId="3747587241" sldId="2147483092"/>
            <ac:cxnSpMk id="451" creationId="{11A3770B-14A7-64D4-C151-0BF2FCB335CC}"/>
          </ac:cxnSpMkLst>
        </pc:cxnChg>
        <pc:cxnChg chg="del mod ord">
          <ac:chgData name="Yudi Zhu" userId="571e1a55-055f-4c28-8b35-fca6dd1c1369" providerId="ADAL" clId="{75A88773-6EE1-484E-AADE-FE631E01463B}" dt="2025-11-21T07:11:50.868" v="216550"/>
          <ac:cxnSpMkLst>
            <pc:docMk/>
            <pc:sldMk cId="3747587241" sldId="2147483092"/>
            <ac:cxnSpMk id="452" creationId="{BFAD482D-5F3E-48DD-BE4D-3E1EC0328A9B}"/>
          </ac:cxnSpMkLst>
        </pc:cxnChg>
        <pc:cxnChg chg="add del mod ord">
          <ac:chgData name="Yudi Zhu" userId="571e1a55-055f-4c28-8b35-fca6dd1c1369" providerId="ADAL" clId="{75A88773-6EE1-484E-AADE-FE631E01463B}" dt="2025-11-21T07:12:38.404" v="223035"/>
          <ac:cxnSpMkLst>
            <pc:docMk/>
            <pc:sldMk cId="3747587241" sldId="2147483092"/>
            <ac:cxnSpMk id="484" creationId="{07D303C5-C61E-4324-98CA-70350EE9DF30}"/>
          </ac:cxnSpMkLst>
        </pc:cxnChg>
        <pc:cxnChg chg="add del mod ord">
          <ac:chgData name="Yudi Zhu" userId="571e1a55-055f-4c28-8b35-fca6dd1c1369" providerId="ADAL" clId="{75A88773-6EE1-484E-AADE-FE631E01463B}" dt="2025-11-21T07:12:38.404" v="223027"/>
          <ac:cxnSpMkLst>
            <pc:docMk/>
            <pc:sldMk cId="3747587241" sldId="2147483092"/>
            <ac:cxnSpMk id="485" creationId="{6A3E727F-D34D-A882-78A4-16CBCAACDD98}"/>
          </ac:cxnSpMkLst>
        </pc:cxnChg>
        <pc:cxnChg chg="add del mod ord">
          <ac:chgData name="Yudi Zhu" userId="571e1a55-055f-4c28-8b35-fca6dd1c1369" providerId="ADAL" clId="{75A88773-6EE1-484E-AADE-FE631E01463B}" dt="2025-11-21T07:12:38.404" v="223024"/>
          <ac:cxnSpMkLst>
            <pc:docMk/>
            <pc:sldMk cId="3747587241" sldId="2147483092"/>
            <ac:cxnSpMk id="486" creationId="{F362CA2E-6115-FA30-1894-137FF6E2B9A1}"/>
          </ac:cxnSpMkLst>
        </pc:cxnChg>
        <pc:cxnChg chg="del mod ord">
          <ac:chgData name="Yudi Zhu" userId="571e1a55-055f-4c28-8b35-fca6dd1c1369" providerId="ADAL" clId="{75A88773-6EE1-484E-AADE-FE631E01463B}" dt="2025-11-21T07:11:50.915" v="216653"/>
          <ac:cxnSpMkLst>
            <pc:docMk/>
            <pc:sldMk cId="3747587241" sldId="2147483092"/>
            <ac:cxnSpMk id="487" creationId="{04DA5EF9-F641-635D-5D14-26B26A1019AD}"/>
          </ac:cxnSpMkLst>
        </pc:cxnChg>
        <pc:cxnChg chg="del mod ord">
          <ac:chgData name="Yudi Zhu" userId="571e1a55-055f-4c28-8b35-fca6dd1c1369" providerId="ADAL" clId="{75A88773-6EE1-484E-AADE-FE631E01463B}" dt="2025-11-21T07:11:50.909" v="216641"/>
          <ac:cxnSpMkLst>
            <pc:docMk/>
            <pc:sldMk cId="3747587241" sldId="2147483092"/>
            <ac:cxnSpMk id="488" creationId="{D28D1E49-68EF-4D63-E72E-25882683E109}"/>
          </ac:cxnSpMkLst>
        </pc:cxnChg>
        <pc:cxnChg chg="del mod ord">
          <ac:chgData name="Yudi Zhu" userId="571e1a55-055f-4c28-8b35-fca6dd1c1369" providerId="ADAL" clId="{75A88773-6EE1-484E-AADE-FE631E01463B}" dt="2025-11-21T07:11:50.896" v="216601"/>
          <ac:cxnSpMkLst>
            <pc:docMk/>
            <pc:sldMk cId="3747587241" sldId="2147483092"/>
            <ac:cxnSpMk id="489" creationId="{96F7872F-3B91-CD89-8DC7-8A94729A70A5}"/>
          </ac:cxnSpMkLst>
        </pc:cxnChg>
        <pc:cxnChg chg="add del mod ord">
          <ac:chgData name="Yudi Zhu" userId="571e1a55-055f-4c28-8b35-fca6dd1c1369" providerId="ADAL" clId="{75A88773-6EE1-484E-AADE-FE631E01463B}" dt="2025-11-21T07:12:38.404" v="223022"/>
          <ac:cxnSpMkLst>
            <pc:docMk/>
            <pc:sldMk cId="3747587241" sldId="2147483092"/>
            <ac:cxnSpMk id="490" creationId="{F34BEEE7-8F51-479E-BDB3-CD2266063318}"/>
          </ac:cxnSpMkLst>
        </pc:cxnChg>
        <pc:cxnChg chg="add del mod ord">
          <ac:chgData name="Yudi Zhu" userId="571e1a55-055f-4c28-8b35-fca6dd1c1369" providerId="ADAL" clId="{75A88773-6EE1-484E-AADE-FE631E01463B}" dt="2025-11-21T07:12:38.419" v="223040"/>
          <ac:cxnSpMkLst>
            <pc:docMk/>
            <pc:sldMk cId="3747587241" sldId="2147483092"/>
            <ac:cxnSpMk id="491" creationId="{30BD3DF1-25BC-F8CC-E812-88A88C113E48}"/>
          </ac:cxnSpMkLst>
        </pc:cxnChg>
        <pc:cxnChg chg="add del mod ord">
          <ac:chgData name="Yudi Zhu" userId="571e1a55-055f-4c28-8b35-fca6dd1c1369" providerId="ADAL" clId="{75A88773-6EE1-484E-AADE-FE631E01463B}" dt="2025-11-21T07:12:38.404" v="223019"/>
          <ac:cxnSpMkLst>
            <pc:docMk/>
            <pc:sldMk cId="3747587241" sldId="2147483092"/>
            <ac:cxnSpMk id="492" creationId="{BFECE7ED-4F83-8936-D3B6-823EE5F432BC}"/>
          </ac:cxnSpMkLst>
        </pc:cxnChg>
        <pc:cxnChg chg="add del mod ord">
          <ac:chgData name="Yudi Zhu" userId="571e1a55-055f-4c28-8b35-fca6dd1c1369" providerId="ADAL" clId="{75A88773-6EE1-484E-AADE-FE631E01463B}" dt="2025-11-21T07:12:38.404" v="223017"/>
          <ac:cxnSpMkLst>
            <pc:docMk/>
            <pc:sldMk cId="3747587241" sldId="2147483092"/>
            <ac:cxnSpMk id="493" creationId="{DA82541C-3AA7-D7D6-3822-9A73F770B1EA}"/>
          </ac:cxnSpMkLst>
        </pc:cxnChg>
        <pc:cxnChg chg="add del mod ord">
          <ac:chgData name="Yudi Zhu" userId="571e1a55-055f-4c28-8b35-fca6dd1c1369" providerId="ADAL" clId="{75A88773-6EE1-484E-AADE-FE631E01463B}" dt="2025-11-21T07:12:38.419" v="223053"/>
          <ac:cxnSpMkLst>
            <pc:docMk/>
            <pc:sldMk cId="3747587241" sldId="2147483092"/>
            <ac:cxnSpMk id="494" creationId="{69EBCAE0-71CF-55B9-B759-CB639D4297AD}"/>
          </ac:cxnSpMkLst>
        </pc:cxnChg>
        <pc:cxnChg chg="add del mod ord">
          <ac:chgData name="Yudi Zhu" userId="571e1a55-055f-4c28-8b35-fca6dd1c1369" providerId="ADAL" clId="{75A88773-6EE1-484E-AADE-FE631E01463B}" dt="2025-11-21T07:12:38.419" v="223051"/>
          <ac:cxnSpMkLst>
            <pc:docMk/>
            <pc:sldMk cId="3747587241" sldId="2147483092"/>
            <ac:cxnSpMk id="495" creationId="{2A78332D-BE69-5D54-DDC9-C3749DAC6436}"/>
          </ac:cxnSpMkLst>
        </pc:cxnChg>
        <pc:cxnChg chg="add del mod ord">
          <ac:chgData name="Yudi Zhu" userId="571e1a55-055f-4c28-8b35-fca6dd1c1369" providerId="ADAL" clId="{75A88773-6EE1-484E-AADE-FE631E01463B}" dt="2025-11-21T07:12:38.419" v="223048"/>
          <ac:cxnSpMkLst>
            <pc:docMk/>
            <pc:sldMk cId="3747587241" sldId="2147483092"/>
            <ac:cxnSpMk id="496" creationId="{42DD3C48-E171-15EF-EAB6-BCA9F0B1BEDB}"/>
          </ac:cxnSpMkLst>
        </pc:cxnChg>
        <pc:cxnChg chg="del mod ord">
          <ac:chgData name="Yudi Zhu" userId="571e1a55-055f-4c28-8b35-fca6dd1c1369" providerId="ADAL" clId="{75A88773-6EE1-484E-AADE-FE631E01463B}" dt="2025-11-21T07:11:50.915" v="216663"/>
          <ac:cxnSpMkLst>
            <pc:docMk/>
            <pc:sldMk cId="3747587241" sldId="2147483092"/>
            <ac:cxnSpMk id="497" creationId="{5A7C1760-581F-8BAE-F0C6-ADCDC9B0CE9A}"/>
          </ac:cxnSpMkLst>
        </pc:cxnChg>
        <pc:cxnChg chg="add del mod ord">
          <ac:chgData name="Yudi Zhu" userId="571e1a55-055f-4c28-8b35-fca6dd1c1369" providerId="ADAL" clId="{75A88773-6EE1-484E-AADE-FE631E01463B}" dt="2025-11-21T07:12:38.419" v="223046"/>
          <ac:cxnSpMkLst>
            <pc:docMk/>
            <pc:sldMk cId="3747587241" sldId="2147483092"/>
            <ac:cxnSpMk id="498" creationId="{04960A13-887E-DBE3-C631-11AD984A4856}"/>
          </ac:cxnSpMkLst>
        </pc:cxnChg>
        <pc:cxnChg chg="add del mod ord">
          <ac:chgData name="Yudi Zhu" userId="571e1a55-055f-4c28-8b35-fca6dd1c1369" providerId="ADAL" clId="{75A88773-6EE1-484E-AADE-FE631E01463B}" dt="2025-11-21T07:12:38.419" v="223069"/>
          <ac:cxnSpMkLst>
            <pc:docMk/>
            <pc:sldMk cId="3747587241" sldId="2147483092"/>
            <ac:cxnSpMk id="499" creationId="{A455590B-2B95-FC8A-FE96-DE11241ADCDE}"/>
          </ac:cxnSpMkLst>
        </pc:cxnChg>
        <pc:cxnChg chg="del mod ord">
          <ac:chgData name="Yudi Zhu" userId="571e1a55-055f-4c28-8b35-fca6dd1c1369" providerId="ADAL" clId="{75A88773-6EE1-484E-AADE-FE631E01463B}" dt="2025-11-21T07:11:50.882" v="216568"/>
          <ac:cxnSpMkLst>
            <pc:docMk/>
            <pc:sldMk cId="3747587241" sldId="2147483092"/>
            <ac:cxnSpMk id="500" creationId="{73B60EA3-8B3F-E4B1-5877-7BAEB2A92700}"/>
          </ac:cxnSpMkLst>
        </pc:cxnChg>
        <pc:cxnChg chg="del mod ord">
          <ac:chgData name="Yudi Zhu" userId="571e1a55-055f-4c28-8b35-fca6dd1c1369" providerId="ADAL" clId="{75A88773-6EE1-484E-AADE-FE631E01463B}" dt="2025-11-21T07:11:50.915" v="216656"/>
          <ac:cxnSpMkLst>
            <pc:docMk/>
            <pc:sldMk cId="3747587241" sldId="2147483092"/>
            <ac:cxnSpMk id="501" creationId="{31BBDF1D-384A-CA1B-E5CC-8D290EBDEE93}"/>
          </ac:cxnSpMkLst>
        </pc:cxnChg>
        <pc:cxnChg chg="del mod ord">
          <ac:chgData name="Yudi Zhu" userId="571e1a55-055f-4c28-8b35-fca6dd1c1369" providerId="ADAL" clId="{75A88773-6EE1-484E-AADE-FE631E01463B}" dt="2025-11-21T07:11:50.868" v="216548"/>
          <ac:cxnSpMkLst>
            <pc:docMk/>
            <pc:sldMk cId="3747587241" sldId="2147483092"/>
            <ac:cxnSpMk id="502" creationId="{4CC651D8-EDBA-8820-3324-DE14FE1741AF}"/>
          </ac:cxnSpMkLst>
        </pc:cxnChg>
        <pc:cxnChg chg="del mod ord">
          <ac:chgData name="Yudi Zhu" userId="571e1a55-055f-4c28-8b35-fca6dd1c1369" providerId="ADAL" clId="{75A88773-6EE1-484E-AADE-FE631E01463B}" dt="2025-11-21T07:11:50.868" v="216546"/>
          <ac:cxnSpMkLst>
            <pc:docMk/>
            <pc:sldMk cId="3747587241" sldId="2147483092"/>
            <ac:cxnSpMk id="503" creationId="{D7335AEC-9FE5-F8C7-3EA7-E0B40EA19127}"/>
          </ac:cxnSpMkLst>
        </pc:cxnChg>
        <pc:cxnChg chg="add del mod ord">
          <ac:chgData name="Yudi Zhu" userId="571e1a55-055f-4c28-8b35-fca6dd1c1369" providerId="ADAL" clId="{75A88773-6EE1-484E-AADE-FE631E01463B}" dt="2025-11-21T07:12:38.419" v="223066"/>
          <ac:cxnSpMkLst>
            <pc:docMk/>
            <pc:sldMk cId="3747587241" sldId="2147483092"/>
            <ac:cxnSpMk id="504" creationId="{34D97B4A-0098-D725-FA5E-1424D77DD973}"/>
          </ac:cxnSpMkLst>
        </pc:cxnChg>
        <pc:cxnChg chg="add del mod ord">
          <ac:chgData name="Yudi Zhu" userId="571e1a55-055f-4c28-8b35-fca6dd1c1369" providerId="ADAL" clId="{75A88773-6EE1-484E-AADE-FE631E01463B}" dt="2025-11-21T07:12:38.419" v="223064"/>
          <ac:cxnSpMkLst>
            <pc:docMk/>
            <pc:sldMk cId="3747587241" sldId="2147483092"/>
            <ac:cxnSpMk id="505" creationId="{0FB340F6-564B-47E6-596B-201F48B0557C}"/>
          </ac:cxnSpMkLst>
        </pc:cxnChg>
        <pc:cxnChg chg="add del mod ord">
          <ac:chgData name="Yudi Zhu" userId="571e1a55-055f-4c28-8b35-fca6dd1c1369" providerId="ADAL" clId="{75A88773-6EE1-484E-AADE-FE631E01463B}" dt="2025-11-21T07:12:38.419" v="223061"/>
          <ac:cxnSpMkLst>
            <pc:docMk/>
            <pc:sldMk cId="3747587241" sldId="2147483092"/>
            <ac:cxnSpMk id="506" creationId="{D21FD19F-BC61-CB59-814D-E6F75C056373}"/>
          </ac:cxnSpMkLst>
        </pc:cxnChg>
        <pc:cxnChg chg="add del mod ord">
          <ac:chgData name="Yudi Zhu" userId="571e1a55-055f-4c28-8b35-fca6dd1c1369" providerId="ADAL" clId="{75A88773-6EE1-484E-AADE-FE631E01463B}" dt="2025-11-21T07:12:38.419" v="223059"/>
          <ac:cxnSpMkLst>
            <pc:docMk/>
            <pc:sldMk cId="3747587241" sldId="2147483092"/>
            <ac:cxnSpMk id="507" creationId="{98D17A2F-96F7-895E-7907-DB97F54619B8}"/>
          </ac:cxnSpMkLst>
        </pc:cxnChg>
        <pc:cxnChg chg="add del mod ord">
          <ac:chgData name="Yudi Zhu" userId="571e1a55-055f-4c28-8b35-fca6dd1c1369" providerId="ADAL" clId="{75A88773-6EE1-484E-AADE-FE631E01463B}" dt="2025-11-21T07:12:38.419" v="223056"/>
          <ac:cxnSpMkLst>
            <pc:docMk/>
            <pc:sldMk cId="3747587241" sldId="2147483092"/>
            <ac:cxnSpMk id="508" creationId="{7C14D952-5456-BC7B-B3C8-45354C172F8D}"/>
          </ac:cxnSpMkLst>
        </pc:cxnChg>
        <pc:cxnChg chg="add del mod ord">
          <ac:chgData name="Yudi Zhu" userId="571e1a55-055f-4c28-8b35-fca6dd1c1369" providerId="ADAL" clId="{75A88773-6EE1-484E-AADE-FE631E01463B}" dt="2025-11-21T07:12:38.436" v="223083"/>
          <ac:cxnSpMkLst>
            <pc:docMk/>
            <pc:sldMk cId="3747587241" sldId="2147483092"/>
            <ac:cxnSpMk id="509" creationId="{9C367522-2658-6A38-B748-73532A8D9140}"/>
          </ac:cxnSpMkLst>
        </pc:cxnChg>
        <pc:cxnChg chg="add del mod ord">
          <ac:chgData name="Yudi Zhu" userId="571e1a55-055f-4c28-8b35-fca6dd1c1369" providerId="ADAL" clId="{75A88773-6EE1-484E-AADE-FE631E01463B}" dt="2025-11-21T07:12:38.404" v="223014"/>
          <ac:cxnSpMkLst>
            <pc:docMk/>
            <pc:sldMk cId="3747587241" sldId="2147483092"/>
            <ac:cxnSpMk id="510" creationId="{082B8C51-7966-B57F-5E69-9691D0E83B84}"/>
          </ac:cxnSpMkLst>
        </pc:cxnChg>
        <pc:cxnChg chg="add del mod ord">
          <ac:chgData name="Yudi Zhu" userId="571e1a55-055f-4c28-8b35-fca6dd1c1369" providerId="ADAL" clId="{75A88773-6EE1-484E-AADE-FE631E01463B}" dt="2025-11-21T07:12:38.404" v="223012"/>
          <ac:cxnSpMkLst>
            <pc:docMk/>
            <pc:sldMk cId="3747587241" sldId="2147483092"/>
            <ac:cxnSpMk id="511" creationId="{AEE26E97-78D6-F0EA-C8A2-91C71AD7A711}"/>
          </ac:cxnSpMkLst>
        </pc:cxnChg>
        <pc:cxnChg chg="del mod ord">
          <ac:chgData name="Yudi Zhu" userId="571e1a55-055f-4c28-8b35-fca6dd1c1369" providerId="ADAL" clId="{75A88773-6EE1-484E-AADE-FE631E01463B}" dt="2025-11-21T07:11:50.903" v="216619"/>
          <ac:cxnSpMkLst>
            <pc:docMk/>
            <pc:sldMk cId="3747587241" sldId="2147483092"/>
            <ac:cxnSpMk id="533" creationId="{EC93DE69-C302-B7F6-2FD2-177F1D74F28A}"/>
          </ac:cxnSpMkLst>
        </pc:cxnChg>
        <pc:cxnChg chg="del mod ord">
          <ac:chgData name="Yudi Zhu" userId="571e1a55-055f-4c28-8b35-fca6dd1c1369" providerId="ADAL" clId="{75A88773-6EE1-484E-AADE-FE631E01463B}" dt="2025-11-21T07:11:50.868" v="216544"/>
          <ac:cxnSpMkLst>
            <pc:docMk/>
            <pc:sldMk cId="3747587241" sldId="2147483092"/>
            <ac:cxnSpMk id="535" creationId="{68CEEA1B-4F2F-0302-99B4-45B61908A1F4}"/>
          </ac:cxnSpMkLst>
        </pc:cxnChg>
        <pc:cxnChg chg="del mod ord">
          <ac:chgData name="Yudi Zhu" userId="571e1a55-055f-4c28-8b35-fca6dd1c1369" providerId="ADAL" clId="{75A88773-6EE1-484E-AADE-FE631E01463B}" dt="2025-11-21T07:11:50.868" v="216542"/>
          <ac:cxnSpMkLst>
            <pc:docMk/>
            <pc:sldMk cId="3747587241" sldId="2147483092"/>
            <ac:cxnSpMk id="536" creationId="{0C8CB274-9B28-1D7C-78CF-668379920100}"/>
          </ac:cxnSpMkLst>
        </pc:cxnChg>
        <pc:cxnChg chg="del mod ord">
          <ac:chgData name="Yudi Zhu" userId="571e1a55-055f-4c28-8b35-fca6dd1c1369" providerId="ADAL" clId="{75A88773-6EE1-484E-AADE-FE631E01463B}" dt="2025-11-21T07:11:50.868" v="216540"/>
          <ac:cxnSpMkLst>
            <pc:docMk/>
            <pc:sldMk cId="3747587241" sldId="2147483092"/>
            <ac:cxnSpMk id="537" creationId="{35E1A864-FF9C-E594-5E98-DD5CB9F8517F}"/>
          </ac:cxnSpMkLst>
        </pc:cxnChg>
        <pc:cxnChg chg="mod ord">
          <ac:chgData name="Yudi Zhu" userId="571e1a55-055f-4c28-8b35-fca6dd1c1369" providerId="ADAL" clId="{75A88773-6EE1-484E-AADE-FE631E01463B}" dt="2025-11-21T07:13:08.492" v="227274"/>
          <ac:cxnSpMkLst>
            <pc:docMk/>
            <pc:sldMk cId="3747587241" sldId="2147483092"/>
            <ac:cxnSpMk id="550" creationId="{6CD00907-2A9C-1E33-80B9-E0465A3BC831}"/>
          </ac:cxnSpMkLst>
        </pc:cxnChg>
        <pc:cxnChg chg="mod ord">
          <ac:chgData name="Yudi Zhu" userId="571e1a55-055f-4c28-8b35-fca6dd1c1369" providerId="ADAL" clId="{75A88773-6EE1-484E-AADE-FE631E01463B}" dt="2025-11-21T07:13:08.492" v="227276"/>
          <ac:cxnSpMkLst>
            <pc:docMk/>
            <pc:sldMk cId="3747587241" sldId="2147483092"/>
            <ac:cxnSpMk id="553" creationId="{5E069998-40BE-875B-7E9C-72CBB2D585E6}"/>
          </ac:cxnSpMkLst>
        </pc:cxnChg>
        <pc:cxnChg chg="mod ord">
          <ac:chgData name="Yudi Zhu" userId="571e1a55-055f-4c28-8b35-fca6dd1c1369" providerId="ADAL" clId="{75A88773-6EE1-484E-AADE-FE631E01463B}" dt="2025-11-21T07:13:08.492" v="227278"/>
          <ac:cxnSpMkLst>
            <pc:docMk/>
            <pc:sldMk cId="3747587241" sldId="2147483092"/>
            <ac:cxnSpMk id="554" creationId="{70A8EF6B-C27B-0C75-FE8D-67529E97ADFB}"/>
          </ac:cxnSpMkLst>
        </pc:cxnChg>
        <pc:cxnChg chg="mod ord">
          <ac:chgData name="Yudi Zhu" userId="571e1a55-055f-4c28-8b35-fca6dd1c1369" providerId="ADAL" clId="{75A88773-6EE1-484E-AADE-FE631E01463B}" dt="2025-11-21T07:13:08.492" v="227282"/>
          <ac:cxnSpMkLst>
            <pc:docMk/>
            <pc:sldMk cId="3747587241" sldId="2147483092"/>
            <ac:cxnSpMk id="555" creationId="{C85D946B-2BB8-5E01-0A36-2EDD703FB15B}"/>
          </ac:cxnSpMkLst>
        </pc:cxnChg>
        <pc:cxnChg chg="add del mod ord">
          <ac:chgData name="Yudi Zhu" userId="571e1a55-055f-4c28-8b35-fca6dd1c1369" providerId="ADAL" clId="{75A88773-6EE1-484E-AADE-FE631E01463B}" dt="2025-11-21T07:13:12.988" v="227777"/>
          <ac:cxnSpMkLst>
            <pc:docMk/>
            <pc:sldMk cId="3747587241" sldId="2147483092"/>
            <ac:cxnSpMk id="569" creationId="{A01F6287-2D67-EDAB-2C27-5F4237F1BE38}"/>
          </ac:cxnSpMkLst>
        </pc:cxnChg>
        <pc:cxnChg chg="add del mod ord">
          <ac:chgData name="Yudi Zhu" userId="571e1a55-055f-4c28-8b35-fca6dd1c1369" providerId="ADAL" clId="{75A88773-6EE1-484E-AADE-FE631E01463B}" dt="2025-11-21T07:13:12.988" v="227782"/>
          <ac:cxnSpMkLst>
            <pc:docMk/>
            <pc:sldMk cId="3747587241" sldId="2147483092"/>
            <ac:cxnSpMk id="570" creationId="{8B4CEC89-0470-E83E-A63A-2F836502A855}"/>
          </ac:cxnSpMkLst>
        </pc:cxnChg>
        <pc:cxnChg chg="add del mod ord">
          <ac:chgData name="Yudi Zhu" userId="571e1a55-055f-4c28-8b35-fca6dd1c1369" providerId="ADAL" clId="{75A88773-6EE1-484E-AADE-FE631E01463B}" dt="2025-11-21T07:13:12.999" v="227787"/>
          <ac:cxnSpMkLst>
            <pc:docMk/>
            <pc:sldMk cId="3747587241" sldId="2147483092"/>
            <ac:cxnSpMk id="571" creationId="{DA87542B-86D5-B2A0-2BC6-34E348467615}"/>
          </ac:cxnSpMkLst>
        </pc:cxnChg>
        <pc:cxnChg chg="add del mod ord">
          <ac:chgData name="Yudi Zhu" userId="571e1a55-055f-4c28-8b35-fca6dd1c1369" providerId="ADAL" clId="{75A88773-6EE1-484E-AADE-FE631E01463B}" dt="2025-11-21T07:13:12.988" v="227785"/>
          <ac:cxnSpMkLst>
            <pc:docMk/>
            <pc:sldMk cId="3747587241" sldId="2147483092"/>
            <ac:cxnSpMk id="572" creationId="{F67378FA-68F9-0357-12E0-902DB7D33C09}"/>
          </ac:cxnSpMkLst>
        </pc:cxnChg>
        <pc:cxnChg chg="add del mod ord">
          <ac:chgData name="Yudi Zhu" userId="571e1a55-055f-4c28-8b35-fca6dd1c1369" providerId="ADAL" clId="{75A88773-6EE1-484E-AADE-FE631E01463B}" dt="2025-11-21T07:13:12.982" v="227756"/>
          <ac:cxnSpMkLst>
            <pc:docMk/>
            <pc:sldMk cId="3747587241" sldId="2147483092"/>
            <ac:cxnSpMk id="573" creationId="{ED2BBB15-387A-8B57-7334-04176BBD6660}"/>
          </ac:cxnSpMkLst>
        </pc:cxnChg>
        <pc:cxnChg chg="add del mod ord">
          <ac:chgData name="Yudi Zhu" userId="571e1a55-055f-4c28-8b35-fca6dd1c1369" providerId="ADAL" clId="{75A88773-6EE1-484E-AADE-FE631E01463B}" dt="2025-11-21T07:13:12.985" v="227761"/>
          <ac:cxnSpMkLst>
            <pc:docMk/>
            <pc:sldMk cId="3747587241" sldId="2147483092"/>
            <ac:cxnSpMk id="574" creationId="{3C38D19E-BB3B-0EE3-B842-3B55F7D0440D}"/>
          </ac:cxnSpMkLst>
        </pc:cxnChg>
        <pc:cxnChg chg="add del mod ord">
          <ac:chgData name="Yudi Zhu" userId="571e1a55-055f-4c28-8b35-fca6dd1c1369" providerId="ADAL" clId="{75A88773-6EE1-484E-AADE-FE631E01463B}" dt="2025-11-21T07:13:12.983" v="227759"/>
          <ac:cxnSpMkLst>
            <pc:docMk/>
            <pc:sldMk cId="3747587241" sldId="2147483092"/>
            <ac:cxnSpMk id="575" creationId="{9EE57FC8-3C1A-E25C-0204-E89683D686CE}"/>
          </ac:cxnSpMkLst>
        </pc:cxnChg>
        <pc:cxnChg chg="add del mod ord">
          <ac:chgData name="Yudi Zhu" userId="571e1a55-055f-4c28-8b35-fca6dd1c1369" providerId="ADAL" clId="{75A88773-6EE1-484E-AADE-FE631E01463B}" dt="2025-11-21T07:13:12.869" v="227589"/>
          <ac:cxnSpMkLst>
            <pc:docMk/>
            <pc:sldMk cId="3747587241" sldId="2147483092"/>
            <ac:cxnSpMk id="576" creationId="{8378E87C-7EBA-BEC8-0A19-9D07A4EF6CAE}"/>
          </ac:cxnSpMkLst>
        </pc:cxnChg>
        <pc:cxnChg chg="add del mod ord">
          <ac:chgData name="Yudi Zhu" userId="571e1a55-055f-4c28-8b35-fca6dd1c1369" providerId="ADAL" clId="{75A88773-6EE1-484E-AADE-FE631E01463B}" dt="2025-11-21T07:13:12.869" v="227596"/>
          <ac:cxnSpMkLst>
            <pc:docMk/>
            <pc:sldMk cId="3747587241" sldId="2147483092"/>
            <ac:cxnSpMk id="577" creationId="{D277279D-360F-9613-B062-22D3BF71FC7C}"/>
          </ac:cxnSpMkLst>
        </pc:cxnChg>
        <pc:cxnChg chg="add del mod ord">
          <ac:chgData name="Yudi Zhu" userId="571e1a55-055f-4c28-8b35-fca6dd1c1369" providerId="ADAL" clId="{75A88773-6EE1-484E-AADE-FE631E01463B}" dt="2025-11-21T07:13:12.869" v="227594"/>
          <ac:cxnSpMkLst>
            <pc:docMk/>
            <pc:sldMk cId="3747587241" sldId="2147483092"/>
            <ac:cxnSpMk id="578" creationId="{84C0E864-83BA-6965-9106-8667B0763AC9}"/>
          </ac:cxnSpMkLst>
        </pc:cxnChg>
        <pc:cxnChg chg="mod ord">
          <ac:chgData name="Yudi Zhu" userId="571e1a55-055f-4c28-8b35-fca6dd1c1369" providerId="ADAL" clId="{75A88773-6EE1-484E-AADE-FE631E01463B}" dt="2025-11-21T07:13:08.492" v="227280"/>
          <ac:cxnSpMkLst>
            <pc:docMk/>
            <pc:sldMk cId="3747587241" sldId="2147483092"/>
            <ac:cxnSpMk id="579" creationId="{12BD287C-609C-814D-229F-12DD204B7994}"/>
          </ac:cxnSpMkLst>
        </pc:cxnChg>
      </pc:sldChg>
      <pc:sldChg chg="addSp delSp modSp add mod ord">
        <pc:chgData name="Yudi Zhu" userId="571e1a55-055f-4c28-8b35-fca6dd1c1369" providerId="ADAL" clId="{75A88773-6EE1-484E-AADE-FE631E01463B}" dt="2025-11-26T07:05:58.328" v="765907" actId="20577"/>
        <pc:sldMkLst>
          <pc:docMk/>
          <pc:sldMk cId="80455690" sldId="2147483093"/>
        </pc:sldMkLst>
        <pc:spChg chg="mod ord">
          <ac:chgData name="Yudi Zhu" userId="571e1a55-055f-4c28-8b35-fca6dd1c1369" providerId="ADAL" clId="{75A88773-6EE1-484E-AADE-FE631E01463B}" dt="2025-11-25T10:14:15.516" v="658084"/>
          <ac:spMkLst>
            <pc:docMk/>
            <pc:sldMk cId="80455690" sldId="2147483093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1T09:24:53.311" v="413042"/>
          <ac:spMkLst>
            <pc:docMk/>
            <pc:sldMk cId="80455690" sldId="2147483093"/>
            <ac:spMk id="3" creationId="{72EF57C7-23EF-7248-4B5B-D05461C9DDA6}"/>
          </ac:spMkLst>
        </pc:spChg>
        <pc:spChg chg="add del mod modVis">
          <ac:chgData name="Yudi Zhu" userId="571e1a55-055f-4c28-8b35-fca6dd1c1369" providerId="ADAL" clId="{75A88773-6EE1-484E-AADE-FE631E01463B}" dt="2025-11-24T01:55:06.211" v="476394"/>
          <ac:spMkLst>
            <pc:docMk/>
            <pc:sldMk cId="80455690" sldId="2147483093"/>
            <ac:spMk id="3" creationId="{9C38DFB4-B23D-F9C6-1B67-003298896603}"/>
          </ac:spMkLst>
        </pc:spChg>
        <pc:spChg chg="add del mod modVis">
          <ac:chgData name="Yudi Zhu" userId="571e1a55-055f-4c28-8b35-fca6dd1c1369" providerId="ADAL" clId="{75A88773-6EE1-484E-AADE-FE631E01463B}" dt="2025-11-25T10:05:13.011" v="657722"/>
          <ac:spMkLst>
            <pc:docMk/>
            <pc:sldMk cId="80455690" sldId="2147483093"/>
            <ac:spMk id="4" creationId="{C31DCEBD-90FF-87F3-10FF-FC0E439CC7DB}"/>
          </ac:spMkLst>
        </pc:spChg>
        <pc:spChg chg="add del mod modVis">
          <ac:chgData name="Yudi Zhu" userId="571e1a55-055f-4c28-8b35-fca6dd1c1369" providerId="ADAL" clId="{75A88773-6EE1-484E-AADE-FE631E01463B}" dt="2025-11-24T01:55:21.696" v="476912"/>
          <ac:spMkLst>
            <pc:docMk/>
            <pc:sldMk cId="80455690" sldId="2147483093"/>
            <ac:spMk id="5" creationId="{F22C16CC-C743-92C2-500E-40122A41542B}"/>
          </ac:spMkLst>
        </pc:spChg>
        <pc:spChg chg="add del mod modVis">
          <ac:chgData name="Yudi Zhu" userId="571e1a55-055f-4c28-8b35-fca6dd1c1369" providerId="ADAL" clId="{75A88773-6EE1-484E-AADE-FE631E01463B}" dt="2025-11-25T10:14:15.621" v="658372"/>
          <ac:spMkLst>
            <pc:docMk/>
            <pc:sldMk cId="80455690" sldId="2147483093"/>
            <ac:spMk id="6" creationId="{E250ADF5-D14C-81F7-CD94-983AFA5E3F3E}"/>
          </ac:spMkLst>
        </pc:spChg>
        <pc:spChg chg="add del mod modVis">
          <ac:chgData name="Yudi Zhu" userId="571e1a55-055f-4c28-8b35-fca6dd1c1369" providerId="ADAL" clId="{75A88773-6EE1-484E-AADE-FE631E01463B}" dt="2025-11-21T09:24:56.223" v="413601"/>
          <ac:spMkLst>
            <pc:docMk/>
            <pc:sldMk cId="80455690" sldId="2147483093"/>
            <ac:spMk id="7" creationId="{FD9C6DC6-85AD-F44C-B70B-123A1F78908A}"/>
          </ac:spMkLst>
        </pc:spChg>
        <pc:spChg chg="add del mod">
          <ac:chgData name="Yudi Zhu" userId="571e1a55-055f-4c28-8b35-fca6dd1c1369" providerId="ADAL" clId="{75A88773-6EE1-484E-AADE-FE631E01463B}" dt="2025-11-24T02:58:49.424" v="484363" actId="478"/>
          <ac:spMkLst>
            <pc:docMk/>
            <pc:sldMk cId="80455690" sldId="2147483093"/>
            <ac:spMk id="8" creationId="{64E069C0-F846-2B57-165A-376C69D2497C}"/>
          </ac:spMkLst>
        </pc:spChg>
        <pc:spChg chg="add del mod">
          <ac:chgData name="Yudi Zhu" userId="571e1a55-055f-4c28-8b35-fca6dd1c1369" providerId="ADAL" clId="{75A88773-6EE1-484E-AADE-FE631E01463B}" dt="2025-11-24T02:59:10.576" v="485515"/>
          <ac:spMkLst>
            <pc:docMk/>
            <pc:sldMk cId="80455690" sldId="2147483093"/>
            <ac:spMk id="13" creationId="{AEB0F510-C73F-D127-4D19-BC969C8CE304}"/>
          </ac:spMkLst>
        </pc:spChg>
        <pc:spChg chg="add del mod">
          <ac:chgData name="Yudi Zhu" userId="571e1a55-055f-4c28-8b35-fca6dd1c1369" providerId="ADAL" clId="{75A88773-6EE1-484E-AADE-FE631E01463B}" dt="2025-11-24T02:59:10.574" v="485514"/>
          <ac:spMkLst>
            <pc:docMk/>
            <pc:sldMk cId="80455690" sldId="2147483093"/>
            <ac:spMk id="14" creationId="{C19CA958-2EBF-1223-B499-13156454D766}"/>
          </ac:spMkLst>
        </pc:spChg>
        <pc:spChg chg="add del mod">
          <ac:chgData name="Yudi Zhu" userId="571e1a55-055f-4c28-8b35-fca6dd1c1369" providerId="ADAL" clId="{75A88773-6EE1-484E-AADE-FE631E01463B}" dt="2025-11-24T02:59:10.574" v="485513"/>
          <ac:spMkLst>
            <pc:docMk/>
            <pc:sldMk cId="80455690" sldId="2147483093"/>
            <ac:spMk id="15" creationId="{55A17258-194C-C439-C8DC-337C38B23868}"/>
          </ac:spMkLst>
        </pc:spChg>
        <pc:spChg chg="add del mod">
          <ac:chgData name="Yudi Zhu" userId="571e1a55-055f-4c28-8b35-fca6dd1c1369" providerId="ADAL" clId="{75A88773-6EE1-484E-AADE-FE631E01463B}" dt="2025-11-24T02:59:10.574" v="485512"/>
          <ac:spMkLst>
            <pc:docMk/>
            <pc:sldMk cId="80455690" sldId="2147483093"/>
            <ac:spMk id="16" creationId="{C939878C-F21A-912F-643D-5FB7E5C44464}"/>
          </ac:spMkLst>
        </pc:spChg>
        <pc:spChg chg="add del mod modVis">
          <ac:chgData name="Yudi Zhu" userId="571e1a55-055f-4c28-8b35-fca6dd1c1369" providerId="ADAL" clId="{75A88773-6EE1-484E-AADE-FE631E01463B}" dt="2025-11-21T09:25:01.076" v="414050"/>
          <ac:spMkLst>
            <pc:docMk/>
            <pc:sldMk cId="80455690" sldId="2147483093"/>
            <ac:spMk id="16" creationId="{F443E022-23B2-0007-6146-3C4FEC3F5784}"/>
          </ac:spMkLst>
        </pc:spChg>
        <pc:spChg chg="add del mod">
          <ac:chgData name="Yudi Zhu" userId="571e1a55-055f-4c28-8b35-fca6dd1c1369" providerId="ADAL" clId="{75A88773-6EE1-484E-AADE-FE631E01463B}" dt="2025-11-24T02:59:10.573" v="485511"/>
          <ac:spMkLst>
            <pc:docMk/>
            <pc:sldMk cId="80455690" sldId="2147483093"/>
            <ac:spMk id="17" creationId="{3085F874-CE25-9BA6-BC2D-DE1D6F248CBF}"/>
          </ac:spMkLst>
        </pc:spChg>
        <pc:spChg chg="add del mod modVis">
          <ac:chgData name="Yudi Zhu" userId="571e1a55-055f-4c28-8b35-fca6dd1c1369" providerId="ADAL" clId="{75A88773-6EE1-484E-AADE-FE631E01463B}" dt="2025-11-21T09:25:56.206" v="414733"/>
          <ac:spMkLst>
            <pc:docMk/>
            <pc:sldMk cId="80455690" sldId="2147483093"/>
            <ac:spMk id="18" creationId="{45F8675B-6517-6389-9EC2-07FCCC5BAC9F}"/>
          </ac:spMkLst>
        </pc:spChg>
        <pc:spChg chg="add del mod">
          <ac:chgData name="Yudi Zhu" userId="571e1a55-055f-4c28-8b35-fca6dd1c1369" providerId="ADAL" clId="{75A88773-6EE1-484E-AADE-FE631E01463B}" dt="2025-11-24T02:59:10.573" v="485510"/>
          <ac:spMkLst>
            <pc:docMk/>
            <pc:sldMk cId="80455690" sldId="2147483093"/>
            <ac:spMk id="18" creationId="{80CB15B7-2D4D-629C-1A53-5D81616FB1C4}"/>
          </ac:spMkLst>
        </pc:spChg>
        <pc:spChg chg="add del mod">
          <ac:chgData name="Yudi Zhu" userId="571e1a55-055f-4c28-8b35-fca6dd1c1369" providerId="ADAL" clId="{75A88773-6EE1-484E-AADE-FE631E01463B}" dt="2025-11-24T02:59:10.573" v="485509"/>
          <ac:spMkLst>
            <pc:docMk/>
            <pc:sldMk cId="80455690" sldId="2147483093"/>
            <ac:spMk id="19" creationId="{EAE1CA09-9CFF-D8B2-18DD-1887EA2D0AA6}"/>
          </ac:spMkLst>
        </pc:spChg>
        <pc:spChg chg="add del mod">
          <ac:chgData name="Yudi Zhu" userId="571e1a55-055f-4c28-8b35-fca6dd1c1369" providerId="ADAL" clId="{75A88773-6EE1-484E-AADE-FE631E01463B}" dt="2025-11-24T02:59:10.572" v="485508"/>
          <ac:spMkLst>
            <pc:docMk/>
            <pc:sldMk cId="80455690" sldId="2147483093"/>
            <ac:spMk id="20" creationId="{78391823-43F0-2A33-6E4D-97685F24658C}"/>
          </ac:spMkLst>
        </pc:spChg>
        <pc:spChg chg="add del mod modVis">
          <ac:chgData name="Yudi Zhu" userId="571e1a55-055f-4c28-8b35-fca6dd1c1369" providerId="ADAL" clId="{75A88773-6EE1-484E-AADE-FE631E01463B}" dt="2025-11-21T09:26:02.928" v="415614"/>
          <ac:spMkLst>
            <pc:docMk/>
            <pc:sldMk cId="80455690" sldId="2147483093"/>
            <ac:spMk id="20" creationId="{F28B0AB2-0014-EEEB-361C-E1BF539F8628}"/>
          </ac:spMkLst>
        </pc:spChg>
        <pc:spChg chg="add del mod ord">
          <ac:chgData name="Yudi Zhu" userId="571e1a55-055f-4c28-8b35-fca6dd1c1369" providerId="ADAL" clId="{75A88773-6EE1-484E-AADE-FE631E01463B}" dt="2025-11-24T03:24:00.262" v="552169"/>
          <ac:spMkLst>
            <pc:docMk/>
            <pc:sldMk cId="80455690" sldId="2147483093"/>
            <ac:spMk id="21" creationId="{F5FD2CA3-DF84-84B1-C246-DDAFEBF51AA1}"/>
          </ac:spMkLst>
        </pc:spChg>
        <pc:spChg chg="add del mod">
          <ac:chgData name="Yudi Zhu" userId="571e1a55-055f-4c28-8b35-fca6dd1c1369" providerId="ADAL" clId="{75A88773-6EE1-484E-AADE-FE631E01463B}" dt="2025-11-24T02:59:10.572" v="485507"/>
          <ac:spMkLst>
            <pc:docMk/>
            <pc:sldMk cId="80455690" sldId="2147483093"/>
            <ac:spMk id="22" creationId="{CDF256FC-90B2-B3A3-472E-941DD1E96C23}"/>
          </ac:spMkLst>
        </pc:spChg>
        <pc:spChg chg="add del mod modVis">
          <ac:chgData name="Yudi Zhu" userId="571e1a55-055f-4c28-8b35-fca6dd1c1369" providerId="ADAL" clId="{75A88773-6EE1-484E-AADE-FE631E01463B}" dt="2025-11-21T09:26:15.409" v="416448"/>
          <ac:spMkLst>
            <pc:docMk/>
            <pc:sldMk cId="80455690" sldId="2147483093"/>
            <ac:spMk id="23" creationId="{51E5ACCC-F9B3-19ED-7521-CBFC779FAE58}"/>
          </ac:spMkLst>
        </pc:spChg>
        <pc:spChg chg="add del mod">
          <ac:chgData name="Yudi Zhu" userId="571e1a55-055f-4c28-8b35-fca6dd1c1369" providerId="ADAL" clId="{75A88773-6EE1-484E-AADE-FE631E01463B}" dt="2025-11-24T02:59:10.571" v="485506"/>
          <ac:spMkLst>
            <pc:docMk/>
            <pc:sldMk cId="80455690" sldId="2147483093"/>
            <ac:spMk id="23" creationId="{C852C4E0-042E-BF70-3806-F585C3DE2C07}"/>
          </ac:spMkLst>
        </pc:spChg>
        <pc:spChg chg="add del mod ord">
          <ac:chgData name="Yudi Zhu" userId="571e1a55-055f-4c28-8b35-fca6dd1c1369" providerId="ADAL" clId="{75A88773-6EE1-484E-AADE-FE631E01463B}" dt="2025-11-24T03:24:00.262" v="552171"/>
          <ac:spMkLst>
            <pc:docMk/>
            <pc:sldMk cId="80455690" sldId="2147483093"/>
            <ac:spMk id="24" creationId="{DE7C8047-10AE-DD45-F625-97982F3E7674}"/>
          </ac:spMkLst>
        </pc:spChg>
        <pc:spChg chg="add del mod">
          <ac:chgData name="Yudi Zhu" userId="571e1a55-055f-4c28-8b35-fca6dd1c1369" providerId="ADAL" clId="{75A88773-6EE1-484E-AADE-FE631E01463B}" dt="2025-11-24T02:59:10.571" v="485505"/>
          <ac:spMkLst>
            <pc:docMk/>
            <pc:sldMk cId="80455690" sldId="2147483093"/>
            <ac:spMk id="25" creationId="{BBFF5F7B-5473-E178-EA6C-CDC09C509AA1}"/>
          </ac:spMkLst>
        </pc:spChg>
        <pc:spChg chg="add del mod modVis">
          <ac:chgData name="Yudi Zhu" userId="571e1a55-055f-4c28-8b35-fca6dd1c1369" providerId="ADAL" clId="{75A88773-6EE1-484E-AADE-FE631E01463B}" dt="2025-11-21T09:26:42.022" v="416766"/>
          <ac:spMkLst>
            <pc:docMk/>
            <pc:sldMk cId="80455690" sldId="2147483093"/>
            <ac:spMk id="26" creationId="{83D9F7FB-70EA-E989-84D4-DE74299551B5}"/>
          </ac:spMkLst>
        </pc:spChg>
        <pc:spChg chg="add del mod">
          <ac:chgData name="Yudi Zhu" userId="571e1a55-055f-4c28-8b35-fca6dd1c1369" providerId="ADAL" clId="{75A88773-6EE1-484E-AADE-FE631E01463B}" dt="2025-11-24T02:59:10.570" v="485504"/>
          <ac:spMkLst>
            <pc:docMk/>
            <pc:sldMk cId="80455690" sldId="2147483093"/>
            <ac:spMk id="26" creationId="{BA82E76D-C73D-7CEC-9BB2-D60B9D3610DD}"/>
          </ac:spMkLst>
        </pc:spChg>
        <pc:spChg chg="add del mod">
          <ac:chgData name="Yudi Zhu" userId="571e1a55-055f-4c28-8b35-fca6dd1c1369" providerId="ADAL" clId="{75A88773-6EE1-484E-AADE-FE631E01463B}" dt="2025-11-24T02:59:10.570" v="485503"/>
          <ac:spMkLst>
            <pc:docMk/>
            <pc:sldMk cId="80455690" sldId="2147483093"/>
            <ac:spMk id="27" creationId="{BE124B20-5525-E6FE-404B-110B41A83DAD}"/>
          </ac:spMkLst>
        </pc:spChg>
        <pc:spChg chg="add del mod ord">
          <ac:chgData name="Yudi Zhu" userId="571e1a55-055f-4c28-8b35-fca6dd1c1369" providerId="ADAL" clId="{75A88773-6EE1-484E-AADE-FE631E01463B}" dt="2025-11-24T02:59:10.578" v="485520"/>
          <ac:spMkLst>
            <pc:docMk/>
            <pc:sldMk cId="80455690" sldId="2147483093"/>
            <ac:spMk id="28" creationId="{C3D4B2C8-F53D-B7D8-E475-C35FB42B2570}"/>
          </ac:spMkLst>
        </pc:spChg>
        <pc:spChg chg="add del mod modVis">
          <ac:chgData name="Yudi Zhu" userId="571e1a55-055f-4c28-8b35-fca6dd1c1369" providerId="ADAL" clId="{75A88773-6EE1-484E-AADE-FE631E01463B}" dt="2025-11-21T09:26:45.281" v="417082"/>
          <ac:spMkLst>
            <pc:docMk/>
            <pc:sldMk cId="80455690" sldId="2147483093"/>
            <ac:spMk id="28" creationId="{C717347A-0DC6-5F05-62D3-84A7820DD575}"/>
          </ac:spMkLst>
        </pc:spChg>
        <pc:spChg chg="add del mod">
          <ac:chgData name="Yudi Zhu" userId="571e1a55-055f-4c28-8b35-fca6dd1c1369" providerId="ADAL" clId="{75A88773-6EE1-484E-AADE-FE631E01463B}" dt="2025-11-24T02:59:10.569" v="485501"/>
          <ac:spMkLst>
            <pc:docMk/>
            <pc:sldMk cId="80455690" sldId="2147483093"/>
            <ac:spMk id="29" creationId="{537A51F5-61E7-D00A-9D13-80770653BED2}"/>
          </ac:spMkLst>
        </pc:spChg>
        <pc:spChg chg="add del mod modVis">
          <ac:chgData name="Yudi Zhu" userId="571e1a55-055f-4c28-8b35-fca6dd1c1369" providerId="ADAL" clId="{75A88773-6EE1-484E-AADE-FE631E01463B}" dt="2025-11-21T09:54:33.681" v="425386"/>
          <ac:spMkLst>
            <pc:docMk/>
            <pc:sldMk cId="80455690" sldId="2147483093"/>
            <ac:spMk id="30" creationId="{36D4EFC1-E00F-64C8-F99F-6529E8CA9550}"/>
          </ac:spMkLst>
        </pc:spChg>
        <pc:spChg chg="add del mod">
          <ac:chgData name="Yudi Zhu" userId="571e1a55-055f-4c28-8b35-fca6dd1c1369" providerId="ADAL" clId="{75A88773-6EE1-484E-AADE-FE631E01463B}" dt="2025-11-24T02:59:10.569" v="485500"/>
          <ac:spMkLst>
            <pc:docMk/>
            <pc:sldMk cId="80455690" sldId="2147483093"/>
            <ac:spMk id="30" creationId="{4FB59390-8B1E-68DC-A40C-F931CFCD54AC}"/>
          </ac:spMkLst>
        </pc:spChg>
        <pc:spChg chg="add del mod">
          <ac:chgData name="Yudi Zhu" userId="571e1a55-055f-4c28-8b35-fca6dd1c1369" providerId="ADAL" clId="{75A88773-6EE1-484E-AADE-FE631E01463B}" dt="2025-11-24T02:59:10.569" v="485499"/>
          <ac:spMkLst>
            <pc:docMk/>
            <pc:sldMk cId="80455690" sldId="2147483093"/>
            <ac:spMk id="31" creationId="{4C380007-560B-3771-ED38-497667CD5533}"/>
          </ac:spMkLst>
        </pc:spChg>
        <pc:spChg chg="add del mod modVis">
          <ac:chgData name="Yudi Zhu" userId="571e1a55-055f-4c28-8b35-fca6dd1c1369" providerId="ADAL" clId="{75A88773-6EE1-484E-AADE-FE631E01463B}" dt="2025-11-21T09:54:42.796" v="425869"/>
          <ac:spMkLst>
            <pc:docMk/>
            <pc:sldMk cId="80455690" sldId="2147483093"/>
            <ac:spMk id="32" creationId="{463CD21D-1D56-9649-0E4F-B3462C396742}"/>
          </ac:spMkLst>
        </pc:spChg>
        <pc:spChg chg="add del mod">
          <ac:chgData name="Yudi Zhu" userId="571e1a55-055f-4c28-8b35-fca6dd1c1369" providerId="ADAL" clId="{75A88773-6EE1-484E-AADE-FE631E01463B}" dt="2025-11-24T02:59:10.568" v="485498"/>
          <ac:spMkLst>
            <pc:docMk/>
            <pc:sldMk cId="80455690" sldId="2147483093"/>
            <ac:spMk id="32" creationId="{4E7D6C92-D28D-C3D0-18C9-742066D71D30}"/>
          </ac:spMkLst>
        </pc:spChg>
        <pc:spChg chg="add del mod">
          <ac:chgData name="Yudi Zhu" userId="571e1a55-055f-4c28-8b35-fca6dd1c1369" providerId="ADAL" clId="{75A88773-6EE1-484E-AADE-FE631E01463B}" dt="2025-11-24T02:59:10.568" v="485497"/>
          <ac:spMkLst>
            <pc:docMk/>
            <pc:sldMk cId="80455690" sldId="2147483093"/>
            <ac:spMk id="33" creationId="{7702A01D-B879-B0CA-0B37-30B6B066DB1E}"/>
          </ac:spMkLst>
        </pc:spChg>
        <pc:spChg chg="add del mod">
          <ac:chgData name="Yudi Zhu" userId="571e1a55-055f-4c28-8b35-fca6dd1c1369" providerId="ADAL" clId="{75A88773-6EE1-484E-AADE-FE631E01463B}" dt="2025-11-24T02:59:10.567" v="485496"/>
          <ac:spMkLst>
            <pc:docMk/>
            <pc:sldMk cId="80455690" sldId="2147483093"/>
            <ac:spMk id="34" creationId="{D2D94744-B0E4-AE73-E2E3-8318970BC489}"/>
          </ac:spMkLst>
        </pc:spChg>
        <pc:spChg chg="add del mod">
          <ac:chgData name="Yudi Zhu" userId="571e1a55-055f-4c28-8b35-fca6dd1c1369" providerId="ADAL" clId="{75A88773-6EE1-484E-AADE-FE631E01463B}" dt="2025-11-24T02:59:10.567" v="485495"/>
          <ac:spMkLst>
            <pc:docMk/>
            <pc:sldMk cId="80455690" sldId="2147483093"/>
            <ac:spMk id="36" creationId="{D518E904-E2C2-3A76-A4C1-596E6C7B209D}"/>
          </ac:spMkLst>
        </pc:spChg>
        <pc:spChg chg="add del mod">
          <ac:chgData name="Yudi Zhu" userId="571e1a55-055f-4c28-8b35-fca6dd1c1369" providerId="ADAL" clId="{75A88773-6EE1-484E-AADE-FE631E01463B}" dt="2025-11-24T02:59:10.567" v="485494"/>
          <ac:spMkLst>
            <pc:docMk/>
            <pc:sldMk cId="80455690" sldId="2147483093"/>
            <ac:spMk id="37" creationId="{68A5D50B-BB17-8811-D808-23ACF259CBF4}"/>
          </ac:spMkLst>
        </pc:spChg>
        <pc:spChg chg="add del mod">
          <ac:chgData name="Yudi Zhu" userId="571e1a55-055f-4c28-8b35-fca6dd1c1369" providerId="ADAL" clId="{75A88773-6EE1-484E-AADE-FE631E01463B}" dt="2025-11-24T02:59:10.566" v="485493"/>
          <ac:spMkLst>
            <pc:docMk/>
            <pc:sldMk cId="80455690" sldId="2147483093"/>
            <ac:spMk id="38" creationId="{1C17DE89-AA0E-01AB-8CD0-EEE6A82EAF7C}"/>
          </ac:spMkLst>
        </pc:spChg>
        <pc:spChg chg="add del mod modVis">
          <ac:chgData name="Yudi Zhu" userId="571e1a55-055f-4c28-8b35-fca6dd1c1369" providerId="ADAL" clId="{75A88773-6EE1-484E-AADE-FE631E01463B}" dt="2025-11-21T09:54:49.736" v="426164"/>
          <ac:spMkLst>
            <pc:docMk/>
            <pc:sldMk cId="80455690" sldId="2147483093"/>
            <ac:spMk id="38" creationId="{873468FF-F30B-196A-4A62-7BE5C049517D}"/>
          </ac:spMkLst>
        </pc:spChg>
        <pc:spChg chg="add del mod">
          <ac:chgData name="Yudi Zhu" userId="571e1a55-055f-4c28-8b35-fca6dd1c1369" providerId="ADAL" clId="{75A88773-6EE1-484E-AADE-FE631E01463B}" dt="2025-11-24T02:59:10.566" v="485492"/>
          <ac:spMkLst>
            <pc:docMk/>
            <pc:sldMk cId="80455690" sldId="2147483093"/>
            <ac:spMk id="39" creationId="{D6204104-2F39-8F52-44F7-255494CB1F33}"/>
          </ac:spMkLst>
        </pc:spChg>
        <pc:spChg chg="add del mod modVis">
          <ac:chgData name="Yudi Zhu" userId="571e1a55-055f-4c28-8b35-fca6dd1c1369" providerId="ADAL" clId="{75A88773-6EE1-484E-AADE-FE631E01463B}" dt="2025-11-21T09:55:37.360" v="426869"/>
          <ac:spMkLst>
            <pc:docMk/>
            <pc:sldMk cId="80455690" sldId="2147483093"/>
            <ac:spMk id="40" creationId="{A3CFE8C4-6F07-688C-DD6E-3DB43FFDC042}"/>
          </ac:spMkLst>
        </pc:spChg>
        <pc:spChg chg="add del mod">
          <ac:chgData name="Yudi Zhu" userId="571e1a55-055f-4c28-8b35-fca6dd1c1369" providerId="ADAL" clId="{75A88773-6EE1-484E-AADE-FE631E01463B}" dt="2025-11-24T02:59:10.565" v="485491"/>
          <ac:spMkLst>
            <pc:docMk/>
            <pc:sldMk cId="80455690" sldId="2147483093"/>
            <ac:spMk id="40" creationId="{DB54252E-D0BD-F66B-6C28-16DCB7DA1289}"/>
          </ac:spMkLst>
        </pc:spChg>
        <pc:spChg chg="add del mod ord">
          <ac:chgData name="Yudi Zhu" userId="571e1a55-055f-4c28-8b35-fca6dd1c1369" providerId="ADAL" clId="{75A88773-6EE1-484E-AADE-FE631E01463B}" dt="2025-11-24T03:24:00.262" v="552173"/>
          <ac:spMkLst>
            <pc:docMk/>
            <pc:sldMk cId="80455690" sldId="2147483093"/>
            <ac:spMk id="41" creationId="{F22B3FB4-69EE-BF2A-DFF6-27E9308F011B}"/>
          </ac:spMkLst>
        </pc:spChg>
        <pc:spChg chg="add del mod">
          <ac:chgData name="Yudi Zhu" userId="571e1a55-055f-4c28-8b35-fca6dd1c1369" providerId="ADAL" clId="{75A88773-6EE1-484E-AADE-FE631E01463B}" dt="2025-11-24T02:59:10.565" v="485490"/>
          <ac:spMkLst>
            <pc:docMk/>
            <pc:sldMk cId="80455690" sldId="2147483093"/>
            <ac:spMk id="43" creationId="{F4DFF10B-7F09-7B44-672D-1007B07D73B9}"/>
          </ac:spMkLst>
        </pc:spChg>
        <pc:spChg chg="add del mod">
          <ac:chgData name="Yudi Zhu" userId="571e1a55-055f-4c28-8b35-fca6dd1c1369" providerId="ADAL" clId="{75A88773-6EE1-484E-AADE-FE631E01463B}" dt="2025-11-24T02:59:10.564" v="485489"/>
          <ac:spMkLst>
            <pc:docMk/>
            <pc:sldMk cId="80455690" sldId="2147483093"/>
            <ac:spMk id="44" creationId="{7C69237A-C38A-6AF9-2980-9238CA9AAC2E}"/>
          </ac:spMkLst>
        </pc:spChg>
        <pc:spChg chg="add del mod modVis">
          <ac:chgData name="Yudi Zhu" userId="571e1a55-055f-4c28-8b35-fca6dd1c1369" providerId="ADAL" clId="{75A88773-6EE1-484E-AADE-FE631E01463B}" dt="2025-11-21T09:55:56.397" v="427323"/>
          <ac:spMkLst>
            <pc:docMk/>
            <pc:sldMk cId="80455690" sldId="2147483093"/>
            <ac:spMk id="45" creationId="{5937C86B-CF2F-4EED-C9BD-A47E3AF645EB}"/>
          </ac:spMkLst>
        </pc:spChg>
        <pc:spChg chg="add del mod">
          <ac:chgData name="Yudi Zhu" userId="571e1a55-055f-4c28-8b35-fca6dd1c1369" providerId="ADAL" clId="{75A88773-6EE1-484E-AADE-FE631E01463B}" dt="2025-11-24T02:59:10.577" v="485518"/>
          <ac:spMkLst>
            <pc:docMk/>
            <pc:sldMk cId="80455690" sldId="2147483093"/>
            <ac:spMk id="45" creationId="{8C1D91B1-1C39-8992-4858-A3D677F6C6C9}"/>
          </ac:spMkLst>
        </pc:spChg>
        <pc:spChg chg="add del mod ord">
          <ac:chgData name="Yudi Zhu" userId="571e1a55-055f-4c28-8b35-fca6dd1c1369" providerId="ADAL" clId="{75A88773-6EE1-484E-AADE-FE631E01463B}" dt="2025-11-24T02:59:10.577" v="485517"/>
          <ac:spMkLst>
            <pc:docMk/>
            <pc:sldMk cId="80455690" sldId="2147483093"/>
            <ac:spMk id="46" creationId="{AC868C7C-2FFE-03FE-2B60-3A3144F2D2B0}"/>
          </ac:spMkLst>
        </pc:spChg>
        <pc:spChg chg="add del mod">
          <ac:chgData name="Yudi Zhu" userId="571e1a55-055f-4c28-8b35-fca6dd1c1369" providerId="ADAL" clId="{75A88773-6EE1-484E-AADE-FE631E01463B}" dt="2025-11-24T02:59:10.570" v="485502"/>
          <ac:spMkLst>
            <pc:docMk/>
            <pc:sldMk cId="80455690" sldId="2147483093"/>
            <ac:spMk id="47" creationId="{A4D38498-7164-6E7C-C37F-4419035CE1A6}"/>
          </ac:spMkLst>
        </pc:spChg>
        <pc:spChg chg="add del mod modVis">
          <ac:chgData name="Yudi Zhu" userId="571e1a55-055f-4c28-8b35-fca6dd1c1369" providerId="ADAL" clId="{75A88773-6EE1-484E-AADE-FE631E01463B}" dt="2025-11-21T09:56:05.665" v="427820"/>
          <ac:spMkLst>
            <pc:docMk/>
            <pc:sldMk cId="80455690" sldId="2147483093"/>
            <ac:spMk id="47" creationId="{FD295056-DD6A-CF3D-B6EC-766343DA8213}"/>
          </ac:spMkLst>
        </pc:spChg>
        <pc:spChg chg="add del mod">
          <ac:chgData name="Yudi Zhu" userId="571e1a55-055f-4c28-8b35-fca6dd1c1369" providerId="ADAL" clId="{75A88773-6EE1-484E-AADE-FE631E01463B}" dt="2025-11-24T02:59:10.581" v="485526"/>
          <ac:spMkLst>
            <pc:docMk/>
            <pc:sldMk cId="80455690" sldId="2147483093"/>
            <ac:spMk id="48" creationId="{38741851-7733-82E8-A093-430E51880F99}"/>
          </ac:spMkLst>
        </pc:spChg>
        <pc:spChg chg="add del mod">
          <ac:chgData name="Yudi Zhu" userId="571e1a55-055f-4c28-8b35-fca6dd1c1369" providerId="ADAL" clId="{75A88773-6EE1-484E-AADE-FE631E01463B}" dt="2025-11-24T02:59:10.580" v="485524"/>
          <ac:spMkLst>
            <pc:docMk/>
            <pc:sldMk cId="80455690" sldId="2147483093"/>
            <ac:spMk id="49" creationId="{03CEA5B4-2210-317E-EBB1-43AC974CF284}"/>
          </ac:spMkLst>
        </pc:spChg>
        <pc:spChg chg="add del mod modVis">
          <ac:chgData name="Yudi Zhu" userId="571e1a55-055f-4c28-8b35-fca6dd1c1369" providerId="ADAL" clId="{75A88773-6EE1-484E-AADE-FE631E01463B}" dt="2025-11-21T09:57:11.424" v="429233"/>
          <ac:spMkLst>
            <pc:docMk/>
            <pc:sldMk cId="80455690" sldId="2147483093"/>
            <ac:spMk id="49" creationId="{7976CD08-6707-2DF3-36FB-D9B1E7B80DE8}"/>
          </ac:spMkLst>
        </pc:spChg>
        <pc:spChg chg="add mod ord">
          <ac:chgData name="Yudi Zhu" userId="571e1a55-055f-4c28-8b35-fca6dd1c1369" providerId="ADAL" clId="{75A88773-6EE1-484E-AADE-FE631E01463B}" dt="2025-11-25T10:14:15.589" v="658267"/>
          <ac:spMkLst>
            <pc:docMk/>
            <pc:sldMk cId="80455690" sldId="2147483093"/>
            <ac:spMk id="50" creationId="{02F6331E-5D73-6E69-0D56-C4DE5D68572C}"/>
          </ac:spMkLst>
        </pc:spChg>
        <pc:spChg chg="add mod ord">
          <ac:chgData name="Yudi Zhu" userId="571e1a55-055f-4c28-8b35-fca6dd1c1369" providerId="ADAL" clId="{75A88773-6EE1-484E-AADE-FE631E01463B}" dt="2025-11-25T10:14:15.589" v="658271"/>
          <ac:spMkLst>
            <pc:docMk/>
            <pc:sldMk cId="80455690" sldId="2147483093"/>
            <ac:spMk id="51" creationId="{9C0C7DC5-9B73-37CA-1B50-CC7A6362A4E2}"/>
          </ac:spMkLst>
        </pc:spChg>
        <pc:spChg chg="add mod ord">
          <ac:chgData name="Yudi Zhu" userId="571e1a55-055f-4c28-8b35-fca6dd1c1369" providerId="ADAL" clId="{75A88773-6EE1-484E-AADE-FE631E01463B}" dt="2025-11-25T10:14:15.597" v="658275"/>
          <ac:spMkLst>
            <pc:docMk/>
            <pc:sldMk cId="80455690" sldId="2147483093"/>
            <ac:spMk id="52" creationId="{0D711176-2CAE-6464-7127-84B92BFA5A0A}"/>
          </ac:spMkLst>
        </pc:spChg>
        <pc:spChg chg="add mod ord">
          <ac:chgData name="Yudi Zhu" userId="571e1a55-055f-4c28-8b35-fca6dd1c1369" providerId="ADAL" clId="{75A88773-6EE1-484E-AADE-FE631E01463B}" dt="2025-11-25T10:14:15.597" v="658292"/>
          <ac:spMkLst>
            <pc:docMk/>
            <pc:sldMk cId="80455690" sldId="2147483093"/>
            <ac:spMk id="53" creationId="{D416A439-F437-CB7D-5D8F-C9C806308A88}"/>
          </ac:spMkLst>
        </pc:spChg>
        <pc:spChg chg="add mod ord">
          <ac:chgData name="Yudi Zhu" userId="571e1a55-055f-4c28-8b35-fca6dd1c1369" providerId="ADAL" clId="{75A88773-6EE1-484E-AADE-FE631E01463B}" dt="2025-11-25T10:14:15.597" v="658281"/>
          <ac:spMkLst>
            <pc:docMk/>
            <pc:sldMk cId="80455690" sldId="2147483093"/>
            <ac:spMk id="54" creationId="{77D4B05C-BCC1-6709-C059-13F84D9F7770}"/>
          </ac:spMkLst>
        </pc:spChg>
        <pc:spChg chg="add mod ord">
          <ac:chgData name="Yudi Zhu" userId="571e1a55-055f-4c28-8b35-fca6dd1c1369" providerId="ADAL" clId="{75A88773-6EE1-484E-AADE-FE631E01463B}" dt="2025-11-25T10:14:15.597" v="658277"/>
          <ac:spMkLst>
            <pc:docMk/>
            <pc:sldMk cId="80455690" sldId="2147483093"/>
            <ac:spMk id="55" creationId="{7EDBB2B4-EF67-25C3-C8B0-FB513D9A3CD3}"/>
          </ac:spMkLst>
        </pc:spChg>
        <pc:spChg chg="add mod ord">
          <ac:chgData name="Yudi Zhu" userId="571e1a55-055f-4c28-8b35-fca6dd1c1369" providerId="ADAL" clId="{75A88773-6EE1-484E-AADE-FE631E01463B}" dt="2025-11-25T10:14:15.597" v="658285"/>
          <ac:spMkLst>
            <pc:docMk/>
            <pc:sldMk cId="80455690" sldId="2147483093"/>
            <ac:spMk id="56" creationId="{D0AD0539-7B6F-111C-ED13-D1B443ABA2B3}"/>
          </ac:spMkLst>
        </pc:spChg>
        <pc:spChg chg="add del mod ord">
          <ac:chgData name="Yudi Zhu" userId="571e1a55-055f-4c28-8b35-fca6dd1c1369" providerId="ADAL" clId="{75A88773-6EE1-484E-AADE-FE631E01463B}" dt="2025-11-24T03:01:51.238" v="492453"/>
          <ac:spMkLst>
            <pc:docMk/>
            <pc:sldMk cId="80455690" sldId="2147483093"/>
            <ac:spMk id="128" creationId="{AF537EA0-358C-D77B-F9B8-5DC3DAF0CF37}"/>
          </ac:spMkLst>
        </pc:spChg>
        <pc:spChg chg="add del mod modVis">
          <ac:chgData name="Yudi Zhu" userId="571e1a55-055f-4c28-8b35-fca6dd1c1369" providerId="ADAL" clId="{75A88773-6EE1-484E-AADE-FE631E01463B}" dt="2025-11-21T10:13:56.369" v="464429"/>
          <ac:spMkLst>
            <pc:docMk/>
            <pc:sldMk cId="80455690" sldId="2147483093"/>
            <ac:spMk id="128" creationId="{D4214613-0E45-D2A9-8ED8-232DE423401C}"/>
          </ac:spMkLst>
        </pc:spChg>
        <pc:spChg chg="add del mod">
          <ac:chgData name="Yudi Zhu" userId="571e1a55-055f-4c28-8b35-fca6dd1c1369" providerId="ADAL" clId="{75A88773-6EE1-484E-AADE-FE631E01463B}" dt="2025-11-24T03:01:51.235" v="492451"/>
          <ac:spMkLst>
            <pc:docMk/>
            <pc:sldMk cId="80455690" sldId="2147483093"/>
            <ac:spMk id="129" creationId="{B5BC591B-DE1D-767D-43EF-91FE60E1336C}"/>
          </ac:spMkLst>
        </pc:spChg>
        <pc:spChg chg="add del mod modVis">
          <ac:chgData name="Yudi Zhu" userId="571e1a55-055f-4c28-8b35-fca6dd1c1369" providerId="ADAL" clId="{75A88773-6EE1-484E-AADE-FE631E01463B}" dt="2025-11-21T10:14:00.616" v="464691"/>
          <ac:spMkLst>
            <pc:docMk/>
            <pc:sldMk cId="80455690" sldId="2147483093"/>
            <ac:spMk id="130" creationId="{B06038BB-EB91-9086-74F4-A7A3012E9A2D}"/>
          </ac:spMkLst>
        </pc:spChg>
        <pc:spChg chg="add del mod">
          <ac:chgData name="Yudi Zhu" userId="571e1a55-055f-4c28-8b35-fca6dd1c1369" providerId="ADAL" clId="{75A88773-6EE1-484E-AADE-FE631E01463B}" dt="2025-11-24T03:01:00.979" v="491413"/>
          <ac:spMkLst>
            <pc:docMk/>
            <pc:sldMk cId="80455690" sldId="2147483093"/>
            <ac:spMk id="130" creationId="{E699BBE8-D7A5-85BD-5611-3D1BCED77E40}"/>
          </ac:spMkLst>
        </pc:spChg>
        <pc:spChg chg="add del mod">
          <ac:chgData name="Yudi Zhu" userId="571e1a55-055f-4c28-8b35-fca6dd1c1369" providerId="ADAL" clId="{75A88773-6EE1-484E-AADE-FE631E01463B}" dt="2025-11-24T03:01:00.978" v="491410"/>
          <ac:spMkLst>
            <pc:docMk/>
            <pc:sldMk cId="80455690" sldId="2147483093"/>
            <ac:spMk id="131" creationId="{075A5127-631F-A281-CB8A-43A2FF90ACFB}"/>
          </ac:spMkLst>
        </pc:spChg>
        <pc:spChg chg="add del mod modVis">
          <ac:chgData name="Yudi Zhu" userId="571e1a55-055f-4c28-8b35-fca6dd1c1369" providerId="ADAL" clId="{75A88773-6EE1-484E-AADE-FE631E01463B}" dt="2025-11-21T10:14:04.037" v="464959"/>
          <ac:spMkLst>
            <pc:docMk/>
            <pc:sldMk cId="80455690" sldId="2147483093"/>
            <ac:spMk id="132" creationId="{122DA87B-59B8-783B-0595-EB1823E737D0}"/>
          </ac:spMkLst>
        </pc:spChg>
        <pc:spChg chg="add del mod">
          <ac:chgData name="Yudi Zhu" userId="571e1a55-055f-4c28-8b35-fca6dd1c1369" providerId="ADAL" clId="{75A88773-6EE1-484E-AADE-FE631E01463B}" dt="2025-11-24T03:01:00.977" v="491407"/>
          <ac:spMkLst>
            <pc:docMk/>
            <pc:sldMk cId="80455690" sldId="2147483093"/>
            <ac:spMk id="132" creationId="{4D9846CE-4D28-A2DB-C44F-D11C280C1960}"/>
          </ac:spMkLst>
        </pc:spChg>
        <pc:spChg chg="add del mod">
          <ac:chgData name="Yudi Zhu" userId="571e1a55-055f-4c28-8b35-fca6dd1c1369" providerId="ADAL" clId="{75A88773-6EE1-484E-AADE-FE631E01463B}" dt="2025-11-24T03:01:00.976" v="491404"/>
          <ac:spMkLst>
            <pc:docMk/>
            <pc:sldMk cId="80455690" sldId="2147483093"/>
            <ac:spMk id="133" creationId="{25B6C202-84FE-DD85-F4F7-9C6C5BD76702}"/>
          </ac:spMkLst>
        </pc:spChg>
        <pc:spChg chg="add del mod">
          <ac:chgData name="Yudi Zhu" userId="571e1a55-055f-4c28-8b35-fca6dd1c1369" providerId="ADAL" clId="{75A88773-6EE1-484E-AADE-FE631E01463B}" dt="2025-11-24T03:01:00.975" v="491403"/>
          <ac:spMkLst>
            <pc:docMk/>
            <pc:sldMk cId="80455690" sldId="2147483093"/>
            <ac:spMk id="135" creationId="{C18C284C-B360-0766-730D-03374CCE2FDB}"/>
          </ac:spMkLst>
        </pc:spChg>
        <pc:spChg chg="add del mod">
          <ac:chgData name="Yudi Zhu" userId="571e1a55-055f-4c28-8b35-fca6dd1c1369" providerId="ADAL" clId="{75A88773-6EE1-484E-AADE-FE631E01463B}" dt="2025-11-24T03:01:00.974" v="491400"/>
          <ac:spMkLst>
            <pc:docMk/>
            <pc:sldMk cId="80455690" sldId="2147483093"/>
            <ac:spMk id="136" creationId="{865C520D-59BD-7AE7-47EC-D181DD70B4F0}"/>
          </ac:spMkLst>
        </pc:spChg>
        <pc:spChg chg="add del mod">
          <ac:chgData name="Yudi Zhu" userId="571e1a55-055f-4c28-8b35-fca6dd1c1369" providerId="ADAL" clId="{75A88773-6EE1-484E-AADE-FE631E01463B}" dt="2025-11-24T03:01:00.972" v="491397"/>
          <ac:spMkLst>
            <pc:docMk/>
            <pc:sldMk cId="80455690" sldId="2147483093"/>
            <ac:spMk id="137" creationId="{73F8E9AD-9205-242D-368A-028F35F85737}"/>
          </ac:spMkLst>
        </pc:spChg>
        <pc:spChg chg="add del mod modVis">
          <ac:chgData name="Yudi Zhu" userId="571e1a55-055f-4c28-8b35-fca6dd1c1369" providerId="ADAL" clId="{75A88773-6EE1-484E-AADE-FE631E01463B}" dt="2025-11-24T03:00:57.430" v="491394"/>
          <ac:spMkLst>
            <pc:docMk/>
            <pc:sldMk cId="80455690" sldId="2147483093"/>
            <ac:spMk id="146" creationId="{0DE9ACFB-A61E-E381-393E-406E595C1334}"/>
          </ac:spMkLst>
        </pc:spChg>
        <pc:spChg chg="add del mod ord">
          <ac:chgData name="Yudi Zhu" userId="571e1a55-055f-4c28-8b35-fca6dd1c1369" providerId="ADAL" clId="{75A88773-6EE1-484E-AADE-FE631E01463B}" dt="2025-11-24T03:01:51.238" v="492464"/>
          <ac:spMkLst>
            <pc:docMk/>
            <pc:sldMk cId="80455690" sldId="2147483093"/>
            <ac:spMk id="148" creationId="{DA5885F8-65E7-8BC7-7819-9D7C5CBDDEAD}"/>
          </ac:spMkLst>
        </pc:spChg>
        <pc:spChg chg="add del mod ord">
          <ac:chgData name="Yudi Zhu" userId="571e1a55-055f-4c28-8b35-fca6dd1c1369" providerId="ADAL" clId="{75A88773-6EE1-484E-AADE-FE631E01463B}" dt="2025-11-24T03:01:51.238" v="492462"/>
          <ac:spMkLst>
            <pc:docMk/>
            <pc:sldMk cId="80455690" sldId="2147483093"/>
            <ac:spMk id="149" creationId="{038FBE90-5A8F-DA1D-0949-7D377DEE3F87}"/>
          </ac:spMkLst>
        </pc:spChg>
        <pc:spChg chg="add del mod">
          <ac:chgData name="Yudi Zhu" userId="571e1a55-055f-4c28-8b35-fca6dd1c1369" providerId="ADAL" clId="{75A88773-6EE1-484E-AADE-FE631E01463B}" dt="2025-11-24T03:01:51.238" v="492460"/>
          <ac:spMkLst>
            <pc:docMk/>
            <pc:sldMk cId="80455690" sldId="2147483093"/>
            <ac:spMk id="150" creationId="{16A5DAAE-B83D-DBC7-C0D8-68C090A55665}"/>
          </ac:spMkLst>
        </pc:spChg>
        <pc:spChg chg="add del mod">
          <ac:chgData name="Yudi Zhu" userId="571e1a55-055f-4c28-8b35-fca6dd1c1369" providerId="ADAL" clId="{75A88773-6EE1-484E-AADE-FE631E01463B}" dt="2025-11-24T03:01:22.938" v="492399"/>
          <ac:spMkLst>
            <pc:docMk/>
            <pc:sldMk cId="80455690" sldId="2147483093"/>
            <ac:spMk id="152" creationId="{9C3A9B80-76BD-5E0C-C585-2734863C126A}"/>
          </ac:spMkLst>
        </pc:spChg>
        <pc:spChg chg="add del mod modVis">
          <ac:chgData name="Yudi Zhu" userId="571e1a55-055f-4c28-8b35-fca6dd1c1369" providerId="ADAL" clId="{75A88773-6EE1-484E-AADE-FE631E01463B}" dt="2025-11-24T03:01:10.106" v="492074"/>
          <ac:spMkLst>
            <pc:docMk/>
            <pc:sldMk cId="80455690" sldId="2147483093"/>
            <ac:spMk id="154" creationId="{AD98015F-73C2-0DBF-5E2E-B2AB758E4D73}"/>
          </ac:spMkLst>
        </pc:spChg>
        <pc:spChg chg="add del mod">
          <ac:chgData name="Yudi Zhu" userId="571e1a55-055f-4c28-8b35-fca6dd1c1369" providerId="ADAL" clId="{75A88773-6EE1-484E-AADE-FE631E01463B}" dt="2025-11-24T03:01:22.937" v="492398"/>
          <ac:spMkLst>
            <pc:docMk/>
            <pc:sldMk cId="80455690" sldId="2147483093"/>
            <ac:spMk id="156" creationId="{3864BBF2-F668-DC31-78EE-3F87F41B2461}"/>
          </ac:spMkLst>
        </pc:spChg>
        <pc:spChg chg="add del mod modVis">
          <ac:chgData name="Yudi Zhu" userId="571e1a55-055f-4c28-8b35-fca6dd1c1369" providerId="ADAL" clId="{75A88773-6EE1-484E-AADE-FE631E01463B}" dt="2025-11-24T03:01:14.500" v="492366"/>
          <ac:spMkLst>
            <pc:docMk/>
            <pc:sldMk cId="80455690" sldId="2147483093"/>
            <ac:spMk id="157" creationId="{6EAF307F-ED1E-CCF3-9AB0-A041182CFDF6}"/>
          </ac:spMkLst>
        </pc:spChg>
        <pc:spChg chg="add del mod modVis">
          <ac:chgData name="Yudi Zhu" userId="571e1a55-055f-4c28-8b35-fca6dd1c1369" providerId="ADAL" clId="{75A88773-6EE1-484E-AADE-FE631E01463B}" dt="2025-11-24T03:01:23.046" v="492448"/>
          <ac:spMkLst>
            <pc:docMk/>
            <pc:sldMk cId="80455690" sldId="2147483093"/>
            <ac:spMk id="159" creationId="{3B11DF7D-FE6E-DC72-7B48-0A5CE9F10AF8}"/>
          </ac:spMkLst>
        </pc:spChg>
        <pc:spChg chg="add del mod">
          <ac:chgData name="Yudi Zhu" userId="571e1a55-055f-4c28-8b35-fca6dd1c1369" providerId="ADAL" clId="{75A88773-6EE1-484E-AADE-FE631E01463B}" dt="2025-11-24T03:03:47.555" v="496193"/>
          <ac:spMkLst>
            <pc:docMk/>
            <pc:sldMk cId="80455690" sldId="2147483093"/>
            <ac:spMk id="160" creationId="{5D621B66-E185-9BA0-CDC8-DF5420E47013}"/>
          </ac:spMkLst>
        </pc:spChg>
        <pc:spChg chg="add del mod modVis">
          <ac:chgData name="Yudi Zhu" userId="571e1a55-055f-4c28-8b35-fca6dd1c1369" providerId="ADAL" clId="{75A88773-6EE1-484E-AADE-FE631E01463B}" dt="2025-11-24T03:01:58.049" v="492958"/>
          <ac:spMkLst>
            <pc:docMk/>
            <pc:sldMk cId="80455690" sldId="2147483093"/>
            <ac:spMk id="161" creationId="{6187198D-F8BB-20FB-00DF-9D6F8EE26568}"/>
          </ac:spMkLst>
        </pc:spChg>
        <pc:spChg chg="add del mod">
          <ac:chgData name="Yudi Zhu" userId="571e1a55-055f-4c28-8b35-fca6dd1c1369" providerId="ADAL" clId="{75A88773-6EE1-484E-AADE-FE631E01463B}" dt="2025-11-24T03:03:47.555" v="496192"/>
          <ac:spMkLst>
            <pc:docMk/>
            <pc:sldMk cId="80455690" sldId="2147483093"/>
            <ac:spMk id="162" creationId="{445F876C-1D31-5BBD-7BE8-9CD439A2BB85}"/>
          </ac:spMkLst>
        </pc:spChg>
        <pc:spChg chg="add del mod">
          <ac:chgData name="Yudi Zhu" userId="571e1a55-055f-4c28-8b35-fca6dd1c1369" providerId="ADAL" clId="{75A88773-6EE1-484E-AADE-FE631E01463B}" dt="2025-11-24T03:03:47.555" v="496182"/>
          <ac:spMkLst>
            <pc:docMk/>
            <pc:sldMk cId="80455690" sldId="2147483093"/>
            <ac:spMk id="163" creationId="{A95308AF-2F6E-4351-C8EB-8B53434F6B8E}"/>
          </ac:spMkLst>
        </pc:spChg>
        <pc:spChg chg="add del mod modVis">
          <ac:chgData name="Yudi Zhu" userId="571e1a55-055f-4c28-8b35-fca6dd1c1369" providerId="ADAL" clId="{75A88773-6EE1-484E-AADE-FE631E01463B}" dt="2025-11-24T03:02:11.510" v="494036"/>
          <ac:spMkLst>
            <pc:docMk/>
            <pc:sldMk cId="80455690" sldId="2147483093"/>
            <ac:spMk id="170" creationId="{26A4492F-9E77-9C33-29BC-8D912F85D12B}"/>
          </ac:spMkLst>
        </pc:spChg>
        <pc:spChg chg="add del mod modVis">
          <ac:chgData name="Yudi Zhu" userId="571e1a55-055f-4c28-8b35-fca6dd1c1369" providerId="ADAL" clId="{75A88773-6EE1-484E-AADE-FE631E01463B}" dt="2025-11-24T03:02:15.246" v="494325"/>
          <ac:spMkLst>
            <pc:docMk/>
            <pc:sldMk cId="80455690" sldId="2147483093"/>
            <ac:spMk id="172" creationId="{EDD6C8C7-F846-D492-9308-C220407AFE77}"/>
          </ac:spMkLst>
        </pc:spChg>
        <pc:spChg chg="add del mod modVis">
          <ac:chgData name="Yudi Zhu" userId="571e1a55-055f-4c28-8b35-fca6dd1c1369" providerId="ADAL" clId="{75A88773-6EE1-484E-AADE-FE631E01463B}" dt="2025-11-24T03:02:21.763" v="494614"/>
          <ac:spMkLst>
            <pc:docMk/>
            <pc:sldMk cId="80455690" sldId="2147483093"/>
            <ac:spMk id="174" creationId="{DADD767E-44CB-EC2B-864C-01B550244ADA}"/>
          </ac:spMkLst>
        </pc:spChg>
        <pc:spChg chg="add del mod ord">
          <ac:chgData name="Yudi Zhu" userId="571e1a55-055f-4c28-8b35-fca6dd1c1369" providerId="ADAL" clId="{75A88773-6EE1-484E-AADE-FE631E01463B}" dt="2025-11-24T03:03:03.121" v="495919"/>
          <ac:spMkLst>
            <pc:docMk/>
            <pc:sldMk cId="80455690" sldId="2147483093"/>
            <ac:spMk id="176" creationId="{52204E17-C191-274F-CA47-BBC105458639}"/>
          </ac:spMkLst>
        </pc:spChg>
        <pc:spChg chg="add del mod">
          <ac:chgData name="Yudi Zhu" userId="571e1a55-055f-4c28-8b35-fca6dd1c1369" providerId="ADAL" clId="{75A88773-6EE1-484E-AADE-FE631E01463B}" dt="2025-11-24T03:03:47.555" v="496187"/>
          <ac:spMkLst>
            <pc:docMk/>
            <pc:sldMk cId="80455690" sldId="2147483093"/>
            <ac:spMk id="179" creationId="{42CD1E92-57E9-E7E8-B4AF-388FEB7905CF}"/>
          </ac:spMkLst>
        </pc:spChg>
        <pc:spChg chg="add del mod modVis">
          <ac:chgData name="Yudi Zhu" userId="571e1a55-055f-4c28-8b35-fca6dd1c1369" providerId="ADAL" clId="{75A88773-6EE1-484E-AADE-FE631E01463B}" dt="2025-11-24T03:02:26.929" v="495195"/>
          <ac:spMkLst>
            <pc:docMk/>
            <pc:sldMk cId="80455690" sldId="2147483093"/>
            <ac:spMk id="180" creationId="{7F705763-C1BE-28CE-25B9-2EBE811F00F6}"/>
          </ac:spMkLst>
        </pc:spChg>
        <pc:spChg chg="add del mod modVis">
          <ac:chgData name="Yudi Zhu" userId="571e1a55-055f-4c28-8b35-fca6dd1c1369" providerId="ADAL" clId="{75A88773-6EE1-484E-AADE-FE631E01463B}" dt="2025-11-24T03:02:32.340" v="495555"/>
          <ac:spMkLst>
            <pc:docMk/>
            <pc:sldMk cId="80455690" sldId="2147483093"/>
            <ac:spMk id="182" creationId="{09B5AA08-EB88-74B3-5936-887ADE8A0BD7}"/>
          </ac:spMkLst>
        </pc:spChg>
        <pc:spChg chg="add del mod ord">
          <ac:chgData name="Yudi Zhu" userId="571e1a55-055f-4c28-8b35-fca6dd1c1369" providerId="ADAL" clId="{75A88773-6EE1-484E-AADE-FE631E01463B}" dt="2025-11-24T03:02:59.995" v="495597"/>
          <ac:spMkLst>
            <pc:docMk/>
            <pc:sldMk cId="80455690" sldId="2147483093"/>
            <ac:spMk id="183" creationId="{AEB29192-6500-0F07-A39F-27866722C89A}"/>
          </ac:spMkLst>
        </pc:spChg>
        <pc:spChg chg="add del mod ord">
          <ac:chgData name="Yudi Zhu" userId="571e1a55-055f-4c28-8b35-fca6dd1c1369" providerId="ADAL" clId="{75A88773-6EE1-484E-AADE-FE631E01463B}" dt="2025-11-24T03:03:00.029" v="495613"/>
          <ac:spMkLst>
            <pc:docMk/>
            <pc:sldMk cId="80455690" sldId="2147483093"/>
            <ac:spMk id="184" creationId="{AAADFDED-363E-8FBE-48E0-76A06A316ECE}"/>
          </ac:spMkLst>
        </pc:spChg>
        <pc:spChg chg="add del mod modVis">
          <ac:chgData name="Yudi Zhu" userId="571e1a55-055f-4c28-8b35-fca6dd1c1369" providerId="ADAL" clId="{75A88773-6EE1-484E-AADE-FE631E01463B}" dt="2025-11-24T03:03:00.291" v="495879"/>
          <ac:spMkLst>
            <pc:docMk/>
            <pc:sldMk cId="80455690" sldId="2147483093"/>
            <ac:spMk id="186" creationId="{447220B5-5B6F-EAE8-C409-ECA0CBC7BAC0}"/>
          </ac:spMkLst>
        </pc:spChg>
        <pc:spChg chg="add del mod modVis">
          <ac:chgData name="Yudi Zhu" userId="571e1a55-055f-4c28-8b35-fca6dd1c1369" providerId="ADAL" clId="{75A88773-6EE1-484E-AADE-FE631E01463B}" dt="2025-11-24T03:03:03.330" v="496177"/>
          <ac:spMkLst>
            <pc:docMk/>
            <pc:sldMk cId="80455690" sldId="2147483093"/>
            <ac:spMk id="189" creationId="{416A26B1-15EA-F03E-E4E3-23E020126A3E}"/>
          </ac:spMkLst>
        </pc:spChg>
        <pc:spChg chg="add del mod">
          <ac:chgData name="Yudi Zhu" userId="571e1a55-055f-4c28-8b35-fca6dd1c1369" providerId="ADAL" clId="{75A88773-6EE1-484E-AADE-FE631E01463B}" dt="2025-11-24T03:22:38.261" v="550224"/>
          <ac:spMkLst>
            <pc:docMk/>
            <pc:sldMk cId="80455690" sldId="2147483093"/>
            <ac:spMk id="256" creationId="{0178DBBF-DF65-8DA0-1333-EBBC21645C7F}"/>
          </ac:spMkLst>
        </pc:spChg>
        <pc:spChg chg="add del mod modVis">
          <ac:chgData name="Yudi Zhu" userId="571e1a55-055f-4c28-8b35-fca6dd1c1369" providerId="ADAL" clId="{75A88773-6EE1-484E-AADE-FE631E01463B}" dt="2025-11-24T03:03:53.523" v="496687"/>
          <ac:spMkLst>
            <pc:docMk/>
            <pc:sldMk cId="80455690" sldId="2147483093"/>
            <ac:spMk id="257" creationId="{C81FED30-924A-92D3-688C-9A1266F5CA9C}"/>
          </ac:spMkLst>
        </pc:spChg>
        <pc:spChg chg="add del mod">
          <ac:chgData name="Yudi Zhu" userId="571e1a55-055f-4c28-8b35-fca6dd1c1369" providerId="ADAL" clId="{75A88773-6EE1-484E-AADE-FE631E01463B}" dt="2025-11-24T03:22:38.254" v="550222"/>
          <ac:spMkLst>
            <pc:docMk/>
            <pc:sldMk cId="80455690" sldId="2147483093"/>
            <ac:spMk id="258" creationId="{E35BEDD6-9B3F-CCD3-AA76-1D07E244B37F}"/>
          </ac:spMkLst>
        </pc:spChg>
        <pc:spChg chg="add del mod">
          <ac:chgData name="Yudi Zhu" userId="571e1a55-055f-4c28-8b35-fca6dd1c1369" providerId="ADAL" clId="{75A88773-6EE1-484E-AADE-FE631E01463B}" dt="2025-11-24T03:22:38.254" v="550219"/>
          <ac:spMkLst>
            <pc:docMk/>
            <pc:sldMk cId="80455690" sldId="2147483093"/>
            <ac:spMk id="259" creationId="{4703B2CD-C566-C1DC-0241-45C0A9129752}"/>
          </ac:spMkLst>
        </pc:spChg>
        <pc:spChg chg="add del mod modVis">
          <ac:chgData name="Yudi Zhu" userId="571e1a55-055f-4c28-8b35-fca6dd1c1369" providerId="ADAL" clId="{75A88773-6EE1-484E-AADE-FE631E01463B}" dt="2025-11-24T03:03:57.368" v="496976"/>
          <ac:spMkLst>
            <pc:docMk/>
            <pc:sldMk cId="80455690" sldId="2147483093"/>
            <ac:spMk id="263" creationId="{DBE2A9D9-F1FB-D429-4AC6-CC9563D349BB}"/>
          </ac:spMkLst>
        </pc:spChg>
        <pc:spChg chg="add del mod">
          <ac:chgData name="Yudi Zhu" userId="571e1a55-055f-4c28-8b35-fca6dd1c1369" providerId="ADAL" clId="{75A88773-6EE1-484E-AADE-FE631E01463B}" dt="2025-11-24T03:22:38.254" v="550214"/>
          <ac:spMkLst>
            <pc:docMk/>
            <pc:sldMk cId="80455690" sldId="2147483093"/>
            <ac:spMk id="265" creationId="{A18C2E2A-A209-B830-3A34-C19114742DCE}"/>
          </ac:spMkLst>
        </pc:spChg>
        <pc:spChg chg="add del mod modVis">
          <ac:chgData name="Yudi Zhu" userId="571e1a55-055f-4c28-8b35-fca6dd1c1369" providerId="ADAL" clId="{75A88773-6EE1-484E-AADE-FE631E01463B}" dt="2025-11-24T03:04:04.102" v="497290"/>
          <ac:spMkLst>
            <pc:docMk/>
            <pc:sldMk cId="80455690" sldId="2147483093"/>
            <ac:spMk id="266" creationId="{E7327AA1-701C-F894-0D4B-A2142339B2F8}"/>
          </ac:spMkLst>
        </pc:spChg>
        <pc:spChg chg="add del mod modVis">
          <ac:chgData name="Yudi Zhu" userId="571e1a55-055f-4c28-8b35-fca6dd1c1369" providerId="ADAL" clId="{75A88773-6EE1-484E-AADE-FE631E01463B}" dt="2025-11-24T03:04:10.071" v="497580"/>
          <ac:spMkLst>
            <pc:docMk/>
            <pc:sldMk cId="80455690" sldId="2147483093"/>
            <ac:spMk id="268" creationId="{3E37AD07-6AB0-BD39-BDBF-E58B8D62673E}"/>
          </ac:spMkLst>
        </pc:spChg>
        <pc:spChg chg="add del mod modVis">
          <ac:chgData name="Yudi Zhu" userId="571e1a55-055f-4c28-8b35-fca6dd1c1369" providerId="ADAL" clId="{75A88773-6EE1-484E-AADE-FE631E01463B}" dt="2025-11-24T03:04:13.453" v="497870"/>
          <ac:spMkLst>
            <pc:docMk/>
            <pc:sldMk cId="80455690" sldId="2147483093"/>
            <ac:spMk id="270" creationId="{810E800C-39BA-D96F-FDA4-FC11984393E0}"/>
          </ac:spMkLst>
        </pc:spChg>
        <pc:spChg chg="add del mod modVis">
          <ac:chgData name="Yudi Zhu" userId="571e1a55-055f-4c28-8b35-fca6dd1c1369" providerId="ADAL" clId="{75A88773-6EE1-484E-AADE-FE631E01463B}" dt="2025-11-24T03:04:28.940" v="498319"/>
          <ac:spMkLst>
            <pc:docMk/>
            <pc:sldMk cId="80455690" sldId="2147483093"/>
            <ac:spMk id="272" creationId="{8BFB2238-ED2F-A43A-AA40-5126B131F23E}"/>
          </ac:spMkLst>
        </pc:spChg>
        <pc:spChg chg="add del mod ord">
          <ac:chgData name="Yudi Zhu" userId="571e1a55-055f-4c28-8b35-fca6dd1c1369" providerId="ADAL" clId="{75A88773-6EE1-484E-AADE-FE631E01463B}" dt="2025-11-24T03:04:34.649" v="498361"/>
          <ac:spMkLst>
            <pc:docMk/>
            <pc:sldMk cId="80455690" sldId="2147483093"/>
            <ac:spMk id="273" creationId="{F964A3F7-DA55-E04C-63D8-8DCE23506276}"/>
          </ac:spMkLst>
        </pc:spChg>
        <pc:spChg chg="add del mod ord">
          <ac:chgData name="Yudi Zhu" userId="571e1a55-055f-4c28-8b35-fca6dd1c1369" providerId="ADAL" clId="{75A88773-6EE1-484E-AADE-FE631E01463B}" dt="2025-11-24T03:04:38.023" v="498683"/>
          <ac:spMkLst>
            <pc:docMk/>
            <pc:sldMk cId="80455690" sldId="2147483093"/>
            <ac:spMk id="274" creationId="{FDB265E5-DF18-5E57-9E87-DC145C3C06AD}"/>
          </ac:spMkLst>
        </pc:spChg>
        <pc:spChg chg="add del mod ord">
          <ac:chgData name="Yudi Zhu" userId="571e1a55-055f-4c28-8b35-fca6dd1c1369" providerId="ADAL" clId="{75A88773-6EE1-484E-AADE-FE631E01463B}" dt="2025-11-24T03:04:34.662" v="498377"/>
          <ac:spMkLst>
            <pc:docMk/>
            <pc:sldMk cId="80455690" sldId="2147483093"/>
            <ac:spMk id="275" creationId="{E453E8BE-B705-7E34-6CF6-5DFD4F20CE78}"/>
          </ac:spMkLst>
        </pc:spChg>
        <pc:spChg chg="add del mod ord">
          <ac:chgData name="Yudi Zhu" userId="571e1a55-055f-4c28-8b35-fca6dd1c1369" providerId="ADAL" clId="{75A88773-6EE1-484E-AADE-FE631E01463B}" dt="2025-11-24T03:04:38.038" v="498699"/>
          <ac:spMkLst>
            <pc:docMk/>
            <pc:sldMk cId="80455690" sldId="2147483093"/>
            <ac:spMk id="276" creationId="{3189FEB5-5258-859B-2A91-25537D871C96}"/>
          </ac:spMkLst>
        </pc:spChg>
        <pc:spChg chg="add del mod modVis">
          <ac:chgData name="Yudi Zhu" userId="571e1a55-055f-4c28-8b35-fca6dd1c1369" providerId="ADAL" clId="{75A88773-6EE1-484E-AADE-FE631E01463B}" dt="2025-11-24T03:04:34.840" v="498637"/>
          <ac:spMkLst>
            <pc:docMk/>
            <pc:sldMk cId="80455690" sldId="2147483093"/>
            <ac:spMk id="279" creationId="{B103505D-65AC-7FF3-6783-105D648B7B66}"/>
          </ac:spMkLst>
        </pc:spChg>
        <pc:spChg chg="add del mod modVis">
          <ac:chgData name="Yudi Zhu" userId="571e1a55-055f-4c28-8b35-fca6dd1c1369" providerId="ADAL" clId="{75A88773-6EE1-484E-AADE-FE631E01463B}" dt="2025-11-24T03:04:38.256" v="498961"/>
          <ac:spMkLst>
            <pc:docMk/>
            <pc:sldMk cId="80455690" sldId="2147483093"/>
            <ac:spMk id="282" creationId="{582AA0D6-46C8-C9AF-8571-F7F35BE4C290}"/>
          </ac:spMkLst>
        </pc:spChg>
        <pc:spChg chg="add del mod modVis">
          <ac:chgData name="Yudi Zhu" userId="571e1a55-055f-4c28-8b35-fca6dd1c1369" providerId="ADAL" clId="{75A88773-6EE1-484E-AADE-FE631E01463B}" dt="2025-11-24T03:04:43.838" v="499289"/>
          <ac:spMkLst>
            <pc:docMk/>
            <pc:sldMk cId="80455690" sldId="2147483093"/>
            <ac:spMk id="285" creationId="{3BCF3876-0C2C-9B24-C9F9-1A7E98939922}"/>
          </ac:spMkLst>
        </pc:spChg>
        <pc:spChg chg="add del mod modVis">
          <ac:chgData name="Yudi Zhu" userId="571e1a55-055f-4c28-8b35-fca6dd1c1369" providerId="ADAL" clId="{75A88773-6EE1-484E-AADE-FE631E01463B}" dt="2025-11-24T03:04:49.772" v="500749"/>
          <ac:spMkLst>
            <pc:docMk/>
            <pc:sldMk cId="80455690" sldId="2147483093"/>
            <ac:spMk id="287" creationId="{0BD2F15C-A5AB-2551-B1DE-9ED6DBED320C}"/>
          </ac:spMkLst>
        </pc:spChg>
        <pc:spChg chg="add del mod ord">
          <ac:chgData name="Yudi Zhu" userId="571e1a55-055f-4c28-8b35-fca6dd1c1369" providerId="ADAL" clId="{75A88773-6EE1-484E-AADE-FE631E01463B}" dt="2025-11-24T03:04:54.432" v="500783"/>
          <ac:spMkLst>
            <pc:docMk/>
            <pc:sldMk cId="80455690" sldId="2147483093"/>
            <ac:spMk id="288" creationId="{8C2249A6-3821-F1B1-2E56-7BD68ED7A3E4}"/>
          </ac:spMkLst>
        </pc:spChg>
        <pc:spChg chg="add del mod ord">
          <ac:chgData name="Yudi Zhu" userId="571e1a55-055f-4c28-8b35-fca6dd1c1369" providerId="ADAL" clId="{75A88773-6EE1-484E-AADE-FE631E01463B}" dt="2025-11-24T03:04:54.445" v="500798"/>
          <ac:spMkLst>
            <pc:docMk/>
            <pc:sldMk cId="80455690" sldId="2147483093"/>
            <ac:spMk id="289" creationId="{F0407D6A-8727-6889-8A32-C0DA4709AA59}"/>
          </ac:spMkLst>
        </pc:spChg>
        <pc:spChg chg="add del mod">
          <ac:chgData name="Yudi Zhu" userId="571e1a55-055f-4c28-8b35-fca6dd1c1369" providerId="ADAL" clId="{75A88773-6EE1-484E-AADE-FE631E01463B}" dt="2025-11-24T03:04:54.455" v="500812"/>
          <ac:spMkLst>
            <pc:docMk/>
            <pc:sldMk cId="80455690" sldId="2147483093"/>
            <ac:spMk id="290" creationId="{80004C34-8D20-E3B0-0730-BADFFD894E12}"/>
          </ac:spMkLst>
        </pc:spChg>
        <pc:spChg chg="add del mod ord">
          <ac:chgData name="Yudi Zhu" userId="571e1a55-055f-4c28-8b35-fca6dd1c1369" providerId="ADAL" clId="{75A88773-6EE1-484E-AADE-FE631E01463B}" dt="2025-11-24T03:05:04.456" v="501485"/>
          <ac:spMkLst>
            <pc:docMk/>
            <pc:sldMk cId="80455690" sldId="2147483093"/>
            <ac:spMk id="291" creationId="{E378BD9C-3D5B-EBDE-55C8-B9E818D7689C}"/>
          </ac:spMkLst>
        </pc:spChg>
        <pc:spChg chg="add del mod ord">
          <ac:chgData name="Yudi Zhu" userId="571e1a55-055f-4c28-8b35-fca6dd1c1369" providerId="ADAL" clId="{75A88773-6EE1-484E-AADE-FE631E01463B}" dt="2025-11-24T03:05:04.473" v="501500"/>
          <ac:spMkLst>
            <pc:docMk/>
            <pc:sldMk cId="80455690" sldId="2147483093"/>
            <ac:spMk id="292" creationId="{1189DD6A-8FCB-F236-DBFC-3CE1995AA406}"/>
          </ac:spMkLst>
        </pc:spChg>
        <pc:spChg chg="add del mod">
          <ac:chgData name="Yudi Zhu" userId="571e1a55-055f-4c28-8b35-fca6dd1c1369" providerId="ADAL" clId="{75A88773-6EE1-484E-AADE-FE631E01463B}" dt="2025-11-24T03:05:04.473" v="501514"/>
          <ac:spMkLst>
            <pc:docMk/>
            <pc:sldMk cId="80455690" sldId="2147483093"/>
            <ac:spMk id="293" creationId="{D49AE627-F213-299A-3CAD-7D41D347B7C7}"/>
          </ac:spMkLst>
        </pc:spChg>
        <pc:spChg chg="add del mod ord">
          <ac:chgData name="Yudi Zhu" userId="571e1a55-055f-4c28-8b35-fca6dd1c1369" providerId="ADAL" clId="{75A88773-6EE1-484E-AADE-FE631E01463B}" dt="2025-11-24T03:04:54.461" v="500837"/>
          <ac:spMkLst>
            <pc:docMk/>
            <pc:sldMk cId="80455690" sldId="2147483093"/>
            <ac:spMk id="294" creationId="{E59B32E9-A53C-9F6B-9E62-B6DC798C21B6}"/>
          </ac:spMkLst>
        </pc:spChg>
        <pc:spChg chg="add del mod ord">
          <ac:chgData name="Yudi Zhu" userId="571e1a55-055f-4c28-8b35-fca6dd1c1369" providerId="ADAL" clId="{75A88773-6EE1-484E-AADE-FE631E01463B}" dt="2025-11-24T03:04:54.461" v="500835"/>
          <ac:spMkLst>
            <pc:docMk/>
            <pc:sldMk cId="80455690" sldId="2147483093"/>
            <ac:spMk id="295" creationId="{2BFCE7FB-FF22-1D30-19D6-87F93B3999D0}"/>
          </ac:spMkLst>
        </pc:spChg>
        <pc:spChg chg="add del mod">
          <ac:chgData name="Yudi Zhu" userId="571e1a55-055f-4c28-8b35-fca6dd1c1369" providerId="ADAL" clId="{75A88773-6EE1-484E-AADE-FE631E01463B}" dt="2025-11-24T03:04:54.461" v="500833"/>
          <ac:spMkLst>
            <pc:docMk/>
            <pc:sldMk cId="80455690" sldId="2147483093"/>
            <ac:spMk id="296" creationId="{CF184EFD-ED2A-2BEE-67A7-3636ECEDCEB6}"/>
          </ac:spMkLst>
        </pc:spChg>
        <pc:spChg chg="add del mod ord">
          <ac:chgData name="Yudi Zhu" userId="571e1a55-055f-4c28-8b35-fca6dd1c1369" providerId="ADAL" clId="{75A88773-6EE1-484E-AADE-FE631E01463B}" dt="2025-11-24T03:12:52.792" v="521335"/>
          <ac:spMkLst>
            <pc:docMk/>
            <pc:sldMk cId="80455690" sldId="2147483093"/>
            <ac:spMk id="297" creationId="{408AD386-ADED-6EF4-FB16-C792854FA50A}"/>
          </ac:spMkLst>
        </pc:spChg>
        <pc:spChg chg="add del mod ord">
          <ac:chgData name="Yudi Zhu" userId="571e1a55-055f-4c28-8b35-fca6dd1c1369" providerId="ADAL" clId="{75A88773-6EE1-484E-AADE-FE631E01463B}" dt="2025-11-24T03:22:38.254" v="550221"/>
          <ac:spMkLst>
            <pc:docMk/>
            <pc:sldMk cId="80455690" sldId="2147483093"/>
            <ac:spMk id="298" creationId="{A76689BD-FA9A-B5CA-977F-57103B4777C1}"/>
          </ac:spMkLst>
        </pc:spChg>
        <pc:spChg chg="add del mod ord">
          <ac:chgData name="Yudi Zhu" userId="571e1a55-055f-4c28-8b35-fca6dd1c1369" providerId="ADAL" clId="{75A88773-6EE1-484E-AADE-FE631E01463B}" dt="2025-11-24T03:21:20.089" v="545850"/>
          <ac:spMkLst>
            <pc:docMk/>
            <pc:sldMk cId="80455690" sldId="2147483093"/>
            <ac:spMk id="299" creationId="{5BCD9770-5154-3E7E-8DBB-ED08A6298BB5}"/>
          </ac:spMkLst>
        </pc:spChg>
        <pc:spChg chg="add del mod">
          <ac:chgData name="Yudi Zhu" userId="571e1a55-055f-4c28-8b35-fca6dd1c1369" providerId="ADAL" clId="{75A88773-6EE1-484E-AADE-FE631E01463B}" dt="2025-11-24T03:22:38.254" v="550213"/>
          <ac:spMkLst>
            <pc:docMk/>
            <pc:sldMk cId="80455690" sldId="2147483093"/>
            <ac:spMk id="300" creationId="{471932E8-392F-01DA-D0C9-A706CE3E4001}"/>
          </ac:spMkLst>
        </pc:spChg>
        <pc:spChg chg="add del mod">
          <ac:chgData name="Yudi Zhu" userId="571e1a55-055f-4c28-8b35-fca6dd1c1369" providerId="ADAL" clId="{75A88773-6EE1-484E-AADE-FE631E01463B}" dt="2025-11-24T03:04:54.430" v="500779"/>
          <ac:spMkLst>
            <pc:docMk/>
            <pc:sldMk cId="80455690" sldId="2147483093"/>
            <ac:spMk id="301" creationId="{83D6CB39-FA47-C7FE-10C8-78BEEBCD1170}"/>
          </ac:spMkLst>
        </pc:spChg>
        <pc:spChg chg="add del mod">
          <ac:chgData name="Yudi Zhu" userId="571e1a55-055f-4c28-8b35-fca6dd1c1369" providerId="ADAL" clId="{75A88773-6EE1-484E-AADE-FE631E01463B}" dt="2025-11-24T03:04:54.428" v="500776"/>
          <ac:spMkLst>
            <pc:docMk/>
            <pc:sldMk cId="80455690" sldId="2147483093"/>
            <ac:spMk id="302" creationId="{796209F7-DF5C-152D-CA64-9085C02215E6}"/>
          </ac:spMkLst>
        </pc:spChg>
        <pc:spChg chg="add del mod">
          <ac:chgData name="Yudi Zhu" userId="571e1a55-055f-4c28-8b35-fca6dd1c1369" providerId="ADAL" clId="{75A88773-6EE1-484E-AADE-FE631E01463B}" dt="2025-11-24T03:04:54.427" v="500773"/>
          <ac:spMkLst>
            <pc:docMk/>
            <pc:sldMk cId="80455690" sldId="2147483093"/>
            <ac:spMk id="303" creationId="{F2E25869-4673-B295-7F97-D5F467351704}"/>
          </ac:spMkLst>
        </pc:spChg>
        <pc:spChg chg="add del mod">
          <ac:chgData name="Yudi Zhu" userId="571e1a55-055f-4c28-8b35-fca6dd1c1369" providerId="ADAL" clId="{75A88773-6EE1-484E-AADE-FE631E01463B}" dt="2025-11-24T03:04:54.426" v="500770"/>
          <ac:spMkLst>
            <pc:docMk/>
            <pc:sldMk cId="80455690" sldId="2147483093"/>
            <ac:spMk id="304" creationId="{DC2F1DD1-1C9D-7702-67FC-587C69F0F0AB}"/>
          </ac:spMkLst>
        </pc:spChg>
        <pc:spChg chg="add del mod">
          <ac:chgData name="Yudi Zhu" userId="571e1a55-055f-4c28-8b35-fca6dd1c1369" providerId="ADAL" clId="{75A88773-6EE1-484E-AADE-FE631E01463B}" dt="2025-11-24T03:04:54.424" v="500767"/>
          <ac:spMkLst>
            <pc:docMk/>
            <pc:sldMk cId="80455690" sldId="2147483093"/>
            <ac:spMk id="305" creationId="{1517A355-45C4-9EFB-3617-19D169B9FC12}"/>
          </ac:spMkLst>
        </pc:spChg>
        <pc:spChg chg="add del mod">
          <ac:chgData name="Yudi Zhu" userId="571e1a55-055f-4c28-8b35-fca6dd1c1369" providerId="ADAL" clId="{75A88773-6EE1-484E-AADE-FE631E01463B}" dt="2025-11-24T03:04:54.416" v="500764"/>
          <ac:spMkLst>
            <pc:docMk/>
            <pc:sldMk cId="80455690" sldId="2147483093"/>
            <ac:spMk id="306" creationId="{EFB800F8-884A-ECF1-347A-B207F5F983F0}"/>
          </ac:spMkLst>
        </pc:spChg>
        <pc:spChg chg="add del mod">
          <ac:chgData name="Yudi Zhu" userId="571e1a55-055f-4c28-8b35-fca6dd1c1369" providerId="ADAL" clId="{75A88773-6EE1-484E-AADE-FE631E01463B}" dt="2025-11-24T03:04:54.416" v="500761"/>
          <ac:spMkLst>
            <pc:docMk/>
            <pc:sldMk cId="80455690" sldId="2147483093"/>
            <ac:spMk id="307" creationId="{86D30AF8-5FEE-9E50-5E78-6F7D540D4B1D}"/>
          </ac:spMkLst>
        </pc:spChg>
        <pc:spChg chg="add del mod">
          <ac:chgData name="Yudi Zhu" userId="571e1a55-055f-4c28-8b35-fca6dd1c1369" providerId="ADAL" clId="{75A88773-6EE1-484E-AADE-FE631E01463B}" dt="2025-11-24T03:04:54.416" v="500758"/>
          <ac:spMkLst>
            <pc:docMk/>
            <pc:sldMk cId="80455690" sldId="2147483093"/>
            <ac:spMk id="308" creationId="{CECF3C1D-23B4-AA5D-6A9D-E96DA2657F20}"/>
          </ac:spMkLst>
        </pc:spChg>
        <pc:spChg chg="add del mod">
          <ac:chgData name="Yudi Zhu" userId="571e1a55-055f-4c28-8b35-fca6dd1c1369" providerId="ADAL" clId="{75A88773-6EE1-484E-AADE-FE631E01463B}" dt="2025-11-24T03:04:54.416" v="500755"/>
          <ac:spMkLst>
            <pc:docMk/>
            <pc:sldMk cId="80455690" sldId="2147483093"/>
            <ac:spMk id="309" creationId="{34657383-DA05-1A4B-5044-547DAE075564}"/>
          </ac:spMkLst>
        </pc:spChg>
        <pc:spChg chg="mod ord">
          <ac:chgData name="Yudi Zhu" userId="571e1a55-055f-4c28-8b35-fca6dd1c1369" providerId="ADAL" clId="{75A88773-6EE1-484E-AADE-FE631E01463B}" dt="2025-11-25T10:14:15.553" v="658171"/>
          <ac:spMkLst>
            <pc:docMk/>
            <pc:sldMk cId="80455690" sldId="2147483093"/>
            <ac:spMk id="310" creationId="{A62D9D2E-0539-BC42-9659-99DFC65D701D}"/>
          </ac:spMkLst>
        </pc:spChg>
        <pc:spChg chg="add del mod ord">
          <ac:chgData name="Yudi Zhu" userId="571e1a55-055f-4c28-8b35-fca6dd1c1369" providerId="ADAL" clId="{75A88773-6EE1-484E-AADE-FE631E01463B}" dt="2025-11-25T10:14:15.554" v="658172"/>
          <ac:spMkLst>
            <pc:docMk/>
            <pc:sldMk cId="80455690" sldId="2147483093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5T10:14:15.555" v="658173"/>
          <ac:spMkLst>
            <pc:docMk/>
            <pc:sldMk cId="80455690" sldId="2147483093"/>
            <ac:spMk id="312" creationId="{5889A2F9-795A-D383-2D23-CFB5A874C50A}"/>
          </ac:spMkLst>
        </pc:spChg>
        <pc:spChg chg="add del mod">
          <ac:chgData name="Yudi Zhu" userId="571e1a55-055f-4c28-8b35-fca6dd1c1369" providerId="ADAL" clId="{75A88773-6EE1-484E-AADE-FE631E01463B}" dt="2025-11-24T03:04:54.416" v="500752"/>
          <ac:spMkLst>
            <pc:docMk/>
            <pc:sldMk cId="80455690" sldId="2147483093"/>
            <ac:spMk id="313" creationId="{C41A3BE0-6721-CD08-CB61-8547295A937C}"/>
          </ac:spMkLst>
        </pc:spChg>
        <pc:spChg chg="mod ord">
          <ac:chgData name="Yudi Zhu" userId="571e1a55-055f-4c28-8b35-fca6dd1c1369" providerId="ADAL" clId="{75A88773-6EE1-484E-AADE-FE631E01463B}" dt="2025-11-25T10:14:15.556" v="658174"/>
          <ac:spMkLst>
            <pc:docMk/>
            <pc:sldMk cId="80455690" sldId="2147483093"/>
            <ac:spMk id="314" creationId="{60C55FFD-9FE8-A10C-A7D3-CA5764CCB488}"/>
          </ac:spMkLst>
        </pc:spChg>
        <pc:spChg chg="add del mod ord">
          <ac:chgData name="Yudi Zhu" userId="571e1a55-055f-4c28-8b35-fca6dd1c1369" providerId="ADAL" clId="{75A88773-6EE1-484E-AADE-FE631E01463B}" dt="2025-11-25T10:14:15.557" v="658175"/>
          <ac:spMkLst>
            <pc:docMk/>
            <pc:sldMk cId="80455690" sldId="2147483093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5T10:14:15.558" v="658176"/>
          <ac:spMkLst>
            <pc:docMk/>
            <pc:sldMk cId="80455690" sldId="2147483093"/>
            <ac:spMk id="316" creationId="{FF8775EC-9A38-2C66-D0FF-C4924FD32796}"/>
          </ac:spMkLst>
        </pc:spChg>
        <pc:spChg chg="mod ord">
          <ac:chgData name="Yudi Zhu" userId="571e1a55-055f-4c28-8b35-fca6dd1c1369" providerId="ADAL" clId="{75A88773-6EE1-484E-AADE-FE631E01463B}" dt="2025-11-25T10:14:15.558" v="658177"/>
          <ac:spMkLst>
            <pc:docMk/>
            <pc:sldMk cId="80455690" sldId="2147483093"/>
            <ac:spMk id="318" creationId="{FBCB803E-54EC-7A3B-9145-7A6054CAD134}"/>
          </ac:spMkLst>
        </pc:spChg>
        <pc:spChg chg="add del mod ord">
          <ac:chgData name="Yudi Zhu" userId="571e1a55-055f-4c28-8b35-fca6dd1c1369" providerId="ADAL" clId="{75A88773-6EE1-484E-AADE-FE631E01463B}" dt="2025-11-25T10:14:15.559" v="658178"/>
          <ac:spMkLst>
            <pc:docMk/>
            <pc:sldMk cId="80455690" sldId="2147483093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5T10:14:15.559" v="658179"/>
          <ac:spMkLst>
            <pc:docMk/>
            <pc:sldMk cId="80455690" sldId="2147483093"/>
            <ac:spMk id="320" creationId="{E86B3B8E-37AC-519F-45A3-5BD8642641E6}"/>
          </ac:spMkLst>
        </pc:spChg>
        <pc:spChg chg="mod ord">
          <ac:chgData name="Yudi Zhu" userId="571e1a55-055f-4c28-8b35-fca6dd1c1369" providerId="ADAL" clId="{75A88773-6EE1-484E-AADE-FE631E01463B}" dt="2025-11-25T10:14:15.560" v="658180"/>
          <ac:spMkLst>
            <pc:docMk/>
            <pc:sldMk cId="80455690" sldId="2147483093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5T10:14:15.561" v="658182"/>
          <ac:spMkLst>
            <pc:docMk/>
            <pc:sldMk cId="80455690" sldId="2147483093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5T10:14:15.561" v="658183"/>
          <ac:spMkLst>
            <pc:docMk/>
            <pc:sldMk cId="80455690" sldId="2147483093"/>
            <ac:spMk id="324" creationId="{74A31F23-C56E-0C58-DE25-C3822C2C7702}"/>
          </ac:spMkLst>
        </pc:spChg>
        <pc:spChg chg="mod ord">
          <ac:chgData name="Yudi Zhu" userId="571e1a55-055f-4c28-8b35-fca6dd1c1369" providerId="ADAL" clId="{75A88773-6EE1-484E-AADE-FE631E01463B}" dt="2025-11-25T10:14:15.562" v="658184"/>
          <ac:spMkLst>
            <pc:docMk/>
            <pc:sldMk cId="80455690" sldId="2147483093"/>
            <ac:spMk id="326" creationId="{C7F59C0F-9502-E9D5-62BB-F976ECCD8766}"/>
          </ac:spMkLst>
        </pc:spChg>
        <pc:spChg chg="add del mod ord">
          <ac:chgData name="Yudi Zhu" userId="571e1a55-055f-4c28-8b35-fca6dd1c1369" providerId="ADAL" clId="{75A88773-6EE1-484E-AADE-FE631E01463B}" dt="2025-11-25T10:14:15.563" v="658185"/>
          <ac:spMkLst>
            <pc:docMk/>
            <pc:sldMk cId="80455690" sldId="2147483093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5T10:14:15.563" v="658186"/>
          <ac:spMkLst>
            <pc:docMk/>
            <pc:sldMk cId="80455690" sldId="2147483093"/>
            <ac:spMk id="328" creationId="{96ACB3D1-E63C-5146-0E96-44B1BC1BF511}"/>
          </ac:spMkLst>
        </pc:spChg>
        <pc:spChg chg="mod ord">
          <ac:chgData name="Yudi Zhu" userId="571e1a55-055f-4c28-8b35-fca6dd1c1369" providerId="ADAL" clId="{75A88773-6EE1-484E-AADE-FE631E01463B}" dt="2025-11-25T10:14:15.564" v="658187"/>
          <ac:spMkLst>
            <pc:docMk/>
            <pc:sldMk cId="80455690" sldId="2147483093"/>
            <ac:spMk id="330" creationId="{5BF0E0DB-D8B0-7FBE-D30A-6DFDD08C285E}"/>
          </ac:spMkLst>
        </pc:spChg>
        <pc:spChg chg="add del mod ord">
          <ac:chgData name="Yudi Zhu" userId="571e1a55-055f-4c28-8b35-fca6dd1c1369" providerId="ADAL" clId="{75A88773-6EE1-484E-AADE-FE631E01463B}" dt="2025-11-25T10:14:15.564" v="658188"/>
          <ac:spMkLst>
            <pc:docMk/>
            <pc:sldMk cId="80455690" sldId="2147483093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5T10:14:15.565" v="658189"/>
          <ac:spMkLst>
            <pc:docMk/>
            <pc:sldMk cId="80455690" sldId="2147483093"/>
            <ac:spMk id="332" creationId="{E808FE89-996D-415C-DBB1-0A3FFCE5ABC0}"/>
          </ac:spMkLst>
        </pc:spChg>
        <pc:spChg chg="mod ord">
          <ac:chgData name="Yudi Zhu" userId="571e1a55-055f-4c28-8b35-fca6dd1c1369" providerId="ADAL" clId="{75A88773-6EE1-484E-AADE-FE631E01463B}" dt="2025-11-25T10:14:15.566" v="658190"/>
          <ac:spMkLst>
            <pc:docMk/>
            <pc:sldMk cId="80455690" sldId="2147483093"/>
            <ac:spMk id="334" creationId="{0574B8A2-DAE9-FA77-CD25-3C79BC310A04}"/>
          </ac:spMkLst>
        </pc:spChg>
        <pc:spChg chg="add del mod ord">
          <ac:chgData name="Yudi Zhu" userId="571e1a55-055f-4c28-8b35-fca6dd1c1369" providerId="ADAL" clId="{75A88773-6EE1-484E-AADE-FE631E01463B}" dt="2025-11-25T10:14:15.566" v="658191"/>
          <ac:spMkLst>
            <pc:docMk/>
            <pc:sldMk cId="80455690" sldId="2147483093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5T10:14:15.567" v="658192"/>
          <ac:spMkLst>
            <pc:docMk/>
            <pc:sldMk cId="80455690" sldId="2147483093"/>
            <ac:spMk id="336" creationId="{36445EF4-EDAE-86E1-A720-9E3036E4FB46}"/>
          </ac:spMkLst>
        </pc:spChg>
        <pc:spChg chg="add del mod ord">
          <ac:chgData name="Yudi Zhu" userId="571e1a55-055f-4c28-8b35-fca6dd1c1369" providerId="ADAL" clId="{75A88773-6EE1-484E-AADE-FE631E01463B}" dt="2025-11-25T10:14:15.569" v="658196"/>
          <ac:spMkLst>
            <pc:docMk/>
            <pc:sldMk cId="80455690" sldId="2147483093"/>
            <ac:spMk id="337" creationId="{36AB1D7E-40D3-61B5-A55C-A396D415FF17}"/>
          </ac:spMkLst>
        </pc:spChg>
        <pc:spChg chg="mod ord">
          <ac:chgData name="Yudi Zhu" userId="571e1a55-055f-4c28-8b35-fca6dd1c1369" providerId="ADAL" clId="{75A88773-6EE1-484E-AADE-FE631E01463B}" dt="2025-11-25T10:14:15.567" v="658193"/>
          <ac:spMkLst>
            <pc:docMk/>
            <pc:sldMk cId="80455690" sldId="2147483093"/>
            <ac:spMk id="338" creationId="{AE1A4FDE-AEAE-1F18-9776-ECAA66344E31}"/>
          </ac:spMkLst>
        </pc:spChg>
        <pc:spChg chg="add del mod ord">
          <ac:chgData name="Yudi Zhu" userId="571e1a55-055f-4c28-8b35-fca6dd1c1369" providerId="ADAL" clId="{75A88773-6EE1-484E-AADE-FE631E01463B}" dt="2025-11-25T10:14:15.568" v="658194"/>
          <ac:spMkLst>
            <pc:docMk/>
            <pc:sldMk cId="80455690" sldId="2147483093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5T10:14:15.569" v="658195"/>
          <ac:spMkLst>
            <pc:docMk/>
            <pc:sldMk cId="80455690" sldId="2147483093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5T10:14:15.570" v="658198"/>
          <ac:spMkLst>
            <pc:docMk/>
            <pc:sldMk cId="80455690" sldId="2147483093"/>
            <ac:spMk id="342" creationId="{5F9DF103-C1E2-AA69-9A66-0545A8C8A5E7}"/>
          </ac:spMkLst>
        </pc:spChg>
        <pc:spChg chg="add del mod ord">
          <ac:chgData name="Yudi Zhu" userId="571e1a55-055f-4c28-8b35-fca6dd1c1369" providerId="ADAL" clId="{75A88773-6EE1-484E-AADE-FE631E01463B}" dt="2025-11-25T10:14:15.570" v="658199"/>
          <ac:spMkLst>
            <pc:docMk/>
            <pc:sldMk cId="80455690" sldId="2147483093"/>
            <ac:spMk id="343" creationId="{93F781B8-58D3-037B-422F-B97F243A4ADD}"/>
          </ac:spMkLst>
        </pc:spChg>
        <pc:spChg chg="mod ord">
          <ac:chgData name="Yudi Zhu" userId="571e1a55-055f-4c28-8b35-fca6dd1c1369" providerId="ADAL" clId="{75A88773-6EE1-484E-AADE-FE631E01463B}" dt="2025-11-25T10:14:15.552" v="658168"/>
          <ac:spMkLst>
            <pc:docMk/>
            <pc:sldMk cId="80455690" sldId="2147483093"/>
            <ac:spMk id="345" creationId="{A7062455-DCFB-CA90-BAB0-FE5B0F9A7539}"/>
          </ac:spMkLst>
        </pc:spChg>
        <pc:spChg chg="add del mod ord">
          <ac:chgData name="Yudi Zhu" userId="571e1a55-055f-4c28-8b35-fca6dd1c1369" providerId="ADAL" clId="{75A88773-6EE1-484E-AADE-FE631E01463B}" dt="2025-11-25T10:14:15.552" v="658169"/>
          <ac:spMkLst>
            <pc:docMk/>
            <pc:sldMk cId="80455690" sldId="2147483093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5T10:14:15.553" v="658170"/>
          <ac:spMkLst>
            <pc:docMk/>
            <pc:sldMk cId="80455690" sldId="2147483093"/>
            <ac:spMk id="347" creationId="{90303146-CD91-5A62-9BB6-085A9E75310C}"/>
          </ac:spMkLst>
        </pc:spChg>
        <pc:spChg chg="mod ord">
          <ac:chgData name="Yudi Zhu" userId="571e1a55-055f-4c28-8b35-fca6dd1c1369" providerId="ADAL" clId="{75A88773-6EE1-484E-AADE-FE631E01463B}" dt="2025-11-25T10:14:15.571" v="658201"/>
          <ac:spMkLst>
            <pc:docMk/>
            <pc:sldMk cId="80455690" sldId="2147483093"/>
            <ac:spMk id="350" creationId="{29244B0B-E2EE-A2BC-96A2-0D5A3B3BD02C}"/>
          </ac:spMkLst>
        </pc:spChg>
        <pc:spChg chg="add del mod ord">
          <ac:chgData name="Yudi Zhu" userId="571e1a55-055f-4c28-8b35-fca6dd1c1369" providerId="ADAL" clId="{75A88773-6EE1-484E-AADE-FE631E01463B}" dt="2025-11-25T10:14:15.572" v="658203"/>
          <ac:spMkLst>
            <pc:docMk/>
            <pc:sldMk cId="80455690" sldId="2147483093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5T10:14:15.573" v="658206"/>
          <ac:spMkLst>
            <pc:docMk/>
            <pc:sldMk cId="80455690" sldId="2147483093"/>
            <ac:spMk id="353" creationId="{16C1316C-83DD-4BA5-36F8-D2FF00F47A16}"/>
          </ac:spMkLst>
        </pc:spChg>
        <pc:spChg chg="del mod">
          <ac:chgData name="Yudi Zhu" userId="571e1a55-055f-4c28-8b35-fca6dd1c1369" providerId="ADAL" clId="{75A88773-6EE1-484E-AADE-FE631E01463B}" dt="2025-11-25T10:14:15.573" v="658207"/>
          <ac:spMkLst>
            <pc:docMk/>
            <pc:sldMk cId="80455690" sldId="2147483093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5T10:14:15.573" v="658208"/>
          <ac:spMkLst>
            <pc:docMk/>
            <pc:sldMk cId="80455690" sldId="2147483093"/>
            <ac:spMk id="355" creationId="{B8F8C981-C881-6238-8329-8E7159CC921D}"/>
          </ac:spMkLst>
        </pc:spChg>
        <pc:spChg chg="add del mod ord">
          <ac:chgData name="Yudi Zhu" userId="571e1a55-055f-4c28-8b35-fca6dd1c1369" providerId="ADAL" clId="{75A88773-6EE1-484E-AADE-FE631E01463B}" dt="2025-11-24T03:05:04.432" v="501444"/>
          <ac:spMkLst>
            <pc:docMk/>
            <pc:sldMk cId="80455690" sldId="2147483093"/>
            <ac:spMk id="358" creationId="{49FEAB59-71DC-DC9E-71DD-602609F64E17}"/>
          </ac:spMkLst>
        </pc:spChg>
        <pc:spChg chg="add del mod ord">
          <ac:chgData name="Yudi Zhu" userId="571e1a55-055f-4c28-8b35-fca6dd1c1369" providerId="ADAL" clId="{75A88773-6EE1-484E-AADE-FE631E01463B}" dt="2025-11-24T03:05:04.440" v="501459"/>
          <ac:spMkLst>
            <pc:docMk/>
            <pc:sldMk cId="80455690" sldId="2147483093"/>
            <ac:spMk id="359" creationId="{E633DE0A-E17E-3027-3BFB-1D4674B8B5FD}"/>
          </ac:spMkLst>
        </pc:spChg>
        <pc:spChg chg="add del mod">
          <ac:chgData name="Yudi Zhu" userId="571e1a55-055f-4c28-8b35-fca6dd1c1369" providerId="ADAL" clId="{75A88773-6EE1-484E-AADE-FE631E01463B}" dt="2025-11-24T03:05:04.456" v="501473"/>
          <ac:spMkLst>
            <pc:docMk/>
            <pc:sldMk cId="80455690" sldId="2147483093"/>
            <ac:spMk id="360" creationId="{05E9C411-34A7-50B0-F81C-75769DC1A859}"/>
          </ac:spMkLst>
        </pc:spChg>
        <pc:spChg chg="add del mod ord">
          <ac:chgData name="Yudi Zhu" userId="571e1a55-055f-4c28-8b35-fca6dd1c1369" providerId="ADAL" clId="{75A88773-6EE1-484E-AADE-FE631E01463B}" dt="2025-11-24T03:06:41.537" v="506012"/>
          <ac:spMkLst>
            <pc:docMk/>
            <pc:sldMk cId="80455690" sldId="2147483093"/>
            <ac:spMk id="363" creationId="{C02EF458-9060-97B8-6D4D-4DF1839607BB}"/>
          </ac:spMkLst>
        </pc:spChg>
        <pc:spChg chg="add del mod ord">
          <ac:chgData name="Yudi Zhu" userId="571e1a55-055f-4c28-8b35-fca6dd1c1369" providerId="ADAL" clId="{75A88773-6EE1-484E-AADE-FE631E01463B}" dt="2025-11-24T03:06:41.547" v="506027"/>
          <ac:spMkLst>
            <pc:docMk/>
            <pc:sldMk cId="80455690" sldId="2147483093"/>
            <ac:spMk id="364" creationId="{80E28786-A04B-0798-5B6D-2BD43F866E1B}"/>
          </ac:spMkLst>
        </pc:spChg>
        <pc:spChg chg="add del mod">
          <ac:chgData name="Yudi Zhu" userId="571e1a55-055f-4c28-8b35-fca6dd1c1369" providerId="ADAL" clId="{75A88773-6EE1-484E-AADE-FE631E01463B}" dt="2025-11-24T03:06:41.559" v="506041"/>
          <ac:spMkLst>
            <pc:docMk/>
            <pc:sldMk cId="80455690" sldId="2147483093"/>
            <ac:spMk id="365" creationId="{6501D95C-AE57-49E1-0F8C-70525D3D4803}"/>
          </ac:spMkLst>
        </pc:spChg>
        <pc:spChg chg="add del mod ord">
          <ac:chgData name="Yudi Zhu" userId="571e1a55-055f-4c28-8b35-fca6dd1c1369" providerId="ADAL" clId="{75A88773-6EE1-484E-AADE-FE631E01463B}" dt="2025-11-24T03:06:41.568" v="506053"/>
          <ac:spMkLst>
            <pc:docMk/>
            <pc:sldMk cId="80455690" sldId="2147483093"/>
            <ac:spMk id="366" creationId="{84627AF7-7941-E497-C1B5-2B49D08FEA99}"/>
          </ac:spMkLst>
        </pc:spChg>
        <pc:spChg chg="add del mod ord">
          <ac:chgData name="Yudi Zhu" userId="571e1a55-055f-4c28-8b35-fca6dd1c1369" providerId="ADAL" clId="{75A88773-6EE1-484E-AADE-FE631E01463B}" dt="2025-11-24T03:06:41.568" v="506068"/>
          <ac:spMkLst>
            <pc:docMk/>
            <pc:sldMk cId="80455690" sldId="2147483093"/>
            <ac:spMk id="367" creationId="{A065FB1C-CF4E-6A77-98F6-CD68291E9AA2}"/>
          </ac:spMkLst>
        </pc:spChg>
        <pc:spChg chg="add del mod">
          <ac:chgData name="Yudi Zhu" userId="571e1a55-055f-4c28-8b35-fca6dd1c1369" providerId="ADAL" clId="{75A88773-6EE1-484E-AADE-FE631E01463B}" dt="2025-11-24T03:06:41.583" v="506082"/>
          <ac:spMkLst>
            <pc:docMk/>
            <pc:sldMk cId="80455690" sldId="2147483093"/>
            <ac:spMk id="368" creationId="{092322EC-90C0-7370-A1A9-2227822B0E92}"/>
          </ac:spMkLst>
        </pc:spChg>
        <pc:spChg chg="add del mod modVis">
          <ac:chgData name="Yudi Zhu" userId="571e1a55-055f-4c28-8b35-fca6dd1c1369" providerId="ADAL" clId="{75A88773-6EE1-484E-AADE-FE631E01463B}" dt="2025-11-24T03:06:24.712" v="504394"/>
          <ac:spMkLst>
            <pc:docMk/>
            <pc:sldMk cId="80455690" sldId="2147483093"/>
            <ac:spMk id="378" creationId="{1CE95B62-7BE5-B86B-551F-D871FAB6140A}"/>
          </ac:spMkLst>
        </pc:spChg>
        <pc:spChg chg="add del mod modVis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1" creationId="{0DC2392E-F718-CDD8-8099-6D95012790F8}"/>
          </ac:spMkLst>
        </pc:spChg>
        <pc:spChg chg="add mod or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2" creationId="{D3807334-A9F6-1D32-74CF-6A114F21FBEF}"/>
          </ac:spMkLst>
        </pc:spChg>
        <pc:spChg chg="add mod or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3" creationId="{389F5A86-F1DF-B7E1-2FEC-8A1AB545946E}"/>
          </ac:spMkLst>
        </pc:spChg>
        <pc:spChg chg="add mod">
          <ac:chgData name="Yudi Zhu" userId="571e1a55-055f-4c28-8b35-fca6dd1c1369" providerId="ADAL" clId="{75A88773-6EE1-484E-AADE-FE631E01463B}" dt="2025-11-24T03:06:36.919" v="505913" actId="207"/>
          <ac:spMkLst>
            <pc:docMk/>
            <pc:sldMk cId="80455690" sldId="2147483093"/>
            <ac:spMk id="384" creationId="{495440E2-FBFA-3F25-0C51-A1B51F62BDF7}"/>
          </ac:spMkLst>
        </pc:spChg>
        <pc:spChg chg="add mod or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5" creationId="{50CE3E6E-1AD3-29E9-91BE-9BAE9734D5B1}"/>
          </ac:spMkLst>
        </pc:spChg>
        <pc:spChg chg="add mod or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6" creationId="{F5EA99E5-7995-9077-B60E-607B08BA51F3}"/>
          </ac:spMkLst>
        </pc:spChg>
        <pc:spChg chg="add mod">
          <ac:chgData name="Yudi Zhu" userId="571e1a55-055f-4c28-8b35-fca6dd1c1369" providerId="ADAL" clId="{75A88773-6EE1-484E-AADE-FE631E01463B}" dt="2025-11-24T03:06:36.898" v="505888" actId="207"/>
          <ac:spMkLst>
            <pc:docMk/>
            <pc:sldMk cId="80455690" sldId="2147483093"/>
            <ac:spMk id="387" creationId="{2CA1FD15-FDF6-9D2B-7777-5C392F9EB284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8" creationId="{EDF69656-C447-3D17-EDB7-6AF4E1F64A10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89" creationId="{2B5459A3-3BB6-9C81-4571-B28E60DE3522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90" creationId="{21C4F5F4-2B6D-9455-9A4D-51209C8020FE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91" creationId="{631ECF6F-0027-A818-08A1-673CE0191328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92" creationId="{A049EF9F-AF2E-31D0-3079-887A21F1CDD5}"/>
          </ac:spMkLst>
        </pc:spChg>
        <pc:spChg chg="add mod">
          <ac:chgData name="Yudi Zhu" userId="571e1a55-055f-4c28-8b35-fca6dd1c1369" providerId="ADAL" clId="{75A88773-6EE1-484E-AADE-FE631E01463B}" dt="2025-11-24T03:06:36.961" v="505961"/>
          <ac:spMkLst>
            <pc:docMk/>
            <pc:sldMk cId="80455690" sldId="2147483093"/>
            <ac:spMk id="393" creationId="{BA06C260-341C-AC05-D572-0492A3D82A9C}"/>
          </ac:spMkLst>
        </pc:spChg>
        <pc:spChg chg="add del mod modVis">
          <ac:chgData name="Yudi Zhu" userId="571e1a55-055f-4c28-8b35-fca6dd1c1369" providerId="ADAL" clId="{75A88773-6EE1-484E-AADE-FE631E01463B}" dt="2025-11-24T03:06:41.835" v="506418"/>
          <ac:spMkLst>
            <pc:docMk/>
            <pc:sldMk cId="80455690" sldId="2147483093"/>
            <ac:spMk id="401" creationId="{3CBEFEA7-9725-3283-01F9-E268E92E90C1}"/>
          </ac:spMkLst>
        </pc:spChg>
        <pc:spChg chg="add del mod ord">
          <ac:chgData name="Yudi Zhu" userId="571e1a55-055f-4c28-8b35-fca6dd1c1369" providerId="ADAL" clId="{75A88773-6EE1-484E-AADE-FE631E01463B}" dt="2025-11-24T03:06:45.619" v="506422"/>
          <ac:spMkLst>
            <pc:docMk/>
            <pc:sldMk cId="80455690" sldId="2147483093"/>
            <ac:spMk id="402" creationId="{040CBA50-7100-6622-1754-4DD50A68E302}"/>
          </ac:spMkLst>
        </pc:spChg>
        <pc:spChg chg="add del mod ord">
          <ac:chgData name="Yudi Zhu" userId="571e1a55-055f-4c28-8b35-fca6dd1c1369" providerId="ADAL" clId="{75A88773-6EE1-484E-AADE-FE631E01463B}" dt="2025-11-24T03:06:45.632" v="506437"/>
          <ac:spMkLst>
            <pc:docMk/>
            <pc:sldMk cId="80455690" sldId="2147483093"/>
            <ac:spMk id="403" creationId="{58B5C46C-A34C-1AC2-1B8D-A06A7D1BE74F}"/>
          </ac:spMkLst>
        </pc:spChg>
        <pc:spChg chg="add del mod">
          <ac:chgData name="Yudi Zhu" userId="571e1a55-055f-4c28-8b35-fca6dd1c1369" providerId="ADAL" clId="{75A88773-6EE1-484E-AADE-FE631E01463B}" dt="2025-11-24T03:06:45.640" v="506451"/>
          <ac:spMkLst>
            <pc:docMk/>
            <pc:sldMk cId="80455690" sldId="2147483093"/>
            <ac:spMk id="404" creationId="{C4C4A37D-69EF-A232-98E0-2C1898DF1670}"/>
          </ac:spMkLst>
        </pc:spChg>
        <pc:spChg chg="add del mod ord">
          <ac:chgData name="Yudi Zhu" userId="571e1a55-055f-4c28-8b35-fca6dd1c1369" providerId="ADAL" clId="{75A88773-6EE1-484E-AADE-FE631E01463B}" dt="2025-11-24T03:06:45.640" v="506463"/>
          <ac:spMkLst>
            <pc:docMk/>
            <pc:sldMk cId="80455690" sldId="2147483093"/>
            <ac:spMk id="405" creationId="{752C6DF6-C806-56A9-BD72-F5E5841B8E7D}"/>
          </ac:spMkLst>
        </pc:spChg>
        <pc:spChg chg="add del mod ord">
          <ac:chgData name="Yudi Zhu" userId="571e1a55-055f-4c28-8b35-fca6dd1c1369" providerId="ADAL" clId="{75A88773-6EE1-484E-AADE-FE631E01463B}" dt="2025-11-24T03:06:45.648" v="506478"/>
          <ac:spMkLst>
            <pc:docMk/>
            <pc:sldMk cId="80455690" sldId="2147483093"/>
            <ac:spMk id="406" creationId="{FF3AC6CA-E6FE-A295-1A8E-E08B0E421DA8}"/>
          </ac:spMkLst>
        </pc:spChg>
        <pc:spChg chg="add del mod">
          <ac:chgData name="Yudi Zhu" userId="571e1a55-055f-4c28-8b35-fca6dd1c1369" providerId="ADAL" clId="{75A88773-6EE1-484E-AADE-FE631E01463B}" dt="2025-11-24T03:06:45.664" v="506492"/>
          <ac:spMkLst>
            <pc:docMk/>
            <pc:sldMk cId="80455690" sldId="2147483093"/>
            <ac:spMk id="407" creationId="{062D62C8-C2A4-7D65-1724-F613BD4E7360}"/>
          </ac:spMkLst>
        </pc:spChg>
        <pc:spChg chg="add del mod ord">
          <ac:chgData name="Yudi Zhu" userId="571e1a55-055f-4c28-8b35-fca6dd1c1369" providerId="ADAL" clId="{75A88773-6EE1-484E-AADE-FE631E01463B}" dt="2025-11-24T03:06:47.864" v="506810"/>
          <ac:spMkLst>
            <pc:docMk/>
            <pc:sldMk cId="80455690" sldId="2147483093"/>
            <ac:spMk id="409" creationId="{1F02B0F1-005A-E574-05E1-02E3DF73D7F0}"/>
          </ac:spMkLst>
        </pc:spChg>
        <pc:spChg chg="add del mod ord">
          <ac:chgData name="Yudi Zhu" userId="571e1a55-055f-4c28-8b35-fca6dd1c1369" providerId="ADAL" clId="{75A88773-6EE1-484E-AADE-FE631E01463B}" dt="2025-11-24T03:06:47.868" v="506825"/>
          <ac:spMkLst>
            <pc:docMk/>
            <pc:sldMk cId="80455690" sldId="2147483093"/>
            <ac:spMk id="410" creationId="{7ACBC4DD-CEE4-3439-C35E-F5129A137B63}"/>
          </ac:spMkLst>
        </pc:spChg>
        <pc:spChg chg="add del mod">
          <ac:chgData name="Yudi Zhu" userId="571e1a55-055f-4c28-8b35-fca6dd1c1369" providerId="ADAL" clId="{75A88773-6EE1-484E-AADE-FE631E01463B}" dt="2025-11-24T03:06:47.868" v="506839"/>
          <ac:spMkLst>
            <pc:docMk/>
            <pc:sldMk cId="80455690" sldId="2147483093"/>
            <ac:spMk id="411" creationId="{9A7EC21F-FD5F-25A2-7203-10E4496B3AA2}"/>
          </ac:spMkLst>
        </pc:spChg>
        <pc:spChg chg="add del mod ord">
          <ac:chgData name="Yudi Zhu" userId="571e1a55-055f-4c28-8b35-fca6dd1c1369" providerId="ADAL" clId="{75A88773-6EE1-484E-AADE-FE631E01463B}" dt="2025-11-24T03:06:47.884" v="506851"/>
          <ac:spMkLst>
            <pc:docMk/>
            <pc:sldMk cId="80455690" sldId="2147483093"/>
            <ac:spMk id="412" creationId="{62C355FF-24CB-499E-9C91-A5CE01901BE9}"/>
          </ac:spMkLst>
        </pc:spChg>
        <pc:spChg chg="add del mod ord">
          <ac:chgData name="Yudi Zhu" userId="571e1a55-055f-4c28-8b35-fca6dd1c1369" providerId="ADAL" clId="{75A88773-6EE1-484E-AADE-FE631E01463B}" dt="2025-11-24T03:06:47.899" v="506866"/>
          <ac:spMkLst>
            <pc:docMk/>
            <pc:sldMk cId="80455690" sldId="2147483093"/>
            <ac:spMk id="413" creationId="{7C28D8E1-C79D-DA72-D181-01817FDA001E}"/>
          </ac:spMkLst>
        </pc:spChg>
        <pc:spChg chg="add del mod">
          <ac:chgData name="Yudi Zhu" userId="571e1a55-055f-4c28-8b35-fca6dd1c1369" providerId="ADAL" clId="{75A88773-6EE1-484E-AADE-FE631E01463B}" dt="2025-11-24T03:06:47.899" v="506880"/>
          <ac:spMkLst>
            <pc:docMk/>
            <pc:sldMk cId="80455690" sldId="2147483093"/>
            <ac:spMk id="414" creationId="{2C95165D-DE71-3E32-4F69-17235684931A}"/>
          </ac:spMkLst>
        </pc:spChg>
        <pc:spChg chg="add del mod ord">
          <ac:chgData name="Yudi Zhu" userId="571e1a55-055f-4c28-8b35-fca6dd1c1369" providerId="ADAL" clId="{75A88773-6EE1-484E-AADE-FE631E01463B}" dt="2025-11-24T03:06:50.483" v="507208"/>
          <ac:spMkLst>
            <pc:docMk/>
            <pc:sldMk cId="80455690" sldId="2147483093"/>
            <ac:spMk id="416" creationId="{952A8D38-B130-07B9-8674-8978AAB080A7}"/>
          </ac:spMkLst>
        </pc:spChg>
        <pc:spChg chg="add del mod ord">
          <ac:chgData name="Yudi Zhu" userId="571e1a55-055f-4c28-8b35-fca6dd1c1369" providerId="ADAL" clId="{75A88773-6EE1-484E-AADE-FE631E01463B}" dt="2025-11-24T03:06:50.485" v="507223"/>
          <ac:spMkLst>
            <pc:docMk/>
            <pc:sldMk cId="80455690" sldId="2147483093"/>
            <ac:spMk id="417" creationId="{2BA01995-7BD8-BF92-0397-6538C0B19278}"/>
          </ac:spMkLst>
        </pc:spChg>
        <pc:spChg chg="add del mod">
          <ac:chgData name="Yudi Zhu" userId="571e1a55-055f-4c28-8b35-fca6dd1c1369" providerId="ADAL" clId="{75A88773-6EE1-484E-AADE-FE631E01463B}" dt="2025-11-24T03:06:50.502" v="507237"/>
          <ac:spMkLst>
            <pc:docMk/>
            <pc:sldMk cId="80455690" sldId="2147483093"/>
            <ac:spMk id="418" creationId="{52420C01-E249-1126-AF88-07AED4C2AC11}"/>
          </ac:spMkLst>
        </pc:spChg>
        <pc:spChg chg="add del mod ord">
          <ac:chgData name="Yudi Zhu" userId="571e1a55-055f-4c28-8b35-fca6dd1c1369" providerId="ADAL" clId="{75A88773-6EE1-484E-AADE-FE631E01463B}" dt="2025-11-24T03:06:50.502" v="507249"/>
          <ac:spMkLst>
            <pc:docMk/>
            <pc:sldMk cId="80455690" sldId="2147483093"/>
            <ac:spMk id="419" creationId="{B43A4264-E0A8-0165-ABFC-E91E14B3BA2C}"/>
          </ac:spMkLst>
        </pc:spChg>
        <pc:spChg chg="add del mod ord">
          <ac:chgData name="Yudi Zhu" userId="571e1a55-055f-4c28-8b35-fca6dd1c1369" providerId="ADAL" clId="{75A88773-6EE1-484E-AADE-FE631E01463B}" dt="2025-11-24T03:06:50.516" v="507264"/>
          <ac:spMkLst>
            <pc:docMk/>
            <pc:sldMk cId="80455690" sldId="2147483093"/>
            <ac:spMk id="420" creationId="{A219BAC7-B2F8-F46E-4F4F-B97AD8BE3377}"/>
          </ac:spMkLst>
        </pc:spChg>
        <pc:spChg chg="add del mod">
          <ac:chgData name="Yudi Zhu" userId="571e1a55-055f-4c28-8b35-fca6dd1c1369" providerId="ADAL" clId="{75A88773-6EE1-484E-AADE-FE631E01463B}" dt="2025-11-24T03:06:50.516" v="507278"/>
          <ac:spMkLst>
            <pc:docMk/>
            <pc:sldMk cId="80455690" sldId="2147483093"/>
            <ac:spMk id="421" creationId="{5A721AE1-C536-7081-0B60-F5D91072B977}"/>
          </ac:spMkLst>
        </pc:spChg>
        <pc:spChg chg="add del mod ord">
          <ac:chgData name="Yudi Zhu" userId="571e1a55-055f-4c28-8b35-fca6dd1c1369" providerId="ADAL" clId="{75A88773-6EE1-484E-AADE-FE631E01463B}" dt="2025-11-24T03:07:26.295" v="508961"/>
          <ac:spMkLst>
            <pc:docMk/>
            <pc:sldMk cId="80455690" sldId="2147483093"/>
            <ac:spMk id="423" creationId="{F7E34898-810D-5596-2DC7-8380E41926CF}"/>
          </ac:spMkLst>
        </pc:spChg>
        <pc:spChg chg="add del mod ord">
          <ac:chgData name="Yudi Zhu" userId="571e1a55-055f-4c28-8b35-fca6dd1c1369" providerId="ADAL" clId="{75A88773-6EE1-484E-AADE-FE631E01463B}" dt="2025-11-24T03:07:26.313" v="508976"/>
          <ac:spMkLst>
            <pc:docMk/>
            <pc:sldMk cId="80455690" sldId="2147483093"/>
            <ac:spMk id="424" creationId="{212A7F02-3FAB-F0EF-B088-60AEC0A01359}"/>
          </ac:spMkLst>
        </pc:spChg>
        <pc:spChg chg="add del mod">
          <ac:chgData name="Yudi Zhu" userId="571e1a55-055f-4c28-8b35-fca6dd1c1369" providerId="ADAL" clId="{75A88773-6EE1-484E-AADE-FE631E01463B}" dt="2025-11-24T03:07:26.313" v="508990"/>
          <ac:spMkLst>
            <pc:docMk/>
            <pc:sldMk cId="80455690" sldId="2147483093"/>
            <ac:spMk id="425" creationId="{1EA33B51-9281-6D68-0D9C-E2C26435A7A2}"/>
          </ac:spMkLst>
        </pc:spChg>
        <pc:spChg chg="add del mod ord">
          <ac:chgData name="Yudi Zhu" userId="571e1a55-055f-4c28-8b35-fca6dd1c1369" providerId="ADAL" clId="{75A88773-6EE1-484E-AADE-FE631E01463B}" dt="2025-11-24T03:07:26.327" v="509002"/>
          <ac:spMkLst>
            <pc:docMk/>
            <pc:sldMk cId="80455690" sldId="2147483093"/>
            <ac:spMk id="426" creationId="{9CE5A5B6-A99E-FBBE-8816-535FD1C18BC3}"/>
          </ac:spMkLst>
        </pc:spChg>
        <pc:spChg chg="add del mod ord">
          <ac:chgData name="Yudi Zhu" userId="571e1a55-055f-4c28-8b35-fca6dd1c1369" providerId="ADAL" clId="{75A88773-6EE1-484E-AADE-FE631E01463B}" dt="2025-11-24T03:07:26.341" v="509017"/>
          <ac:spMkLst>
            <pc:docMk/>
            <pc:sldMk cId="80455690" sldId="2147483093"/>
            <ac:spMk id="427" creationId="{14DDD136-9515-7689-D737-805644E3171F}"/>
          </ac:spMkLst>
        </pc:spChg>
        <pc:spChg chg="add del mod">
          <ac:chgData name="Yudi Zhu" userId="571e1a55-055f-4c28-8b35-fca6dd1c1369" providerId="ADAL" clId="{75A88773-6EE1-484E-AADE-FE631E01463B}" dt="2025-11-24T03:07:26.351" v="509031"/>
          <ac:spMkLst>
            <pc:docMk/>
            <pc:sldMk cId="80455690" sldId="2147483093"/>
            <ac:spMk id="429" creationId="{3CFEA35C-279A-20BF-1855-07A5AD4F134A}"/>
          </ac:spMkLst>
        </pc:spChg>
        <pc:spChg chg="add mod ord">
          <ac:chgData name="Yudi Zhu" userId="571e1a55-055f-4c28-8b35-fca6dd1c1369" providerId="ADAL" clId="{75A88773-6EE1-484E-AADE-FE631E01463B}" dt="2025-11-24T03:07:08.873" v="508910"/>
          <ac:spMkLst>
            <pc:docMk/>
            <pc:sldMk cId="80455690" sldId="2147483093"/>
            <ac:spMk id="433" creationId="{D9C8A61E-D4EA-3AAF-BB20-7D63F283B70D}"/>
          </ac:spMkLst>
        </pc:spChg>
        <pc:spChg chg="add mod ord">
          <ac:chgData name="Yudi Zhu" userId="571e1a55-055f-4c28-8b35-fca6dd1c1369" providerId="ADAL" clId="{75A88773-6EE1-484E-AADE-FE631E01463B}" dt="2025-11-24T03:07:08.873" v="508910"/>
          <ac:spMkLst>
            <pc:docMk/>
            <pc:sldMk cId="80455690" sldId="2147483093"/>
            <ac:spMk id="434" creationId="{3189B9F1-81D8-50F7-3125-D99297EC48CB}"/>
          </ac:spMkLst>
        </pc:spChg>
        <pc:spChg chg="add mod">
          <ac:chgData name="Yudi Zhu" userId="571e1a55-055f-4c28-8b35-fca6dd1c1369" providerId="ADAL" clId="{75A88773-6EE1-484E-AADE-FE631E01463B}" dt="2025-11-24T03:07:08.859" v="508891" actId="207"/>
          <ac:spMkLst>
            <pc:docMk/>
            <pc:sldMk cId="80455690" sldId="2147483093"/>
            <ac:spMk id="435" creationId="{4A6FB958-CB15-F525-3E26-7ECC115A8D95}"/>
          </ac:spMkLst>
        </pc:spChg>
        <pc:spChg chg="add mod ord">
          <ac:chgData name="Yudi Zhu" userId="571e1a55-055f-4c28-8b35-fca6dd1c1369" providerId="ADAL" clId="{75A88773-6EE1-484E-AADE-FE631E01463B}" dt="2025-11-24T03:07:08.873" v="508910"/>
          <ac:spMkLst>
            <pc:docMk/>
            <pc:sldMk cId="80455690" sldId="2147483093"/>
            <ac:spMk id="436" creationId="{94D5B703-878B-79E7-A281-9CF1192536E3}"/>
          </ac:spMkLst>
        </pc:spChg>
        <pc:spChg chg="add mod ord">
          <ac:chgData name="Yudi Zhu" userId="571e1a55-055f-4c28-8b35-fca6dd1c1369" providerId="ADAL" clId="{75A88773-6EE1-484E-AADE-FE631E01463B}" dt="2025-11-24T03:07:08.873" v="508910"/>
          <ac:spMkLst>
            <pc:docMk/>
            <pc:sldMk cId="80455690" sldId="2147483093"/>
            <ac:spMk id="437" creationId="{C966E761-3399-0613-0A6B-F23C494779E2}"/>
          </ac:spMkLst>
        </pc:spChg>
        <pc:spChg chg="add mod">
          <ac:chgData name="Yudi Zhu" userId="571e1a55-055f-4c28-8b35-fca6dd1c1369" providerId="ADAL" clId="{75A88773-6EE1-484E-AADE-FE631E01463B}" dt="2025-11-24T03:07:08.843" v="508868" actId="207"/>
          <ac:spMkLst>
            <pc:docMk/>
            <pc:sldMk cId="80455690" sldId="2147483093"/>
            <ac:spMk id="438" creationId="{562737D8-7491-B36F-66D9-EB4C4B9C71EA}"/>
          </ac:spMkLst>
        </pc:spChg>
        <pc:spChg chg="add del mod modVis">
          <ac:chgData name="Yudi Zhu" userId="571e1a55-055f-4c28-8b35-fca6dd1c1369" providerId="ADAL" clId="{75A88773-6EE1-484E-AADE-FE631E01463B}" dt="2025-11-24T03:07:26.747" v="509480"/>
          <ac:spMkLst>
            <pc:docMk/>
            <pc:sldMk cId="80455690" sldId="2147483093"/>
            <ac:spMk id="441" creationId="{AA41F478-ACB1-942D-D8F7-A3A15F1FED05}"/>
          </ac:spMkLst>
        </pc:spChg>
        <pc:spChg chg="add del mod ord">
          <ac:chgData name="Yudi Zhu" userId="571e1a55-055f-4c28-8b35-fca6dd1c1369" providerId="ADAL" clId="{75A88773-6EE1-484E-AADE-FE631E01463B}" dt="2025-11-24T03:13:49.068" v="523469"/>
          <ac:spMkLst>
            <pc:docMk/>
            <pc:sldMk cId="80455690" sldId="2147483093"/>
            <ac:spMk id="442" creationId="{8EA4755F-3D78-6EC1-015B-28E0327BBDD9}"/>
          </ac:spMkLst>
        </pc:spChg>
        <pc:spChg chg="add del mod ord">
          <ac:chgData name="Yudi Zhu" userId="571e1a55-055f-4c28-8b35-fca6dd1c1369" providerId="ADAL" clId="{75A88773-6EE1-484E-AADE-FE631E01463B}" dt="2025-11-24T03:13:49.078" v="523484"/>
          <ac:spMkLst>
            <pc:docMk/>
            <pc:sldMk cId="80455690" sldId="2147483093"/>
            <ac:spMk id="443" creationId="{8EA14BBB-9D55-5E97-97F5-D60DEDB23599}"/>
          </ac:spMkLst>
        </pc:spChg>
        <pc:spChg chg="add del mod">
          <ac:chgData name="Yudi Zhu" userId="571e1a55-055f-4c28-8b35-fca6dd1c1369" providerId="ADAL" clId="{75A88773-6EE1-484E-AADE-FE631E01463B}" dt="2025-11-24T03:13:49.087" v="523498"/>
          <ac:spMkLst>
            <pc:docMk/>
            <pc:sldMk cId="80455690" sldId="2147483093"/>
            <ac:spMk id="444" creationId="{F46E97AA-C9A7-1472-8803-724224571FB6}"/>
          </ac:spMkLst>
        </pc:spChg>
        <pc:spChg chg="add del mod ord">
          <ac:chgData name="Yudi Zhu" userId="571e1a55-055f-4c28-8b35-fca6dd1c1369" providerId="ADAL" clId="{75A88773-6EE1-484E-AADE-FE631E01463B}" dt="2025-11-24T03:12:52.873" v="521368"/>
          <ac:spMkLst>
            <pc:docMk/>
            <pc:sldMk cId="80455690" sldId="2147483093"/>
            <ac:spMk id="445" creationId="{BC38EEC1-BAED-FAE3-A462-594AD1A292C2}"/>
          </ac:spMkLst>
        </pc:spChg>
        <pc:spChg chg="add del mod ord">
          <ac:chgData name="Yudi Zhu" userId="571e1a55-055f-4c28-8b35-fca6dd1c1369" providerId="ADAL" clId="{75A88773-6EE1-484E-AADE-FE631E01463B}" dt="2025-11-24T03:12:52.873" v="521366"/>
          <ac:spMkLst>
            <pc:docMk/>
            <pc:sldMk cId="80455690" sldId="2147483093"/>
            <ac:spMk id="446" creationId="{0E9A58F8-17C4-E75C-1B5B-712B85E9ED9D}"/>
          </ac:spMkLst>
        </pc:spChg>
        <pc:spChg chg="add del mod">
          <ac:chgData name="Yudi Zhu" userId="571e1a55-055f-4c28-8b35-fca6dd1c1369" providerId="ADAL" clId="{75A88773-6EE1-484E-AADE-FE631E01463B}" dt="2025-11-24T03:12:52.873" v="521364"/>
          <ac:spMkLst>
            <pc:docMk/>
            <pc:sldMk cId="80455690" sldId="2147483093"/>
            <ac:spMk id="447" creationId="{65163341-5DB3-36EE-513F-EF24C37917FD}"/>
          </ac:spMkLst>
        </pc:spChg>
        <pc:spChg chg="add del mod ord">
          <ac:chgData name="Yudi Zhu" userId="571e1a55-055f-4c28-8b35-fca6dd1c1369" providerId="ADAL" clId="{75A88773-6EE1-484E-AADE-FE631E01463B}" dt="2025-11-24T03:08:49.424" v="514190"/>
          <ac:spMkLst>
            <pc:docMk/>
            <pc:sldMk cId="80455690" sldId="2147483093"/>
            <ac:spMk id="448" creationId="{AA8F831B-2B2E-3C53-F9A7-4FA655A8ED94}"/>
          </ac:spMkLst>
        </pc:spChg>
        <pc:spChg chg="add del mod modVis">
          <ac:chgData name="Yudi Zhu" userId="571e1a55-055f-4c28-8b35-fca6dd1c1369" providerId="ADAL" clId="{75A88773-6EE1-484E-AADE-FE631E01463B}" dt="2025-11-24T03:07:30.208" v="509838"/>
          <ac:spMkLst>
            <pc:docMk/>
            <pc:sldMk cId="80455690" sldId="2147483093"/>
            <ac:spMk id="453" creationId="{EA4AC6CC-2236-3084-D3C2-3E26358A87DD}"/>
          </ac:spMkLst>
        </pc:spChg>
        <pc:spChg chg="add del mod modVis">
          <ac:chgData name="Yudi Zhu" userId="571e1a55-055f-4c28-8b35-fca6dd1c1369" providerId="ADAL" clId="{75A88773-6EE1-484E-AADE-FE631E01463B}" dt="2025-11-24T03:08:00.893" v="510766"/>
          <ac:spMkLst>
            <pc:docMk/>
            <pc:sldMk cId="80455690" sldId="2147483093"/>
            <ac:spMk id="457" creationId="{5D07C305-1181-63F6-4687-7BC11C1E58CF}"/>
          </ac:spMkLst>
        </pc:spChg>
        <pc:spChg chg="add del mod modVis">
          <ac:chgData name="Yudi Zhu" userId="571e1a55-055f-4c28-8b35-fca6dd1c1369" providerId="ADAL" clId="{75A88773-6EE1-484E-AADE-FE631E01463B}" dt="2025-11-24T03:08:13.752" v="511115"/>
          <ac:spMkLst>
            <pc:docMk/>
            <pc:sldMk cId="80455690" sldId="2147483093"/>
            <ac:spMk id="459" creationId="{DDBFAD20-9305-FD3C-9FAB-89D70E24CC38}"/>
          </ac:spMkLst>
        </pc:spChg>
        <pc:spChg chg="add del mod modVis">
          <ac:chgData name="Yudi Zhu" userId="571e1a55-055f-4c28-8b35-fca6dd1c1369" providerId="ADAL" clId="{75A88773-6EE1-484E-AADE-FE631E01463B}" dt="2025-11-24T03:08:15.825" v="511448"/>
          <ac:spMkLst>
            <pc:docMk/>
            <pc:sldMk cId="80455690" sldId="2147483093"/>
            <ac:spMk id="461" creationId="{65D2A159-79C3-7217-3084-4ADD1C26216C}"/>
          </ac:spMkLst>
        </pc:spChg>
        <pc:spChg chg="add del mod modVis">
          <ac:chgData name="Yudi Zhu" userId="571e1a55-055f-4c28-8b35-fca6dd1c1369" providerId="ADAL" clId="{75A88773-6EE1-484E-AADE-FE631E01463B}" dt="2025-11-24T03:08:18.510" v="511762"/>
          <ac:spMkLst>
            <pc:docMk/>
            <pc:sldMk cId="80455690" sldId="2147483093"/>
            <ac:spMk id="463" creationId="{5778A385-8A5D-DA2A-4391-D2937F4E25DE}"/>
          </ac:spMkLst>
        </pc:spChg>
        <pc:spChg chg="add del mod modVis">
          <ac:chgData name="Yudi Zhu" userId="571e1a55-055f-4c28-8b35-fca6dd1c1369" providerId="ADAL" clId="{75A88773-6EE1-484E-AADE-FE631E01463B}" dt="2025-11-24T03:08:20.508" v="512076"/>
          <ac:spMkLst>
            <pc:docMk/>
            <pc:sldMk cId="80455690" sldId="2147483093"/>
            <ac:spMk id="465" creationId="{AC42FED3-1719-ED41-D6C3-1FF97E8AF776}"/>
          </ac:spMkLst>
        </pc:spChg>
        <pc:spChg chg="add del mod modVis">
          <ac:chgData name="Yudi Zhu" userId="571e1a55-055f-4c28-8b35-fca6dd1c1369" providerId="ADAL" clId="{75A88773-6EE1-484E-AADE-FE631E01463B}" dt="2025-11-24T03:08:25.259" v="512425"/>
          <ac:spMkLst>
            <pc:docMk/>
            <pc:sldMk cId="80455690" sldId="2147483093"/>
            <ac:spMk id="467" creationId="{1A446F11-FFBE-BAB5-62A7-CC437E3D019D}"/>
          </ac:spMkLst>
        </pc:spChg>
        <pc:spChg chg="add del mod modVis">
          <ac:chgData name="Yudi Zhu" userId="571e1a55-055f-4c28-8b35-fca6dd1c1369" providerId="ADAL" clId="{75A88773-6EE1-484E-AADE-FE631E01463B}" dt="2025-11-24T03:08:27.812" v="512758"/>
          <ac:spMkLst>
            <pc:docMk/>
            <pc:sldMk cId="80455690" sldId="2147483093"/>
            <ac:spMk id="469" creationId="{832BE70F-66EC-AA35-D309-E2843CBE31CA}"/>
          </ac:spMkLst>
        </pc:spChg>
        <pc:spChg chg="add del mod modVis">
          <ac:chgData name="Yudi Zhu" userId="571e1a55-055f-4c28-8b35-fca6dd1c1369" providerId="ADAL" clId="{75A88773-6EE1-484E-AADE-FE631E01463B}" dt="2025-11-24T03:08:32.076" v="513116"/>
          <ac:spMkLst>
            <pc:docMk/>
            <pc:sldMk cId="80455690" sldId="2147483093"/>
            <ac:spMk id="471" creationId="{E7426BD5-626D-8D8F-8015-00F9E9DD8981}"/>
          </ac:spMkLst>
        </pc:spChg>
        <pc:spChg chg="add del mod modVis">
          <ac:chgData name="Yudi Zhu" userId="571e1a55-055f-4c28-8b35-fca6dd1c1369" providerId="ADAL" clId="{75A88773-6EE1-484E-AADE-FE631E01463B}" dt="2025-11-24T03:08:33.792" v="513464"/>
          <ac:spMkLst>
            <pc:docMk/>
            <pc:sldMk cId="80455690" sldId="2147483093"/>
            <ac:spMk id="473" creationId="{A40CFEBE-2FE8-D39D-88F9-7F6C4DEEC2C9}"/>
          </ac:spMkLst>
        </pc:spChg>
        <pc:spChg chg="add del mod modVis">
          <ac:chgData name="Yudi Zhu" userId="571e1a55-055f-4c28-8b35-fca6dd1c1369" providerId="ADAL" clId="{75A88773-6EE1-484E-AADE-FE631E01463B}" dt="2025-11-24T03:08:35.104" v="513822"/>
          <ac:spMkLst>
            <pc:docMk/>
            <pc:sldMk cId="80455690" sldId="2147483093"/>
            <ac:spMk id="475" creationId="{196D25CE-7439-7248-9698-694DA2B2B416}"/>
          </ac:spMkLst>
        </pc:spChg>
        <pc:spChg chg="add del mod modVis">
          <ac:chgData name="Yudi Zhu" userId="571e1a55-055f-4c28-8b35-fca6dd1c1369" providerId="ADAL" clId="{75A88773-6EE1-484E-AADE-FE631E01463B}" dt="2025-11-24T03:08:47.153" v="514180"/>
          <ac:spMkLst>
            <pc:docMk/>
            <pc:sldMk cId="80455690" sldId="2147483093"/>
            <ac:spMk id="477" creationId="{807B575C-8A0A-30AD-BC09-3FA5C7619966}"/>
          </ac:spMkLst>
        </pc:spChg>
        <pc:spChg chg="add del mod ord">
          <ac:chgData name="Yudi Zhu" userId="571e1a55-055f-4c28-8b35-fca6dd1c1369" providerId="ADAL" clId="{75A88773-6EE1-484E-AADE-FE631E01463B}" dt="2025-11-24T03:10:00.441" v="517450"/>
          <ac:spMkLst>
            <pc:docMk/>
            <pc:sldMk cId="80455690" sldId="2147483093"/>
            <ac:spMk id="480" creationId="{EFC85039-4E1E-BA80-0FFC-540141D2ECF3}"/>
          </ac:spMkLst>
        </pc:spChg>
        <pc:spChg chg="add del mod modVis">
          <ac:chgData name="Yudi Zhu" userId="571e1a55-055f-4c28-8b35-fca6dd1c1369" providerId="ADAL" clId="{75A88773-6EE1-484E-AADE-FE631E01463B}" dt="2025-11-24T03:08:57.168" v="514861"/>
          <ac:spMkLst>
            <pc:docMk/>
            <pc:sldMk cId="80455690" sldId="2147483093"/>
            <ac:spMk id="481" creationId="{817FC0C9-2111-632C-D76F-B4F7D0468C8B}"/>
          </ac:spMkLst>
        </pc:spChg>
        <pc:spChg chg="add del mod modVis">
          <ac:chgData name="Yudi Zhu" userId="571e1a55-055f-4c28-8b35-fca6dd1c1369" providerId="ADAL" clId="{75A88773-6EE1-484E-AADE-FE631E01463B}" dt="2025-11-24T03:09:01.561" v="515199"/>
          <ac:spMkLst>
            <pc:docMk/>
            <pc:sldMk cId="80455690" sldId="2147483093"/>
            <ac:spMk id="486" creationId="{D229AF71-8E45-491B-387A-706638B20C29}"/>
          </ac:spMkLst>
        </pc:spChg>
        <pc:spChg chg="add del mod modVis">
          <ac:chgData name="Yudi Zhu" userId="571e1a55-055f-4c28-8b35-fca6dd1c1369" providerId="ADAL" clId="{75A88773-6EE1-484E-AADE-FE631E01463B}" dt="2025-11-24T03:09:11.063" v="515511"/>
          <ac:spMkLst>
            <pc:docMk/>
            <pc:sldMk cId="80455690" sldId="2147483093"/>
            <ac:spMk id="490" creationId="{70A32F36-FCE9-F90B-4E82-17A3E5C40065}"/>
          </ac:spMkLst>
        </pc:spChg>
        <pc:spChg chg="add del mod modVis">
          <ac:chgData name="Yudi Zhu" userId="571e1a55-055f-4c28-8b35-fca6dd1c1369" providerId="ADAL" clId="{75A88773-6EE1-484E-AADE-FE631E01463B}" dt="2025-11-24T03:09:13.328" v="515825"/>
          <ac:spMkLst>
            <pc:docMk/>
            <pc:sldMk cId="80455690" sldId="2147483093"/>
            <ac:spMk id="492" creationId="{96AA21A1-AE2C-4FDC-43C1-B5303415AF02}"/>
          </ac:spMkLst>
        </pc:spChg>
        <pc:spChg chg="add del mod modVis">
          <ac:chgData name="Yudi Zhu" userId="571e1a55-055f-4c28-8b35-fca6dd1c1369" providerId="ADAL" clId="{75A88773-6EE1-484E-AADE-FE631E01463B}" dt="2025-11-24T03:09:18.744" v="516139"/>
          <ac:spMkLst>
            <pc:docMk/>
            <pc:sldMk cId="80455690" sldId="2147483093"/>
            <ac:spMk id="494" creationId="{A1EE47B5-4595-0765-BDD6-D3AFC28147B1}"/>
          </ac:spMkLst>
        </pc:spChg>
        <pc:spChg chg="add del mod modVis">
          <ac:chgData name="Yudi Zhu" userId="571e1a55-055f-4c28-8b35-fca6dd1c1369" providerId="ADAL" clId="{75A88773-6EE1-484E-AADE-FE631E01463B}" dt="2025-11-24T03:09:28.409" v="516447"/>
          <ac:spMkLst>
            <pc:docMk/>
            <pc:sldMk cId="80455690" sldId="2147483093"/>
            <ac:spMk id="496" creationId="{1945C162-9F0F-E4E8-71B3-FEF96A2C06E2}"/>
          </ac:spMkLst>
        </pc:spChg>
        <pc:spChg chg="add del mod modVis">
          <ac:chgData name="Yudi Zhu" userId="571e1a55-055f-4c28-8b35-fca6dd1c1369" providerId="ADAL" clId="{75A88773-6EE1-484E-AADE-FE631E01463B}" dt="2025-11-24T03:09:35.806" v="516785"/>
          <ac:spMkLst>
            <pc:docMk/>
            <pc:sldMk cId="80455690" sldId="2147483093"/>
            <ac:spMk id="498" creationId="{A48E5C7E-F787-0072-FBA6-926A0F28C756}"/>
          </ac:spMkLst>
        </pc:spChg>
        <pc:spChg chg="add del mod modVis">
          <ac:chgData name="Yudi Zhu" userId="571e1a55-055f-4c28-8b35-fca6dd1c1369" providerId="ADAL" clId="{75A88773-6EE1-484E-AADE-FE631E01463B}" dt="2025-11-24T03:09:38.209" v="517118"/>
          <ac:spMkLst>
            <pc:docMk/>
            <pc:sldMk cId="80455690" sldId="2147483093"/>
            <ac:spMk id="500" creationId="{7CD36D55-296F-E3CD-B5EE-C3601C62359C}"/>
          </ac:spMkLst>
        </pc:spChg>
        <pc:spChg chg="add del mod modVis">
          <ac:chgData name="Yudi Zhu" userId="571e1a55-055f-4c28-8b35-fca6dd1c1369" providerId="ADAL" clId="{75A88773-6EE1-484E-AADE-FE631E01463B}" dt="2025-11-24T03:09:48.891" v="517440"/>
          <ac:spMkLst>
            <pc:docMk/>
            <pc:sldMk cId="80455690" sldId="2147483093"/>
            <ac:spMk id="503" creationId="{E990F02D-8A89-E5E2-D673-F30E9C00931D}"/>
          </ac:spMkLst>
        </pc:spChg>
        <pc:spChg chg="add del mod ord">
          <ac:chgData name="Yudi Zhu" userId="571e1a55-055f-4c28-8b35-fca6dd1c1369" providerId="ADAL" clId="{75A88773-6EE1-484E-AADE-FE631E01463B}" dt="2025-11-24T03:11:45.257" v="519051"/>
          <ac:spMkLst>
            <pc:docMk/>
            <pc:sldMk cId="80455690" sldId="2147483093"/>
            <ac:spMk id="508" creationId="{0733602B-BAD2-989D-B9B4-C03BBF9D6717}"/>
          </ac:spMkLst>
        </pc:spChg>
        <pc:spChg chg="add del mod modVis">
          <ac:chgData name="Yudi Zhu" userId="571e1a55-055f-4c28-8b35-fca6dd1c1369" providerId="ADAL" clId="{75A88773-6EE1-484E-AADE-FE631E01463B}" dt="2025-11-24T03:11:26.874" v="518733"/>
          <ac:spMkLst>
            <pc:docMk/>
            <pc:sldMk cId="80455690" sldId="2147483093"/>
            <ac:spMk id="509" creationId="{E84A5916-27E8-347B-F882-AB43483A4BD1}"/>
          </ac:spMkLst>
        </pc:spChg>
        <pc:spChg chg="add del mod modVis">
          <ac:chgData name="Yudi Zhu" userId="571e1a55-055f-4c28-8b35-fca6dd1c1369" providerId="ADAL" clId="{75A88773-6EE1-484E-AADE-FE631E01463B}" dt="2025-11-24T03:11:36.754" v="519045"/>
          <ac:spMkLst>
            <pc:docMk/>
            <pc:sldMk cId="80455690" sldId="2147483093"/>
            <ac:spMk id="960" creationId="{903BA8FF-8EC4-A83A-91D2-70F574105A64}"/>
          </ac:spMkLst>
        </pc:spChg>
        <pc:spChg chg="add del mod ord">
          <ac:chgData name="Yudi Zhu" userId="571e1a55-055f-4c28-8b35-fca6dd1c1369" providerId="ADAL" clId="{75A88773-6EE1-484E-AADE-FE631E01463B}" dt="2025-11-24T03:22:38.254" v="550212"/>
          <ac:spMkLst>
            <pc:docMk/>
            <pc:sldMk cId="80455690" sldId="2147483093"/>
            <ac:spMk id="963" creationId="{B9F381EE-1874-5D9A-5350-E0F36C47C8D8}"/>
          </ac:spMkLst>
        </pc:spChg>
        <pc:spChg chg="add del mod modVis">
          <ac:chgData name="Yudi Zhu" userId="571e1a55-055f-4c28-8b35-fca6dd1c1369" providerId="ADAL" clId="{75A88773-6EE1-484E-AADE-FE631E01463B}" dt="2025-11-24T03:11:51.454" v="519720"/>
          <ac:spMkLst>
            <pc:docMk/>
            <pc:sldMk cId="80455690" sldId="2147483093"/>
            <ac:spMk id="964" creationId="{F60420B7-14D4-78E2-337C-8234EFABF436}"/>
          </ac:spMkLst>
        </pc:spChg>
        <pc:spChg chg="add del mod modVis">
          <ac:chgData name="Yudi Zhu" userId="571e1a55-055f-4c28-8b35-fca6dd1c1369" providerId="ADAL" clId="{75A88773-6EE1-484E-AADE-FE631E01463B}" dt="2025-11-24T03:11:54.828" v="520078"/>
          <ac:spMkLst>
            <pc:docMk/>
            <pc:sldMk cId="80455690" sldId="2147483093"/>
            <ac:spMk id="969" creationId="{A6D5522C-BA54-131A-9804-E315C39D5A8C}"/>
          </ac:spMkLst>
        </pc:spChg>
        <pc:spChg chg="add del mod modVis">
          <ac:chgData name="Yudi Zhu" userId="571e1a55-055f-4c28-8b35-fca6dd1c1369" providerId="ADAL" clId="{75A88773-6EE1-484E-AADE-FE631E01463B}" dt="2025-11-24T03:12:00.459" v="520392"/>
          <ac:spMkLst>
            <pc:docMk/>
            <pc:sldMk cId="80455690" sldId="2147483093"/>
            <ac:spMk id="971" creationId="{ACFCC5A9-D883-31B1-5D8D-CB70FBE0CD41}"/>
          </ac:spMkLst>
        </pc:spChg>
        <pc:spChg chg="add del mod modVis">
          <ac:chgData name="Yudi Zhu" userId="571e1a55-055f-4c28-8b35-fca6dd1c1369" providerId="ADAL" clId="{75A88773-6EE1-484E-AADE-FE631E01463B}" dt="2025-11-24T03:12:03.169" v="520706"/>
          <ac:spMkLst>
            <pc:docMk/>
            <pc:sldMk cId="80455690" sldId="2147483093"/>
            <ac:spMk id="973" creationId="{7251B44A-7DA4-DA27-BF26-E111C798E61A}"/>
          </ac:spMkLst>
        </pc:spChg>
        <pc:spChg chg="add del mod modVis">
          <ac:chgData name="Yudi Zhu" userId="571e1a55-055f-4c28-8b35-fca6dd1c1369" providerId="ADAL" clId="{75A88773-6EE1-484E-AADE-FE631E01463B}" dt="2025-11-24T03:12:09.544" v="521018"/>
          <ac:spMkLst>
            <pc:docMk/>
            <pc:sldMk cId="80455690" sldId="2147483093"/>
            <ac:spMk id="975" creationId="{B1A4DB26-5597-9BCB-41F7-0A70FBA80835}"/>
          </ac:spMkLst>
        </pc:spChg>
        <pc:spChg chg="add del mod modVis">
          <ac:chgData name="Yudi Zhu" userId="571e1a55-055f-4c28-8b35-fca6dd1c1369" providerId="ADAL" clId="{75A88773-6EE1-484E-AADE-FE631E01463B}" dt="2025-11-24T03:12:11.356" v="521332"/>
          <ac:spMkLst>
            <pc:docMk/>
            <pc:sldMk cId="80455690" sldId="2147483093"/>
            <ac:spMk id="977" creationId="{DAC4F0A8-D6B1-B885-0D15-0D42950EBDC7}"/>
          </ac:spMkLst>
        </pc:spChg>
        <pc:spChg chg="add del mod ord">
          <ac:chgData name="Yudi Zhu" userId="571e1a55-055f-4c28-8b35-fca6dd1c1369" providerId="ADAL" clId="{75A88773-6EE1-484E-AADE-FE631E01463B}" dt="2025-11-24T03:12:55.532" v="521783"/>
          <ac:spMkLst>
            <pc:docMk/>
            <pc:sldMk cId="80455690" sldId="2147483093"/>
            <ac:spMk id="979" creationId="{EE857587-17A0-8375-9B9E-EBBD697A1924}"/>
          </ac:spMkLst>
        </pc:spChg>
        <pc:spChg chg="add del mod modVis">
          <ac:chgData name="Yudi Zhu" userId="571e1a55-055f-4c28-8b35-fca6dd1c1369" providerId="ADAL" clId="{75A88773-6EE1-484E-AADE-FE631E01463B}" dt="2025-11-24T03:12:53.221" v="521750"/>
          <ac:spMkLst>
            <pc:docMk/>
            <pc:sldMk cId="80455690" sldId="2147483093"/>
            <ac:spMk id="980" creationId="{089ABDF7-BDA9-D607-638C-F15AB064B7E5}"/>
          </ac:spMkLst>
        </pc:spChg>
        <pc:spChg chg="add del mod">
          <ac:chgData name="Yudi Zhu" userId="571e1a55-055f-4c28-8b35-fca6dd1c1369" providerId="ADAL" clId="{75A88773-6EE1-484E-AADE-FE631E01463B}" dt="2025-11-24T03:21:14.813" v="545367"/>
          <ac:spMkLst>
            <pc:docMk/>
            <pc:sldMk cId="80455690" sldId="2147483093"/>
            <ac:spMk id="984" creationId="{9E7C299C-2E40-885D-50F2-FC21460C3496}"/>
          </ac:spMkLst>
        </pc:spChg>
        <pc:spChg chg="add del mod ord">
          <ac:chgData name="Yudi Zhu" userId="571e1a55-055f-4c28-8b35-fca6dd1c1369" providerId="ADAL" clId="{75A88773-6EE1-484E-AADE-FE631E01463B}" dt="2025-11-24T03:13:49.092" v="523510"/>
          <ac:spMkLst>
            <pc:docMk/>
            <pc:sldMk cId="80455690" sldId="2147483093"/>
            <ac:spMk id="985" creationId="{F887E614-1E1C-F84C-67C2-A7A57A35E40D}"/>
          </ac:spMkLst>
        </pc:spChg>
        <pc:spChg chg="add del mod ord">
          <ac:chgData name="Yudi Zhu" userId="571e1a55-055f-4c28-8b35-fca6dd1c1369" providerId="ADAL" clId="{75A88773-6EE1-484E-AADE-FE631E01463B}" dt="2025-11-24T03:13:49.092" v="523525"/>
          <ac:spMkLst>
            <pc:docMk/>
            <pc:sldMk cId="80455690" sldId="2147483093"/>
            <ac:spMk id="986" creationId="{692AFA0A-567A-C2CA-FEAB-5F4053867879}"/>
          </ac:spMkLst>
        </pc:spChg>
        <pc:spChg chg="add del mod">
          <ac:chgData name="Yudi Zhu" userId="571e1a55-055f-4c28-8b35-fca6dd1c1369" providerId="ADAL" clId="{75A88773-6EE1-484E-AADE-FE631E01463B}" dt="2025-11-24T03:13:49.107" v="523539"/>
          <ac:spMkLst>
            <pc:docMk/>
            <pc:sldMk cId="80455690" sldId="2147483093"/>
            <ac:spMk id="987" creationId="{6F4A04EA-83DB-51A0-C82D-177093043095}"/>
          </ac:spMkLst>
        </pc:spChg>
        <pc:spChg chg="add del mod modVis">
          <ac:chgData name="Yudi Zhu" userId="571e1a55-055f-4c28-8b35-fca6dd1c1369" providerId="ADAL" clId="{75A88773-6EE1-484E-AADE-FE631E01463B}" dt="2025-11-24T03:12:55.977" v="522229"/>
          <ac:spMkLst>
            <pc:docMk/>
            <pc:sldMk cId="80455690" sldId="2147483093"/>
            <ac:spMk id="988" creationId="{50CAD16F-735A-5F71-00B1-11AD871C89F7}"/>
          </ac:spMkLst>
        </pc:spChg>
        <pc:spChg chg="mod">
          <ac:chgData name="Yudi Zhu" userId="571e1a55-055f-4c28-8b35-fca6dd1c1369" providerId="ADAL" clId="{75A88773-6EE1-484E-AADE-FE631E01463B}" dt="2025-11-25T10:14:15.573" v="658213"/>
          <ac:spMkLst>
            <pc:docMk/>
            <pc:sldMk cId="80455690" sldId="2147483093"/>
            <ac:spMk id="990" creationId="{2D030DE9-1EAC-6CEF-A758-6B0AB98021B7}"/>
          </ac:spMkLst>
        </pc:spChg>
        <pc:spChg chg="add mod ord">
          <ac:chgData name="Yudi Zhu" userId="571e1a55-055f-4c28-8b35-fca6dd1c1369" providerId="ADAL" clId="{75A88773-6EE1-484E-AADE-FE631E01463B}" dt="2025-11-24T03:13:11.236" v="522909"/>
          <ac:spMkLst>
            <pc:docMk/>
            <pc:sldMk cId="80455690" sldId="2147483093"/>
            <ac:spMk id="991" creationId="{63A49DF2-64AA-2C33-0D7B-3C22137C73DD}"/>
          </ac:spMkLst>
        </pc:spChg>
        <pc:spChg chg="mod">
          <ac:chgData name="Yudi Zhu" userId="571e1a55-055f-4c28-8b35-fca6dd1c1369" providerId="ADAL" clId="{75A88773-6EE1-484E-AADE-FE631E01463B}" dt="2025-11-25T10:14:15.573" v="658214"/>
          <ac:spMkLst>
            <pc:docMk/>
            <pc:sldMk cId="80455690" sldId="2147483093"/>
            <ac:spMk id="992" creationId="{7C1FC966-970A-A496-42C8-F1ED0CB614CE}"/>
          </ac:spMkLst>
        </pc:spChg>
        <pc:spChg chg="add del mod modVis">
          <ac:chgData name="Yudi Zhu" userId="571e1a55-055f-4c28-8b35-fca6dd1c1369" providerId="ADAL" clId="{75A88773-6EE1-484E-AADE-FE631E01463B}" dt="2025-11-24T03:13:11.236" v="522909"/>
          <ac:spMkLst>
            <pc:docMk/>
            <pc:sldMk cId="80455690" sldId="2147483093"/>
            <ac:spMk id="993" creationId="{AA37F989-60B1-4187-D2C9-F38A6FCB2D95}"/>
          </ac:spMkLst>
        </pc:spChg>
        <pc:spChg chg="mod ord">
          <ac:chgData name="Yudi Zhu" userId="571e1a55-055f-4c28-8b35-fca6dd1c1369" providerId="ADAL" clId="{75A88773-6EE1-484E-AADE-FE631E01463B}" dt="2025-11-25T10:14:15.573" v="658210"/>
          <ac:spMkLst>
            <pc:docMk/>
            <pc:sldMk cId="80455690" sldId="2147483093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5T10:14:15.573" v="658212"/>
          <ac:spMkLst>
            <pc:docMk/>
            <pc:sldMk cId="80455690" sldId="2147483093"/>
            <ac:spMk id="995" creationId="{32DA3477-12F9-F65F-2D29-8DD22FC19F08}"/>
          </ac:spMkLst>
        </pc:spChg>
        <pc:spChg chg="add mod">
          <ac:chgData name="Yudi Zhu" userId="571e1a55-055f-4c28-8b35-fca6dd1c1369" providerId="ADAL" clId="{75A88773-6EE1-484E-AADE-FE631E01463B}" dt="2025-11-24T03:13:11.236" v="522909"/>
          <ac:spMkLst>
            <pc:docMk/>
            <pc:sldMk cId="80455690" sldId="2147483093"/>
            <ac:spMk id="996" creationId="{7280FA4B-011D-4BB6-A0C2-DA30C62978F3}"/>
          </ac:spMkLst>
        </pc:spChg>
        <pc:spChg chg="add mod ord">
          <ac:chgData name="Yudi Zhu" userId="571e1a55-055f-4c28-8b35-fca6dd1c1369" providerId="ADAL" clId="{75A88773-6EE1-484E-AADE-FE631E01463B}" dt="2025-11-24T03:13:11.236" v="522909"/>
          <ac:spMkLst>
            <pc:docMk/>
            <pc:sldMk cId="80455690" sldId="2147483093"/>
            <ac:spMk id="997" creationId="{FB0FC7F7-6A7B-349B-C438-BE3E84239DC0}"/>
          </ac:spMkLst>
        </pc:spChg>
        <pc:spChg chg="add mod ord">
          <ac:chgData name="Yudi Zhu" userId="571e1a55-055f-4c28-8b35-fca6dd1c1369" providerId="ADAL" clId="{75A88773-6EE1-484E-AADE-FE631E01463B}" dt="2025-11-24T03:13:11.236" v="522909"/>
          <ac:spMkLst>
            <pc:docMk/>
            <pc:sldMk cId="80455690" sldId="2147483093"/>
            <ac:spMk id="998" creationId="{9606711C-0432-78FA-DCA7-774EE69CC00F}"/>
          </ac:spMkLst>
        </pc:spChg>
        <pc:spChg chg="add del mod modVis">
          <ac:chgData name="Yudi Zhu" userId="571e1a55-055f-4c28-8b35-fca6dd1c1369" providerId="ADAL" clId="{75A88773-6EE1-484E-AADE-FE631E01463B}" dt="2025-11-24T03:13:41.455" v="523465"/>
          <ac:spMkLst>
            <pc:docMk/>
            <pc:sldMk cId="80455690" sldId="2147483093"/>
            <ac:spMk id="1000" creationId="{143CFC5F-ACB2-F347-257E-8E321986256A}"/>
          </ac:spMkLst>
        </pc:spChg>
        <pc:spChg chg="add del mod">
          <ac:chgData name="Yudi Zhu" userId="571e1a55-055f-4c28-8b35-fca6dd1c1369" providerId="ADAL" clId="{75A88773-6EE1-484E-AADE-FE631E01463B}" dt="2025-11-24T03:21:39.537" v="546779"/>
          <ac:spMkLst>
            <pc:docMk/>
            <pc:sldMk cId="80455690" sldId="2147483093"/>
            <ac:spMk id="1001" creationId="{4AF110F4-B1ED-03E1-03A9-14090A4022AD}"/>
          </ac:spMkLst>
        </pc:spChg>
        <pc:spChg chg="add mod">
          <ac:chgData name="Yudi Zhu" userId="571e1a55-055f-4c28-8b35-fca6dd1c1369" providerId="ADAL" clId="{75A88773-6EE1-484E-AADE-FE631E01463B}" dt="2025-11-25T10:14:15.621" v="658337"/>
          <ac:spMkLst>
            <pc:docMk/>
            <pc:sldMk cId="80455690" sldId="2147483093"/>
            <ac:spMk id="1002" creationId="{9A3F4591-BB1E-4D2E-A0F8-54BBF4E16814}"/>
          </ac:spMkLst>
        </pc:spChg>
        <pc:spChg chg="add mod">
          <ac:chgData name="Yudi Zhu" userId="571e1a55-055f-4c28-8b35-fca6dd1c1369" providerId="ADAL" clId="{75A88773-6EE1-484E-AADE-FE631E01463B}" dt="2025-11-25T10:14:15.621" v="658339"/>
          <ac:spMkLst>
            <pc:docMk/>
            <pc:sldMk cId="80455690" sldId="2147483093"/>
            <ac:spMk id="1003" creationId="{383A4D55-87AC-E7AD-D775-159B8AA91BD4}"/>
          </ac:spMkLst>
        </pc:spChg>
        <pc:spChg chg="add del mod ord">
          <ac:chgData name="Yudi Zhu" userId="571e1a55-055f-4c28-8b35-fca6dd1c1369" providerId="ADAL" clId="{75A88773-6EE1-484E-AADE-FE631E01463B}" dt="2025-11-24T03:20:24.458" v="543729"/>
          <ac:spMkLst>
            <pc:docMk/>
            <pc:sldMk cId="80455690" sldId="2147483093"/>
            <ac:spMk id="1007" creationId="{75604FC2-E85F-2BFE-280E-187DD5EC26CF}"/>
          </ac:spMkLst>
        </pc:spChg>
        <pc:spChg chg="add del mod ord">
          <ac:chgData name="Yudi Zhu" userId="571e1a55-055f-4c28-8b35-fca6dd1c1369" providerId="ADAL" clId="{75A88773-6EE1-484E-AADE-FE631E01463B}" dt="2025-11-24T03:20:24.473" v="543744"/>
          <ac:spMkLst>
            <pc:docMk/>
            <pc:sldMk cId="80455690" sldId="2147483093"/>
            <ac:spMk id="1008" creationId="{8C235FAE-3DB4-1703-3F2A-003D82FA08D1}"/>
          </ac:spMkLst>
        </pc:spChg>
        <pc:spChg chg="add del mod">
          <ac:chgData name="Yudi Zhu" userId="571e1a55-055f-4c28-8b35-fca6dd1c1369" providerId="ADAL" clId="{75A88773-6EE1-484E-AADE-FE631E01463B}" dt="2025-11-24T03:20:24.489" v="543758"/>
          <ac:spMkLst>
            <pc:docMk/>
            <pc:sldMk cId="80455690" sldId="2147483093"/>
            <ac:spMk id="1009" creationId="{379EBFA1-4B9B-6DA1-635A-116CA74D1C92}"/>
          </ac:spMkLst>
        </pc:spChg>
        <pc:spChg chg="add del mod ord">
          <ac:chgData name="Yudi Zhu" userId="571e1a55-055f-4c28-8b35-fca6dd1c1369" providerId="ADAL" clId="{75A88773-6EE1-484E-AADE-FE631E01463B}" dt="2025-11-24T03:20:24.489" v="543773"/>
          <ac:spMkLst>
            <pc:docMk/>
            <pc:sldMk cId="80455690" sldId="2147483093"/>
            <ac:spMk id="1010" creationId="{34111D7B-4743-E40D-C20D-53C2827751D3}"/>
          </ac:spMkLst>
        </pc:spChg>
        <pc:spChg chg="add del mod ord">
          <ac:chgData name="Yudi Zhu" userId="571e1a55-055f-4c28-8b35-fca6dd1c1369" providerId="ADAL" clId="{75A88773-6EE1-484E-AADE-FE631E01463B}" dt="2025-11-24T03:20:24.489" v="543771"/>
          <ac:spMkLst>
            <pc:docMk/>
            <pc:sldMk cId="80455690" sldId="2147483093"/>
            <ac:spMk id="1011" creationId="{61114637-B25F-0C19-FB16-7024F512A9C8}"/>
          </ac:spMkLst>
        </pc:spChg>
        <pc:spChg chg="add del mod">
          <ac:chgData name="Yudi Zhu" userId="571e1a55-055f-4c28-8b35-fca6dd1c1369" providerId="ADAL" clId="{75A88773-6EE1-484E-AADE-FE631E01463B}" dt="2025-11-24T03:20:24.489" v="543769"/>
          <ac:spMkLst>
            <pc:docMk/>
            <pc:sldMk cId="80455690" sldId="2147483093"/>
            <ac:spMk id="1012" creationId="{F01DB7F8-9D4E-5F49-6022-38D3B65A9360}"/>
          </ac:spMkLst>
        </pc:spChg>
        <pc:spChg chg="add del mod modVis">
          <ac:chgData name="Yudi Zhu" userId="571e1a55-055f-4c28-8b35-fca6dd1c1369" providerId="ADAL" clId="{75A88773-6EE1-484E-AADE-FE631E01463B}" dt="2025-11-24T03:13:49.426" v="524023"/>
          <ac:spMkLst>
            <pc:docMk/>
            <pc:sldMk cId="80455690" sldId="2147483093"/>
            <ac:spMk id="1013" creationId="{4B61429A-57BD-1A4F-EC9D-A6F736F169C4}"/>
          </ac:spMkLst>
        </pc:spChg>
        <pc:spChg chg="add del mod">
          <ac:chgData name="Yudi Zhu" userId="571e1a55-055f-4c28-8b35-fca6dd1c1369" providerId="ADAL" clId="{75A88773-6EE1-484E-AADE-FE631E01463B}" dt="2025-11-24T03:21:41.253" v="547254"/>
          <ac:spMkLst>
            <pc:docMk/>
            <pc:sldMk cId="80455690" sldId="2147483093"/>
            <ac:spMk id="1018" creationId="{266D9A4A-3425-E85F-144D-3CFB13B526A2}"/>
          </ac:spMkLst>
        </pc:spChg>
        <pc:spChg chg="add del mod modVis">
          <ac:chgData name="Yudi Zhu" userId="571e1a55-055f-4c28-8b35-fca6dd1c1369" providerId="ADAL" clId="{75A88773-6EE1-484E-AADE-FE631E01463B}" dt="2025-11-24T03:14:11.403" v="525411"/>
          <ac:spMkLst>
            <pc:docMk/>
            <pc:sldMk cId="80455690" sldId="2147483093"/>
            <ac:spMk id="1019" creationId="{DE05B1C7-5B12-D8F2-0FE9-39421521F1E0}"/>
          </ac:spMkLst>
        </pc:spChg>
        <pc:spChg chg="add del mod modVis">
          <ac:chgData name="Yudi Zhu" userId="571e1a55-055f-4c28-8b35-fca6dd1c1369" providerId="ADAL" clId="{75A88773-6EE1-484E-AADE-FE631E01463B}" dt="2025-11-24T03:14:16.685" v="525768"/>
          <ac:spMkLst>
            <pc:docMk/>
            <pc:sldMk cId="80455690" sldId="2147483093"/>
            <ac:spMk id="1152" creationId="{EF4AB924-17B6-35C3-97A3-4198A0FE0433}"/>
          </ac:spMkLst>
        </pc:spChg>
        <pc:spChg chg="add del mod modVis">
          <ac:chgData name="Yudi Zhu" userId="571e1a55-055f-4c28-8b35-fca6dd1c1369" providerId="ADAL" clId="{75A88773-6EE1-484E-AADE-FE631E01463B}" dt="2025-11-24T03:14:20.487" v="526873"/>
          <ac:spMkLst>
            <pc:docMk/>
            <pc:sldMk cId="80455690" sldId="2147483093"/>
            <ac:spMk id="1154" creationId="{918D5F30-AE79-8841-E18F-2D70F73A1388}"/>
          </ac:spMkLst>
        </pc:spChg>
        <pc:spChg chg="add del mod ord">
          <ac:chgData name="Yudi Zhu" userId="571e1a55-055f-4c28-8b35-fca6dd1c1369" providerId="ADAL" clId="{75A88773-6EE1-484E-AADE-FE631E01463B}" dt="2025-11-24T03:14:22.952" v="526892"/>
          <ac:spMkLst>
            <pc:docMk/>
            <pc:sldMk cId="80455690" sldId="2147483093"/>
            <ac:spMk id="1155" creationId="{8958F36A-4CA2-3CDC-E78B-6F2875131F41}"/>
          </ac:spMkLst>
        </pc:spChg>
        <pc:spChg chg="add del mod ord">
          <ac:chgData name="Yudi Zhu" userId="571e1a55-055f-4c28-8b35-fca6dd1c1369" providerId="ADAL" clId="{75A88773-6EE1-484E-AADE-FE631E01463B}" dt="2025-11-24T03:14:22.969" v="526907"/>
          <ac:spMkLst>
            <pc:docMk/>
            <pc:sldMk cId="80455690" sldId="2147483093"/>
            <ac:spMk id="1156" creationId="{AF297B65-5E0D-E295-B696-069490AAA464}"/>
          </ac:spMkLst>
        </pc:spChg>
        <pc:spChg chg="add del mod">
          <ac:chgData name="Yudi Zhu" userId="571e1a55-055f-4c28-8b35-fca6dd1c1369" providerId="ADAL" clId="{75A88773-6EE1-484E-AADE-FE631E01463B}" dt="2025-11-24T03:14:22.984" v="526921"/>
          <ac:spMkLst>
            <pc:docMk/>
            <pc:sldMk cId="80455690" sldId="2147483093"/>
            <ac:spMk id="1157" creationId="{40652C82-01B4-1F9D-1E08-357559F286DF}"/>
          </ac:spMkLst>
        </pc:spChg>
        <pc:spChg chg="add del mod ord">
          <ac:chgData name="Yudi Zhu" userId="571e1a55-055f-4c28-8b35-fca6dd1c1369" providerId="ADAL" clId="{75A88773-6EE1-484E-AADE-FE631E01463B}" dt="2025-11-24T03:19:26.439" v="541623"/>
          <ac:spMkLst>
            <pc:docMk/>
            <pc:sldMk cId="80455690" sldId="2147483093"/>
            <ac:spMk id="1158" creationId="{C2ECDBDD-074B-C249-A098-47F5A5E85335}"/>
          </ac:spMkLst>
        </pc:spChg>
        <pc:spChg chg="add del mod ord">
          <ac:chgData name="Yudi Zhu" userId="571e1a55-055f-4c28-8b35-fca6dd1c1369" providerId="ADAL" clId="{75A88773-6EE1-484E-AADE-FE631E01463B}" dt="2025-11-24T03:19:26.455" v="541638"/>
          <ac:spMkLst>
            <pc:docMk/>
            <pc:sldMk cId="80455690" sldId="2147483093"/>
            <ac:spMk id="1159" creationId="{609E51DC-F4C8-D034-BD86-C897D5E571A7}"/>
          </ac:spMkLst>
        </pc:spChg>
        <pc:spChg chg="add del mod">
          <ac:chgData name="Yudi Zhu" userId="571e1a55-055f-4c28-8b35-fca6dd1c1369" providerId="ADAL" clId="{75A88773-6EE1-484E-AADE-FE631E01463B}" dt="2025-11-24T03:19:26.455" v="541652"/>
          <ac:spMkLst>
            <pc:docMk/>
            <pc:sldMk cId="80455690" sldId="2147483093"/>
            <ac:spMk id="1160" creationId="{F72C83D6-7290-F9B4-80AB-330EC3BD6BAA}"/>
          </ac:spMkLst>
        </pc:spChg>
        <pc:spChg chg="add del mod ord">
          <ac:chgData name="Yudi Zhu" userId="571e1a55-055f-4c28-8b35-fca6dd1c1369" providerId="ADAL" clId="{75A88773-6EE1-484E-AADE-FE631E01463B}" dt="2025-11-24T03:14:23" v="526946"/>
          <ac:spMkLst>
            <pc:docMk/>
            <pc:sldMk cId="80455690" sldId="2147483093"/>
            <ac:spMk id="1161" creationId="{6BD49BDF-1F1E-B9C2-42BE-DB744DF6984C}"/>
          </ac:spMkLst>
        </pc:spChg>
        <pc:spChg chg="add del mod ord">
          <ac:chgData name="Yudi Zhu" userId="571e1a55-055f-4c28-8b35-fca6dd1c1369" providerId="ADAL" clId="{75A88773-6EE1-484E-AADE-FE631E01463B}" dt="2025-11-24T03:14:22.991" v="526944"/>
          <ac:spMkLst>
            <pc:docMk/>
            <pc:sldMk cId="80455690" sldId="2147483093"/>
            <ac:spMk id="1162" creationId="{A32BB313-4D87-A1E4-8ABA-9F1ECE16D329}"/>
          </ac:spMkLst>
        </pc:spChg>
        <pc:spChg chg="add del mod">
          <ac:chgData name="Yudi Zhu" userId="571e1a55-055f-4c28-8b35-fca6dd1c1369" providerId="ADAL" clId="{75A88773-6EE1-484E-AADE-FE631E01463B}" dt="2025-11-24T03:14:22.991" v="526942"/>
          <ac:spMkLst>
            <pc:docMk/>
            <pc:sldMk cId="80455690" sldId="2147483093"/>
            <ac:spMk id="1163" creationId="{A5674F89-23A4-FF97-D868-AB735E6F2BB6}"/>
          </ac:spMkLst>
        </pc:spChg>
        <pc:spChg chg="add del mod">
          <ac:chgData name="Yudi Zhu" userId="571e1a55-055f-4c28-8b35-fca6dd1c1369" providerId="ADAL" clId="{75A88773-6EE1-484E-AADE-FE631E01463B}" dt="2025-11-24T03:21:45.822" v="548340"/>
          <ac:spMkLst>
            <pc:docMk/>
            <pc:sldMk cId="80455690" sldId="2147483093"/>
            <ac:spMk id="1164" creationId="{A6C22E88-69FE-254E-8290-62655FDFD69D}"/>
          </ac:spMkLst>
        </pc:spChg>
        <pc:spChg chg="add del mod ord">
          <ac:chgData name="Yudi Zhu" userId="571e1a55-055f-4c28-8b35-fca6dd1c1369" providerId="ADAL" clId="{75A88773-6EE1-484E-AADE-FE631E01463B}" dt="2025-11-25T10:14:15.605" v="658336"/>
          <ac:spMkLst>
            <pc:docMk/>
            <pc:sldMk cId="80455690" sldId="2147483093"/>
            <ac:spMk id="1165" creationId="{0AA1A8A8-FF9B-20E1-D2AF-745AC3B241E3}"/>
          </ac:spMkLst>
        </pc:spChg>
        <pc:spChg chg="add mod ord">
          <ac:chgData name="Yudi Zhu" userId="571e1a55-055f-4c28-8b35-fca6dd1c1369" providerId="ADAL" clId="{75A88773-6EE1-484E-AADE-FE631E01463B}" dt="2025-11-25T10:14:15.621" v="658338"/>
          <ac:spMkLst>
            <pc:docMk/>
            <pc:sldMk cId="80455690" sldId="2147483093"/>
            <ac:spMk id="1166" creationId="{C21E8AFD-DF88-3440-816B-93B8FDB6B328}"/>
          </ac:spMkLst>
        </pc:spChg>
        <pc:spChg chg="add del mod">
          <ac:chgData name="Yudi Zhu" userId="571e1a55-055f-4c28-8b35-fca6dd1c1369" providerId="ADAL" clId="{75A88773-6EE1-484E-AADE-FE631E01463B}" dt="2025-11-24T03:19:50.143" v="542811"/>
          <ac:spMkLst>
            <pc:docMk/>
            <pc:sldMk cId="80455690" sldId="2147483093"/>
            <ac:spMk id="1167" creationId="{B05099DD-F999-617F-8981-D3DAC5409CAE}"/>
          </ac:spMkLst>
        </pc:spChg>
        <pc:spChg chg="add del mod">
          <ac:chgData name="Yudi Zhu" userId="571e1a55-055f-4c28-8b35-fca6dd1c1369" providerId="ADAL" clId="{75A88773-6EE1-484E-AADE-FE631E01463B}" dt="2025-11-24T03:14:22.952" v="526888"/>
          <ac:spMkLst>
            <pc:docMk/>
            <pc:sldMk cId="80455690" sldId="2147483093"/>
            <ac:spMk id="1168" creationId="{7706B981-3743-F1CE-A993-E96262958DEA}"/>
          </ac:spMkLst>
        </pc:spChg>
        <pc:spChg chg="add del mod">
          <ac:chgData name="Yudi Zhu" userId="571e1a55-055f-4c28-8b35-fca6dd1c1369" providerId="ADAL" clId="{75A88773-6EE1-484E-AADE-FE631E01463B}" dt="2025-11-24T03:14:22.952" v="526885"/>
          <ac:spMkLst>
            <pc:docMk/>
            <pc:sldMk cId="80455690" sldId="2147483093"/>
            <ac:spMk id="1169" creationId="{A7F78371-275B-521D-B3EF-738B395D6F22}"/>
          </ac:spMkLst>
        </pc:spChg>
        <pc:spChg chg="add del mod">
          <ac:chgData name="Yudi Zhu" userId="571e1a55-055f-4c28-8b35-fca6dd1c1369" providerId="ADAL" clId="{75A88773-6EE1-484E-AADE-FE631E01463B}" dt="2025-11-24T03:14:22.952" v="526882"/>
          <ac:spMkLst>
            <pc:docMk/>
            <pc:sldMk cId="80455690" sldId="2147483093"/>
            <ac:spMk id="1170" creationId="{2C7D1673-C00F-D431-E5F9-7469A9305121}"/>
          </ac:spMkLst>
        </pc:spChg>
        <pc:spChg chg="add del mod">
          <ac:chgData name="Yudi Zhu" userId="571e1a55-055f-4c28-8b35-fca6dd1c1369" providerId="ADAL" clId="{75A88773-6EE1-484E-AADE-FE631E01463B}" dt="2025-11-24T03:14:22.952" v="526879"/>
          <ac:spMkLst>
            <pc:docMk/>
            <pc:sldMk cId="80455690" sldId="2147483093"/>
            <ac:spMk id="1171" creationId="{35CB107B-FF8D-BC04-17E0-67721446C079}"/>
          </ac:spMkLst>
        </pc:spChg>
        <pc:spChg chg="add del mod">
          <ac:chgData name="Yudi Zhu" userId="571e1a55-055f-4c28-8b35-fca6dd1c1369" providerId="ADAL" clId="{75A88773-6EE1-484E-AADE-FE631E01463B}" dt="2025-11-24T03:14:22.952" v="526876"/>
          <ac:spMkLst>
            <pc:docMk/>
            <pc:sldMk cId="80455690" sldId="2147483093"/>
            <ac:spMk id="1172" creationId="{C964136A-3358-B6A5-6495-906BC87FE5D5}"/>
          </ac:spMkLst>
        </pc:spChg>
        <pc:spChg chg="add del mod ord">
          <ac:chgData name="Yudi Zhu" userId="571e1a55-055f-4c28-8b35-fca6dd1c1369" providerId="ADAL" clId="{75A88773-6EE1-484E-AADE-FE631E01463B}" dt="2025-11-24T03:19:26.408" v="541582"/>
          <ac:spMkLst>
            <pc:docMk/>
            <pc:sldMk cId="80455690" sldId="2147483093"/>
            <ac:spMk id="1179" creationId="{1BB45BAD-ABA1-8058-CC57-D99BEA484B5C}"/>
          </ac:spMkLst>
        </pc:spChg>
        <pc:spChg chg="add del mod ord">
          <ac:chgData name="Yudi Zhu" userId="571e1a55-055f-4c28-8b35-fca6dd1c1369" providerId="ADAL" clId="{75A88773-6EE1-484E-AADE-FE631E01463B}" dt="2025-11-24T03:19:26.430" v="541597"/>
          <ac:spMkLst>
            <pc:docMk/>
            <pc:sldMk cId="80455690" sldId="2147483093"/>
            <ac:spMk id="1180" creationId="{DDBC2121-51F3-5AA0-05F2-35ADB7D42F1C}"/>
          </ac:spMkLst>
        </pc:spChg>
        <pc:spChg chg="add del mod">
          <ac:chgData name="Yudi Zhu" userId="571e1a55-055f-4c28-8b35-fca6dd1c1369" providerId="ADAL" clId="{75A88773-6EE1-484E-AADE-FE631E01463B}" dt="2025-11-24T03:19:26.439" v="541611"/>
          <ac:spMkLst>
            <pc:docMk/>
            <pc:sldMk cId="80455690" sldId="2147483093"/>
            <ac:spMk id="1181" creationId="{C888F7CB-ED41-5164-01BE-DF294FD0C52A}"/>
          </ac:spMkLst>
        </pc:spChg>
        <pc:spChg chg="add del mod modVis">
          <ac:chgData name="Yudi Zhu" userId="571e1a55-055f-4c28-8b35-fca6dd1c1369" providerId="ADAL" clId="{75A88773-6EE1-484E-AADE-FE631E01463B}" dt="2025-11-24T03:14:31.750" v="527656"/>
          <ac:spMkLst>
            <pc:docMk/>
            <pc:sldMk cId="80455690" sldId="2147483093"/>
            <ac:spMk id="1183" creationId="{BADBD098-E70A-39BF-0A41-73E9C8CB2E7F}"/>
          </ac:spMkLst>
        </pc:spChg>
        <pc:spChg chg="add del mod modVis">
          <ac:chgData name="Yudi Zhu" userId="571e1a55-055f-4c28-8b35-fca6dd1c1369" providerId="ADAL" clId="{75A88773-6EE1-484E-AADE-FE631E01463B}" dt="2025-11-24T03:15:12.034" v="530403"/>
          <ac:spMkLst>
            <pc:docMk/>
            <pc:sldMk cId="80455690" sldId="2147483093"/>
            <ac:spMk id="1193" creationId="{16D635A1-BB69-182E-21D5-161BD29AEA97}"/>
          </ac:spMkLst>
        </pc:spChg>
        <pc:spChg chg="mod ord">
          <ac:chgData name="Yudi Zhu" userId="571e1a55-055f-4c28-8b35-fca6dd1c1369" providerId="ADAL" clId="{75A88773-6EE1-484E-AADE-FE631E01463B}" dt="2025-11-25T10:14:15.532" v="658130"/>
          <ac:spMkLst>
            <pc:docMk/>
            <pc:sldMk cId="80455690" sldId="2147483093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5T10:14:15.532" v="658132"/>
          <ac:spMkLst>
            <pc:docMk/>
            <pc:sldMk cId="80455690" sldId="2147483093"/>
            <ac:spMk id="1195" creationId="{5C1C629A-FB4A-9DCD-82D7-CB67AA109C26}"/>
          </ac:spMkLst>
        </pc:spChg>
        <pc:spChg chg="mod ord">
          <ac:chgData name="Yudi Zhu" userId="571e1a55-055f-4c28-8b35-fca6dd1c1369" providerId="ADAL" clId="{75A88773-6EE1-484E-AADE-FE631E01463B}" dt="2025-11-25T10:14:15.532" v="658139"/>
          <ac:spMkLst>
            <pc:docMk/>
            <pc:sldMk cId="80455690" sldId="2147483093"/>
            <ac:spMk id="1196" creationId="{C596882D-6FC7-950A-AE47-E000121672A5}"/>
          </ac:spMkLst>
        </pc:spChg>
        <pc:spChg chg="mod ord">
          <ac:chgData name="Yudi Zhu" userId="571e1a55-055f-4c28-8b35-fca6dd1c1369" providerId="ADAL" clId="{75A88773-6EE1-484E-AADE-FE631E01463B}" dt="2025-11-25T10:14:15.540" v="658140"/>
          <ac:spMkLst>
            <pc:docMk/>
            <pc:sldMk cId="80455690" sldId="2147483093"/>
            <ac:spMk id="1197" creationId="{4420D0BB-BF1F-19EC-B0A4-93BCE704F5E8}"/>
          </ac:spMkLst>
        </pc:spChg>
        <pc:spChg chg="mod ord">
          <ac:chgData name="Yudi Zhu" userId="571e1a55-055f-4c28-8b35-fca6dd1c1369" providerId="ADAL" clId="{75A88773-6EE1-484E-AADE-FE631E01463B}" dt="2025-11-25T10:14:15.541" v="658141"/>
          <ac:spMkLst>
            <pc:docMk/>
            <pc:sldMk cId="80455690" sldId="2147483093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5T10:14:15.544" v="658149"/>
          <ac:spMkLst>
            <pc:docMk/>
            <pc:sldMk cId="80455690" sldId="2147483093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5T10:14:15.541" v="658142"/>
          <ac:spMkLst>
            <pc:docMk/>
            <pc:sldMk cId="80455690" sldId="2147483093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5T10:14:15.542" v="658144"/>
          <ac:spMkLst>
            <pc:docMk/>
            <pc:sldMk cId="80455690" sldId="2147483093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5T10:14:15.543" v="658146"/>
          <ac:spMkLst>
            <pc:docMk/>
            <pc:sldMk cId="80455690" sldId="2147483093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5T10:14:15.543" v="658147"/>
          <ac:spMkLst>
            <pc:docMk/>
            <pc:sldMk cId="80455690" sldId="2147483093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5T10:14:15.544" v="658151"/>
          <ac:spMkLst>
            <pc:docMk/>
            <pc:sldMk cId="80455690" sldId="2147483093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5T10:14:15.545" v="658153"/>
          <ac:spMkLst>
            <pc:docMk/>
            <pc:sldMk cId="80455690" sldId="2147483093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5T10:14:15.546" v="658154"/>
          <ac:spMkLst>
            <pc:docMk/>
            <pc:sldMk cId="80455690" sldId="2147483093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5T10:14:15.547" v="658156"/>
          <ac:spMkLst>
            <pc:docMk/>
            <pc:sldMk cId="80455690" sldId="2147483093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5T10:14:15.548" v="658158"/>
          <ac:spMkLst>
            <pc:docMk/>
            <pc:sldMk cId="80455690" sldId="2147483093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5T10:14:15.548" v="658159"/>
          <ac:spMkLst>
            <pc:docMk/>
            <pc:sldMk cId="80455690" sldId="2147483093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5T10:14:15.549" v="658161"/>
          <ac:spMkLst>
            <pc:docMk/>
            <pc:sldMk cId="80455690" sldId="2147483093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5T10:14:15.549" v="658162"/>
          <ac:spMkLst>
            <pc:docMk/>
            <pc:sldMk cId="80455690" sldId="2147483093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5T10:14:15.532" v="658129"/>
          <ac:spMkLst>
            <pc:docMk/>
            <pc:sldMk cId="80455690" sldId="2147483093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5T10:14:15.546" v="658155"/>
          <ac:spMkLst>
            <pc:docMk/>
            <pc:sldMk cId="80455690" sldId="2147483093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5T10:14:15.532" v="658134"/>
          <ac:spMkLst>
            <pc:docMk/>
            <pc:sldMk cId="80455690" sldId="2147483093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5T10:14:15.532" v="658136"/>
          <ac:spMkLst>
            <pc:docMk/>
            <pc:sldMk cId="80455690" sldId="2147483093"/>
            <ac:spMk id="1215" creationId="{0959939C-0A28-522F-5D60-C7E1780901F6}"/>
          </ac:spMkLst>
        </pc:spChg>
        <pc:spChg chg="mod ord">
          <ac:chgData name="Yudi Zhu" userId="571e1a55-055f-4c28-8b35-fca6dd1c1369" providerId="ADAL" clId="{75A88773-6EE1-484E-AADE-FE631E01463B}" dt="2025-11-25T10:14:15.532" v="658138"/>
          <ac:spMkLst>
            <pc:docMk/>
            <pc:sldMk cId="80455690" sldId="2147483093"/>
            <ac:spMk id="1217" creationId="{25C57DA6-7F82-0F4F-AD77-F75FE99D7A67}"/>
          </ac:spMkLst>
        </pc:spChg>
        <pc:spChg chg="add del mod ord">
          <ac:chgData name="Yudi Zhu" userId="571e1a55-055f-4c28-8b35-fca6dd1c1369" providerId="ADAL" clId="{75A88773-6EE1-484E-AADE-FE631E01463B}" dt="2025-11-24T03:17:47.600" v="538285"/>
          <ac:spMkLst>
            <pc:docMk/>
            <pc:sldMk cId="80455690" sldId="2147483093"/>
            <ac:spMk id="1220" creationId="{D6D7C828-710D-151E-B585-92993A3F89D1}"/>
          </ac:spMkLst>
        </pc:spChg>
        <pc:spChg chg="add del mod modVis">
          <ac:chgData name="Yudi Zhu" userId="571e1a55-055f-4c28-8b35-fca6dd1c1369" providerId="ADAL" clId="{75A88773-6EE1-484E-AADE-FE631E01463B}" dt="2025-11-24T03:17:47.600" v="538285"/>
          <ac:spMkLst>
            <pc:docMk/>
            <pc:sldMk cId="80455690" sldId="2147483093"/>
            <ac:spMk id="1222" creationId="{CD2FAD61-02CE-4A8B-BD10-6B96133736DA}"/>
          </ac:spMkLst>
        </pc:spChg>
        <pc:spChg chg="add del mod modVis">
          <ac:chgData name="Yudi Zhu" userId="571e1a55-055f-4c28-8b35-fca6dd1c1369" providerId="ADAL" clId="{75A88773-6EE1-484E-AADE-FE631E01463B}" dt="2025-11-24T03:17:46.248" v="537965" actId="962"/>
          <ac:spMkLst>
            <pc:docMk/>
            <pc:sldMk cId="80455690" sldId="2147483093"/>
            <ac:spMk id="1228" creationId="{6278A24B-9CC6-C1E7-8841-7F5D497EB473}"/>
          </ac:spMkLst>
        </pc:spChg>
        <pc:spChg chg="add del mod">
          <ac:chgData name="Yudi Zhu" userId="571e1a55-055f-4c28-8b35-fca6dd1c1369" providerId="ADAL" clId="{75A88773-6EE1-484E-AADE-FE631E01463B}" dt="2025-11-24T03:17:44.028" v="537633"/>
          <ac:spMkLst>
            <pc:docMk/>
            <pc:sldMk cId="80455690" sldId="2147483093"/>
            <ac:spMk id="1232" creationId="{58A7638E-728D-970B-6FA8-78AAE39F5705}"/>
          </ac:spMkLst>
        </pc:spChg>
        <pc:spChg chg="add del mod modVis">
          <ac:chgData name="Yudi Zhu" userId="571e1a55-055f-4c28-8b35-fca6dd1c1369" providerId="ADAL" clId="{75A88773-6EE1-484E-AADE-FE631E01463B}" dt="2025-11-24T03:17:44.028" v="537633"/>
          <ac:spMkLst>
            <pc:docMk/>
            <pc:sldMk cId="80455690" sldId="2147483093"/>
            <ac:spMk id="1233" creationId="{B58BD797-763C-31B1-3BD9-922B536A8BBB}"/>
          </ac:spMkLst>
        </pc:spChg>
        <pc:spChg chg="add del mod">
          <ac:chgData name="Yudi Zhu" userId="571e1a55-055f-4c28-8b35-fca6dd1c1369" providerId="ADAL" clId="{75A88773-6EE1-484E-AADE-FE631E01463B}" dt="2025-11-24T03:17:43.245" v="537520"/>
          <ac:spMkLst>
            <pc:docMk/>
            <pc:sldMk cId="80455690" sldId="2147483093"/>
            <ac:spMk id="1235" creationId="{3247189E-87AC-AD0D-892F-73E24C8A063D}"/>
          </ac:spMkLst>
        </pc:spChg>
        <pc:spChg chg="add del mod modVis">
          <ac:chgData name="Yudi Zhu" userId="571e1a55-055f-4c28-8b35-fca6dd1c1369" providerId="ADAL" clId="{75A88773-6EE1-484E-AADE-FE631E01463B}" dt="2025-11-24T03:17:43.245" v="537520"/>
          <ac:spMkLst>
            <pc:docMk/>
            <pc:sldMk cId="80455690" sldId="2147483093"/>
            <ac:spMk id="1236" creationId="{DF34F841-9F2D-76C2-9327-EC6B3610C490}"/>
          </ac:spMkLst>
        </pc:spChg>
        <pc:spChg chg="add del mod modVis">
          <ac:chgData name="Yudi Zhu" userId="571e1a55-055f-4c28-8b35-fca6dd1c1369" providerId="ADAL" clId="{75A88773-6EE1-484E-AADE-FE631E01463B}" dt="2025-11-24T03:17:42.493" v="537407"/>
          <ac:spMkLst>
            <pc:docMk/>
            <pc:sldMk cId="80455690" sldId="2147483093"/>
            <ac:spMk id="1238" creationId="{E6E53BF9-226F-2E0D-819E-14C4B7876846}"/>
          </ac:spMkLst>
        </pc:spChg>
        <pc:spChg chg="add del mod ord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0" creationId="{D0DB645F-00D4-EA40-4B66-5F185073653E}"/>
          </ac:spMkLst>
        </pc:spChg>
        <pc:spChg chg="add del mod ord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1" creationId="{41B647D9-6E2E-B0FD-8B8B-A19246F00F3C}"/>
          </ac:spMkLst>
        </pc:spChg>
        <pc:spChg chg="add del mod">
          <ac:chgData name="Yudi Zhu" userId="571e1a55-055f-4c28-8b35-fca6dd1c1369" providerId="ADAL" clId="{75A88773-6EE1-484E-AADE-FE631E01463B}" dt="2025-11-24T03:17:41.197" v="537278" actId="207"/>
          <ac:spMkLst>
            <pc:docMk/>
            <pc:sldMk cId="80455690" sldId="2147483093"/>
            <ac:spMk id="1242" creationId="{2594EDAF-6646-AF14-FFE7-79385B17DA31}"/>
          </ac:spMkLst>
        </pc:spChg>
        <pc:spChg chg="add del mod ord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3" creationId="{55D2CEB7-4A0D-AA7C-AD81-E4680139E4D0}"/>
          </ac:spMkLst>
        </pc:spChg>
        <pc:spChg chg="add del mod ord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4" creationId="{EB4AF213-8A10-A51E-6A09-211EA98ABAD6}"/>
          </ac:spMkLst>
        </pc:spChg>
        <pc:spChg chg="add del mod">
          <ac:chgData name="Yudi Zhu" userId="571e1a55-055f-4c28-8b35-fca6dd1c1369" providerId="ADAL" clId="{75A88773-6EE1-484E-AADE-FE631E01463B}" dt="2025-11-24T03:17:41.181" v="537255" actId="207"/>
          <ac:spMkLst>
            <pc:docMk/>
            <pc:sldMk cId="80455690" sldId="2147483093"/>
            <ac:spMk id="1245" creationId="{36050F5B-F3A7-9310-0986-E7D8806C4705}"/>
          </ac:spMkLst>
        </pc:spChg>
        <pc:spChg chg="add del mod modVis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6" creationId="{8A557874-D6E4-9F4C-CDAB-C5D0ACC18889}"/>
          </ac:spMkLst>
        </pc:spChg>
        <pc:spChg chg="add del mod">
          <ac:chgData name="Yudi Zhu" userId="571e1a55-055f-4c28-8b35-fca6dd1c1369" providerId="ADAL" clId="{75A88773-6EE1-484E-AADE-FE631E01463B}" dt="2025-11-24T03:17:41.212" v="537298"/>
          <ac:spMkLst>
            <pc:docMk/>
            <pc:sldMk cId="80455690" sldId="2147483093"/>
            <ac:spMk id="1247" creationId="{177AAA72-CBA4-0974-E95C-192ECFA65357}"/>
          </ac:spMkLst>
        </pc:spChg>
        <pc:spChg chg="add mod ord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49" creationId="{4A11171A-8513-7603-9058-B5BD65CCFCE5}"/>
          </ac:spMkLst>
        </pc:spChg>
        <pc:spChg chg="add mod ord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50" creationId="{DA62F6EE-E5EE-0B6A-952D-DCF64E5CECB0}"/>
          </ac:spMkLst>
        </pc:spChg>
        <pc:spChg chg="add mod ord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51" creationId="{8CB2CAB8-5C86-C699-226E-6B674243CDE9}"/>
          </ac:spMkLst>
        </pc:spChg>
        <pc:spChg chg="add mod">
          <ac:chgData name="Yudi Zhu" userId="571e1a55-055f-4c28-8b35-fca6dd1c1369" providerId="ADAL" clId="{75A88773-6EE1-484E-AADE-FE631E01463B}" dt="2025-11-24T03:17:40.069" v="537070" actId="207"/>
          <ac:spMkLst>
            <pc:docMk/>
            <pc:sldMk cId="80455690" sldId="2147483093"/>
            <ac:spMk id="1252" creationId="{062CEADC-5767-92DE-8D4B-ABDDA9A2A6D2}"/>
          </ac:spMkLst>
        </pc:spChg>
        <pc:spChg chg="add del mod ord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53" creationId="{BA9C2481-F4E7-C3F2-D9A1-912C3B067FA3}"/>
          </ac:spMkLst>
        </pc:spChg>
        <pc:spChg chg="add del mod ord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54" creationId="{342F93DF-6E0D-5A3A-FB02-5E857258CAC4}"/>
          </ac:spMkLst>
        </pc:spChg>
        <pc:spChg chg="add del mod">
          <ac:chgData name="Yudi Zhu" userId="571e1a55-055f-4c28-8b35-fca6dd1c1369" providerId="ADAL" clId="{75A88773-6EE1-484E-AADE-FE631E01463B}" dt="2025-11-24T03:17:40.048" v="537047" actId="207"/>
          <ac:spMkLst>
            <pc:docMk/>
            <pc:sldMk cId="80455690" sldId="2147483093"/>
            <ac:spMk id="1255" creationId="{B9F69853-A7CB-B561-94FB-C29D517B6E7F}"/>
          </ac:spMkLst>
        </pc:spChg>
        <pc:spChg chg="add del mod modVis">
          <ac:chgData name="Yudi Zhu" userId="571e1a55-055f-4c28-8b35-fca6dd1c1369" providerId="ADAL" clId="{75A88773-6EE1-484E-AADE-FE631E01463B}" dt="2025-11-24T03:17:40.095" v="537100"/>
          <ac:spMkLst>
            <pc:docMk/>
            <pc:sldMk cId="80455690" sldId="2147483093"/>
            <ac:spMk id="1256" creationId="{07349721-8472-F587-6527-D0039DE1A4A0}"/>
          </ac:spMkLst>
        </pc:spChg>
        <pc:spChg chg="add mod">
          <ac:chgData name="Yudi Zhu" userId="571e1a55-055f-4c28-8b35-fca6dd1c1369" providerId="ADAL" clId="{75A88773-6EE1-484E-AADE-FE631E01463B}" dt="2025-11-24T03:17:38.429" v="536815"/>
          <ac:spMkLst>
            <pc:docMk/>
            <pc:sldMk cId="80455690" sldId="2147483093"/>
            <ac:spMk id="1260" creationId="{AAB347BA-AD81-5F0F-03DF-BFE6BD3B2CFA}"/>
          </ac:spMkLst>
        </pc:spChg>
        <pc:spChg chg="add del mod modVis">
          <ac:chgData name="Yudi Zhu" userId="571e1a55-055f-4c28-8b35-fca6dd1c1369" providerId="ADAL" clId="{75A88773-6EE1-484E-AADE-FE631E01463B}" dt="2025-11-24T03:17:38.429" v="536815"/>
          <ac:spMkLst>
            <pc:docMk/>
            <pc:sldMk cId="80455690" sldId="2147483093"/>
            <ac:spMk id="1261" creationId="{27C6EA2A-443E-D9BB-85AA-C782D20A4467}"/>
          </ac:spMkLst>
        </pc:spChg>
        <pc:spChg chg="add mod">
          <ac:chgData name="Yudi Zhu" userId="571e1a55-055f-4c28-8b35-fca6dd1c1369" providerId="ADAL" clId="{75A88773-6EE1-484E-AADE-FE631E01463B}" dt="2025-11-24T03:17:37.245" v="536702"/>
          <ac:spMkLst>
            <pc:docMk/>
            <pc:sldMk cId="80455690" sldId="2147483093"/>
            <ac:spMk id="1263" creationId="{A94A42B3-3AD2-2F2B-C4D9-FB1F38B24BDA}"/>
          </ac:spMkLst>
        </pc:spChg>
        <pc:spChg chg="add del mod modVis">
          <ac:chgData name="Yudi Zhu" userId="571e1a55-055f-4c28-8b35-fca6dd1c1369" providerId="ADAL" clId="{75A88773-6EE1-484E-AADE-FE631E01463B}" dt="2025-11-24T03:17:37.245" v="536702"/>
          <ac:spMkLst>
            <pc:docMk/>
            <pc:sldMk cId="80455690" sldId="2147483093"/>
            <ac:spMk id="1264" creationId="{B2BC5EEF-B6CB-8428-D8F0-A04D9C4EED7F}"/>
          </ac:spMkLst>
        </pc:spChg>
        <pc:spChg chg="add del mod ord">
          <ac:chgData name="Yudi Zhu" userId="571e1a55-055f-4c28-8b35-fca6dd1c1369" providerId="ADAL" clId="{75A88773-6EE1-484E-AADE-FE631E01463B}" dt="2025-11-24T03:17:36.444" v="536589"/>
          <ac:spMkLst>
            <pc:docMk/>
            <pc:sldMk cId="80455690" sldId="2147483093"/>
            <ac:spMk id="1266" creationId="{90C768F4-87D0-98F9-F01A-51209850F905}"/>
          </ac:spMkLst>
        </pc:spChg>
        <pc:spChg chg="add del mod modVis">
          <ac:chgData name="Yudi Zhu" userId="571e1a55-055f-4c28-8b35-fca6dd1c1369" providerId="ADAL" clId="{75A88773-6EE1-484E-AADE-FE631E01463B}" dt="2025-11-24T03:17:36.444" v="536589"/>
          <ac:spMkLst>
            <pc:docMk/>
            <pc:sldMk cId="80455690" sldId="2147483093"/>
            <ac:spMk id="1267" creationId="{A216B3AA-5052-8355-2CCF-04211DB535C5}"/>
          </ac:spMkLst>
        </pc:spChg>
        <pc:spChg chg="add mod ord">
          <ac:chgData name="Yudi Zhu" userId="571e1a55-055f-4c28-8b35-fca6dd1c1369" providerId="ADAL" clId="{75A88773-6EE1-484E-AADE-FE631E01463B}" dt="2025-11-24T03:17:35.748" v="536436" actId="208"/>
          <ac:spMkLst>
            <pc:docMk/>
            <pc:sldMk cId="80455690" sldId="2147483093"/>
            <ac:spMk id="1270" creationId="{9B742BB5-A87E-9DB1-5A0F-15CA997FFA6E}"/>
          </ac:spMkLst>
        </pc:spChg>
        <pc:spChg chg="add mod ord">
          <ac:chgData name="Yudi Zhu" userId="571e1a55-055f-4c28-8b35-fca6dd1c1369" providerId="ADAL" clId="{75A88773-6EE1-484E-AADE-FE631E01463B}" dt="2025-11-24T03:17:35.748" v="536428" actId="208"/>
          <ac:spMkLst>
            <pc:docMk/>
            <pc:sldMk cId="80455690" sldId="2147483093"/>
            <ac:spMk id="1271" creationId="{7B69BDBC-C43F-0E66-EE69-FE1DD1027766}"/>
          </ac:spMkLst>
        </pc:spChg>
        <pc:spChg chg="add mod">
          <ac:chgData name="Yudi Zhu" userId="571e1a55-055f-4c28-8b35-fca6dd1c1369" providerId="ADAL" clId="{75A88773-6EE1-484E-AADE-FE631E01463B}" dt="2025-11-24T03:17:35.748" v="536420" actId="207"/>
          <ac:spMkLst>
            <pc:docMk/>
            <pc:sldMk cId="80455690" sldId="2147483093"/>
            <ac:spMk id="1272" creationId="{F6C60D30-CD0F-0C30-8482-A916919B6571}"/>
          </ac:spMkLst>
        </pc:spChg>
        <pc:spChg chg="add del mod modVis">
          <ac:chgData name="Yudi Zhu" userId="571e1a55-055f-4c28-8b35-fca6dd1c1369" providerId="ADAL" clId="{75A88773-6EE1-484E-AADE-FE631E01463B}" dt="2025-11-24T03:17:35.744" v="536415" actId="962"/>
          <ac:spMkLst>
            <pc:docMk/>
            <pc:sldMk cId="80455690" sldId="2147483093"/>
            <ac:spMk id="1273" creationId="{225DD218-CA7D-1103-4580-7BA7202310A1}"/>
          </ac:spMkLst>
        </pc:spChg>
        <pc:spChg chg="add mod">
          <ac:chgData name="Yudi Zhu" userId="571e1a55-055f-4c28-8b35-fca6dd1c1369" providerId="ADAL" clId="{75A88773-6EE1-484E-AADE-FE631E01463B}" dt="2025-11-24T03:17:35.733" v="536406" actId="139"/>
          <ac:spMkLst>
            <pc:docMk/>
            <pc:sldMk cId="80455690" sldId="2147483093"/>
            <ac:spMk id="1274" creationId="{8270B8AB-45B0-1A1D-47E1-8426B313EB68}"/>
          </ac:spMkLst>
        </pc:spChg>
        <pc:spChg chg="add del mo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276" creationId="{D8167899-6C92-F302-F53A-F178C15CBF27}"/>
          </ac:spMkLst>
        </pc:spChg>
        <pc:spChg chg="add del mod modVis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277" creationId="{A173B6C5-DF17-BC6F-9001-97E4D8CA8412}"/>
          </ac:spMkLst>
        </pc:spChg>
        <pc:spChg chg="add mod or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278" creationId="{1C71753D-E041-9667-EF34-78DD821A5B1B}"/>
          </ac:spMkLst>
        </pc:spChg>
        <pc:spChg chg="add mod or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279" creationId="{7007FA66-AAA7-E253-7836-1D734B4885B3}"/>
          </ac:spMkLst>
        </pc:spChg>
        <pc:spChg chg="add mod">
          <ac:chgData name="Yudi Zhu" userId="571e1a55-055f-4c28-8b35-fca6dd1c1369" providerId="ADAL" clId="{75A88773-6EE1-484E-AADE-FE631E01463B}" dt="2025-11-24T03:19:11.478" v="541462" actId="207"/>
          <ac:spMkLst>
            <pc:docMk/>
            <pc:sldMk cId="80455690" sldId="2147483093"/>
            <ac:spMk id="1344" creationId="{14FF9DC7-A941-522A-6F60-21B7AFBE6F05}"/>
          </ac:spMkLst>
        </pc:spChg>
        <pc:spChg chg="add del mod or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345" creationId="{9A3A0FBB-34C5-EBF0-4B1C-E8F77994EEFC}"/>
          </ac:spMkLst>
        </pc:spChg>
        <pc:spChg chg="add del mod or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346" creationId="{4F5066DE-CC63-0A80-EAB6-D8D382B5ACF3}"/>
          </ac:spMkLst>
        </pc:spChg>
        <pc:spChg chg="add del mod">
          <ac:chgData name="Yudi Zhu" userId="571e1a55-055f-4c28-8b35-fca6dd1c1369" providerId="ADAL" clId="{75A88773-6EE1-484E-AADE-FE631E01463B}" dt="2025-11-24T03:19:11.463" v="541439" actId="207"/>
          <ac:spMkLst>
            <pc:docMk/>
            <pc:sldMk cId="80455690" sldId="2147483093"/>
            <ac:spMk id="1347" creationId="{FF647D0F-4498-2122-2F02-4273B81A4E29}"/>
          </ac:spMkLst>
        </pc:spChg>
        <pc:spChg chg="add del mod ord">
          <ac:chgData name="Yudi Zhu" userId="571e1a55-055f-4c28-8b35-fca6dd1c1369" providerId="ADAL" clId="{75A88773-6EE1-484E-AADE-FE631E01463B}" dt="2025-11-24T03:19:11.530" v="541509"/>
          <ac:spMkLst>
            <pc:docMk/>
            <pc:sldMk cId="80455690" sldId="2147483093"/>
            <ac:spMk id="1348" creationId="{D0FF2C16-134A-3818-6660-695909A30BB5}"/>
          </ac:spMkLst>
        </pc:spChg>
        <pc:spChg chg="add mod">
          <ac:chgData name="Yudi Zhu" userId="571e1a55-055f-4c28-8b35-fca6dd1c1369" providerId="ADAL" clId="{75A88773-6EE1-484E-AADE-FE631E01463B}" dt="2025-11-24T03:19:10.550" v="541268"/>
          <ac:spMkLst>
            <pc:docMk/>
            <pc:sldMk cId="80455690" sldId="2147483093"/>
            <ac:spMk id="1351" creationId="{EC9CD6CE-2AAD-2FBB-24F8-342ABEBE24DC}"/>
          </ac:spMkLst>
        </pc:spChg>
        <pc:spChg chg="add del mod modVis">
          <ac:chgData name="Yudi Zhu" userId="571e1a55-055f-4c28-8b35-fca6dd1c1369" providerId="ADAL" clId="{75A88773-6EE1-484E-AADE-FE631E01463B}" dt="2025-11-24T03:19:10.550" v="541268"/>
          <ac:spMkLst>
            <pc:docMk/>
            <pc:sldMk cId="80455690" sldId="2147483093"/>
            <ac:spMk id="1352" creationId="{FE3B0707-5CBA-5D13-E285-6535DA7623D5}"/>
          </ac:spMkLst>
        </pc:spChg>
        <pc:spChg chg="add mod">
          <ac:chgData name="Yudi Zhu" userId="571e1a55-055f-4c28-8b35-fca6dd1c1369" providerId="ADAL" clId="{75A88773-6EE1-484E-AADE-FE631E01463B}" dt="2025-11-24T03:19:09.716" v="541140"/>
          <ac:spMkLst>
            <pc:docMk/>
            <pc:sldMk cId="80455690" sldId="2147483093"/>
            <ac:spMk id="1354" creationId="{C5C51618-B99D-0A68-C0E7-F10E230DCE1B}"/>
          </ac:spMkLst>
        </pc:spChg>
        <pc:spChg chg="add mod ord">
          <ac:chgData name="Yudi Zhu" userId="571e1a55-055f-4c28-8b35-fca6dd1c1369" providerId="ADAL" clId="{75A88773-6EE1-484E-AADE-FE631E01463B}" dt="2025-11-24T03:19:09.716" v="541140"/>
          <ac:spMkLst>
            <pc:docMk/>
            <pc:sldMk cId="80455690" sldId="2147483093"/>
            <ac:spMk id="1355" creationId="{4D29F9F1-6A36-7432-FAB2-015011048319}"/>
          </ac:spMkLst>
        </pc:spChg>
        <pc:spChg chg="add mod ord">
          <ac:chgData name="Yudi Zhu" userId="571e1a55-055f-4c28-8b35-fca6dd1c1369" providerId="ADAL" clId="{75A88773-6EE1-484E-AADE-FE631E01463B}" dt="2025-11-24T03:19:09.716" v="541140"/>
          <ac:spMkLst>
            <pc:docMk/>
            <pc:sldMk cId="80455690" sldId="2147483093"/>
            <ac:spMk id="1356" creationId="{64D48982-FAFF-EEFA-FC46-0A96F82E03CD}"/>
          </ac:spMkLst>
        </pc:spChg>
        <pc:spChg chg="add mod">
          <ac:chgData name="Yudi Zhu" userId="571e1a55-055f-4c28-8b35-fca6dd1c1369" providerId="ADAL" clId="{75A88773-6EE1-484E-AADE-FE631E01463B}" dt="2025-11-24T03:19:09.710" v="541119" actId="207"/>
          <ac:spMkLst>
            <pc:docMk/>
            <pc:sldMk cId="80455690" sldId="2147483093"/>
            <ac:spMk id="1357" creationId="{E9F48930-7183-2104-ED23-C2F8879C95E8}"/>
          </ac:spMkLst>
        </pc:spChg>
        <pc:spChg chg="add del mod modVis">
          <ac:chgData name="Yudi Zhu" userId="571e1a55-055f-4c28-8b35-fca6dd1c1369" providerId="ADAL" clId="{75A88773-6EE1-484E-AADE-FE631E01463B}" dt="2025-11-24T03:19:09.716" v="541140"/>
          <ac:spMkLst>
            <pc:docMk/>
            <pc:sldMk cId="80455690" sldId="2147483093"/>
            <ac:spMk id="1358" creationId="{66D06588-2088-2BDC-D841-674C0DC1B01B}"/>
          </ac:spMkLst>
        </pc:spChg>
        <pc:spChg chg="add del mod modVis">
          <ac:chgData name="Yudi Zhu" userId="571e1a55-055f-4c28-8b35-fca6dd1c1369" providerId="ADAL" clId="{75A88773-6EE1-484E-AADE-FE631E01463B}" dt="2025-11-24T03:19:05.821" v="540989"/>
          <ac:spMkLst>
            <pc:docMk/>
            <pc:sldMk cId="80455690" sldId="2147483093"/>
            <ac:spMk id="1360" creationId="{31217521-300B-4540-DE36-CB1FAFA2D273}"/>
          </ac:spMkLst>
        </pc:spChg>
        <pc:spChg chg="add mod ord">
          <ac:chgData name="Yudi Zhu" userId="571e1a55-055f-4c28-8b35-fca6dd1c1369" providerId="ADAL" clId="{75A88773-6EE1-484E-AADE-FE631E01463B}" dt="2025-11-24T03:19:04.828" v="540867"/>
          <ac:spMkLst>
            <pc:docMk/>
            <pc:sldMk cId="80455690" sldId="2147483093"/>
            <ac:spMk id="1362" creationId="{051E8861-EE4C-7C4B-EABA-F2DEEAD87566}"/>
          </ac:spMkLst>
        </pc:spChg>
        <pc:spChg chg="add mod ord">
          <ac:chgData name="Yudi Zhu" userId="571e1a55-055f-4c28-8b35-fca6dd1c1369" providerId="ADAL" clId="{75A88773-6EE1-484E-AADE-FE631E01463B}" dt="2025-11-24T03:19:04.828" v="540867"/>
          <ac:spMkLst>
            <pc:docMk/>
            <pc:sldMk cId="80455690" sldId="2147483093"/>
            <ac:spMk id="1363" creationId="{1B9366D8-E9B6-00BC-8E7E-B5E42AD0FA54}"/>
          </ac:spMkLst>
        </pc:spChg>
        <pc:spChg chg="add mod">
          <ac:chgData name="Yudi Zhu" userId="571e1a55-055f-4c28-8b35-fca6dd1c1369" providerId="ADAL" clId="{75A88773-6EE1-484E-AADE-FE631E01463B}" dt="2025-11-24T03:19:04.813" v="540848" actId="207"/>
          <ac:spMkLst>
            <pc:docMk/>
            <pc:sldMk cId="80455690" sldId="2147483093"/>
            <ac:spMk id="1364" creationId="{C34D7BE9-703A-CBB4-7FA2-E7650095BB13}"/>
          </ac:spMkLst>
        </pc:spChg>
        <pc:spChg chg="add mod ord">
          <ac:chgData name="Yudi Zhu" userId="571e1a55-055f-4c28-8b35-fca6dd1c1369" providerId="ADAL" clId="{75A88773-6EE1-484E-AADE-FE631E01463B}" dt="2025-11-24T03:19:04.828" v="540867"/>
          <ac:spMkLst>
            <pc:docMk/>
            <pc:sldMk cId="80455690" sldId="2147483093"/>
            <ac:spMk id="1365" creationId="{E1935054-A2C6-701E-505B-EAA150E55838}"/>
          </ac:spMkLst>
        </pc:spChg>
        <pc:spChg chg="add mod ord">
          <ac:chgData name="Yudi Zhu" userId="571e1a55-055f-4c28-8b35-fca6dd1c1369" providerId="ADAL" clId="{75A88773-6EE1-484E-AADE-FE631E01463B}" dt="2025-11-24T03:19:04.828" v="540867"/>
          <ac:spMkLst>
            <pc:docMk/>
            <pc:sldMk cId="80455690" sldId="2147483093"/>
            <ac:spMk id="1366" creationId="{057E8E99-12A1-DC8B-062C-EA0B42FC13B3}"/>
          </ac:spMkLst>
        </pc:spChg>
        <pc:spChg chg="add mod">
          <ac:chgData name="Yudi Zhu" userId="571e1a55-055f-4c28-8b35-fca6dd1c1369" providerId="ADAL" clId="{75A88773-6EE1-484E-AADE-FE631E01463B}" dt="2025-11-24T03:19:04.809" v="540825" actId="207"/>
          <ac:spMkLst>
            <pc:docMk/>
            <pc:sldMk cId="80455690" sldId="2147483093"/>
            <ac:spMk id="1367" creationId="{A7281012-E281-C7A1-1164-C951AAF74D17}"/>
          </ac:spMkLst>
        </pc:spChg>
        <pc:spChg chg="add del mod modVis">
          <ac:chgData name="Yudi Zhu" userId="571e1a55-055f-4c28-8b35-fca6dd1c1369" providerId="ADAL" clId="{75A88773-6EE1-484E-AADE-FE631E01463B}" dt="2025-11-24T03:19:04.828" v="540867"/>
          <ac:spMkLst>
            <pc:docMk/>
            <pc:sldMk cId="80455690" sldId="2147483093"/>
            <ac:spMk id="1368" creationId="{CB4BAF48-98AF-7FC4-B993-96508D864E47}"/>
          </ac:spMkLst>
        </pc:spChg>
        <pc:spChg chg="add del mod modVis">
          <ac:chgData name="Yudi Zhu" userId="571e1a55-055f-4c28-8b35-fca6dd1c1369" providerId="ADAL" clId="{75A88773-6EE1-484E-AADE-FE631E01463B}" dt="2025-11-24T03:19:26.731" v="542037"/>
          <ac:spMkLst>
            <pc:docMk/>
            <pc:sldMk cId="80455690" sldId="2147483093"/>
            <ac:spMk id="1370" creationId="{42E7D1D0-A69C-D6D0-34CF-66EA9EC5D6F6}"/>
          </ac:spMkLst>
        </pc:spChg>
        <pc:spChg chg="add del mod ord">
          <ac:chgData name="Yudi Zhu" userId="571e1a55-055f-4c28-8b35-fca6dd1c1369" providerId="ADAL" clId="{75A88773-6EE1-484E-AADE-FE631E01463B}" dt="2025-11-24T03:21:39.489" v="546697"/>
          <ac:spMkLst>
            <pc:docMk/>
            <pc:sldMk cId="80455690" sldId="2147483093"/>
            <ac:spMk id="1371" creationId="{F3D9274D-81B0-010F-A4A7-3C1A1317CE8B}"/>
          </ac:spMkLst>
        </pc:spChg>
        <pc:spChg chg="add del mod ord">
          <ac:chgData name="Yudi Zhu" userId="571e1a55-055f-4c28-8b35-fca6dd1c1369" providerId="ADAL" clId="{75A88773-6EE1-484E-AADE-FE631E01463B}" dt="2025-11-24T03:21:39.499" v="546712"/>
          <ac:spMkLst>
            <pc:docMk/>
            <pc:sldMk cId="80455690" sldId="2147483093"/>
            <ac:spMk id="1372" creationId="{A1666FCE-9987-A885-88F4-4DF17B427445}"/>
          </ac:spMkLst>
        </pc:spChg>
        <pc:spChg chg="add del mod">
          <ac:chgData name="Yudi Zhu" userId="571e1a55-055f-4c28-8b35-fca6dd1c1369" providerId="ADAL" clId="{75A88773-6EE1-484E-AADE-FE631E01463B}" dt="2025-11-24T03:21:39.505" v="546726"/>
          <ac:spMkLst>
            <pc:docMk/>
            <pc:sldMk cId="80455690" sldId="2147483093"/>
            <ac:spMk id="1373" creationId="{D582C319-F017-DBCA-ACD3-B70EA174CAA1}"/>
          </ac:spMkLst>
        </pc:spChg>
        <pc:spChg chg="add del mod ord">
          <ac:chgData name="Yudi Zhu" userId="571e1a55-055f-4c28-8b35-fca6dd1c1369" providerId="ADAL" clId="{75A88773-6EE1-484E-AADE-FE631E01463B}" dt="2025-11-24T03:19:50.211" v="542854"/>
          <ac:spMkLst>
            <pc:docMk/>
            <pc:sldMk cId="80455690" sldId="2147483093"/>
            <ac:spMk id="1374" creationId="{B307F85D-7110-A331-97A2-F7D21E485AFA}"/>
          </ac:spMkLst>
        </pc:spChg>
        <pc:spChg chg="add del mod ord">
          <ac:chgData name="Yudi Zhu" userId="571e1a55-055f-4c28-8b35-fca6dd1c1369" providerId="ADAL" clId="{75A88773-6EE1-484E-AADE-FE631E01463B}" dt="2025-11-24T03:19:50.211" v="542852"/>
          <ac:spMkLst>
            <pc:docMk/>
            <pc:sldMk cId="80455690" sldId="2147483093"/>
            <ac:spMk id="1375" creationId="{4735E7B5-C232-DBAE-B63F-A8ABA1B5E44E}"/>
          </ac:spMkLst>
        </pc:spChg>
        <pc:spChg chg="mod">
          <ac:chgData name="Yudi Zhu" userId="571e1a55-055f-4c28-8b35-fca6dd1c1369" providerId="ADAL" clId="{75A88773-6EE1-484E-AADE-FE631E01463B}" dt="2025-11-25T10:14:15.605" v="658301"/>
          <ac:spMkLst>
            <pc:docMk/>
            <pc:sldMk cId="80455690" sldId="2147483093"/>
            <ac:spMk id="1376" creationId="{2B4EDBBB-72E6-B151-182E-B189521C5BAC}"/>
          </ac:spMkLst>
        </pc:spChg>
        <pc:spChg chg="add del mod">
          <ac:chgData name="Yudi Zhu" userId="571e1a55-055f-4c28-8b35-fca6dd1c1369" providerId="ADAL" clId="{75A88773-6EE1-484E-AADE-FE631E01463B}" dt="2025-11-24T03:19:50.211" v="542850"/>
          <ac:spMkLst>
            <pc:docMk/>
            <pc:sldMk cId="80455690" sldId="2147483093"/>
            <ac:spMk id="1377" creationId="{027D214D-C8C6-A377-6E32-68CA012D71A0}"/>
          </ac:spMkLst>
        </pc:spChg>
        <pc:spChg chg="mod">
          <ac:chgData name="Yudi Zhu" userId="571e1a55-055f-4c28-8b35-fca6dd1c1369" providerId="ADAL" clId="{75A88773-6EE1-484E-AADE-FE631E01463B}" dt="2025-11-25T10:14:15.605" v="658302"/>
          <ac:spMkLst>
            <pc:docMk/>
            <pc:sldMk cId="80455690" sldId="2147483093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5T10:14:15.605" v="658303"/>
          <ac:spMkLst>
            <pc:docMk/>
            <pc:sldMk cId="80455690" sldId="2147483093"/>
            <ac:spMk id="1379" creationId="{9ECFB1DA-48A2-EF26-C44B-C3EC1ABE4988}"/>
          </ac:spMkLst>
        </pc:spChg>
        <pc:spChg chg="add del mod modVis">
          <ac:chgData name="Yudi Zhu" userId="571e1a55-055f-4c28-8b35-fca6dd1c1369" providerId="ADAL" clId="{75A88773-6EE1-484E-AADE-FE631E01463B}" dt="2025-11-24T03:19:35.512" v="542404"/>
          <ac:spMkLst>
            <pc:docMk/>
            <pc:sldMk cId="80455690" sldId="2147483093"/>
            <ac:spMk id="1384" creationId="{78D1B693-2E76-07CF-C7CA-4D2804D1A285}"/>
          </ac:spMkLst>
        </pc:spChg>
        <pc:spChg chg="add del mod modVis">
          <ac:chgData name="Yudi Zhu" userId="571e1a55-055f-4c28-8b35-fca6dd1c1369" providerId="ADAL" clId="{75A88773-6EE1-484E-AADE-FE631E01463B}" dt="2025-11-24T03:19:38.112" v="542797"/>
          <ac:spMkLst>
            <pc:docMk/>
            <pc:sldMk cId="80455690" sldId="2147483093"/>
            <ac:spMk id="1386" creationId="{CFF22D5C-71FC-2EF4-03F1-621099441F00}"/>
          </ac:spMkLst>
        </pc:spChg>
        <pc:spChg chg="add del mod ord">
          <ac:chgData name="Yudi Zhu" userId="571e1a55-055f-4c28-8b35-fca6dd1c1369" providerId="ADAL" clId="{75A88773-6EE1-484E-AADE-FE631E01463B}" dt="2025-11-24T03:19:52.529" v="543235"/>
          <ac:spMkLst>
            <pc:docMk/>
            <pc:sldMk cId="80455690" sldId="2147483093"/>
            <ac:spMk id="1388" creationId="{0100A5C3-E3EF-6D06-39D1-D0E7D39A3252}"/>
          </ac:spMkLst>
        </pc:spChg>
        <pc:spChg chg="add del mod modVis">
          <ac:chgData name="Yudi Zhu" userId="571e1a55-055f-4c28-8b35-fca6dd1c1369" providerId="ADAL" clId="{75A88773-6EE1-484E-AADE-FE631E01463B}" dt="2025-11-24T03:19:50.555" v="543220"/>
          <ac:spMkLst>
            <pc:docMk/>
            <pc:sldMk cId="80455690" sldId="2147483093"/>
            <ac:spMk id="1389" creationId="{029D4FAE-EFF2-908E-7797-AFE9102557BF}"/>
          </ac:spMkLst>
        </pc:spChg>
        <pc:spChg chg="add del mod ord">
          <ac:chgData name="Yudi Zhu" userId="571e1a55-055f-4c28-8b35-fca6dd1c1369" providerId="ADAL" clId="{75A88773-6EE1-484E-AADE-FE631E01463B}" dt="2025-11-24T03:21:39.505" v="546738"/>
          <ac:spMkLst>
            <pc:docMk/>
            <pc:sldMk cId="80455690" sldId="2147483093"/>
            <ac:spMk id="1392" creationId="{08552522-3C44-2148-BA1E-F507E362235A}"/>
          </ac:spMkLst>
        </pc:spChg>
        <pc:spChg chg="add del mod ord">
          <ac:chgData name="Yudi Zhu" userId="571e1a55-055f-4c28-8b35-fca6dd1c1369" providerId="ADAL" clId="{75A88773-6EE1-484E-AADE-FE631E01463B}" dt="2025-11-24T03:21:39.521" v="546753"/>
          <ac:spMkLst>
            <pc:docMk/>
            <pc:sldMk cId="80455690" sldId="2147483093"/>
            <ac:spMk id="1393" creationId="{4A2B8A3E-BE4F-EC90-C3DB-B1DF9A4A2DA4}"/>
          </ac:spMkLst>
        </pc:spChg>
        <pc:spChg chg="add del mod">
          <ac:chgData name="Yudi Zhu" userId="571e1a55-055f-4c28-8b35-fca6dd1c1369" providerId="ADAL" clId="{75A88773-6EE1-484E-AADE-FE631E01463B}" dt="2025-11-24T03:21:39.537" v="546767"/>
          <ac:spMkLst>
            <pc:docMk/>
            <pc:sldMk cId="80455690" sldId="2147483093"/>
            <ac:spMk id="1394" creationId="{AAFD4ABB-5F4C-B24F-8DE3-799846E40EC6}"/>
          </ac:spMkLst>
        </pc:spChg>
        <pc:spChg chg="add del mod modVis">
          <ac:chgData name="Yudi Zhu" userId="571e1a55-055f-4c28-8b35-fca6dd1c1369" providerId="ADAL" clId="{75A88773-6EE1-484E-AADE-FE631E01463B}" dt="2025-11-24T03:19:52.912" v="543702"/>
          <ac:spMkLst>
            <pc:docMk/>
            <pc:sldMk cId="80455690" sldId="2147483093"/>
            <ac:spMk id="1395" creationId="{911EB978-9497-A8F4-CDA8-3B9A3611CAD6}"/>
          </ac:spMkLst>
        </pc:spChg>
        <pc:spChg chg="add del mod">
          <ac:chgData name="Yudi Zhu" userId="571e1a55-055f-4c28-8b35-fca6dd1c1369" providerId="ADAL" clId="{75A88773-6EE1-484E-AADE-FE631E01463B}" dt="2025-11-24T03:21:42.049" v="547576"/>
          <ac:spMkLst>
            <pc:docMk/>
            <pc:sldMk cId="80455690" sldId="2147483093"/>
            <ac:spMk id="1396" creationId="{0FDBDCF2-CFD3-5609-D985-664EEB2F6805}"/>
          </ac:spMkLst>
        </pc:spChg>
        <pc:spChg chg="add del mod ord">
          <ac:chgData name="Yudi Zhu" userId="571e1a55-055f-4c28-8b35-fca6dd1c1369" providerId="ADAL" clId="{75A88773-6EE1-484E-AADE-FE631E01463B}" dt="2025-11-24T03:22:38.263" v="550234"/>
          <ac:spMkLst>
            <pc:docMk/>
            <pc:sldMk cId="80455690" sldId="2147483093"/>
            <ac:spMk id="1398" creationId="{35A40AAB-4E4D-4B80-1523-3F5F7625A1C0}"/>
          </ac:spMkLst>
        </pc:spChg>
        <pc:spChg chg="add del mod ord">
          <ac:chgData name="Yudi Zhu" userId="571e1a55-055f-4c28-8b35-fca6dd1c1369" providerId="ADAL" clId="{75A88773-6EE1-484E-AADE-FE631E01463B}" dt="2025-11-24T03:22:38.263" v="550232"/>
          <ac:spMkLst>
            <pc:docMk/>
            <pc:sldMk cId="80455690" sldId="2147483093"/>
            <ac:spMk id="1399" creationId="{87654CA2-FAF4-F044-45BC-A96EA8C6E6ED}"/>
          </ac:spMkLst>
        </pc:spChg>
        <pc:spChg chg="add del mod">
          <ac:chgData name="Yudi Zhu" userId="571e1a55-055f-4c28-8b35-fca6dd1c1369" providerId="ADAL" clId="{75A88773-6EE1-484E-AADE-FE631E01463B}" dt="2025-11-24T03:22:38.263" v="550230"/>
          <ac:spMkLst>
            <pc:docMk/>
            <pc:sldMk cId="80455690" sldId="2147483093"/>
            <ac:spMk id="1400" creationId="{8F2B75B0-F344-AA2C-7BC0-5F9B7E2DE66C}"/>
          </ac:spMkLst>
        </pc:spChg>
        <pc:spChg chg="add del mod modVis">
          <ac:chgData name="Yudi Zhu" userId="571e1a55-055f-4c28-8b35-fca6dd1c1369" providerId="ADAL" clId="{75A88773-6EE1-484E-AADE-FE631E01463B}" dt="2025-11-24T03:20:24.770" v="544177"/>
          <ac:spMkLst>
            <pc:docMk/>
            <pc:sldMk cId="80455690" sldId="2147483093"/>
            <ac:spMk id="1401" creationId="{374EAD19-89FE-B1C7-FDD0-AB71408A1C58}"/>
          </ac:spMkLst>
        </pc:spChg>
        <pc:spChg chg="add del mod modVis">
          <ac:chgData name="Yudi Zhu" userId="571e1a55-055f-4c28-8b35-fca6dd1c1369" providerId="ADAL" clId="{75A88773-6EE1-484E-AADE-FE631E01463B}" dt="2025-11-24T03:20:51.923" v="544563"/>
          <ac:spMkLst>
            <pc:docMk/>
            <pc:sldMk cId="80455690" sldId="2147483093"/>
            <ac:spMk id="1403" creationId="{AB9469C4-CFA8-9869-E2B9-1B484795AF9F}"/>
          </ac:spMkLst>
        </pc:spChg>
        <pc:spChg chg="add del mod modVis">
          <ac:chgData name="Yudi Zhu" userId="571e1a55-055f-4c28-8b35-fca6dd1c1369" providerId="ADAL" clId="{75A88773-6EE1-484E-AADE-FE631E01463B}" dt="2025-11-24T03:20:56.597" v="544940"/>
          <ac:spMkLst>
            <pc:docMk/>
            <pc:sldMk cId="80455690" sldId="2147483093"/>
            <ac:spMk id="1405" creationId="{26826A21-1AB1-ED1B-ED1A-D19ED436A76A}"/>
          </ac:spMkLst>
        </pc:spChg>
        <pc:spChg chg="add del mod ord">
          <ac:chgData name="Yudi Zhu" userId="571e1a55-055f-4c28-8b35-fca6dd1c1369" providerId="ADAL" clId="{75A88773-6EE1-484E-AADE-FE631E01463B}" dt="2025-11-24T03:21:14.886" v="545402"/>
          <ac:spMkLst>
            <pc:docMk/>
            <pc:sldMk cId="80455690" sldId="2147483093"/>
            <ac:spMk id="1407" creationId="{75B40AB4-9153-C0DD-5507-2FCC722B09C4}"/>
          </ac:spMkLst>
        </pc:spChg>
        <pc:spChg chg="add del mod ord">
          <ac:chgData name="Yudi Zhu" userId="571e1a55-055f-4c28-8b35-fca6dd1c1369" providerId="ADAL" clId="{75A88773-6EE1-484E-AADE-FE631E01463B}" dt="2025-11-24T03:21:14.886" v="545400"/>
          <ac:spMkLst>
            <pc:docMk/>
            <pc:sldMk cId="80455690" sldId="2147483093"/>
            <ac:spMk id="1408" creationId="{245BA8FB-A7C0-3B36-426E-7FFCE31A6E3E}"/>
          </ac:spMkLst>
        </pc:spChg>
        <pc:spChg chg="add del mod">
          <ac:chgData name="Yudi Zhu" userId="571e1a55-055f-4c28-8b35-fca6dd1c1369" providerId="ADAL" clId="{75A88773-6EE1-484E-AADE-FE631E01463B}" dt="2025-11-24T03:21:14.886" v="545398"/>
          <ac:spMkLst>
            <pc:docMk/>
            <pc:sldMk cId="80455690" sldId="2147483093"/>
            <ac:spMk id="1409" creationId="{9EC2B026-911C-15C4-8CE8-C05DA8AAAD55}"/>
          </ac:spMkLst>
        </pc:spChg>
        <pc:spChg chg="add del mod modVis">
          <ac:chgData name="Yudi Zhu" userId="571e1a55-055f-4c28-8b35-fca6dd1c1369" providerId="ADAL" clId="{75A88773-6EE1-484E-AADE-FE631E01463B}" dt="2025-11-24T03:21:00.203" v="545353"/>
          <ac:spMkLst>
            <pc:docMk/>
            <pc:sldMk cId="80455690" sldId="2147483093"/>
            <ac:spMk id="1410" creationId="{121F10E5-E52B-F7E4-2DDE-74BCF4962BA4}"/>
          </ac:spMkLst>
        </pc:spChg>
        <pc:spChg chg="add del mod">
          <ac:chgData name="Yudi Zhu" userId="571e1a55-055f-4c28-8b35-fca6dd1c1369" providerId="ADAL" clId="{75A88773-6EE1-484E-AADE-FE631E01463B}" dt="2025-11-24T03:21:27.441" v="546285"/>
          <ac:spMkLst>
            <pc:docMk/>
            <pc:sldMk cId="80455690" sldId="2147483093"/>
            <ac:spMk id="1413" creationId="{169C4E3B-994B-B3E2-FEA3-F7ED4C1BB0FD}"/>
          </ac:spMkLst>
        </pc:spChg>
        <pc:spChg chg="add del mod modVis">
          <ac:chgData name="Yudi Zhu" userId="571e1a55-055f-4c28-8b35-fca6dd1c1369" providerId="ADAL" clId="{75A88773-6EE1-484E-AADE-FE631E01463B}" dt="2025-11-24T03:21:15.221" v="545825"/>
          <ac:spMkLst>
            <pc:docMk/>
            <pc:sldMk cId="80455690" sldId="2147483093"/>
            <ac:spMk id="1414" creationId="{F7C550CB-2CD1-0127-9A29-10F76AD3D437}"/>
          </ac:spMkLst>
        </pc:spChg>
        <pc:spChg chg="add del mod">
          <ac:chgData name="Yudi Zhu" userId="571e1a55-055f-4c28-8b35-fca6dd1c1369" providerId="ADAL" clId="{75A88773-6EE1-484E-AADE-FE631E01463B}" dt="2025-11-24T03:21:27.441" v="546286"/>
          <ac:spMkLst>
            <pc:docMk/>
            <pc:sldMk cId="80455690" sldId="2147483093"/>
            <ac:spMk id="1420" creationId="{4D6811DD-0549-1A2C-1D1E-8248E5CF3047}"/>
          </ac:spMkLst>
        </pc:spChg>
        <pc:spChg chg="add del mod ord">
          <ac:chgData name="Yudi Zhu" userId="571e1a55-055f-4c28-8b35-fca6dd1c1369" providerId="ADAL" clId="{75A88773-6EE1-484E-AADE-FE631E01463B}" dt="2025-11-24T03:22:38.263" v="550229"/>
          <ac:spMkLst>
            <pc:docMk/>
            <pc:sldMk cId="80455690" sldId="2147483093"/>
            <ac:spMk id="1421" creationId="{410D7C69-E67B-3C9B-F147-3C58DD0889AA}"/>
          </ac:spMkLst>
        </pc:spChg>
        <pc:spChg chg="add del mod ord">
          <ac:chgData name="Yudi Zhu" userId="571e1a55-055f-4c28-8b35-fca6dd1c1369" providerId="ADAL" clId="{75A88773-6EE1-484E-AADE-FE631E01463B}" dt="2025-11-24T03:22:38.261" v="550227"/>
          <ac:spMkLst>
            <pc:docMk/>
            <pc:sldMk cId="80455690" sldId="2147483093"/>
            <ac:spMk id="1422" creationId="{3AF6D026-3785-535F-8F9A-34833F0CC647}"/>
          </ac:spMkLst>
        </pc:spChg>
        <pc:spChg chg="add del mod">
          <ac:chgData name="Yudi Zhu" userId="571e1a55-055f-4c28-8b35-fca6dd1c1369" providerId="ADAL" clId="{75A88773-6EE1-484E-AADE-FE631E01463B}" dt="2025-11-24T03:22:38.261" v="550225"/>
          <ac:spMkLst>
            <pc:docMk/>
            <pc:sldMk cId="80455690" sldId="2147483093"/>
            <ac:spMk id="1423" creationId="{E828E38B-5C5B-9C63-53D9-9F08E4D38F15}"/>
          </ac:spMkLst>
        </pc:spChg>
        <pc:spChg chg="add del mod modVis">
          <ac:chgData name="Yudi Zhu" userId="571e1a55-055f-4c28-8b35-fca6dd1c1369" providerId="ADAL" clId="{75A88773-6EE1-484E-AADE-FE631E01463B}" dt="2025-11-24T03:21:20.368" v="546262"/>
          <ac:spMkLst>
            <pc:docMk/>
            <pc:sldMk cId="80455690" sldId="2147483093"/>
            <ac:spMk id="1424" creationId="{7E41BB49-9EE4-CEB7-D34E-93A68894D58C}"/>
          </ac:spMkLst>
        </pc:spChg>
        <pc:spChg chg="add del mod ord">
          <ac:chgData name="Yudi Zhu" userId="571e1a55-055f-4c28-8b35-fca6dd1c1369" providerId="ADAL" clId="{75A88773-6EE1-484E-AADE-FE631E01463B}" dt="2025-11-24T03:21:27.524" v="546359"/>
          <ac:spMkLst>
            <pc:docMk/>
            <pc:sldMk cId="80455690" sldId="2147483093"/>
            <ac:spMk id="1425" creationId="{A956FA38-127E-B3A2-C9EA-6AD90F73A8CF}"/>
          </ac:spMkLst>
        </pc:spChg>
        <pc:spChg chg="add del mod">
          <ac:chgData name="Yudi Zhu" userId="571e1a55-055f-4c28-8b35-fca6dd1c1369" providerId="ADAL" clId="{75A88773-6EE1-484E-AADE-FE631E01463B}" dt="2025-11-24T03:22:38.254" v="550223"/>
          <ac:spMkLst>
            <pc:docMk/>
            <pc:sldMk cId="80455690" sldId="2147483093"/>
            <ac:spMk id="1428" creationId="{BE7BC0C4-1031-A5F8-9ABB-500A539F8342}"/>
          </ac:spMkLst>
        </pc:spChg>
        <pc:spChg chg="add del mod ord">
          <ac:chgData name="Yudi Zhu" userId="571e1a55-055f-4c28-8b35-fca6dd1c1369" providerId="ADAL" clId="{75A88773-6EE1-484E-AADE-FE631E01463B}" dt="2025-11-24T03:22:38.254" v="550216"/>
          <ac:spMkLst>
            <pc:docMk/>
            <pc:sldMk cId="80455690" sldId="2147483093"/>
            <ac:spMk id="1429" creationId="{446AB7E9-FD3A-8BD8-6709-F29D94B25B20}"/>
          </ac:spMkLst>
        </pc:spChg>
        <pc:spChg chg="add del mod modVis">
          <ac:chgData name="Yudi Zhu" userId="571e1a55-055f-4c28-8b35-fca6dd1c1369" providerId="ADAL" clId="{75A88773-6EE1-484E-AADE-FE631E01463B}" dt="2025-11-24T03:21:27.685" v="546678"/>
          <ac:spMkLst>
            <pc:docMk/>
            <pc:sldMk cId="80455690" sldId="2147483093"/>
            <ac:spMk id="1430" creationId="{643CD9F3-1A7E-075A-4D2D-342460E0BB93}"/>
          </ac:spMkLst>
        </pc:spChg>
        <pc:spChg chg="add del mod">
          <ac:chgData name="Yudi Zhu" userId="571e1a55-055f-4c28-8b35-fca6dd1c1369" providerId="ADAL" clId="{75A88773-6EE1-484E-AADE-FE631E01463B}" dt="2025-11-24T03:21:43.526" v="547901"/>
          <ac:spMkLst>
            <pc:docMk/>
            <pc:sldMk cId="80455690" sldId="2147483093"/>
            <ac:spMk id="1432" creationId="{DF8A565E-7929-5892-72DD-0FA8E5D51A3B}"/>
          </ac:spMkLst>
        </pc:spChg>
        <pc:spChg chg="add del mod ord">
          <ac:chgData name="Yudi Zhu" userId="571e1a55-055f-4c28-8b35-fca6dd1c1369" providerId="ADAL" clId="{75A88773-6EE1-484E-AADE-FE631E01463B}" dt="2025-11-24T03:21:43.573" v="547917"/>
          <ac:spMkLst>
            <pc:docMk/>
            <pc:sldMk cId="80455690" sldId="2147483093"/>
            <ac:spMk id="1433" creationId="{FD43612B-EB0E-9E89-F61C-EAC118244159}"/>
          </ac:spMkLst>
        </pc:spChg>
        <pc:spChg chg="add del mod ord">
          <ac:chgData name="Yudi Zhu" userId="571e1a55-055f-4c28-8b35-fca6dd1c1369" providerId="ADAL" clId="{75A88773-6EE1-484E-AADE-FE631E01463B}" dt="2025-11-24T03:21:43.589" v="547932"/>
          <ac:spMkLst>
            <pc:docMk/>
            <pc:sldMk cId="80455690" sldId="2147483093"/>
            <ac:spMk id="1434" creationId="{971222BF-A4B6-C134-84B9-24E051665A88}"/>
          </ac:spMkLst>
        </pc:spChg>
        <pc:spChg chg="add del mod">
          <ac:chgData name="Yudi Zhu" userId="571e1a55-055f-4c28-8b35-fca6dd1c1369" providerId="ADAL" clId="{75A88773-6EE1-484E-AADE-FE631E01463B}" dt="2025-11-24T03:21:43.589" v="547946"/>
          <ac:spMkLst>
            <pc:docMk/>
            <pc:sldMk cId="80455690" sldId="2147483093"/>
            <ac:spMk id="1435" creationId="{C5A80816-70ED-974F-E0CB-AC9CF2DCD236}"/>
          </ac:spMkLst>
        </pc:spChg>
        <pc:spChg chg="add del mod ord">
          <ac:chgData name="Yudi Zhu" userId="571e1a55-055f-4c28-8b35-fca6dd1c1369" providerId="ADAL" clId="{75A88773-6EE1-484E-AADE-FE631E01463B}" dt="2025-11-24T03:21:42.066" v="547581"/>
          <ac:spMkLst>
            <pc:docMk/>
            <pc:sldMk cId="80455690" sldId="2147483093"/>
            <ac:spMk id="1436" creationId="{EC70A15A-3C62-793B-1DB7-AA0347AB998A}"/>
          </ac:spMkLst>
        </pc:spChg>
        <pc:spChg chg="add del mod ord">
          <ac:chgData name="Yudi Zhu" userId="571e1a55-055f-4c28-8b35-fca6dd1c1369" providerId="ADAL" clId="{75A88773-6EE1-484E-AADE-FE631E01463B}" dt="2025-11-24T03:21:42.066" v="547579"/>
          <ac:spMkLst>
            <pc:docMk/>
            <pc:sldMk cId="80455690" sldId="2147483093"/>
            <ac:spMk id="1437" creationId="{AB91AB11-95B8-0B84-38AC-74571A6FCE39}"/>
          </ac:spMkLst>
        </pc:spChg>
        <pc:spChg chg="add del mod">
          <ac:chgData name="Yudi Zhu" userId="571e1a55-055f-4c28-8b35-fca6dd1c1369" providerId="ADAL" clId="{75A88773-6EE1-484E-AADE-FE631E01463B}" dt="2025-11-24T03:21:42.066" v="547577"/>
          <ac:spMkLst>
            <pc:docMk/>
            <pc:sldMk cId="80455690" sldId="2147483093"/>
            <ac:spMk id="1438" creationId="{2FCB990E-A309-2FD6-839C-2CA33460D1C4}"/>
          </ac:spMkLst>
        </pc:spChg>
        <pc:spChg chg="add del mod modVis">
          <ac:chgData name="Yudi Zhu" userId="571e1a55-055f-4c28-8b35-fca6dd1c1369" providerId="ADAL" clId="{75A88773-6EE1-484E-AADE-FE631E01463B}" dt="2025-11-24T03:21:39.823" v="547209"/>
          <ac:spMkLst>
            <pc:docMk/>
            <pc:sldMk cId="80455690" sldId="2147483093"/>
            <ac:spMk id="1439" creationId="{C7694EB0-01C2-3F4A-DA35-0E554F4B0249}"/>
          </ac:spMkLst>
        </pc:spChg>
        <pc:spChg chg="add del mod ord">
          <ac:chgData name="Yudi Zhu" userId="571e1a55-055f-4c28-8b35-fca6dd1c1369" providerId="ADAL" clId="{75A88773-6EE1-484E-AADE-FE631E01463B}" dt="2025-11-24T03:21:43.523" v="547894"/>
          <ac:spMkLst>
            <pc:docMk/>
            <pc:sldMk cId="80455690" sldId="2147483093"/>
            <ac:spMk id="1440" creationId="{720EA2A4-A011-E7BB-1A2F-91283E6EBAC4}"/>
          </ac:spMkLst>
        </pc:spChg>
        <pc:spChg chg="add del mod ord">
          <ac:chgData name="Yudi Zhu" userId="571e1a55-055f-4c28-8b35-fca6dd1c1369" providerId="ADAL" clId="{75A88773-6EE1-484E-AADE-FE631E01463B}" dt="2025-11-24T03:21:43.525" v="547898"/>
          <ac:spMkLst>
            <pc:docMk/>
            <pc:sldMk cId="80455690" sldId="2147483093"/>
            <ac:spMk id="1441" creationId="{CD215439-C5CC-9C69-D076-DB652147BF99}"/>
          </ac:spMkLst>
        </pc:spChg>
        <pc:spChg chg="mod ord">
          <ac:chgData name="Yudi Zhu" userId="571e1a55-055f-4c28-8b35-fca6dd1c1369" providerId="ADAL" clId="{75A88773-6EE1-484E-AADE-FE631E01463B}" dt="2025-11-25T10:14:15.589" v="658265"/>
          <ac:spMkLst>
            <pc:docMk/>
            <pc:sldMk cId="80455690" sldId="2147483093"/>
            <ac:spMk id="1442" creationId="{00445C12-10C4-A371-D4EA-BD360FAE32DA}"/>
          </ac:spMkLst>
        </pc:spChg>
        <pc:spChg chg="del mod ord">
          <ac:chgData name="Yudi Zhu" userId="571e1a55-055f-4c28-8b35-fca6dd1c1369" providerId="ADAL" clId="{75A88773-6EE1-484E-AADE-FE631E01463B}" dt="2025-11-21T09:57:09.778" v="428608"/>
          <ac:spMkLst>
            <pc:docMk/>
            <pc:sldMk cId="80455690" sldId="2147483093"/>
            <ac:spMk id="1444" creationId="{E51A9A38-9D24-173A-E197-E054AC1DE8BD}"/>
          </ac:spMkLst>
        </pc:spChg>
        <pc:spChg chg="del mod ord">
          <ac:chgData name="Yudi Zhu" userId="571e1a55-055f-4c28-8b35-fca6dd1c1369" providerId="ADAL" clId="{75A88773-6EE1-484E-AADE-FE631E01463B}" dt="2025-11-21T09:57:09.789" v="428612"/>
          <ac:spMkLst>
            <pc:docMk/>
            <pc:sldMk cId="80455690" sldId="2147483093"/>
            <ac:spMk id="1445" creationId="{21FACF64-F525-BF83-8FEC-9303D9B5C1C8}"/>
          </ac:spMkLst>
        </pc:spChg>
        <pc:spChg chg="del mod ord">
          <ac:chgData name="Yudi Zhu" userId="571e1a55-055f-4c28-8b35-fca6dd1c1369" providerId="ADAL" clId="{75A88773-6EE1-484E-AADE-FE631E01463B}" dt="2025-11-21T09:57:09.789" v="428616"/>
          <ac:spMkLst>
            <pc:docMk/>
            <pc:sldMk cId="80455690" sldId="2147483093"/>
            <ac:spMk id="1446" creationId="{26759265-0ED0-1340-C201-021A91CDFA5D}"/>
          </ac:spMkLst>
        </pc:spChg>
        <pc:spChg chg="add mod">
          <ac:chgData name="Yudi Zhu" userId="571e1a55-055f-4c28-8b35-fca6dd1c1369" providerId="ADAL" clId="{75A88773-6EE1-484E-AADE-FE631E01463B}" dt="2025-11-25T10:14:15.605" v="658335"/>
          <ac:spMkLst>
            <pc:docMk/>
            <pc:sldMk cId="80455690" sldId="2147483093"/>
            <ac:spMk id="1446" creationId="{64AF7A77-327B-D09F-2ABB-1BA14094EC19}"/>
          </ac:spMkLst>
        </pc:spChg>
        <pc:spChg chg="del mod ord">
          <ac:chgData name="Yudi Zhu" userId="571e1a55-055f-4c28-8b35-fca6dd1c1369" providerId="ADAL" clId="{75A88773-6EE1-484E-AADE-FE631E01463B}" dt="2025-11-21T09:57:09.928" v="428662"/>
          <ac:spMkLst>
            <pc:docMk/>
            <pc:sldMk cId="80455690" sldId="2147483093"/>
            <ac:spMk id="1447" creationId="{48D0F9A5-DD32-F4C0-182F-532AF180C2D8}"/>
          </ac:spMkLst>
        </pc:spChg>
        <pc:spChg chg="add del mod modVis">
          <ac:chgData name="Yudi Zhu" userId="571e1a55-055f-4c28-8b35-fca6dd1c1369" providerId="ADAL" clId="{75A88773-6EE1-484E-AADE-FE631E01463B}" dt="2025-11-24T03:21:41.431" v="547562"/>
          <ac:spMkLst>
            <pc:docMk/>
            <pc:sldMk cId="80455690" sldId="2147483093"/>
            <ac:spMk id="1447" creationId="{7C4D5ABE-514B-B0D6-5DA0-F8F3B82DE032}"/>
          </ac:spMkLst>
        </pc:spChg>
        <pc:spChg chg="del mod ord">
          <ac:chgData name="Yudi Zhu" userId="571e1a55-055f-4c28-8b35-fca6dd1c1369" providerId="ADAL" clId="{75A88773-6EE1-484E-AADE-FE631E01463B}" dt="2025-11-21T09:57:09.978" v="428680"/>
          <ac:spMkLst>
            <pc:docMk/>
            <pc:sldMk cId="80455690" sldId="2147483093"/>
            <ac:spMk id="1448" creationId="{4B5199C3-733A-0C7B-68DE-9506962E69B0}"/>
          </ac:spMkLst>
        </pc:spChg>
        <pc:spChg chg="mod ord">
          <ac:chgData name="Yudi Zhu" userId="571e1a55-055f-4c28-8b35-fca6dd1c1369" providerId="ADAL" clId="{75A88773-6EE1-484E-AADE-FE631E01463B}" dt="2025-11-25T10:14:15.597" v="658279"/>
          <ac:spMkLst>
            <pc:docMk/>
            <pc:sldMk cId="80455690" sldId="2147483093"/>
            <ac:spMk id="1449" creationId="{300E10D2-719E-3D82-5CBF-5A612C09A088}"/>
          </ac:spMkLst>
        </pc:spChg>
        <pc:spChg chg="add del mod ord">
          <ac:chgData name="Yudi Zhu" userId="571e1a55-055f-4c28-8b35-fca6dd1c1369" providerId="ADAL" clId="{75A88773-6EE1-484E-AADE-FE631E01463B}" dt="2025-11-24T03:21:52.805" v="549301"/>
          <ac:spMkLst>
            <pc:docMk/>
            <pc:sldMk cId="80455690" sldId="2147483093"/>
            <ac:spMk id="1450" creationId="{6F83B73F-2049-520B-6E06-47D324AC3FAD}"/>
          </ac:spMkLst>
        </pc:spChg>
        <pc:spChg chg="del mod ord">
          <ac:chgData name="Yudi Zhu" userId="571e1a55-055f-4c28-8b35-fca6dd1c1369" providerId="ADAL" clId="{75A88773-6EE1-484E-AADE-FE631E01463B}" dt="2025-11-21T09:57:10.535" v="428846"/>
          <ac:spMkLst>
            <pc:docMk/>
            <pc:sldMk cId="80455690" sldId="2147483093"/>
            <ac:spMk id="1450" creationId="{B0EBF798-81F1-1362-0977-73152228C84F}"/>
          </ac:spMkLst>
        </pc:spChg>
        <pc:spChg chg="del mod ord">
          <ac:chgData name="Yudi Zhu" userId="571e1a55-055f-4c28-8b35-fca6dd1c1369" providerId="ADAL" clId="{75A88773-6EE1-484E-AADE-FE631E01463B}" dt="2025-11-21T09:57:10.548" v="428852"/>
          <ac:spMkLst>
            <pc:docMk/>
            <pc:sldMk cId="80455690" sldId="2147483093"/>
            <ac:spMk id="1451" creationId="{3BED6355-5683-B228-BCF9-0FFDD02D5F63}"/>
          </ac:spMkLst>
        </pc:spChg>
        <pc:spChg chg="add mod">
          <ac:chgData name="Yudi Zhu" userId="571e1a55-055f-4c28-8b35-fca6dd1c1369" providerId="ADAL" clId="{75A88773-6EE1-484E-AADE-FE631E01463B}" dt="2025-11-25T10:14:15.621" v="658342"/>
          <ac:spMkLst>
            <pc:docMk/>
            <pc:sldMk cId="80455690" sldId="2147483093"/>
            <ac:spMk id="1452" creationId="{62BA64F5-B2CE-CEB8-BB9B-25B44F9A2E19}"/>
          </ac:spMkLst>
        </pc:spChg>
        <pc:spChg chg="add del mod ord">
          <ac:chgData name="Yudi Zhu" userId="571e1a55-055f-4c28-8b35-fca6dd1c1369" providerId="ADAL" clId="{75A88773-6EE1-484E-AADE-FE631E01463B}" dt="2025-11-24T03:21:45.836" v="548342"/>
          <ac:spMkLst>
            <pc:docMk/>
            <pc:sldMk cId="80455690" sldId="2147483093"/>
            <ac:spMk id="1453" creationId="{5CFAD7DC-10EF-1E0D-C118-1EB974FB7BE2}"/>
          </ac:spMkLst>
        </pc:spChg>
        <pc:spChg chg="add del mod ord">
          <ac:chgData name="Yudi Zhu" userId="571e1a55-055f-4c28-8b35-fca6dd1c1369" providerId="ADAL" clId="{75A88773-6EE1-484E-AADE-FE631E01463B}" dt="2025-11-24T03:21:45.836" v="548357"/>
          <ac:spMkLst>
            <pc:docMk/>
            <pc:sldMk cId="80455690" sldId="2147483093"/>
            <ac:spMk id="1454" creationId="{FEEEA85E-3438-E471-B4E5-75769E3F010F}"/>
          </ac:spMkLst>
        </pc:spChg>
        <pc:spChg chg="add del mod">
          <ac:chgData name="Yudi Zhu" userId="571e1a55-055f-4c28-8b35-fca6dd1c1369" providerId="ADAL" clId="{75A88773-6EE1-484E-AADE-FE631E01463B}" dt="2025-11-24T03:21:45.852" v="548371"/>
          <ac:spMkLst>
            <pc:docMk/>
            <pc:sldMk cId="80455690" sldId="2147483093"/>
            <ac:spMk id="1455" creationId="{B5C44536-9FEE-D4DF-C3A8-F6FFECB03FB2}"/>
          </ac:spMkLst>
        </pc:spChg>
        <pc:spChg chg="add del mod modVis">
          <ac:chgData name="Yudi Zhu" userId="571e1a55-055f-4c28-8b35-fca6dd1c1369" providerId="ADAL" clId="{75A88773-6EE1-484E-AADE-FE631E01463B}" dt="2025-11-24T03:21:43.888" v="548326"/>
          <ac:spMkLst>
            <pc:docMk/>
            <pc:sldMk cId="80455690" sldId="2147483093"/>
            <ac:spMk id="1456" creationId="{C6FCDEAD-7220-EAE8-DBC1-FC14A8327B02}"/>
          </ac:spMkLst>
        </pc:spChg>
        <pc:spChg chg="add del mod ord">
          <ac:chgData name="Yudi Zhu" userId="571e1a55-055f-4c28-8b35-fca6dd1c1369" providerId="ADAL" clId="{75A88773-6EE1-484E-AADE-FE631E01463B}" dt="2025-11-24T03:21:48.804" v="548737"/>
          <ac:spMkLst>
            <pc:docMk/>
            <pc:sldMk cId="80455690" sldId="2147483093"/>
            <ac:spMk id="1458" creationId="{5F675FC5-9163-26B2-CBB3-555978D05256}"/>
          </ac:spMkLst>
        </pc:spChg>
        <pc:spChg chg="add del mod ord">
          <ac:chgData name="Yudi Zhu" userId="571e1a55-055f-4c28-8b35-fca6dd1c1369" providerId="ADAL" clId="{75A88773-6EE1-484E-AADE-FE631E01463B}" dt="2025-11-24T03:21:48.835" v="548752"/>
          <ac:spMkLst>
            <pc:docMk/>
            <pc:sldMk cId="80455690" sldId="2147483093"/>
            <ac:spMk id="1460" creationId="{DA6B9BFB-FC9E-6E31-75DE-89BB2F9E3A77}"/>
          </ac:spMkLst>
        </pc:spChg>
        <pc:spChg chg="add del mod">
          <ac:chgData name="Yudi Zhu" userId="571e1a55-055f-4c28-8b35-fca6dd1c1369" providerId="ADAL" clId="{75A88773-6EE1-484E-AADE-FE631E01463B}" dt="2025-11-24T03:21:48.851" v="548766"/>
          <ac:spMkLst>
            <pc:docMk/>
            <pc:sldMk cId="80455690" sldId="2147483093"/>
            <ac:spMk id="1461" creationId="{0D680CF0-5459-16FA-B173-300A9958A860}"/>
          </ac:spMkLst>
        </pc:spChg>
        <pc:spChg chg="add del mod ord">
          <ac:chgData name="Yudi Zhu" userId="571e1a55-055f-4c28-8b35-fca6dd1c1369" providerId="ADAL" clId="{75A88773-6EE1-484E-AADE-FE631E01463B}" dt="2025-11-24T03:21:48.851" v="548781"/>
          <ac:spMkLst>
            <pc:docMk/>
            <pc:sldMk cId="80455690" sldId="2147483093"/>
            <ac:spMk id="1463" creationId="{F3FEF51F-7062-FA63-0000-182C5B131787}"/>
          </ac:spMkLst>
        </pc:spChg>
        <pc:spChg chg="add del mod ord">
          <ac:chgData name="Yudi Zhu" userId="571e1a55-055f-4c28-8b35-fca6dd1c1369" providerId="ADAL" clId="{75A88773-6EE1-484E-AADE-FE631E01463B}" dt="2025-11-24T03:21:48.851" v="548779"/>
          <ac:spMkLst>
            <pc:docMk/>
            <pc:sldMk cId="80455690" sldId="2147483093"/>
            <ac:spMk id="1464" creationId="{A86318D5-0205-93F7-DB1B-8168DEBFB6DF}"/>
          </ac:spMkLst>
        </pc:spChg>
        <pc:spChg chg="add del mod">
          <ac:chgData name="Yudi Zhu" userId="571e1a55-055f-4c28-8b35-fca6dd1c1369" providerId="ADAL" clId="{75A88773-6EE1-484E-AADE-FE631E01463B}" dt="2025-11-24T03:21:48.851" v="548777"/>
          <ac:spMkLst>
            <pc:docMk/>
            <pc:sldMk cId="80455690" sldId="2147483093"/>
            <ac:spMk id="1465" creationId="{D967CC64-46E1-E079-AB70-1F5C2C92ED69}"/>
          </ac:spMkLst>
        </pc:spChg>
        <pc:spChg chg="add del mod ord">
          <ac:chgData name="Yudi Zhu" userId="571e1a55-055f-4c28-8b35-fca6dd1c1369" providerId="ADAL" clId="{75A88773-6EE1-484E-AADE-FE631E01463B}" dt="2025-11-24T03:22:42.534" v="550523"/>
          <ac:spMkLst>
            <pc:docMk/>
            <pc:sldMk cId="80455690" sldId="2147483093"/>
            <ac:spMk id="1471" creationId="{ECD0F259-D7F1-92F4-ED8B-14AC1D5B8893}"/>
          </ac:spMkLst>
        </pc:spChg>
        <pc:spChg chg="add del mod ord">
          <ac:chgData name="Yudi Zhu" userId="571e1a55-055f-4c28-8b35-fca6dd1c1369" providerId="ADAL" clId="{75A88773-6EE1-484E-AADE-FE631E01463B}" dt="2025-11-24T03:22:42.550" v="550538"/>
          <ac:spMkLst>
            <pc:docMk/>
            <pc:sldMk cId="80455690" sldId="2147483093"/>
            <ac:spMk id="1472" creationId="{5C697846-89BE-0406-DB59-7E4E55714A1D}"/>
          </ac:spMkLst>
        </pc:spChg>
        <pc:spChg chg="add del mod">
          <ac:chgData name="Yudi Zhu" userId="571e1a55-055f-4c28-8b35-fca6dd1c1369" providerId="ADAL" clId="{75A88773-6EE1-484E-AADE-FE631E01463B}" dt="2025-11-24T03:22:42.550" v="550552"/>
          <ac:spMkLst>
            <pc:docMk/>
            <pc:sldMk cId="80455690" sldId="2147483093"/>
            <ac:spMk id="1473" creationId="{1DFAB306-B4F7-CF70-7D4B-220031FE0199}"/>
          </ac:spMkLst>
        </pc:spChg>
        <pc:spChg chg="add del mod modVis">
          <ac:chgData name="Yudi Zhu" userId="571e1a55-055f-4c28-8b35-fca6dd1c1369" providerId="ADAL" clId="{75A88773-6EE1-484E-AADE-FE631E01463B}" dt="2025-11-24T03:21:49.356" v="549192"/>
          <ac:spMkLst>
            <pc:docMk/>
            <pc:sldMk cId="80455690" sldId="2147483093"/>
            <ac:spMk id="1475" creationId="{16C8F950-143C-D38F-40F1-90B03F1FBB06}"/>
          </ac:spMkLst>
        </pc:spChg>
        <pc:spChg chg="add del mod">
          <ac:chgData name="Yudi Zhu" userId="571e1a55-055f-4c28-8b35-fca6dd1c1369" providerId="ADAL" clId="{75A88773-6EE1-484E-AADE-FE631E01463B}" dt="2025-11-24T03:32:24.299" v="563372"/>
          <ac:spMkLst>
            <pc:docMk/>
            <pc:sldMk cId="80455690" sldId="2147483093"/>
            <ac:spMk id="1476" creationId="{E8D98A63-B03A-9903-4427-002DD597CA63}"/>
          </ac:spMkLst>
        </pc:spChg>
        <pc:spChg chg="del mod ord">
          <ac:chgData name="Yudi Zhu" userId="571e1a55-055f-4c28-8b35-fca6dd1c1369" providerId="ADAL" clId="{75A88773-6EE1-484E-AADE-FE631E01463B}" dt="2025-11-21T09:57:10.107" v="428714"/>
          <ac:spMkLst>
            <pc:docMk/>
            <pc:sldMk cId="80455690" sldId="2147483093"/>
            <ac:spMk id="1479" creationId="{49867667-9299-8561-96BD-86DE7284E782}"/>
          </ac:spMkLst>
        </pc:spChg>
        <pc:spChg chg="add del mod ord">
          <ac:chgData name="Yudi Zhu" userId="571e1a55-055f-4c28-8b35-fca6dd1c1369" providerId="ADAL" clId="{75A88773-6EE1-484E-AADE-FE631E01463B}" dt="2025-11-24T03:22:42.569" v="550564"/>
          <ac:spMkLst>
            <pc:docMk/>
            <pc:sldMk cId="80455690" sldId="2147483093"/>
            <ac:spMk id="1479" creationId="{6A6AB347-E433-6ADE-6CA8-1C8D7BE59CDA}"/>
          </ac:spMkLst>
        </pc:spChg>
        <pc:spChg chg="mod ord">
          <ac:chgData name="Yudi Zhu" userId="571e1a55-055f-4c28-8b35-fca6dd1c1369" providerId="ADAL" clId="{75A88773-6EE1-484E-AADE-FE631E01463B}" dt="2025-11-25T10:14:15.597" v="658290"/>
          <ac:spMkLst>
            <pc:docMk/>
            <pc:sldMk cId="80455690" sldId="2147483093"/>
            <ac:spMk id="1480" creationId="{5295C0BA-22F3-96FA-1230-66FF8C5051FC}"/>
          </ac:spMkLst>
        </pc:spChg>
        <pc:spChg chg="add del mod ord">
          <ac:chgData name="Yudi Zhu" userId="571e1a55-055f-4c28-8b35-fca6dd1c1369" providerId="ADAL" clId="{75A88773-6EE1-484E-AADE-FE631E01463B}" dt="2025-11-24T03:22:42.569" v="550579"/>
          <ac:spMkLst>
            <pc:docMk/>
            <pc:sldMk cId="80455690" sldId="2147483093"/>
            <ac:spMk id="1481" creationId="{10E3D4B4-A1B4-1D03-4DB0-9C15D8D1577E}"/>
          </ac:spMkLst>
        </pc:spChg>
        <pc:spChg chg="add del mod">
          <ac:chgData name="Yudi Zhu" userId="571e1a55-055f-4c28-8b35-fca6dd1c1369" providerId="ADAL" clId="{75A88773-6EE1-484E-AADE-FE631E01463B}" dt="2025-11-24T03:22:42.582" v="550593"/>
          <ac:spMkLst>
            <pc:docMk/>
            <pc:sldMk cId="80455690" sldId="2147483093"/>
            <ac:spMk id="1482" creationId="{72CE184A-FD14-0DB4-918B-349273FE280C}"/>
          </ac:spMkLst>
        </pc:spChg>
        <pc:spChg chg="add del mod modVis">
          <ac:chgData name="Yudi Zhu" userId="571e1a55-055f-4c28-8b35-fca6dd1c1369" providerId="ADAL" clId="{75A88773-6EE1-484E-AADE-FE631E01463B}" dt="2025-11-24T03:21:53.019" v="549610"/>
          <ac:spMkLst>
            <pc:docMk/>
            <pc:sldMk cId="80455690" sldId="2147483093"/>
            <ac:spMk id="1483" creationId="{72DF2C0C-B1B2-9229-561D-EBF9DB27B398}"/>
          </ac:spMkLst>
        </pc:spChg>
        <pc:spChg chg="add del mod">
          <ac:chgData name="Yudi Zhu" userId="571e1a55-055f-4c28-8b35-fca6dd1c1369" providerId="ADAL" clId="{75A88773-6EE1-484E-AADE-FE631E01463B}" dt="2025-11-24T03:32:29.471" v="564485"/>
          <ac:spMkLst>
            <pc:docMk/>
            <pc:sldMk cId="80455690" sldId="2147483093"/>
            <ac:spMk id="1484" creationId="{CDBB4B0F-8101-2B33-C71C-0FA85A7E28B9}"/>
          </ac:spMkLst>
        </pc:spChg>
        <pc:spChg chg="add del mod ord">
          <ac:chgData name="Yudi Zhu" userId="571e1a55-055f-4c28-8b35-fca6dd1c1369" providerId="ADAL" clId="{75A88773-6EE1-484E-AADE-FE631E01463B}" dt="2025-11-24T03:22:43.783" v="550916"/>
          <ac:spMkLst>
            <pc:docMk/>
            <pc:sldMk cId="80455690" sldId="2147483093"/>
            <ac:spMk id="1489" creationId="{4AB8588F-9C65-267C-E670-164583F18460}"/>
          </ac:spMkLst>
        </pc:spChg>
        <pc:spChg chg="add del mod ord">
          <ac:chgData name="Yudi Zhu" userId="571e1a55-055f-4c28-8b35-fca6dd1c1369" providerId="ADAL" clId="{75A88773-6EE1-484E-AADE-FE631E01463B}" dt="2025-11-24T03:22:43.784" v="550931"/>
          <ac:spMkLst>
            <pc:docMk/>
            <pc:sldMk cId="80455690" sldId="2147483093"/>
            <ac:spMk id="1490" creationId="{30B75EE9-908B-7C62-DDAE-B6E7FF0484A0}"/>
          </ac:spMkLst>
        </pc:spChg>
        <pc:spChg chg="add del mod">
          <ac:chgData name="Yudi Zhu" userId="571e1a55-055f-4c28-8b35-fca6dd1c1369" providerId="ADAL" clId="{75A88773-6EE1-484E-AADE-FE631E01463B}" dt="2025-11-24T03:22:43.800" v="550945"/>
          <ac:spMkLst>
            <pc:docMk/>
            <pc:sldMk cId="80455690" sldId="2147483093"/>
            <ac:spMk id="1491" creationId="{99148439-70F5-3D16-FE00-C8B6311FC6D9}"/>
          </ac:spMkLst>
        </pc:spChg>
        <pc:spChg chg="add del mod ord">
          <ac:chgData name="Yudi Zhu" userId="571e1a55-055f-4c28-8b35-fca6dd1c1369" providerId="ADAL" clId="{75A88773-6EE1-484E-AADE-FE631E01463B}" dt="2025-11-24T03:22:43.800" v="550957"/>
          <ac:spMkLst>
            <pc:docMk/>
            <pc:sldMk cId="80455690" sldId="2147483093"/>
            <ac:spMk id="1492" creationId="{72554370-23E1-86F1-B0FB-D95175A45562}"/>
          </ac:spMkLst>
        </pc:spChg>
        <pc:spChg chg="add del mod ord">
          <ac:chgData name="Yudi Zhu" userId="571e1a55-055f-4c28-8b35-fca6dd1c1369" providerId="ADAL" clId="{75A88773-6EE1-484E-AADE-FE631E01463B}" dt="2025-11-24T03:22:43.815" v="550972"/>
          <ac:spMkLst>
            <pc:docMk/>
            <pc:sldMk cId="80455690" sldId="2147483093"/>
            <ac:spMk id="1493" creationId="{B9D64944-62EF-8F36-3A7B-5025EF6908FC}"/>
          </ac:spMkLst>
        </pc:spChg>
        <pc:spChg chg="add del mod">
          <ac:chgData name="Yudi Zhu" userId="571e1a55-055f-4c28-8b35-fca6dd1c1369" providerId="ADAL" clId="{75A88773-6EE1-484E-AADE-FE631E01463B}" dt="2025-11-24T03:22:43.815" v="550986"/>
          <ac:spMkLst>
            <pc:docMk/>
            <pc:sldMk cId="80455690" sldId="2147483093"/>
            <ac:spMk id="1494" creationId="{986CDB91-CBF7-17D8-84E6-7F3146680CB8}"/>
          </ac:spMkLst>
        </pc:spChg>
        <pc:spChg chg="add del mod ord">
          <ac:chgData name="Yudi Zhu" userId="571e1a55-055f-4c28-8b35-fca6dd1c1369" providerId="ADAL" clId="{75A88773-6EE1-484E-AADE-FE631E01463B}" dt="2025-11-24T03:26:22.238" v="554394"/>
          <ac:spMkLst>
            <pc:docMk/>
            <pc:sldMk cId="80455690" sldId="2147483093"/>
            <ac:spMk id="1496" creationId="{9ED1FC9D-91E9-7464-0451-EE1C8EBE7B48}"/>
          </ac:spMkLst>
        </pc:spChg>
        <pc:spChg chg="add del mod ord">
          <ac:chgData name="Yudi Zhu" userId="571e1a55-055f-4c28-8b35-fca6dd1c1369" providerId="ADAL" clId="{75A88773-6EE1-484E-AADE-FE631E01463B}" dt="2025-11-24T03:26:22.254" v="554409"/>
          <ac:spMkLst>
            <pc:docMk/>
            <pc:sldMk cId="80455690" sldId="2147483093"/>
            <ac:spMk id="1497" creationId="{65659950-F36A-DB1C-7DC0-42AD0AD675CB}"/>
          </ac:spMkLst>
        </pc:spChg>
        <pc:spChg chg="add del mod">
          <ac:chgData name="Yudi Zhu" userId="571e1a55-055f-4c28-8b35-fca6dd1c1369" providerId="ADAL" clId="{75A88773-6EE1-484E-AADE-FE631E01463B}" dt="2025-11-24T03:26:22.270" v="554423"/>
          <ac:spMkLst>
            <pc:docMk/>
            <pc:sldMk cId="80455690" sldId="2147483093"/>
            <ac:spMk id="1498" creationId="{EE131FA4-6558-4601-586C-458B0AA7AB29}"/>
          </ac:spMkLst>
        </pc:spChg>
        <pc:spChg chg="add del mod ord">
          <ac:chgData name="Yudi Zhu" userId="571e1a55-055f-4c28-8b35-fca6dd1c1369" providerId="ADAL" clId="{75A88773-6EE1-484E-AADE-FE631E01463B}" dt="2025-11-24T03:26:22.282" v="554435"/>
          <ac:spMkLst>
            <pc:docMk/>
            <pc:sldMk cId="80455690" sldId="2147483093"/>
            <ac:spMk id="1499" creationId="{313B46BD-7F26-32D3-DAB8-8613C7676B5A}"/>
          </ac:spMkLst>
        </pc:spChg>
        <pc:spChg chg="add del mod ord">
          <ac:chgData name="Yudi Zhu" userId="571e1a55-055f-4c28-8b35-fca6dd1c1369" providerId="ADAL" clId="{75A88773-6EE1-484E-AADE-FE631E01463B}" dt="2025-11-24T03:26:22.293" v="554450"/>
          <ac:spMkLst>
            <pc:docMk/>
            <pc:sldMk cId="80455690" sldId="2147483093"/>
            <ac:spMk id="1500" creationId="{DDE2861E-C5B7-083E-11BD-5201288E6DDA}"/>
          </ac:spMkLst>
        </pc:spChg>
        <pc:spChg chg="add del mod">
          <ac:chgData name="Yudi Zhu" userId="571e1a55-055f-4c28-8b35-fca6dd1c1369" providerId="ADAL" clId="{75A88773-6EE1-484E-AADE-FE631E01463B}" dt="2025-11-24T03:26:22.305" v="554464"/>
          <ac:spMkLst>
            <pc:docMk/>
            <pc:sldMk cId="80455690" sldId="2147483093"/>
            <ac:spMk id="1501" creationId="{0A307D26-95FA-DE6B-99E6-EA575FDA7741}"/>
          </ac:spMkLst>
        </pc:spChg>
        <pc:spChg chg="add del mod modVis">
          <ac:chgData name="Yudi Zhu" userId="571e1a55-055f-4c28-8b35-fca6dd1c1369" providerId="ADAL" clId="{75A88773-6EE1-484E-AADE-FE631E01463B}" dt="2025-11-24T03:24:00.432" v="552464"/>
          <ac:spMkLst>
            <pc:docMk/>
            <pc:sldMk cId="80455690" sldId="2147483093"/>
            <ac:spMk id="1505" creationId="{BF0F105A-563F-AFF4-9CE5-9E6D475D9F94}"/>
          </ac:spMkLst>
        </pc:spChg>
        <pc:spChg chg="mod ord">
          <ac:chgData name="Yudi Zhu" userId="571e1a55-055f-4c28-8b35-fca6dd1c1369" providerId="ADAL" clId="{75A88773-6EE1-484E-AADE-FE631E01463B}" dt="2025-11-25T10:14:15.532" v="658137"/>
          <ac:spMkLst>
            <pc:docMk/>
            <pc:sldMk cId="80455690" sldId="2147483093"/>
            <ac:spMk id="1512" creationId="{9012D06D-30C8-3209-7913-C48B67C3E815}"/>
          </ac:spMkLst>
        </pc:spChg>
        <pc:spChg chg="add del mod ord">
          <ac:chgData name="Yudi Zhu" userId="571e1a55-055f-4c28-8b35-fca6dd1c1369" providerId="ADAL" clId="{75A88773-6EE1-484E-AADE-FE631E01463B}" dt="2025-11-24T03:26:26.272" v="554800"/>
          <ac:spMkLst>
            <pc:docMk/>
            <pc:sldMk cId="80455690" sldId="2147483093"/>
            <ac:spMk id="1536" creationId="{7388E4F9-4BF7-990D-887C-15B1B0467777}"/>
          </ac:spMkLst>
        </pc:spChg>
        <pc:spChg chg="add del mod ord">
          <ac:chgData name="Yudi Zhu" userId="571e1a55-055f-4c28-8b35-fca6dd1c1369" providerId="ADAL" clId="{75A88773-6EE1-484E-AADE-FE631E01463B}" dt="2025-11-24T03:26:26.288" v="554815"/>
          <ac:spMkLst>
            <pc:docMk/>
            <pc:sldMk cId="80455690" sldId="2147483093"/>
            <ac:spMk id="1537" creationId="{D77BA8D3-9118-3627-C9E4-6CEDB368FE99}"/>
          </ac:spMkLst>
        </pc:spChg>
        <pc:spChg chg="add del mod">
          <ac:chgData name="Yudi Zhu" userId="571e1a55-055f-4c28-8b35-fca6dd1c1369" providerId="ADAL" clId="{75A88773-6EE1-484E-AADE-FE631E01463B}" dt="2025-11-24T03:26:26.304" v="554829"/>
          <ac:spMkLst>
            <pc:docMk/>
            <pc:sldMk cId="80455690" sldId="2147483093"/>
            <ac:spMk id="1538" creationId="{C7B1321C-8381-DC2F-1FB7-B97D114720A7}"/>
          </ac:spMkLst>
        </pc:spChg>
        <pc:spChg chg="add del mod ord">
          <ac:chgData name="Yudi Zhu" userId="571e1a55-055f-4c28-8b35-fca6dd1c1369" providerId="ADAL" clId="{75A88773-6EE1-484E-AADE-FE631E01463B}" dt="2025-11-24T03:26:26.312" v="554841"/>
          <ac:spMkLst>
            <pc:docMk/>
            <pc:sldMk cId="80455690" sldId="2147483093"/>
            <ac:spMk id="1539" creationId="{D37CAF2A-FF18-49C8-36AB-0D83BC739502}"/>
          </ac:spMkLst>
        </pc:spChg>
        <pc:spChg chg="add del mod ord">
          <ac:chgData name="Yudi Zhu" userId="571e1a55-055f-4c28-8b35-fca6dd1c1369" providerId="ADAL" clId="{75A88773-6EE1-484E-AADE-FE631E01463B}" dt="2025-11-24T03:26:26.323" v="554856"/>
          <ac:spMkLst>
            <pc:docMk/>
            <pc:sldMk cId="80455690" sldId="2147483093"/>
            <ac:spMk id="1540" creationId="{2BC3BF8E-32CA-EFB5-67BA-9B0BFAB23E6F}"/>
          </ac:spMkLst>
        </pc:spChg>
        <pc:spChg chg="add del mod">
          <ac:chgData name="Yudi Zhu" userId="571e1a55-055f-4c28-8b35-fca6dd1c1369" providerId="ADAL" clId="{75A88773-6EE1-484E-AADE-FE631E01463B}" dt="2025-11-24T03:26:26.331" v="554870"/>
          <ac:spMkLst>
            <pc:docMk/>
            <pc:sldMk cId="80455690" sldId="2147483093"/>
            <ac:spMk id="1541" creationId="{B5F4F7B4-1024-4A39-5F3F-A9A86FBF58D1}"/>
          </ac:spMkLst>
        </pc:spChg>
        <pc:spChg chg="add del mod ord">
          <ac:chgData name="Yudi Zhu" userId="571e1a55-055f-4c28-8b35-fca6dd1c1369" providerId="ADAL" clId="{75A88773-6EE1-484E-AADE-FE631E01463B}" dt="2025-11-24T03:26:32.389" v="555186"/>
          <ac:spMkLst>
            <pc:docMk/>
            <pc:sldMk cId="80455690" sldId="2147483093"/>
            <ac:spMk id="1543" creationId="{627BF956-4E73-0FD3-5057-008C9E57A3D6}"/>
          </ac:spMkLst>
        </pc:spChg>
        <pc:spChg chg="add del mod ord">
          <ac:chgData name="Yudi Zhu" userId="571e1a55-055f-4c28-8b35-fca6dd1c1369" providerId="ADAL" clId="{75A88773-6EE1-484E-AADE-FE631E01463B}" dt="2025-11-24T03:26:32.405" v="555201"/>
          <ac:spMkLst>
            <pc:docMk/>
            <pc:sldMk cId="80455690" sldId="2147483093"/>
            <ac:spMk id="1544" creationId="{220A073F-3187-241E-A607-C4E15A54DDFA}"/>
          </ac:spMkLst>
        </pc:spChg>
        <pc:spChg chg="add del mod">
          <ac:chgData name="Yudi Zhu" userId="571e1a55-055f-4c28-8b35-fca6dd1c1369" providerId="ADAL" clId="{75A88773-6EE1-484E-AADE-FE631E01463B}" dt="2025-11-24T03:26:32.405" v="555215"/>
          <ac:spMkLst>
            <pc:docMk/>
            <pc:sldMk cId="80455690" sldId="2147483093"/>
            <ac:spMk id="1545" creationId="{CF9AD6B8-EB8C-7F69-9DA9-CF96C263AD5F}"/>
          </ac:spMkLst>
        </pc:spChg>
        <pc:spChg chg="add del mod ord">
          <ac:chgData name="Yudi Zhu" userId="571e1a55-055f-4c28-8b35-fca6dd1c1369" providerId="ADAL" clId="{75A88773-6EE1-484E-AADE-FE631E01463B}" dt="2025-11-24T03:26:32.421" v="555227"/>
          <ac:spMkLst>
            <pc:docMk/>
            <pc:sldMk cId="80455690" sldId="2147483093"/>
            <ac:spMk id="1546" creationId="{4EF12F4F-4E9B-084B-FFBA-66A135A45D23}"/>
          </ac:spMkLst>
        </pc:spChg>
        <pc:spChg chg="add del mod ord">
          <ac:chgData name="Yudi Zhu" userId="571e1a55-055f-4c28-8b35-fca6dd1c1369" providerId="ADAL" clId="{75A88773-6EE1-484E-AADE-FE631E01463B}" dt="2025-11-24T03:26:32.431" v="555242"/>
          <ac:spMkLst>
            <pc:docMk/>
            <pc:sldMk cId="80455690" sldId="2147483093"/>
            <ac:spMk id="1547" creationId="{AB87FA8F-CFC8-A5B7-BA9A-D34717FFADA6}"/>
          </ac:spMkLst>
        </pc:spChg>
        <pc:spChg chg="add del mod">
          <ac:chgData name="Yudi Zhu" userId="571e1a55-055f-4c28-8b35-fca6dd1c1369" providerId="ADAL" clId="{75A88773-6EE1-484E-AADE-FE631E01463B}" dt="2025-11-24T03:26:32.440" v="555256"/>
          <ac:spMkLst>
            <pc:docMk/>
            <pc:sldMk cId="80455690" sldId="2147483093"/>
            <ac:spMk id="1548" creationId="{55337047-08DD-CC01-D698-3DB104F2E6D2}"/>
          </ac:spMkLst>
        </pc:spChg>
        <pc:spChg chg="add del mod ord">
          <ac:chgData name="Yudi Zhu" userId="571e1a55-055f-4c28-8b35-fca6dd1c1369" providerId="ADAL" clId="{75A88773-6EE1-484E-AADE-FE631E01463B}" dt="2025-11-24T03:27:08.207" v="556938"/>
          <ac:spMkLst>
            <pc:docMk/>
            <pc:sldMk cId="80455690" sldId="2147483093"/>
            <ac:spMk id="1550" creationId="{A8531105-72F0-535F-2D9B-AC292B950BF0}"/>
          </ac:spMkLst>
        </pc:spChg>
        <pc:spChg chg="add del mod ord">
          <ac:chgData name="Yudi Zhu" userId="571e1a55-055f-4c28-8b35-fca6dd1c1369" providerId="ADAL" clId="{75A88773-6EE1-484E-AADE-FE631E01463B}" dt="2025-11-24T03:27:08.223" v="556953"/>
          <ac:spMkLst>
            <pc:docMk/>
            <pc:sldMk cId="80455690" sldId="2147483093"/>
            <ac:spMk id="1551" creationId="{17A5EE8B-CB35-77A7-F396-1756921436C7}"/>
          </ac:spMkLst>
        </pc:spChg>
        <pc:spChg chg="add del mod">
          <ac:chgData name="Yudi Zhu" userId="571e1a55-055f-4c28-8b35-fca6dd1c1369" providerId="ADAL" clId="{75A88773-6EE1-484E-AADE-FE631E01463B}" dt="2025-11-24T03:27:08.223" v="556967"/>
          <ac:spMkLst>
            <pc:docMk/>
            <pc:sldMk cId="80455690" sldId="2147483093"/>
            <ac:spMk id="1552" creationId="{44CD1D0D-06F5-0673-17A0-22605585DE58}"/>
          </ac:spMkLst>
        </pc:spChg>
        <pc:spChg chg="add del mod ord">
          <ac:chgData name="Yudi Zhu" userId="571e1a55-055f-4c28-8b35-fca6dd1c1369" providerId="ADAL" clId="{75A88773-6EE1-484E-AADE-FE631E01463B}" dt="2025-11-24T03:27:08.241" v="556979"/>
          <ac:spMkLst>
            <pc:docMk/>
            <pc:sldMk cId="80455690" sldId="2147483093"/>
            <ac:spMk id="1553" creationId="{27028F78-99E4-AEA5-387F-5695F5A16CEF}"/>
          </ac:spMkLst>
        </pc:spChg>
        <pc:spChg chg="add del mod ord">
          <ac:chgData name="Yudi Zhu" userId="571e1a55-055f-4c28-8b35-fca6dd1c1369" providerId="ADAL" clId="{75A88773-6EE1-484E-AADE-FE631E01463B}" dt="2025-11-24T03:27:08.254" v="556994"/>
          <ac:spMkLst>
            <pc:docMk/>
            <pc:sldMk cId="80455690" sldId="2147483093"/>
            <ac:spMk id="1554" creationId="{EB8A5335-81F3-F898-846E-DC572AA13809}"/>
          </ac:spMkLst>
        </pc:spChg>
        <pc:spChg chg="add del mod">
          <ac:chgData name="Yudi Zhu" userId="571e1a55-055f-4c28-8b35-fca6dd1c1369" providerId="ADAL" clId="{75A88773-6EE1-484E-AADE-FE631E01463B}" dt="2025-11-24T03:27:08.254" v="557008"/>
          <ac:spMkLst>
            <pc:docMk/>
            <pc:sldMk cId="80455690" sldId="2147483093"/>
            <ac:spMk id="1555" creationId="{A5417706-71C8-4598-CDB6-8E0FFED971A1}"/>
          </ac:spMkLst>
        </pc:spChg>
        <pc:spChg chg="mod ord">
          <ac:chgData name="Yudi Zhu" userId="571e1a55-055f-4c28-8b35-fca6dd1c1369" providerId="ADAL" clId="{75A88773-6EE1-484E-AADE-FE631E01463B}" dt="2025-11-25T10:14:15.516" v="658082"/>
          <ac:spMkLst>
            <pc:docMk/>
            <pc:sldMk cId="80455690" sldId="2147483093"/>
            <ac:spMk id="1559" creationId="{DA313038-A570-BB8A-ACAE-25EF10131FB8}"/>
          </ac:spMkLst>
        </pc:spChg>
        <pc:spChg chg="add del mod modVis">
          <ac:chgData name="Yudi Zhu" userId="571e1a55-055f-4c28-8b35-fca6dd1c1369" providerId="ADAL" clId="{75A88773-6EE1-484E-AADE-FE631E01463B}" dt="2025-11-24T03:27:08.527" v="557370"/>
          <ac:spMkLst>
            <pc:docMk/>
            <pc:sldMk cId="80455690" sldId="2147483093"/>
            <ac:spMk id="1563" creationId="{6B6A9B21-F645-895D-4382-F5E941351359}"/>
          </ac:spMkLst>
        </pc:spChg>
        <pc:spChg chg="add del mod ord">
          <ac:chgData name="Yudi Zhu" userId="571e1a55-055f-4c28-8b35-fca6dd1c1369" providerId="ADAL" clId="{75A88773-6EE1-484E-AADE-FE631E01463B}" dt="2025-11-24T03:31:55.021" v="560672"/>
          <ac:spMkLst>
            <pc:docMk/>
            <pc:sldMk cId="80455690" sldId="2147483093"/>
            <ac:spMk id="1564" creationId="{32A16CF7-FA37-2692-0B27-E18324E4AAFA}"/>
          </ac:spMkLst>
        </pc:spChg>
        <pc:spChg chg="add del mod ord">
          <ac:chgData name="Yudi Zhu" userId="571e1a55-055f-4c28-8b35-fca6dd1c1369" providerId="ADAL" clId="{75A88773-6EE1-484E-AADE-FE631E01463B}" dt="2025-11-24T03:31:55.040" v="560687"/>
          <ac:spMkLst>
            <pc:docMk/>
            <pc:sldMk cId="80455690" sldId="2147483093"/>
            <ac:spMk id="1565" creationId="{7D8B89CC-C843-918B-B41A-CD329999F9F4}"/>
          </ac:spMkLst>
        </pc:spChg>
        <pc:spChg chg="add del mod">
          <ac:chgData name="Yudi Zhu" userId="571e1a55-055f-4c28-8b35-fca6dd1c1369" providerId="ADAL" clId="{75A88773-6EE1-484E-AADE-FE631E01463B}" dt="2025-11-24T03:31:55.040" v="560701"/>
          <ac:spMkLst>
            <pc:docMk/>
            <pc:sldMk cId="80455690" sldId="2147483093"/>
            <ac:spMk id="1566" creationId="{A638D30F-6F8F-3893-4AB4-CF5B9CDA8026}"/>
          </ac:spMkLst>
        </pc:spChg>
        <pc:spChg chg="add del mod ord">
          <ac:chgData name="Yudi Zhu" userId="571e1a55-055f-4c28-8b35-fca6dd1c1369" providerId="ADAL" clId="{75A88773-6EE1-484E-AADE-FE631E01463B}" dt="2025-11-24T03:31:55.052" v="560713"/>
          <ac:spMkLst>
            <pc:docMk/>
            <pc:sldMk cId="80455690" sldId="2147483093"/>
            <ac:spMk id="1567" creationId="{2C69AC81-6790-628D-C907-E62B6BE2BE47}"/>
          </ac:spMkLst>
        </pc:spChg>
        <pc:spChg chg="add del mod ord">
          <ac:chgData name="Yudi Zhu" userId="571e1a55-055f-4c28-8b35-fca6dd1c1369" providerId="ADAL" clId="{75A88773-6EE1-484E-AADE-FE631E01463B}" dt="2025-11-24T03:31:55.068" v="560728"/>
          <ac:spMkLst>
            <pc:docMk/>
            <pc:sldMk cId="80455690" sldId="2147483093"/>
            <ac:spMk id="1568" creationId="{648F5FC9-4D05-8602-27FC-8AFF0B91E3FB}"/>
          </ac:spMkLst>
        </pc:spChg>
        <pc:spChg chg="add del mod">
          <ac:chgData name="Yudi Zhu" userId="571e1a55-055f-4c28-8b35-fca6dd1c1369" providerId="ADAL" clId="{75A88773-6EE1-484E-AADE-FE631E01463B}" dt="2025-11-24T03:31:55.068" v="560742"/>
          <ac:spMkLst>
            <pc:docMk/>
            <pc:sldMk cId="80455690" sldId="2147483093"/>
            <ac:spMk id="1569" creationId="{8EAB4D22-C98B-647E-42CC-4632C87C3360}"/>
          </ac:spMkLst>
        </pc:spChg>
        <pc:spChg chg="add del mod modVis">
          <ac:chgData name="Yudi Zhu" userId="571e1a55-055f-4c28-8b35-fca6dd1c1369" providerId="ADAL" clId="{75A88773-6EE1-484E-AADE-FE631E01463B}" dt="2025-11-24T03:27:32.375" v="558049"/>
          <ac:spMkLst>
            <pc:docMk/>
            <pc:sldMk cId="80455690" sldId="2147483093"/>
            <ac:spMk id="1571" creationId="{B88570C8-6780-9FF2-CDC6-901A5EF6C171}"/>
          </ac:spMkLst>
        </pc:spChg>
        <pc:spChg chg="mod">
          <ac:chgData name="Yudi Zhu" userId="571e1a55-055f-4c28-8b35-fca6dd1c1369" providerId="ADAL" clId="{75A88773-6EE1-484E-AADE-FE631E01463B}" dt="2025-11-24T05:26:11.025" v="646427" actId="20577"/>
          <ac:spMkLst>
            <pc:docMk/>
            <pc:sldMk cId="80455690" sldId="2147483093"/>
            <ac:spMk id="1578" creationId="{7900D605-FFA7-E8F5-8494-4FDDE17D3C2B}"/>
          </ac:spMkLst>
        </pc:spChg>
        <pc:spChg chg="add del mod modVis">
          <ac:chgData name="Yudi Zhu" userId="571e1a55-055f-4c28-8b35-fca6dd1c1369" providerId="ADAL" clId="{75A88773-6EE1-484E-AADE-FE631E01463B}" dt="2025-11-24T03:28:33.338" v="560395"/>
          <ac:spMkLst>
            <pc:docMk/>
            <pc:sldMk cId="80455690" sldId="2147483093"/>
            <ac:spMk id="1598" creationId="{0893B5F1-2819-2A60-C029-B63CF4BA3393}"/>
          </ac:spMkLst>
        </pc:spChg>
        <pc:spChg chg="add del mod ord">
          <ac:chgData name="Yudi Zhu" userId="571e1a55-055f-4c28-8b35-fca6dd1c1369" providerId="ADAL" clId="{75A88773-6EE1-484E-AADE-FE631E01463B}" dt="2025-11-24T03:34:21.927" v="568323"/>
          <ac:spMkLst>
            <pc:docMk/>
            <pc:sldMk cId="80455690" sldId="2147483093"/>
            <ac:spMk id="1603" creationId="{BFCEE524-2BEE-1739-9771-F9915EBCD2D6}"/>
          </ac:spMkLst>
        </pc:spChg>
        <pc:spChg chg="add del mod ord">
          <ac:chgData name="Yudi Zhu" userId="571e1a55-055f-4c28-8b35-fca6dd1c1369" providerId="ADAL" clId="{75A88773-6EE1-484E-AADE-FE631E01463B}" dt="2025-11-24T03:34:21.927" v="568338"/>
          <ac:spMkLst>
            <pc:docMk/>
            <pc:sldMk cId="80455690" sldId="2147483093"/>
            <ac:spMk id="1607" creationId="{FA7711E8-F7E4-2D69-0903-ABC038B7D3B7}"/>
          </ac:spMkLst>
        </pc:spChg>
        <pc:spChg chg="add del mod">
          <ac:chgData name="Yudi Zhu" userId="571e1a55-055f-4c28-8b35-fca6dd1c1369" providerId="ADAL" clId="{75A88773-6EE1-484E-AADE-FE631E01463B}" dt="2025-11-24T03:34:21.943" v="568352"/>
          <ac:spMkLst>
            <pc:docMk/>
            <pc:sldMk cId="80455690" sldId="2147483093"/>
            <ac:spMk id="1608" creationId="{8F8863DE-D8C1-26B5-18F1-18BBD6586F05}"/>
          </ac:spMkLst>
        </pc:spChg>
        <pc:spChg chg="add del mod ord">
          <ac:chgData name="Yudi Zhu" userId="571e1a55-055f-4c28-8b35-fca6dd1c1369" providerId="ADAL" clId="{75A88773-6EE1-484E-AADE-FE631E01463B}" dt="2025-11-24T03:34:21.943" v="568364"/>
          <ac:spMkLst>
            <pc:docMk/>
            <pc:sldMk cId="80455690" sldId="2147483093"/>
            <ac:spMk id="1609" creationId="{71A36086-0FD7-7424-40CF-5A504AB90308}"/>
          </ac:spMkLst>
        </pc:spChg>
        <pc:spChg chg="add del mod ord">
          <ac:chgData name="Yudi Zhu" userId="571e1a55-055f-4c28-8b35-fca6dd1c1369" providerId="ADAL" clId="{75A88773-6EE1-484E-AADE-FE631E01463B}" dt="2025-11-24T03:34:21.967" v="568379"/>
          <ac:spMkLst>
            <pc:docMk/>
            <pc:sldMk cId="80455690" sldId="2147483093"/>
            <ac:spMk id="1610" creationId="{15009A3F-DA0B-9E6B-48E4-8A82D775DF6B}"/>
          </ac:spMkLst>
        </pc:spChg>
        <pc:spChg chg="add del mod">
          <ac:chgData name="Yudi Zhu" userId="571e1a55-055f-4c28-8b35-fca6dd1c1369" providerId="ADAL" clId="{75A88773-6EE1-484E-AADE-FE631E01463B}" dt="2025-11-24T03:34:21.976" v="568393"/>
          <ac:spMkLst>
            <pc:docMk/>
            <pc:sldMk cId="80455690" sldId="2147483093"/>
            <ac:spMk id="1611" creationId="{71457A48-3C45-9B92-98D5-B45CD7291AEC}"/>
          </ac:spMkLst>
        </pc:spChg>
        <pc:spChg chg="add mod ord">
          <ac:chgData name="Yudi Zhu" userId="571e1a55-055f-4c28-8b35-fca6dd1c1369" providerId="ADAL" clId="{75A88773-6EE1-484E-AADE-FE631E01463B}" dt="2025-11-25T10:14:15.605" v="658334"/>
          <ac:spMkLst>
            <pc:docMk/>
            <pc:sldMk cId="80455690" sldId="2147483093"/>
            <ac:spMk id="1617" creationId="{E0F21840-FAA8-0910-5A0A-1783C1EEA893}"/>
          </ac:spMkLst>
        </pc:spChg>
        <pc:spChg chg="add del mod modVis">
          <ac:chgData name="Yudi Zhu" userId="571e1a55-055f-4c28-8b35-fca6dd1c1369" providerId="ADAL" clId="{75A88773-6EE1-484E-AADE-FE631E01463B}" dt="2025-11-24T03:32:14.744" v="562484"/>
          <ac:spMkLst>
            <pc:docMk/>
            <pc:sldMk cId="80455690" sldId="2147483093"/>
            <ac:spMk id="1618" creationId="{94BF29EF-D732-44D0-5A44-92F378FC4CC2}"/>
          </ac:spMkLst>
        </pc:spChg>
        <pc:spChg chg="add mod ord">
          <ac:chgData name="Yudi Zhu" userId="571e1a55-055f-4c28-8b35-fca6dd1c1369" providerId="ADAL" clId="{75A88773-6EE1-484E-AADE-FE631E01463B}" dt="2025-11-25T10:14:15.621" v="658341"/>
          <ac:spMkLst>
            <pc:docMk/>
            <pc:sldMk cId="80455690" sldId="2147483093"/>
            <ac:spMk id="1620" creationId="{5CD6022B-B922-FB56-D45F-6C4B0E806047}"/>
          </ac:spMkLst>
        </pc:spChg>
        <pc:spChg chg="add del mod modVis">
          <ac:chgData name="Yudi Zhu" userId="571e1a55-055f-4c28-8b35-fca6dd1c1369" providerId="ADAL" clId="{75A88773-6EE1-484E-AADE-FE631E01463B}" dt="2025-11-24T03:32:18.349" v="562809"/>
          <ac:spMkLst>
            <pc:docMk/>
            <pc:sldMk cId="80455690" sldId="2147483093"/>
            <ac:spMk id="1621" creationId="{5187B23D-38CA-A4B3-EDD9-B2BA51D3468E}"/>
          </ac:spMkLst>
        </pc:spChg>
        <pc:spChg chg="add mod ord">
          <ac:chgData name="Yudi Zhu" userId="571e1a55-055f-4c28-8b35-fca6dd1c1369" providerId="ADAL" clId="{75A88773-6EE1-484E-AADE-FE631E01463B}" dt="2025-11-25T10:14:15.621" v="658344"/>
          <ac:spMkLst>
            <pc:docMk/>
            <pc:sldMk cId="80455690" sldId="2147483093"/>
            <ac:spMk id="1630" creationId="{E05CDD48-0DEC-9132-BDFB-46D714F23D3B}"/>
          </ac:spMkLst>
        </pc:spChg>
        <pc:spChg chg="add del mod modVis">
          <ac:chgData name="Yudi Zhu" userId="571e1a55-055f-4c28-8b35-fca6dd1c1369" providerId="ADAL" clId="{75A88773-6EE1-484E-AADE-FE631E01463B}" dt="2025-11-24T03:32:40.504" v="565174"/>
          <ac:spMkLst>
            <pc:docMk/>
            <pc:sldMk cId="80455690" sldId="2147483093"/>
            <ac:spMk id="1631" creationId="{ABA223CA-8D0B-D12E-3154-7D85FBF0154F}"/>
          </ac:spMkLst>
        </pc:spChg>
        <pc:spChg chg="add del mod modVis">
          <ac:chgData name="Yudi Zhu" userId="571e1a55-055f-4c28-8b35-fca6dd1c1369" providerId="ADAL" clId="{75A88773-6EE1-484E-AADE-FE631E01463B}" dt="2025-11-24T03:32:44.841" v="565860"/>
          <ac:spMkLst>
            <pc:docMk/>
            <pc:sldMk cId="80455690" sldId="2147483093"/>
            <ac:spMk id="1637" creationId="{1101E872-C470-A4E3-3B38-CAD9A341C3D1}"/>
          </ac:spMkLst>
        </pc:spChg>
        <pc:spChg chg="add del mod modVis">
          <ac:chgData name="Yudi Zhu" userId="571e1a55-055f-4c28-8b35-fca6dd1c1369" providerId="ADAL" clId="{75A88773-6EE1-484E-AADE-FE631E01463B}" dt="2025-11-24T03:32:55.627" v="566218"/>
          <ac:spMkLst>
            <pc:docMk/>
            <pc:sldMk cId="80455690" sldId="2147483093"/>
            <ac:spMk id="1639" creationId="{AB5385F0-40CB-FDB0-AC28-63EF0887EA1A}"/>
          </ac:spMkLst>
        </pc:spChg>
        <pc:spChg chg="add del mod modVis">
          <ac:chgData name="Yudi Zhu" userId="571e1a55-055f-4c28-8b35-fca6dd1c1369" providerId="ADAL" clId="{75A88773-6EE1-484E-AADE-FE631E01463B}" dt="2025-11-24T03:33:02.919" v="566580"/>
          <ac:spMkLst>
            <pc:docMk/>
            <pc:sldMk cId="80455690" sldId="2147483093"/>
            <ac:spMk id="1641" creationId="{18B1DEE7-6847-7AFE-8FF2-6CFF0A7F07BA}"/>
          </ac:spMkLst>
        </pc:spChg>
        <pc:spChg chg="add del mod modVis">
          <ac:chgData name="Yudi Zhu" userId="571e1a55-055f-4c28-8b35-fca6dd1c1369" providerId="ADAL" clId="{75A88773-6EE1-484E-AADE-FE631E01463B}" dt="2025-11-24T03:34:01.382" v="567493" actId="962"/>
          <ac:spMkLst>
            <pc:docMk/>
            <pc:sldMk cId="80455690" sldId="2147483093"/>
            <ac:spMk id="1643" creationId="{CE98CD3C-B8DB-E983-E7DC-CB136CD6A1DE}"/>
          </ac:spMkLst>
        </pc:spChg>
        <pc:spChg chg="add del mod modVis">
          <ac:chgData name="Yudi Zhu" userId="571e1a55-055f-4c28-8b35-fca6dd1c1369" providerId="ADAL" clId="{75A88773-6EE1-484E-AADE-FE631E01463B}" dt="2025-11-24T03:33:59.616" v="567368" actId="962"/>
          <ac:spMkLst>
            <pc:docMk/>
            <pc:sldMk cId="80455690" sldId="2147483093"/>
            <ac:spMk id="1645" creationId="{18148D14-995F-ADC7-630E-F50C1BF54885}"/>
          </ac:spMkLst>
        </pc:spChg>
        <pc:spChg chg="add del mod modVis">
          <ac:chgData name="Yudi Zhu" userId="571e1a55-055f-4c28-8b35-fca6dd1c1369" providerId="ADAL" clId="{75A88773-6EE1-484E-AADE-FE631E01463B}" dt="2025-11-24T03:34:13.815" v="568249" actId="962"/>
          <ac:spMkLst>
            <pc:docMk/>
            <pc:sldMk cId="80455690" sldId="2147483093"/>
            <ac:spMk id="1647" creationId="{9693617E-C91A-7305-38EE-350FA9006580}"/>
          </ac:spMkLst>
        </pc:spChg>
        <pc:spChg chg="add mod ord">
          <ac:chgData name="Yudi Zhu" userId="571e1a55-055f-4c28-8b35-fca6dd1c1369" providerId="ADAL" clId="{75A88773-6EE1-484E-AADE-FE631E01463B}" dt="2025-11-24T03:34:13.799" v="568220" actId="208"/>
          <ac:spMkLst>
            <pc:docMk/>
            <pc:sldMk cId="80455690" sldId="2147483093"/>
            <ac:spMk id="1648" creationId="{A9B77BEB-7107-3E54-D4C9-47FE1253E1E6}"/>
          </ac:spMkLst>
        </pc:spChg>
        <pc:spChg chg="add mod ord">
          <ac:chgData name="Yudi Zhu" userId="571e1a55-055f-4c28-8b35-fca6dd1c1369" providerId="ADAL" clId="{75A88773-6EE1-484E-AADE-FE631E01463B}" dt="2025-11-24T03:34:13.784" v="568211" actId="208"/>
          <ac:spMkLst>
            <pc:docMk/>
            <pc:sldMk cId="80455690" sldId="2147483093"/>
            <ac:spMk id="1649" creationId="{73E99855-DA01-2E9B-6888-43EF2CC2165E}"/>
          </ac:spMkLst>
        </pc:spChg>
        <pc:spChg chg="add mod">
          <ac:chgData name="Yudi Zhu" userId="571e1a55-055f-4c28-8b35-fca6dd1c1369" providerId="ADAL" clId="{75A88773-6EE1-484E-AADE-FE631E01463B}" dt="2025-11-24T03:34:13.784" v="568203" actId="207"/>
          <ac:spMkLst>
            <pc:docMk/>
            <pc:sldMk cId="80455690" sldId="2147483093"/>
            <ac:spMk id="1650" creationId="{D4FB7056-F277-99DE-F84A-D8A10DEB503A}"/>
          </ac:spMkLst>
        </pc:spChg>
        <pc:spChg chg="add mod ord">
          <ac:chgData name="Yudi Zhu" userId="571e1a55-055f-4c28-8b35-fca6dd1c1369" providerId="ADAL" clId="{75A88773-6EE1-484E-AADE-FE631E01463B}" dt="2025-11-24T03:34:13.784" v="568197" actId="208"/>
          <ac:spMkLst>
            <pc:docMk/>
            <pc:sldMk cId="80455690" sldId="2147483093"/>
            <ac:spMk id="1651" creationId="{5EA37643-400B-B51A-6D3C-4AD00BF3694C}"/>
          </ac:spMkLst>
        </pc:spChg>
        <pc:spChg chg="add mod ord">
          <ac:chgData name="Yudi Zhu" userId="571e1a55-055f-4c28-8b35-fca6dd1c1369" providerId="ADAL" clId="{75A88773-6EE1-484E-AADE-FE631E01463B}" dt="2025-11-24T03:34:13.779" v="568188" actId="208"/>
          <ac:spMkLst>
            <pc:docMk/>
            <pc:sldMk cId="80455690" sldId="2147483093"/>
            <ac:spMk id="1652" creationId="{2BDA199B-5E45-8FE2-5B1C-4A2D036C8FE3}"/>
          </ac:spMkLst>
        </pc:spChg>
        <pc:spChg chg="add mod">
          <ac:chgData name="Yudi Zhu" userId="571e1a55-055f-4c28-8b35-fca6dd1c1369" providerId="ADAL" clId="{75A88773-6EE1-484E-AADE-FE631E01463B}" dt="2025-11-24T03:34:13.775" v="568180" actId="207"/>
          <ac:spMkLst>
            <pc:docMk/>
            <pc:sldMk cId="80455690" sldId="2147483093"/>
            <ac:spMk id="1653" creationId="{EA0E9F96-86B1-CF6A-CAB7-E81AB54B0267}"/>
          </ac:spMkLst>
        </pc:spChg>
        <pc:spChg chg="add del mod modVis">
          <ac:chgData name="Yudi Zhu" userId="571e1a55-055f-4c28-8b35-fca6dd1c1369" providerId="ADAL" clId="{75A88773-6EE1-484E-AADE-FE631E01463B}" dt="2025-11-24T03:34:22.231" v="568765"/>
          <ac:spMkLst>
            <pc:docMk/>
            <pc:sldMk cId="80455690" sldId="2147483093"/>
            <ac:spMk id="1655" creationId="{132BF2AF-7AA2-5D9D-CDA4-8E6F5C188B77}"/>
          </ac:spMkLst>
        </pc:spChg>
        <pc:spChg chg="add del mod ord">
          <ac:chgData name="Yudi Zhu" userId="571e1a55-055f-4c28-8b35-fca6dd1c1369" providerId="ADAL" clId="{75A88773-6EE1-484E-AADE-FE631E01463B}" dt="2025-11-24T03:35:36.165" v="568878"/>
          <ac:spMkLst>
            <pc:docMk/>
            <pc:sldMk cId="80455690" sldId="2147483093"/>
            <ac:spMk id="1656" creationId="{374450CF-E657-A7BB-6C90-EB8D5DCB4545}"/>
          </ac:spMkLst>
        </pc:spChg>
        <pc:spChg chg="add del mod ord">
          <ac:chgData name="Yudi Zhu" userId="571e1a55-055f-4c28-8b35-fca6dd1c1369" providerId="ADAL" clId="{75A88773-6EE1-484E-AADE-FE631E01463B}" dt="2025-11-24T03:35:36.175" v="568893"/>
          <ac:spMkLst>
            <pc:docMk/>
            <pc:sldMk cId="80455690" sldId="2147483093"/>
            <ac:spMk id="1657" creationId="{E4A94434-CE8D-5270-0A3F-8239843D5BC3}"/>
          </ac:spMkLst>
        </pc:spChg>
        <pc:spChg chg="add del mod">
          <ac:chgData name="Yudi Zhu" userId="571e1a55-055f-4c28-8b35-fca6dd1c1369" providerId="ADAL" clId="{75A88773-6EE1-484E-AADE-FE631E01463B}" dt="2025-11-24T03:35:36.185" v="568907"/>
          <ac:spMkLst>
            <pc:docMk/>
            <pc:sldMk cId="80455690" sldId="2147483093"/>
            <ac:spMk id="1658" creationId="{419BBC7A-1D71-BDBE-06EF-05C86804569D}"/>
          </ac:spMkLst>
        </pc:spChg>
        <pc:spChg chg="add del mod ord">
          <ac:chgData name="Yudi Zhu" userId="571e1a55-055f-4c28-8b35-fca6dd1c1369" providerId="ADAL" clId="{75A88773-6EE1-484E-AADE-FE631E01463B}" dt="2025-11-24T03:35:36.192" v="568919"/>
          <ac:spMkLst>
            <pc:docMk/>
            <pc:sldMk cId="80455690" sldId="2147483093"/>
            <ac:spMk id="1659" creationId="{23AE6004-850F-6FA4-2AED-62ACBD4CBB66}"/>
          </ac:spMkLst>
        </pc:spChg>
        <pc:spChg chg="add del mod ord">
          <ac:chgData name="Yudi Zhu" userId="571e1a55-055f-4c28-8b35-fca6dd1c1369" providerId="ADAL" clId="{75A88773-6EE1-484E-AADE-FE631E01463B}" dt="2025-11-24T03:35:36.197" v="568934"/>
          <ac:spMkLst>
            <pc:docMk/>
            <pc:sldMk cId="80455690" sldId="2147483093"/>
            <ac:spMk id="1660" creationId="{96D5595E-AFB0-2FC7-E19D-F4CA1EC150E1}"/>
          </ac:spMkLst>
        </pc:spChg>
        <pc:spChg chg="add del mod">
          <ac:chgData name="Yudi Zhu" userId="571e1a55-055f-4c28-8b35-fca6dd1c1369" providerId="ADAL" clId="{75A88773-6EE1-484E-AADE-FE631E01463B}" dt="2025-11-24T03:35:36.215" v="568948"/>
          <ac:spMkLst>
            <pc:docMk/>
            <pc:sldMk cId="80455690" sldId="2147483093"/>
            <ac:spMk id="1661" creationId="{A1BB72B8-1B11-1CEA-5EBF-AC5F4492315E}"/>
          </ac:spMkLst>
        </pc:spChg>
        <pc:spChg chg="add del mod modVis">
          <ac:chgData name="Yudi Zhu" userId="571e1a55-055f-4c28-8b35-fca6dd1c1369" providerId="ADAL" clId="{75A88773-6EE1-484E-AADE-FE631E01463B}" dt="2025-11-24T03:35:13.129" v="568874"/>
          <ac:spMkLst>
            <pc:docMk/>
            <pc:sldMk cId="80455690" sldId="2147483093"/>
            <ac:spMk id="1663" creationId="{3CDC23E4-DE31-1D00-2B70-B8C7824A739C}"/>
          </ac:spMkLst>
        </pc:spChg>
        <pc:spChg chg="add del mod ord">
          <ac:chgData name="Yudi Zhu" userId="571e1a55-055f-4c28-8b35-fca6dd1c1369" providerId="ADAL" clId="{75A88773-6EE1-484E-AADE-FE631E01463B}" dt="2025-11-24T03:35:45.864" v="570212"/>
          <ac:spMkLst>
            <pc:docMk/>
            <pc:sldMk cId="80455690" sldId="2147483093"/>
            <ac:spMk id="1664" creationId="{AA91855C-D879-666C-C069-8397D3B1D561}"/>
          </ac:spMkLst>
        </pc:spChg>
        <pc:spChg chg="add del mod ord">
          <ac:chgData name="Yudi Zhu" userId="571e1a55-055f-4c28-8b35-fca6dd1c1369" providerId="ADAL" clId="{75A88773-6EE1-484E-AADE-FE631E01463B}" dt="2025-11-24T03:35:45.877" v="570227"/>
          <ac:spMkLst>
            <pc:docMk/>
            <pc:sldMk cId="80455690" sldId="2147483093"/>
            <ac:spMk id="1665" creationId="{09CC4C65-6BD0-CB3B-0811-9E99E3C73520}"/>
          </ac:spMkLst>
        </pc:spChg>
        <pc:spChg chg="add del mod">
          <ac:chgData name="Yudi Zhu" userId="571e1a55-055f-4c28-8b35-fca6dd1c1369" providerId="ADAL" clId="{75A88773-6EE1-484E-AADE-FE631E01463B}" dt="2025-11-24T03:35:45.877" v="570241"/>
          <ac:spMkLst>
            <pc:docMk/>
            <pc:sldMk cId="80455690" sldId="2147483093"/>
            <ac:spMk id="1666" creationId="{289D7087-1058-B018-0E91-847B61D7CE13}"/>
          </ac:spMkLst>
        </pc:spChg>
        <pc:spChg chg="add del mod ord">
          <ac:chgData name="Yudi Zhu" userId="571e1a55-055f-4c28-8b35-fca6dd1c1369" providerId="ADAL" clId="{75A88773-6EE1-484E-AADE-FE631E01463B}" dt="2025-11-24T03:35:45.893" v="570253"/>
          <ac:spMkLst>
            <pc:docMk/>
            <pc:sldMk cId="80455690" sldId="2147483093"/>
            <ac:spMk id="1667" creationId="{78BB95B7-714F-1D1E-74C1-2AAB91D81575}"/>
          </ac:spMkLst>
        </pc:spChg>
        <pc:spChg chg="add del mod ord">
          <ac:chgData name="Yudi Zhu" userId="571e1a55-055f-4c28-8b35-fca6dd1c1369" providerId="ADAL" clId="{75A88773-6EE1-484E-AADE-FE631E01463B}" dt="2025-11-24T03:35:45.908" v="570268"/>
          <ac:spMkLst>
            <pc:docMk/>
            <pc:sldMk cId="80455690" sldId="2147483093"/>
            <ac:spMk id="1668" creationId="{9397E521-B67A-714F-88DB-AC7165578663}"/>
          </ac:spMkLst>
        </pc:spChg>
        <pc:spChg chg="add del mod">
          <ac:chgData name="Yudi Zhu" userId="571e1a55-055f-4c28-8b35-fca6dd1c1369" providerId="ADAL" clId="{75A88773-6EE1-484E-AADE-FE631E01463B}" dt="2025-11-24T03:35:45.908" v="570282"/>
          <ac:spMkLst>
            <pc:docMk/>
            <pc:sldMk cId="80455690" sldId="2147483093"/>
            <ac:spMk id="1669" creationId="{EFC84A95-6D8F-1CE8-31C9-135D20D0FFD1}"/>
          </ac:spMkLst>
        </pc:spChg>
        <pc:spChg chg="add del mod modVis">
          <ac:chgData name="Yudi Zhu" userId="571e1a55-055f-4c28-8b35-fca6dd1c1369" providerId="ADAL" clId="{75A88773-6EE1-484E-AADE-FE631E01463B}" dt="2025-11-24T03:35:36.474" v="569338"/>
          <ac:spMkLst>
            <pc:docMk/>
            <pc:sldMk cId="80455690" sldId="2147483093"/>
            <ac:spMk id="1670" creationId="{181207D9-9B5D-52CF-4E12-BA2163DC1096}"/>
          </ac:spMkLst>
        </pc:spChg>
        <pc:spChg chg="add del mod modVis">
          <ac:chgData name="Yudi Zhu" userId="571e1a55-055f-4c28-8b35-fca6dd1c1369" providerId="ADAL" clId="{75A88773-6EE1-484E-AADE-FE631E01463B}" dt="2025-11-24T03:35:43.340" v="570160" actId="962"/>
          <ac:spMkLst>
            <pc:docMk/>
            <pc:sldMk cId="80455690" sldId="2147483093"/>
            <ac:spMk id="1672" creationId="{6EA87B11-D4B8-E177-F334-9F59EB8D6C39}"/>
          </ac:spMkLst>
        </pc:spChg>
        <pc:spChg chg="add del mod modVis">
          <ac:chgData name="Yudi Zhu" userId="571e1a55-055f-4c28-8b35-fca6dd1c1369" providerId="ADAL" clId="{75A88773-6EE1-484E-AADE-FE631E01463B}" dt="2025-11-24T03:35:46.211" v="570654"/>
          <ac:spMkLst>
            <pc:docMk/>
            <pc:sldMk cId="80455690" sldId="2147483093"/>
            <ac:spMk id="1675" creationId="{3BFA5DC1-3A70-61EF-D3DB-E1A3E5306B34}"/>
          </ac:spMkLst>
        </pc:spChg>
        <pc:spChg chg="add del mod ord">
          <ac:chgData name="Yudi Zhu" userId="571e1a55-055f-4c28-8b35-fca6dd1c1369" providerId="ADAL" clId="{75A88773-6EE1-484E-AADE-FE631E01463B}" dt="2025-11-24T03:36:12.726" v="572258"/>
          <ac:spMkLst>
            <pc:docMk/>
            <pc:sldMk cId="80455690" sldId="2147483093"/>
            <ac:spMk id="1676" creationId="{E2B95ECC-57AF-7A10-CEE5-7603CE21EE15}"/>
          </ac:spMkLst>
        </pc:spChg>
        <pc:spChg chg="add del mod ord">
          <ac:chgData name="Yudi Zhu" userId="571e1a55-055f-4c28-8b35-fca6dd1c1369" providerId="ADAL" clId="{75A88773-6EE1-484E-AADE-FE631E01463B}" dt="2025-11-24T03:36:12.726" v="572273"/>
          <ac:spMkLst>
            <pc:docMk/>
            <pc:sldMk cId="80455690" sldId="2147483093"/>
            <ac:spMk id="1677" creationId="{5621824C-FFF0-018F-60FD-2EE21E6F20D0}"/>
          </ac:spMkLst>
        </pc:spChg>
        <pc:spChg chg="add del mod">
          <ac:chgData name="Yudi Zhu" userId="571e1a55-055f-4c28-8b35-fca6dd1c1369" providerId="ADAL" clId="{75A88773-6EE1-484E-AADE-FE631E01463B}" dt="2025-11-24T03:36:12.748" v="572287"/>
          <ac:spMkLst>
            <pc:docMk/>
            <pc:sldMk cId="80455690" sldId="2147483093"/>
            <ac:spMk id="1678" creationId="{F1EAB796-4F9D-1E2F-71BE-71345AF0F357}"/>
          </ac:spMkLst>
        </pc:spChg>
        <pc:spChg chg="add del mod ord">
          <ac:chgData name="Yudi Zhu" userId="571e1a55-055f-4c28-8b35-fca6dd1c1369" providerId="ADAL" clId="{75A88773-6EE1-484E-AADE-FE631E01463B}" dt="2025-11-24T03:36:12.756" v="572299"/>
          <ac:spMkLst>
            <pc:docMk/>
            <pc:sldMk cId="80455690" sldId="2147483093"/>
            <ac:spMk id="1679" creationId="{3B6B857F-47EA-2577-4B2C-826BF6083B45}"/>
          </ac:spMkLst>
        </pc:spChg>
        <pc:spChg chg="add del mod ord">
          <ac:chgData name="Yudi Zhu" userId="571e1a55-055f-4c28-8b35-fca6dd1c1369" providerId="ADAL" clId="{75A88773-6EE1-484E-AADE-FE631E01463B}" dt="2025-11-24T03:36:12.766" v="572314"/>
          <ac:spMkLst>
            <pc:docMk/>
            <pc:sldMk cId="80455690" sldId="2147483093"/>
            <ac:spMk id="1680" creationId="{3DEA0AA4-EB26-DDCE-A8FA-45B96992D973}"/>
          </ac:spMkLst>
        </pc:spChg>
        <pc:spChg chg="mod">
          <ac:chgData name="Yudi Zhu" userId="571e1a55-055f-4c28-8b35-fca6dd1c1369" providerId="ADAL" clId="{75A88773-6EE1-484E-AADE-FE631E01463B}" dt="2025-11-25T10:14:15.589" v="658268"/>
          <ac:spMkLst>
            <pc:docMk/>
            <pc:sldMk cId="80455690" sldId="2147483093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5T10:14:15.597" v="658287"/>
          <ac:spMkLst>
            <pc:docMk/>
            <pc:sldMk cId="80455690" sldId="2147483093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5T10:14:15.589" v="658269"/>
          <ac:spMkLst>
            <pc:docMk/>
            <pc:sldMk cId="80455690" sldId="2147483093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5T10:14:15.589" v="658272"/>
          <ac:spMkLst>
            <pc:docMk/>
            <pc:sldMk cId="80455690" sldId="2147483093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5T10:14:15.589" v="658273"/>
          <ac:spMkLst>
            <pc:docMk/>
            <pc:sldMk cId="80455690" sldId="2147483093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5T10:14:15.597" v="658293"/>
          <ac:spMkLst>
            <pc:docMk/>
            <pc:sldMk cId="80455690" sldId="2147483093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5T10:14:15.597" v="658288"/>
          <ac:spMkLst>
            <pc:docMk/>
            <pc:sldMk cId="80455690" sldId="2147483093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5T10:14:15.597" v="658282"/>
          <ac:spMkLst>
            <pc:docMk/>
            <pc:sldMk cId="80455690" sldId="2147483093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5T10:14:15.597" v="658283"/>
          <ac:spMkLst>
            <pc:docMk/>
            <pc:sldMk cId="80455690" sldId="2147483093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5T10:14:15.605" v="658294"/>
          <ac:spMkLst>
            <pc:docMk/>
            <pc:sldMk cId="80455690" sldId="2147483093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5T10:14:15.597" v="658286"/>
          <ac:spMkLst>
            <pc:docMk/>
            <pc:sldMk cId="80455690" sldId="2147483093"/>
            <ac:spMk id="1691" creationId="{C50F3DAA-EFE1-8572-5206-F1A4416A7C6F}"/>
          </ac:spMkLst>
        </pc:spChg>
        <pc:spChg chg="add del mod">
          <ac:chgData name="Yudi Zhu" userId="571e1a55-055f-4c28-8b35-fca6dd1c1369" providerId="ADAL" clId="{75A88773-6EE1-484E-AADE-FE631E01463B}" dt="2025-11-24T03:36:12.774" v="572328"/>
          <ac:spMkLst>
            <pc:docMk/>
            <pc:sldMk cId="80455690" sldId="2147483093"/>
            <ac:spMk id="1692" creationId="{98E61EA2-A954-9112-7E87-08198524647B}"/>
          </ac:spMkLst>
        </pc:spChg>
        <pc:spChg chg="add del mod modVis">
          <ac:chgData name="Yudi Zhu" userId="571e1a55-055f-4c28-8b35-fca6dd1c1369" providerId="ADAL" clId="{75A88773-6EE1-484E-AADE-FE631E01463B}" dt="2025-11-24T03:36:10.741" v="572202" actId="962"/>
          <ac:spMkLst>
            <pc:docMk/>
            <pc:sldMk cId="80455690" sldId="2147483093"/>
            <ac:spMk id="1695" creationId="{DDB8E71B-DD01-0355-3C9B-516C384536B1}"/>
          </ac:spMkLst>
        </pc:spChg>
        <pc:spChg chg="add del mod modVis">
          <ac:chgData name="Yudi Zhu" userId="571e1a55-055f-4c28-8b35-fca6dd1c1369" providerId="ADAL" clId="{75A88773-6EE1-484E-AADE-FE631E01463B}" dt="2025-11-24T03:36:13.039" v="572700"/>
          <ac:spMkLst>
            <pc:docMk/>
            <pc:sldMk cId="80455690" sldId="2147483093"/>
            <ac:spMk id="1699" creationId="{1508B317-56FE-41EE-9DD8-5BB643357FD9}"/>
          </ac:spMkLst>
        </pc:spChg>
        <pc:spChg chg="add del mod ord">
          <ac:chgData name="Yudi Zhu" userId="571e1a55-055f-4c28-8b35-fca6dd1c1369" providerId="ADAL" clId="{75A88773-6EE1-484E-AADE-FE631E01463B}" dt="2025-11-24T03:53:10.386" v="604496"/>
          <ac:spMkLst>
            <pc:docMk/>
            <pc:sldMk cId="80455690" sldId="2147483093"/>
            <ac:spMk id="1700" creationId="{E21D95B8-B654-AED4-6707-5FB16FA87F94}"/>
          </ac:spMkLst>
        </pc:spChg>
        <pc:spChg chg="add del mod ord">
          <ac:chgData name="Yudi Zhu" userId="571e1a55-055f-4c28-8b35-fca6dd1c1369" providerId="ADAL" clId="{75A88773-6EE1-484E-AADE-FE631E01463B}" dt="2025-11-24T03:53:10.400" v="604511"/>
          <ac:spMkLst>
            <pc:docMk/>
            <pc:sldMk cId="80455690" sldId="2147483093"/>
            <ac:spMk id="1701" creationId="{3C6AD452-6ADE-8C1B-C502-F99B6FDBAF00}"/>
          </ac:spMkLst>
        </pc:spChg>
        <pc:spChg chg="add del mod">
          <ac:chgData name="Yudi Zhu" userId="571e1a55-055f-4c28-8b35-fca6dd1c1369" providerId="ADAL" clId="{75A88773-6EE1-484E-AADE-FE631E01463B}" dt="2025-11-24T03:53:10.409" v="604525"/>
          <ac:spMkLst>
            <pc:docMk/>
            <pc:sldMk cId="80455690" sldId="2147483093"/>
            <ac:spMk id="1702" creationId="{CDEE0FFC-2A0F-26BD-DC00-71BB89C69889}"/>
          </ac:spMkLst>
        </pc:spChg>
        <pc:spChg chg="add del mod ord">
          <ac:chgData name="Yudi Zhu" userId="571e1a55-055f-4c28-8b35-fca6dd1c1369" providerId="ADAL" clId="{75A88773-6EE1-484E-AADE-FE631E01463B}" dt="2025-11-24T03:53:10.418" v="604537"/>
          <ac:spMkLst>
            <pc:docMk/>
            <pc:sldMk cId="80455690" sldId="2147483093"/>
            <ac:spMk id="1703" creationId="{0EA2BD7C-20C3-8B63-8D80-CF33ECE6F61A}"/>
          </ac:spMkLst>
        </pc:spChg>
        <pc:spChg chg="add del mod ord">
          <ac:chgData name="Yudi Zhu" userId="571e1a55-055f-4c28-8b35-fca6dd1c1369" providerId="ADAL" clId="{75A88773-6EE1-484E-AADE-FE631E01463B}" dt="2025-11-24T03:53:10.428" v="604552"/>
          <ac:spMkLst>
            <pc:docMk/>
            <pc:sldMk cId="80455690" sldId="2147483093"/>
            <ac:spMk id="1704" creationId="{2DFAB557-C688-A7F3-8223-F0686DF9F340}"/>
          </ac:spMkLst>
        </pc:spChg>
        <pc:spChg chg="add del mod">
          <ac:chgData name="Yudi Zhu" userId="571e1a55-055f-4c28-8b35-fca6dd1c1369" providerId="ADAL" clId="{75A88773-6EE1-484E-AADE-FE631E01463B}" dt="2025-11-24T03:53:10.428" v="604566"/>
          <ac:spMkLst>
            <pc:docMk/>
            <pc:sldMk cId="80455690" sldId="2147483093"/>
            <ac:spMk id="1705" creationId="{B5CA2156-9DDC-88D9-4BE9-C8F060372C98}"/>
          </ac:spMkLst>
        </pc:spChg>
        <pc:spChg chg="add del mod modVis">
          <ac:chgData name="Yudi Zhu" userId="571e1a55-055f-4c28-8b35-fca6dd1c1369" providerId="ADAL" clId="{75A88773-6EE1-484E-AADE-FE631E01463B}" dt="2025-11-24T03:36:16.326" v="573353"/>
          <ac:spMkLst>
            <pc:docMk/>
            <pc:sldMk cId="80455690" sldId="2147483093"/>
            <ac:spMk id="1708" creationId="{D2BA1728-5527-E4A7-65B0-B562B685A755}"/>
          </ac:spMkLst>
        </pc:spChg>
        <pc:spChg chg="add del mod modVis">
          <ac:chgData name="Yudi Zhu" userId="571e1a55-055f-4c28-8b35-fca6dd1c1369" providerId="ADAL" clId="{75A88773-6EE1-484E-AADE-FE631E01463B}" dt="2025-11-24T03:36:21.210" v="573684"/>
          <ac:spMkLst>
            <pc:docMk/>
            <pc:sldMk cId="80455690" sldId="2147483093"/>
            <ac:spMk id="1710" creationId="{9567C555-CF59-EECD-CCC1-0063DC48EE41}"/>
          </ac:spMkLst>
        </pc:spChg>
        <pc:spChg chg="add del mod modVis">
          <ac:chgData name="Yudi Zhu" userId="571e1a55-055f-4c28-8b35-fca6dd1c1369" providerId="ADAL" clId="{75A88773-6EE1-484E-AADE-FE631E01463B}" dt="2025-11-24T03:36:27.467" v="574014"/>
          <ac:spMkLst>
            <pc:docMk/>
            <pc:sldMk cId="80455690" sldId="2147483093"/>
            <ac:spMk id="1712" creationId="{68266010-08D9-A639-CAAE-98314ACAFB50}"/>
          </ac:spMkLst>
        </pc:spChg>
        <pc:spChg chg="add del mod">
          <ac:chgData name="Yudi Zhu" userId="571e1a55-055f-4c28-8b35-fca6dd1c1369" providerId="ADAL" clId="{75A88773-6EE1-484E-AADE-FE631E01463B}" dt="2025-11-24T04:14:47.360" v="625413"/>
          <ac:spMkLst>
            <pc:docMk/>
            <pc:sldMk cId="80455690" sldId="2147483093"/>
            <ac:spMk id="1714" creationId="{3EADAD8B-994C-A1A7-E96B-43327F90020B}"/>
          </ac:spMkLst>
        </pc:spChg>
        <pc:spChg chg="add del mod modVis">
          <ac:chgData name="Yudi Zhu" userId="571e1a55-055f-4c28-8b35-fca6dd1c1369" providerId="ADAL" clId="{75A88773-6EE1-484E-AADE-FE631E01463B}" dt="2025-11-24T03:43:10.825" v="574550"/>
          <ac:spMkLst>
            <pc:docMk/>
            <pc:sldMk cId="80455690" sldId="2147483093"/>
            <ac:spMk id="1715" creationId="{A71D3A82-74FD-E11A-704B-508ECD993D35}"/>
          </ac:spMkLst>
        </pc:spChg>
        <pc:spChg chg="add del mod">
          <ac:chgData name="Yudi Zhu" userId="571e1a55-055f-4c28-8b35-fca6dd1c1369" providerId="ADAL" clId="{75A88773-6EE1-484E-AADE-FE631E01463B}" dt="2025-11-24T04:14:47.362" v="625414"/>
          <ac:spMkLst>
            <pc:docMk/>
            <pc:sldMk cId="80455690" sldId="2147483093"/>
            <ac:spMk id="1716" creationId="{ABEEB608-D02B-FC17-C2F9-973E35A634FC}"/>
          </ac:spMkLst>
        </pc:spChg>
        <pc:spChg chg="add del mod">
          <ac:chgData name="Yudi Zhu" userId="571e1a55-055f-4c28-8b35-fca6dd1c1369" providerId="ADAL" clId="{75A88773-6EE1-484E-AADE-FE631E01463B}" dt="2025-11-24T04:14:47.363" v="625415"/>
          <ac:spMkLst>
            <pc:docMk/>
            <pc:sldMk cId="80455690" sldId="2147483093"/>
            <ac:spMk id="1717" creationId="{052FFC67-4560-6F9B-8794-75D78491BD22}"/>
          </ac:spMkLst>
        </pc:spChg>
        <pc:spChg chg="del mod">
          <ac:chgData name="Yudi Zhu" userId="571e1a55-055f-4c28-8b35-fca6dd1c1369" providerId="ADAL" clId="{75A88773-6EE1-484E-AADE-FE631E01463B}" dt="2025-11-24T04:11:11.826" v="615731" actId="21"/>
          <ac:spMkLst>
            <pc:docMk/>
            <pc:sldMk cId="80455690" sldId="2147483093"/>
            <ac:spMk id="1723" creationId="{4500BE63-029C-8CC6-1A95-233F327A1EC8}"/>
          </ac:spMkLst>
        </pc:spChg>
        <pc:spChg chg="add del mod modVis">
          <ac:chgData name="Yudi Zhu" userId="571e1a55-055f-4c28-8b35-fca6dd1c1369" providerId="ADAL" clId="{75A88773-6EE1-484E-AADE-FE631E01463B}" dt="2025-11-24T03:44:02.125" v="576726"/>
          <ac:spMkLst>
            <pc:docMk/>
            <pc:sldMk cId="80455690" sldId="2147483093"/>
            <ac:spMk id="1728" creationId="{FEA640A7-83CB-EA62-C235-B96672841F73}"/>
          </ac:spMkLst>
        </pc:spChg>
        <pc:spChg chg="add del mod modVis">
          <ac:chgData name="Yudi Zhu" userId="571e1a55-055f-4c28-8b35-fca6dd1c1369" providerId="ADAL" clId="{75A88773-6EE1-484E-AADE-FE631E01463B}" dt="2025-11-24T03:44:10.240" v="577060"/>
          <ac:spMkLst>
            <pc:docMk/>
            <pc:sldMk cId="80455690" sldId="2147483093"/>
            <ac:spMk id="1730" creationId="{D49ECC28-0C0D-3267-6EFD-DF59C3E21FD2}"/>
          </ac:spMkLst>
        </pc:spChg>
        <pc:spChg chg="add del mod modVis">
          <ac:chgData name="Yudi Zhu" userId="571e1a55-055f-4c28-8b35-fca6dd1c1369" providerId="ADAL" clId="{75A88773-6EE1-484E-AADE-FE631E01463B}" dt="2025-11-24T03:44:12.091" v="577391"/>
          <ac:spMkLst>
            <pc:docMk/>
            <pc:sldMk cId="80455690" sldId="2147483093"/>
            <ac:spMk id="1732" creationId="{B4D55E39-5D9A-B39C-8889-9203D91FDA3E}"/>
          </ac:spMkLst>
        </pc:spChg>
        <pc:spChg chg="add del mod modVis">
          <ac:chgData name="Yudi Zhu" userId="571e1a55-055f-4c28-8b35-fca6dd1c1369" providerId="ADAL" clId="{75A88773-6EE1-484E-AADE-FE631E01463B}" dt="2025-11-24T03:44:15.752" v="577725"/>
          <ac:spMkLst>
            <pc:docMk/>
            <pc:sldMk cId="80455690" sldId="2147483093"/>
            <ac:spMk id="1734" creationId="{2F730BA0-1012-5643-DAA3-B7971B7E2AA2}"/>
          </ac:spMkLst>
        </pc:spChg>
        <pc:spChg chg="add del mod modVis">
          <ac:chgData name="Yudi Zhu" userId="571e1a55-055f-4c28-8b35-fca6dd1c1369" providerId="ADAL" clId="{75A88773-6EE1-484E-AADE-FE631E01463B}" dt="2025-11-24T03:44:19.160" v="578052"/>
          <ac:spMkLst>
            <pc:docMk/>
            <pc:sldMk cId="80455690" sldId="2147483093"/>
            <ac:spMk id="1736" creationId="{E91A705A-8FA6-434F-9338-4DFE40EC3EA9}"/>
          </ac:spMkLst>
        </pc:spChg>
        <pc:spChg chg="add del mod">
          <ac:chgData name="Yudi Zhu" userId="571e1a55-055f-4c28-8b35-fca6dd1c1369" providerId="ADAL" clId="{75A88773-6EE1-484E-AADE-FE631E01463B}" dt="2025-11-24T03:44:36.793" v="578394"/>
          <ac:spMkLst>
            <pc:docMk/>
            <pc:sldMk cId="80455690" sldId="2147483093"/>
            <ac:spMk id="1738" creationId="{0BDC3F12-CC09-92E9-1063-720A82105E3E}"/>
          </ac:spMkLst>
        </pc:spChg>
        <pc:spChg chg="add del mod modVis">
          <ac:chgData name="Yudi Zhu" userId="571e1a55-055f-4c28-8b35-fca6dd1c1369" providerId="ADAL" clId="{75A88773-6EE1-484E-AADE-FE631E01463B}" dt="2025-11-24T03:44:23.658" v="578391"/>
          <ac:spMkLst>
            <pc:docMk/>
            <pc:sldMk cId="80455690" sldId="2147483093"/>
            <ac:spMk id="1739" creationId="{020F187E-8E9F-6A1F-7183-AB36B0CAF95A}"/>
          </ac:spMkLst>
        </pc:spChg>
        <pc:spChg chg="add del mod modVis">
          <ac:chgData name="Yudi Zhu" userId="571e1a55-055f-4c28-8b35-fca6dd1c1369" providerId="ADAL" clId="{75A88773-6EE1-484E-AADE-FE631E01463B}" dt="2025-11-24T03:44:37.006" v="578719"/>
          <ac:spMkLst>
            <pc:docMk/>
            <pc:sldMk cId="80455690" sldId="2147483093"/>
            <ac:spMk id="1741" creationId="{F7891A83-6248-A579-8791-8817E1C90382}"/>
          </ac:spMkLst>
        </pc:spChg>
        <pc:spChg chg="add del mod modVis">
          <ac:chgData name="Yudi Zhu" userId="571e1a55-055f-4c28-8b35-fca6dd1c1369" providerId="ADAL" clId="{75A88773-6EE1-484E-AADE-FE631E01463B}" dt="2025-11-24T03:45:07.138" v="579046"/>
          <ac:spMkLst>
            <pc:docMk/>
            <pc:sldMk cId="80455690" sldId="2147483093"/>
            <ac:spMk id="1743" creationId="{78FBBDE4-E479-7471-8527-DB6FA458B019}"/>
          </ac:spMkLst>
        </pc:spChg>
        <pc:spChg chg="add del mod">
          <ac:chgData name="Yudi Zhu" userId="571e1a55-055f-4c28-8b35-fca6dd1c1369" providerId="ADAL" clId="{75A88773-6EE1-484E-AADE-FE631E01463B}" dt="2025-11-24T03:46:07.960" v="582444"/>
          <ac:spMkLst>
            <pc:docMk/>
            <pc:sldMk cId="80455690" sldId="2147483093"/>
            <ac:spMk id="1745" creationId="{369EAF32-BC8F-DA45-F27A-20FBFDE20CA5}"/>
          </ac:spMkLst>
        </pc:spChg>
        <pc:spChg chg="add del mod modVis">
          <ac:chgData name="Yudi Zhu" userId="571e1a55-055f-4c28-8b35-fca6dd1c1369" providerId="ADAL" clId="{75A88773-6EE1-484E-AADE-FE631E01463B}" dt="2025-11-24T03:45:10.728" v="579380"/>
          <ac:spMkLst>
            <pc:docMk/>
            <pc:sldMk cId="80455690" sldId="2147483093"/>
            <ac:spMk id="1746" creationId="{DAE512AC-E436-C8D5-3DAC-633762476939}"/>
          </ac:spMkLst>
        </pc:spChg>
        <pc:spChg chg="add del mod modVis">
          <ac:chgData name="Yudi Zhu" userId="571e1a55-055f-4c28-8b35-fca6dd1c1369" providerId="ADAL" clId="{75A88773-6EE1-484E-AADE-FE631E01463B}" dt="2025-11-24T03:45:14.759" v="579873"/>
          <ac:spMkLst>
            <pc:docMk/>
            <pc:sldMk cId="80455690" sldId="2147483093"/>
            <ac:spMk id="1748" creationId="{6E92393C-51FE-CF67-246D-78AB6BE9B44B}"/>
          </ac:spMkLst>
        </pc:spChg>
        <pc:spChg chg="add del mod ord">
          <ac:chgData name="Yudi Zhu" userId="571e1a55-055f-4c28-8b35-fca6dd1c1369" providerId="ADAL" clId="{75A88773-6EE1-484E-AADE-FE631E01463B}" dt="2025-11-24T03:49:58.500" v="597275"/>
          <ac:spMkLst>
            <pc:docMk/>
            <pc:sldMk cId="80455690" sldId="2147483093"/>
            <ac:spMk id="1749" creationId="{16C1F6C8-D58C-2187-FED2-9921A3208BC8}"/>
          </ac:spMkLst>
        </pc:spChg>
        <pc:spChg chg="add del mod ord">
          <ac:chgData name="Yudi Zhu" userId="571e1a55-055f-4c28-8b35-fca6dd1c1369" providerId="ADAL" clId="{75A88773-6EE1-484E-AADE-FE631E01463B}" dt="2025-11-24T03:45:41.223" v="580281"/>
          <ac:spMkLst>
            <pc:docMk/>
            <pc:sldMk cId="80455690" sldId="2147483093"/>
            <ac:spMk id="1750" creationId="{A1569B41-C574-06C4-1F5B-3A06EAC066DE}"/>
          </ac:spMkLst>
        </pc:spChg>
        <pc:spChg chg="add del mod ord">
          <ac:chgData name="Yudi Zhu" userId="571e1a55-055f-4c28-8b35-fca6dd1c1369" providerId="ADAL" clId="{75A88773-6EE1-484E-AADE-FE631E01463B}" dt="2025-11-24T03:45:38.718" v="579923"/>
          <ac:spMkLst>
            <pc:docMk/>
            <pc:sldMk cId="80455690" sldId="2147483093"/>
            <ac:spMk id="1751" creationId="{4894382D-D546-D557-C4B0-5DFB23D56BE8}"/>
          </ac:spMkLst>
        </pc:spChg>
        <pc:spChg chg="add del mod ord">
          <ac:chgData name="Yudi Zhu" userId="571e1a55-055f-4c28-8b35-fca6dd1c1369" providerId="ADAL" clId="{75A88773-6EE1-484E-AADE-FE631E01463B}" dt="2025-11-24T03:45:41.243" v="580297"/>
          <ac:spMkLst>
            <pc:docMk/>
            <pc:sldMk cId="80455690" sldId="2147483093"/>
            <ac:spMk id="1752" creationId="{5F88EAB1-622B-9EEE-6768-8F427F4DBCDF}"/>
          </ac:spMkLst>
        </pc:spChg>
        <pc:spChg chg="add del mod modVis">
          <ac:chgData name="Yudi Zhu" userId="571e1a55-055f-4c28-8b35-fca6dd1c1369" providerId="ADAL" clId="{75A88773-6EE1-484E-AADE-FE631E01463B}" dt="2025-11-24T03:45:38.998" v="580239"/>
          <ac:spMkLst>
            <pc:docMk/>
            <pc:sldMk cId="80455690" sldId="2147483093"/>
            <ac:spMk id="1755" creationId="{EB4E28FF-4D17-AA93-9EF1-F328E67D7B1B}"/>
          </ac:spMkLst>
        </pc:spChg>
        <pc:spChg chg="add del mod modVis">
          <ac:chgData name="Yudi Zhu" userId="571e1a55-055f-4c28-8b35-fca6dd1c1369" providerId="ADAL" clId="{75A88773-6EE1-484E-AADE-FE631E01463B}" dt="2025-11-24T03:45:41.421" v="580599"/>
          <ac:spMkLst>
            <pc:docMk/>
            <pc:sldMk cId="80455690" sldId="2147483093"/>
            <ac:spMk id="1757" creationId="{89ADC72A-1574-7717-5B56-2162ACE86617}"/>
          </ac:spMkLst>
        </pc:spChg>
        <pc:spChg chg="add del mod modVis">
          <ac:chgData name="Yudi Zhu" userId="571e1a55-055f-4c28-8b35-fca6dd1c1369" providerId="ADAL" clId="{75A88773-6EE1-484E-AADE-FE631E01463B}" dt="2025-11-24T03:45:46.046" v="580948"/>
          <ac:spMkLst>
            <pc:docMk/>
            <pc:sldMk cId="80455690" sldId="2147483093"/>
            <ac:spMk id="1760" creationId="{5580903B-5BEF-7CA9-27F4-1D0A9A0AD4D3}"/>
          </ac:spMkLst>
        </pc:spChg>
        <pc:spChg chg="add del mod ord">
          <ac:chgData name="Yudi Zhu" userId="571e1a55-055f-4c28-8b35-fca6dd1c1369" providerId="ADAL" clId="{75A88773-6EE1-484E-AADE-FE631E01463B}" dt="2025-11-24T03:47:14.770" v="586765"/>
          <ac:spMkLst>
            <pc:docMk/>
            <pc:sldMk cId="80455690" sldId="2147483093"/>
            <ac:spMk id="1762" creationId="{D8A86B26-5B8E-47F7-C7F9-13DDEB529DDE}"/>
          </ac:spMkLst>
        </pc:spChg>
        <pc:spChg chg="add del mod">
          <ac:chgData name="Yudi Zhu" userId="571e1a55-055f-4c28-8b35-fca6dd1c1369" providerId="ADAL" clId="{75A88773-6EE1-484E-AADE-FE631E01463B}" dt="2025-11-24T03:47:16.020" v="587088"/>
          <ac:spMkLst>
            <pc:docMk/>
            <pc:sldMk cId="80455690" sldId="2147483093"/>
            <ac:spMk id="1764" creationId="{B3F170B4-6A92-3F1E-5F93-A8651D743755}"/>
          </ac:spMkLst>
        </pc:spChg>
        <pc:spChg chg="add del mod modVis">
          <ac:chgData name="Yudi Zhu" userId="571e1a55-055f-4c28-8b35-fca6dd1c1369" providerId="ADAL" clId="{75A88773-6EE1-484E-AADE-FE631E01463B}" dt="2025-11-24T03:45:49.353" v="581368"/>
          <ac:spMkLst>
            <pc:docMk/>
            <pc:sldMk cId="80455690" sldId="2147483093"/>
            <ac:spMk id="1765" creationId="{1F24AF9D-C3C7-2BFA-78FC-39920169E971}"/>
          </ac:spMkLst>
        </pc:spChg>
        <pc:spChg chg="add del mod ord">
          <ac:chgData name="Yudi Zhu" userId="571e1a55-055f-4c28-8b35-fca6dd1c1369" providerId="ADAL" clId="{75A88773-6EE1-484E-AADE-FE631E01463B}" dt="2025-11-24T03:45:50.824" v="581400"/>
          <ac:spMkLst>
            <pc:docMk/>
            <pc:sldMk cId="80455690" sldId="2147483093"/>
            <ac:spMk id="1766" creationId="{C1A63F30-A68B-ACCA-2E4E-0ECDE7ABFB1D}"/>
          </ac:spMkLst>
        </pc:spChg>
        <pc:spChg chg="add del mod modVis">
          <ac:chgData name="Yudi Zhu" userId="571e1a55-055f-4c28-8b35-fca6dd1c1369" providerId="ADAL" clId="{75A88773-6EE1-484E-AADE-FE631E01463B}" dt="2025-11-24T03:45:51.042" v="581705"/>
          <ac:spMkLst>
            <pc:docMk/>
            <pc:sldMk cId="80455690" sldId="2147483093"/>
            <ac:spMk id="1769" creationId="{A62DA53E-5B25-67C8-D62C-26CB31609B2A}"/>
          </ac:spMkLst>
        </pc:spChg>
        <pc:spChg chg="add del mod">
          <ac:chgData name="Yudi Zhu" userId="571e1a55-055f-4c28-8b35-fca6dd1c1369" providerId="ADAL" clId="{75A88773-6EE1-484E-AADE-FE631E01463B}" dt="2025-11-24T03:46:29.267" v="583823"/>
          <ac:spMkLst>
            <pc:docMk/>
            <pc:sldMk cId="80455690" sldId="2147483093"/>
            <ac:spMk id="1775" creationId="{84FB134B-FE48-FE10-623E-F2BA70638BCF}"/>
          </ac:spMkLst>
        </pc:spChg>
        <pc:spChg chg="add del mod modVis">
          <ac:chgData name="Yudi Zhu" userId="571e1a55-055f-4c28-8b35-fca6dd1c1369" providerId="ADAL" clId="{75A88773-6EE1-484E-AADE-FE631E01463B}" dt="2025-11-24T03:46:25.369" v="583513"/>
          <ac:spMkLst>
            <pc:docMk/>
            <pc:sldMk cId="80455690" sldId="2147483093"/>
            <ac:spMk id="1776" creationId="{D7836AA4-93C4-E205-9D07-70639D9F24F3}"/>
          </ac:spMkLst>
        </pc:spChg>
        <pc:spChg chg="add del mod modVis">
          <ac:chgData name="Yudi Zhu" userId="571e1a55-055f-4c28-8b35-fca6dd1c1369" providerId="ADAL" clId="{75A88773-6EE1-484E-AADE-FE631E01463B}" dt="2025-11-24T03:46:33.254" v="584669"/>
          <ac:spMkLst>
            <pc:docMk/>
            <pc:sldMk cId="80455690" sldId="2147483093"/>
            <ac:spMk id="1780" creationId="{9613CFF2-7241-113A-4DBA-DB68D5CE2D33}"/>
          </ac:spMkLst>
        </pc:spChg>
        <pc:spChg chg="add del mod ord">
          <ac:chgData name="Yudi Zhu" userId="571e1a55-055f-4c28-8b35-fca6dd1c1369" providerId="ADAL" clId="{75A88773-6EE1-484E-AADE-FE631E01463B}" dt="2025-11-24T03:49:58.485" v="597274"/>
          <ac:spMkLst>
            <pc:docMk/>
            <pc:sldMk cId="80455690" sldId="2147483093"/>
            <ac:spMk id="1781" creationId="{325DF9B1-80E4-A4F5-589D-5D47295AA7D3}"/>
          </ac:spMkLst>
        </pc:spChg>
        <pc:spChg chg="add del mod ord">
          <ac:chgData name="Yudi Zhu" userId="571e1a55-055f-4c28-8b35-fca6dd1c1369" providerId="ADAL" clId="{75A88773-6EE1-484E-AADE-FE631E01463B}" dt="2025-11-24T03:47:14.688" v="586734"/>
          <ac:spMkLst>
            <pc:docMk/>
            <pc:sldMk cId="80455690" sldId="2147483093"/>
            <ac:spMk id="1782" creationId="{0510FA9E-537F-BFBC-845F-821FF328326B}"/>
          </ac:spMkLst>
        </pc:spChg>
        <pc:spChg chg="add del mod">
          <ac:chgData name="Yudi Zhu" userId="571e1a55-055f-4c28-8b35-fca6dd1c1369" providerId="ADAL" clId="{75A88773-6EE1-484E-AADE-FE631E01463B}" dt="2025-11-24T03:47:16.019" v="587087"/>
          <ac:spMkLst>
            <pc:docMk/>
            <pc:sldMk cId="80455690" sldId="2147483093"/>
            <ac:spMk id="1783" creationId="{126A188A-10ED-3B56-7A2D-A9BEF9765DAA}"/>
          </ac:spMkLst>
        </pc:spChg>
        <pc:spChg chg="del mod">
          <ac:chgData name="Yudi Zhu" userId="571e1a55-055f-4c28-8b35-fca6dd1c1369" providerId="ADAL" clId="{75A88773-6EE1-484E-AADE-FE631E01463B}" dt="2025-11-24T04:13:30.967" v="622313"/>
          <ac:spMkLst>
            <pc:docMk/>
            <pc:sldMk cId="80455690" sldId="2147483093"/>
            <ac:spMk id="1790" creationId="{097625FA-5686-DCF5-B817-A29F9D4727EA}"/>
          </ac:spMkLst>
        </pc:spChg>
        <pc:spChg chg="del mod">
          <ac:chgData name="Yudi Zhu" userId="571e1a55-055f-4c28-8b35-fca6dd1c1369" providerId="ADAL" clId="{75A88773-6EE1-484E-AADE-FE631E01463B}" dt="2025-11-24T04:13:30.967" v="622317"/>
          <ac:spMkLst>
            <pc:docMk/>
            <pc:sldMk cId="80455690" sldId="2147483093"/>
            <ac:spMk id="1791" creationId="{DEF9D83D-D4C4-4027-4A1D-F5596539654C}"/>
          </ac:spMkLst>
        </pc:spChg>
        <pc:spChg chg="del mod ord">
          <ac:chgData name="Yudi Zhu" userId="571e1a55-055f-4c28-8b35-fca6dd1c1369" providerId="ADAL" clId="{75A88773-6EE1-484E-AADE-FE631E01463B}" dt="2025-11-24T04:13:30.967" v="622318"/>
          <ac:spMkLst>
            <pc:docMk/>
            <pc:sldMk cId="80455690" sldId="2147483093"/>
            <ac:spMk id="1792" creationId="{457AA552-7E43-4131-3939-67AF0903A526}"/>
          </ac:spMkLst>
        </pc:spChg>
        <pc:spChg chg="del mod ord">
          <ac:chgData name="Yudi Zhu" userId="571e1a55-055f-4c28-8b35-fca6dd1c1369" providerId="ADAL" clId="{75A88773-6EE1-484E-AADE-FE631E01463B}" dt="2025-11-24T04:13:30.967" v="622320"/>
          <ac:spMkLst>
            <pc:docMk/>
            <pc:sldMk cId="80455690" sldId="2147483093"/>
            <ac:spMk id="1793" creationId="{49B7EED3-55F2-EC31-271D-C5C5BE26DD37}"/>
          </ac:spMkLst>
        </pc:spChg>
        <pc:spChg chg="del mod ord">
          <ac:chgData name="Yudi Zhu" userId="571e1a55-055f-4c28-8b35-fca6dd1c1369" providerId="ADAL" clId="{75A88773-6EE1-484E-AADE-FE631E01463B}" dt="2025-11-24T04:13:30.967" v="622316"/>
          <ac:spMkLst>
            <pc:docMk/>
            <pc:sldMk cId="80455690" sldId="2147483093"/>
            <ac:spMk id="1794" creationId="{C46898E2-09A3-DE10-6BB4-419D080C0C97}"/>
          </ac:spMkLst>
        </pc:spChg>
        <pc:spChg chg="del mod ord">
          <ac:chgData name="Yudi Zhu" userId="571e1a55-055f-4c28-8b35-fca6dd1c1369" providerId="ADAL" clId="{75A88773-6EE1-484E-AADE-FE631E01463B}" dt="2025-11-24T04:13:30.967" v="622321"/>
          <ac:spMkLst>
            <pc:docMk/>
            <pc:sldMk cId="80455690" sldId="2147483093"/>
            <ac:spMk id="1795" creationId="{56231662-B4A5-BFA4-F972-D6312D2A7DFA}"/>
          </ac:spMkLst>
        </pc:spChg>
        <pc:spChg chg="del mod ord">
          <ac:chgData name="Yudi Zhu" userId="571e1a55-055f-4c28-8b35-fca6dd1c1369" providerId="ADAL" clId="{75A88773-6EE1-484E-AADE-FE631E01463B}" dt="2025-11-24T04:13:30.967" v="622314"/>
          <ac:spMkLst>
            <pc:docMk/>
            <pc:sldMk cId="80455690" sldId="2147483093"/>
            <ac:spMk id="1796" creationId="{B96FE47B-79DC-89A5-2C60-01F5168C6F48}"/>
          </ac:spMkLst>
        </pc:spChg>
        <pc:spChg chg="del mod ord">
          <ac:chgData name="Yudi Zhu" userId="571e1a55-055f-4c28-8b35-fca6dd1c1369" providerId="ADAL" clId="{75A88773-6EE1-484E-AADE-FE631E01463B}" dt="2025-11-24T04:13:30.967" v="622312"/>
          <ac:spMkLst>
            <pc:docMk/>
            <pc:sldMk cId="80455690" sldId="2147483093"/>
            <ac:spMk id="1797" creationId="{0B25F4BA-5FF3-F040-8305-7A2E2C6277DC}"/>
          </ac:spMkLst>
        </pc:spChg>
        <pc:spChg chg="del mod ord">
          <ac:chgData name="Yudi Zhu" userId="571e1a55-055f-4c28-8b35-fca6dd1c1369" providerId="ADAL" clId="{75A88773-6EE1-484E-AADE-FE631E01463B}" dt="2025-11-24T04:13:30.967" v="622322"/>
          <ac:spMkLst>
            <pc:docMk/>
            <pc:sldMk cId="80455690" sldId="2147483093"/>
            <ac:spMk id="1798" creationId="{BAF78A19-A084-6BDB-AF15-EEDDA69BD191}"/>
          </ac:spMkLst>
        </pc:spChg>
        <pc:spChg chg="del mod ord">
          <ac:chgData name="Yudi Zhu" userId="571e1a55-055f-4c28-8b35-fca6dd1c1369" providerId="ADAL" clId="{75A88773-6EE1-484E-AADE-FE631E01463B}" dt="2025-11-24T04:13:30.967" v="622323"/>
          <ac:spMkLst>
            <pc:docMk/>
            <pc:sldMk cId="80455690" sldId="2147483093"/>
            <ac:spMk id="1799" creationId="{B9719039-1DC2-ED72-5DB7-C91F2F087453}"/>
          </ac:spMkLst>
        </pc:spChg>
        <pc:spChg chg="del mod ord">
          <ac:chgData name="Yudi Zhu" userId="571e1a55-055f-4c28-8b35-fca6dd1c1369" providerId="ADAL" clId="{75A88773-6EE1-484E-AADE-FE631E01463B}" dt="2025-11-24T04:13:30.967" v="622315"/>
          <ac:spMkLst>
            <pc:docMk/>
            <pc:sldMk cId="80455690" sldId="2147483093"/>
            <ac:spMk id="1800" creationId="{75FE1217-CF43-2C19-09C9-A9FAED99A004}"/>
          </ac:spMkLst>
        </pc:spChg>
        <pc:spChg chg="del mod">
          <ac:chgData name="Yudi Zhu" userId="571e1a55-055f-4c28-8b35-fca6dd1c1369" providerId="ADAL" clId="{75A88773-6EE1-484E-AADE-FE631E01463B}" dt="2025-11-24T04:13:30.967" v="622319"/>
          <ac:spMkLst>
            <pc:docMk/>
            <pc:sldMk cId="80455690" sldId="2147483093"/>
            <ac:spMk id="1801" creationId="{E8C41538-DD19-A841-9118-B8BC74499792}"/>
          </ac:spMkLst>
        </pc:spChg>
        <pc:spChg chg="add del mod modVis">
          <ac:chgData name="Yudi Zhu" userId="571e1a55-055f-4c28-8b35-fca6dd1c1369" providerId="ADAL" clId="{75A88773-6EE1-484E-AADE-FE631E01463B}" dt="2025-11-24T03:47:12.223" v="586690"/>
          <ac:spMkLst>
            <pc:docMk/>
            <pc:sldMk cId="80455690" sldId="2147483093"/>
            <ac:spMk id="1802" creationId="{14AB701F-A3B5-E5F4-BA3D-C91D560D5FCB}"/>
          </ac:spMkLst>
        </pc:spChg>
        <pc:spChg chg="add del mod">
          <ac:chgData name="Yudi Zhu" userId="571e1a55-055f-4c28-8b35-fca6dd1c1369" providerId="ADAL" clId="{75A88773-6EE1-484E-AADE-FE631E01463B}" dt="2025-11-24T03:47:23.287" v="587791"/>
          <ac:spMkLst>
            <pc:docMk/>
            <pc:sldMk cId="80455690" sldId="2147483093"/>
            <ac:spMk id="1804" creationId="{7699FB0F-C60D-DC1E-6CEA-3C5C2017658C}"/>
          </ac:spMkLst>
        </pc:spChg>
        <pc:spChg chg="add del mod modVis">
          <ac:chgData name="Yudi Zhu" userId="571e1a55-055f-4c28-8b35-fca6dd1c1369" providerId="ADAL" clId="{75A88773-6EE1-484E-AADE-FE631E01463B}" dt="2025-11-24T03:47:14.991" v="587082"/>
          <ac:spMkLst>
            <pc:docMk/>
            <pc:sldMk cId="80455690" sldId="2147483093"/>
            <ac:spMk id="1805" creationId="{B342C548-2E4C-EEFD-A4A0-667FD2C37E90}"/>
          </ac:spMkLst>
        </pc:spChg>
        <pc:spChg chg="add del mod">
          <ac:chgData name="Yudi Zhu" userId="571e1a55-055f-4c28-8b35-fca6dd1c1369" providerId="ADAL" clId="{75A88773-6EE1-484E-AADE-FE631E01463B}" dt="2025-11-24T03:47:33.692" v="588179"/>
          <ac:spMkLst>
            <pc:docMk/>
            <pc:sldMk cId="80455690" sldId="2147483093"/>
            <ac:spMk id="1808" creationId="{B851426D-358A-5FF4-81AE-7A6E53A070E7}"/>
          </ac:spMkLst>
        </pc:spChg>
        <pc:spChg chg="add del mod">
          <ac:chgData name="Yudi Zhu" userId="571e1a55-055f-4c28-8b35-fca6dd1c1369" providerId="ADAL" clId="{75A88773-6EE1-484E-AADE-FE631E01463B}" dt="2025-11-24T03:47:33.691" v="588178"/>
          <ac:spMkLst>
            <pc:docMk/>
            <pc:sldMk cId="80455690" sldId="2147483093"/>
            <ac:spMk id="1809" creationId="{C92DF3DC-0FD3-74EC-468E-702C987CEF97}"/>
          </ac:spMkLst>
        </pc:spChg>
        <pc:spChg chg="add del mod modVis">
          <ac:chgData name="Yudi Zhu" userId="571e1a55-055f-4c28-8b35-fca6dd1c1369" providerId="ADAL" clId="{75A88773-6EE1-484E-AADE-FE631E01463B}" dt="2025-11-24T03:47:22.467" v="587766"/>
          <ac:spMkLst>
            <pc:docMk/>
            <pc:sldMk cId="80455690" sldId="2147483093"/>
            <ac:spMk id="1810" creationId="{EE08785D-6E67-5831-06C6-0C21DA16A50F}"/>
          </ac:spMkLst>
        </pc:spChg>
        <pc:spChg chg="add del mod ord">
          <ac:chgData name="Yudi Zhu" userId="571e1a55-055f-4c28-8b35-fca6dd1c1369" providerId="ADAL" clId="{75A88773-6EE1-484E-AADE-FE631E01463B}" dt="2025-11-24T03:49:46.702" v="596365"/>
          <ac:spMkLst>
            <pc:docMk/>
            <pc:sldMk cId="80455690" sldId="2147483093"/>
            <ac:spMk id="1813" creationId="{365AB440-1EF1-DC8F-01C6-A9100FE59F97}"/>
          </ac:spMkLst>
        </pc:spChg>
        <pc:spChg chg="add del mod modVis">
          <ac:chgData name="Yudi Zhu" userId="571e1a55-055f-4c28-8b35-fca6dd1c1369" providerId="ADAL" clId="{75A88773-6EE1-484E-AADE-FE631E01463B}" dt="2025-11-24T03:47:23.589" v="588173"/>
          <ac:spMkLst>
            <pc:docMk/>
            <pc:sldMk cId="80455690" sldId="2147483093"/>
            <ac:spMk id="1814" creationId="{98956267-33D7-F3E3-2DF5-72D58A72404B}"/>
          </ac:spMkLst>
        </pc:spChg>
        <pc:spChg chg="add del mod ord">
          <ac:chgData name="Yudi Zhu" userId="571e1a55-055f-4c28-8b35-fca6dd1c1369" providerId="ADAL" clId="{75A88773-6EE1-484E-AADE-FE631E01463B}" dt="2025-11-24T03:47:36.157" v="588501"/>
          <ac:spMkLst>
            <pc:docMk/>
            <pc:sldMk cId="80455690" sldId="2147483093"/>
            <ac:spMk id="1815" creationId="{2841A7B3-272D-CB52-E21B-49A8FC1E9069}"/>
          </ac:spMkLst>
        </pc:spChg>
        <pc:spChg chg="add mod ord">
          <ac:chgData name="Yudi Zhu" userId="571e1a55-055f-4c28-8b35-fca6dd1c1369" providerId="ADAL" clId="{75A88773-6EE1-484E-AADE-FE631E01463B}" dt="2025-11-25T10:14:15.621" v="658352"/>
          <ac:spMkLst>
            <pc:docMk/>
            <pc:sldMk cId="80455690" sldId="2147483093"/>
            <ac:spMk id="1820" creationId="{B6D15CE4-D8E1-C9EE-1076-53DEEB71111D}"/>
          </ac:spMkLst>
        </pc:spChg>
        <pc:spChg chg="add del mod modVis">
          <ac:chgData name="Yudi Zhu" userId="571e1a55-055f-4c28-8b35-fca6dd1c1369" providerId="ADAL" clId="{75A88773-6EE1-484E-AADE-FE631E01463B}" dt="2025-11-24T03:48:45.107" v="591806"/>
          <ac:spMkLst>
            <pc:docMk/>
            <pc:sldMk cId="80455690" sldId="2147483093"/>
            <ac:spMk id="1828" creationId="{E91901B5-2ED9-102E-032F-0F5C9445AA50}"/>
          </ac:spMkLst>
        </pc:spChg>
        <pc:spChg chg="add del mod modVis">
          <ac:chgData name="Yudi Zhu" userId="571e1a55-055f-4c28-8b35-fca6dd1c1369" providerId="ADAL" clId="{75A88773-6EE1-484E-AADE-FE631E01463B}" dt="2025-11-24T03:48:55.136" v="592479"/>
          <ac:spMkLst>
            <pc:docMk/>
            <pc:sldMk cId="80455690" sldId="2147483093"/>
            <ac:spMk id="1831" creationId="{7C149DF1-B159-98C3-3690-6EFA406CD0EB}"/>
          </ac:spMkLst>
        </pc:spChg>
        <pc:spChg chg="add del mod modVis">
          <ac:chgData name="Yudi Zhu" userId="571e1a55-055f-4c28-8b35-fca6dd1c1369" providerId="ADAL" clId="{75A88773-6EE1-484E-AADE-FE631E01463B}" dt="2025-11-24T03:49:13.836" v="593874"/>
          <ac:spMkLst>
            <pc:docMk/>
            <pc:sldMk cId="80455690" sldId="2147483093"/>
            <ac:spMk id="1835" creationId="{707C814F-AF88-15EF-1396-338DEC13724F}"/>
          </ac:spMkLst>
        </pc:spChg>
        <pc:spChg chg="add del mod modVis">
          <ac:chgData name="Yudi Zhu" userId="571e1a55-055f-4c28-8b35-fca6dd1c1369" providerId="ADAL" clId="{75A88773-6EE1-484E-AADE-FE631E01463B}" dt="2025-11-24T03:49:27.469" v="594249"/>
          <ac:spMkLst>
            <pc:docMk/>
            <pc:sldMk cId="80455690" sldId="2147483093"/>
            <ac:spMk id="1837" creationId="{C3E9291F-00CC-802C-1827-E6DD595BA2A2}"/>
          </ac:spMkLst>
        </pc:spChg>
        <pc:spChg chg="add del mod modVis">
          <ac:chgData name="Yudi Zhu" userId="571e1a55-055f-4c28-8b35-fca6dd1c1369" providerId="ADAL" clId="{75A88773-6EE1-484E-AADE-FE631E01463B}" dt="2025-11-24T03:50:01.346" v="598163"/>
          <ac:spMkLst>
            <pc:docMk/>
            <pc:sldMk cId="80455690" sldId="2147483093"/>
            <ac:spMk id="1850" creationId="{8FA0E5C9-95F6-564C-2055-A30A457691F4}"/>
          </ac:spMkLst>
        </pc:spChg>
        <pc:spChg chg="del mod">
          <ac:chgData name="Yudi Zhu" userId="571e1a55-055f-4c28-8b35-fca6dd1c1369" providerId="ADAL" clId="{75A88773-6EE1-484E-AADE-FE631E01463B}" dt="2025-11-24T05:22:34.367" v="642185"/>
          <ac:spMkLst>
            <pc:docMk/>
            <pc:sldMk cId="80455690" sldId="2147483093"/>
            <ac:spMk id="1851" creationId="{55435E9D-DD6B-12E6-3E01-6C50EF33F500}"/>
          </ac:spMkLst>
        </pc:spChg>
        <pc:spChg chg="add del mod">
          <ac:chgData name="Yudi Zhu" userId="571e1a55-055f-4c28-8b35-fca6dd1c1369" providerId="ADAL" clId="{75A88773-6EE1-484E-AADE-FE631E01463B}" dt="2025-11-24T03:50:12.268" v="599466"/>
          <ac:spMkLst>
            <pc:docMk/>
            <pc:sldMk cId="80455690" sldId="2147483093"/>
            <ac:spMk id="1852" creationId="{719A85EA-4568-13BC-BE3F-93A4D56F63D3}"/>
          </ac:spMkLst>
        </pc:spChg>
        <pc:spChg chg="add mod ord">
          <ac:chgData name="Yudi Zhu" userId="571e1a55-055f-4c28-8b35-fca6dd1c1369" providerId="ADAL" clId="{75A88773-6EE1-484E-AADE-FE631E01463B}" dt="2025-11-25T10:14:15.621" v="658355"/>
          <ac:spMkLst>
            <pc:docMk/>
            <pc:sldMk cId="80455690" sldId="2147483093"/>
            <ac:spMk id="1853" creationId="{542A60AE-B3A7-55CE-F714-DC2AD831C173}"/>
          </ac:spMkLst>
        </pc:spChg>
        <pc:spChg chg="add mod ord">
          <ac:chgData name="Yudi Zhu" userId="571e1a55-055f-4c28-8b35-fca6dd1c1369" providerId="ADAL" clId="{75A88773-6EE1-484E-AADE-FE631E01463B}" dt="2025-11-25T10:14:15.621" v="658358"/>
          <ac:spMkLst>
            <pc:docMk/>
            <pc:sldMk cId="80455690" sldId="2147483093"/>
            <ac:spMk id="1854" creationId="{4E1BFB1E-6485-A062-B5BB-5B285C6BD15C}"/>
          </ac:spMkLst>
        </pc:spChg>
        <pc:spChg chg="add del mod ord">
          <ac:chgData name="Yudi Zhu" userId="571e1a55-055f-4c28-8b35-fca6dd1c1369" providerId="ADAL" clId="{75A88773-6EE1-484E-AADE-FE631E01463B}" dt="2025-11-24T04:16:55.878" v="630641"/>
          <ac:spMkLst>
            <pc:docMk/>
            <pc:sldMk cId="80455690" sldId="2147483093"/>
            <ac:spMk id="1855" creationId="{1BE56B6A-3C30-4B59-A6C7-170064E01044}"/>
          </ac:spMkLst>
        </pc:spChg>
        <pc:spChg chg="add del mod modVis">
          <ac:chgData name="Yudi Zhu" userId="571e1a55-055f-4c28-8b35-fca6dd1c1369" providerId="ADAL" clId="{75A88773-6EE1-484E-AADE-FE631E01463B}" dt="2025-11-21T10:04:00.103" v="442840"/>
          <ac:spMkLst>
            <pc:docMk/>
            <pc:sldMk cId="80455690" sldId="2147483093"/>
            <ac:spMk id="1863" creationId="{8D45FBEE-2860-F4F8-6D15-388C927D77B9}"/>
          </ac:spMkLst>
        </pc:spChg>
        <pc:spChg chg="add del mod">
          <ac:chgData name="Yudi Zhu" userId="571e1a55-055f-4c28-8b35-fca6dd1c1369" providerId="ADAL" clId="{75A88773-6EE1-484E-AADE-FE631E01463B}" dt="2025-11-24T02:59:10.581" v="485527"/>
          <ac:spMkLst>
            <pc:docMk/>
            <pc:sldMk cId="80455690" sldId="2147483093"/>
            <ac:spMk id="1864" creationId="{22DB86E6-9DF2-71F1-5EEF-7E38A3BFC55E}"/>
          </ac:spMkLst>
        </pc:spChg>
        <pc:spChg chg="add del mod">
          <ac:chgData name="Yudi Zhu" userId="571e1a55-055f-4c28-8b35-fca6dd1c1369" providerId="ADAL" clId="{75A88773-6EE1-484E-AADE-FE631E01463B}" dt="2025-11-24T02:59:10.580" v="485525"/>
          <ac:spMkLst>
            <pc:docMk/>
            <pc:sldMk cId="80455690" sldId="2147483093"/>
            <ac:spMk id="1865" creationId="{75516AAE-16D7-B4E2-1191-98C58ED018A3}"/>
          </ac:spMkLst>
        </pc:spChg>
        <pc:spChg chg="add del mod modVis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65" creationId="{75C0F678-1986-A729-A3FA-DE205D08C493}"/>
          </ac:spMkLst>
        </pc:spChg>
        <pc:spChg chg="add mod ord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66" creationId="{16C7F71C-3C11-3632-3D2D-5BA6A6FBC41E}"/>
          </ac:spMkLst>
        </pc:spChg>
        <pc:spChg chg="add del mod">
          <ac:chgData name="Yudi Zhu" userId="571e1a55-055f-4c28-8b35-fca6dd1c1369" providerId="ADAL" clId="{75A88773-6EE1-484E-AADE-FE631E01463B}" dt="2025-11-24T02:59:10.579" v="485523"/>
          <ac:spMkLst>
            <pc:docMk/>
            <pc:sldMk cId="80455690" sldId="2147483093"/>
            <ac:spMk id="1866" creationId="{53ACE1A2-A5FE-73FF-BF97-3091DE020CD2}"/>
          </ac:spMkLst>
        </pc:spChg>
        <pc:spChg chg="add mod ord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67" creationId="{2AFB3910-744B-78A2-1BA9-DE53992A086E}"/>
          </ac:spMkLst>
        </pc:spChg>
        <pc:spChg chg="add del mod modVis">
          <ac:chgData name="Yudi Zhu" userId="571e1a55-055f-4c28-8b35-fca6dd1c1369" providerId="ADAL" clId="{75A88773-6EE1-484E-AADE-FE631E01463B}" dt="2025-11-24T02:59:06.221" v="485482"/>
          <ac:spMkLst>
            <pc:docMk/>
            <pc:sldMk cId="80455690" sldId="2147483093"/>
            <ac:spMk id="1867" creationId="{A836DD12-A612-EC24-EA0A-81C24F5D565C}"/>
          </ac:spMkLst>
        </pc:spChg>
        <pc:spChg chg="add mod ord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68" creationId="{3307D34D-1414-2AAD-9BDE-4751E79D8CC3}"/>
          </ac:spMkLst>
        </pc:spChg>
        <pc:spChg chg="add mod ord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69" creationId="{3CBAA72F-F467-186B-1243-9FD5E1EC45EA}"/>
          </ac:spMkLst>
        </pc:spChg>
        <pc:spChg chg="add del mod">
          <ac:chgData name="Yudi Zhu" userId="571e1a55-055f-4c28-8b35-fca6dd1c1369" providerId="ADAL" clId="{75A88773-6EE1-484E-AADE-FE631E01463B}" dt="2025-11-24T03:00:29.037" v="488825"/>
          <ac:spMkLst>
            <pc:docMk/>
            <pc:sldMk cId="80455690" sldId="2147483093"/>
            <ac:spMk id="1869" creationId="{E8AC5E05-FD86-8886-30C9-0EA48E664A22}"/>
          </ac:spMkLst>
        </pc:spChg>
        <pc:spChg chg="add del mod modVis">
          <ac:chgData name="Yudi Zhu" userId="571e1a55-055f-4c28-8b35-fca6dd1c1369" providerId="ADAL" clId="{75A88773-6EE1-484E-AADE-FE631E01463B}" dt="2025-11-24T02:59:22.536" v="486123"/>
          <ac:spMkLst>
            <pc:docMk/>
            <pc:sldMk cId="80455690" sldId="2147483093"/>
            <ac:spMk id="1870" creationId="{37EC8DCF-29AE-66BC-83B6-5EDCA58C2BCC}"/>
          </ac:spMkLst>
        </pc:spChg>
        <pc:spChg chg="add mod ord">
          <ac:chgData name="Yudi Zhu" userId="571e1a55-055f-4c28-8b35-fca6dd1c1369" providerId="ADAL" clId="{75A88773-6EE1-484E-AADE-FE631E01463B}" dt="2025-11-21T10:03:49.421" v="441656"/>
          <ac:spMkLst>
            <pc:docMk/>
            <pc:sldMk cId="80455690" sldId="2147483093"/>
            <ac:spMk id="1870" creationId="{D7EEB2CE-BA6C-046A-25CD-7697243F4F8B}"/>
          </ac:spMkLst>
        </pc:spChg>
        <pc:spChg chg="add del mod">
          <ac:chgData name="Yudi Zhu" userId="571e1a55-055f-4c28-8b35-fca6dd1c1369" providerId="ADAL" clId="{75A88773-6EE1-484E-AADE-FE631E01463B}" dt="2025-11-24T03:00:30.815" v="489129"/>
          <ac:spMkLst>
            <pc:docMk/>
            <pc:sldMk cId="80455690" sldId="2147483093"/>
            <ac:spMk id="1871" creationId="{AF073845-FD3A-8108-F996-F9EF93BCCF6D}"/>
          </ac:spMkLst>
        </pc:spChg>
        <pc:spChg chg="add del mod">
          <ac:chgData name="Yudi Zhu" userId="571e1a55-055f-4c28-8b35-fca6dd1c1369" providerId="ADAL" clId="{75A88773-6EE1-484E-AADE-FE631E01463B}" dt="2025-11-24T03:01:51.238" v="492454"/>
          <ac:spMkLst>
            <pc:docMk/>
            <pc:sldMk cId="80455690" sldId="2147483093"/>
            <ac:spMk id="1872" creationId="{1D084964-AEE9-F3E1-44A6-D1556F878389}"/>
          </ac:spMkLst>
        </pc:spChg>
        <pc:spChg chg="add del mod modVis">
          <ac:chgData name="Yudi Zhu" userId="571e1a55-055f-4c28-8b35-fca6dd1c1369" providerId="ADAL" clId="{75A88773-6EE1-484E-AADE-FE631E01463B}" dt="2025-11-21T10:03:47.948" v="441300"/>
          <ac:spMkLst>
            <pc:docMk/>
            <pc:sldMk cId="80455690" sldId="2147483093"/>
            <ac:spMk id="1872" creationId="{F22B5E27-02B1-E52E-14E7-9433C091BBAF}"/>
          </ac:spMkLst>
        </pc:spChg>
        <pc:spChg chg="add del mod">
          <ac:chgData name="Yudi Zhu" userId="571e1a55-055f-4c28-8b35-fca6dd1c1369" providerId="ADAL" clId="{75A88773-6EE1-484E-AADE-FE631E01463B}" dt="2025-11-24T02:59:56.731" v="487233"/>
          <ac:spMkLst>
            <pc:docMk/>
            <pc:sldMk cId="80455690" sldId="2147483093"/>
            <ac:spMk id="1873" creationId="{D29AB513-36F2-A165-64AD-C644ABF3AEB8}"/>
          </ac:spMkLst>
        </pc:spChg>
        <pc:spChg chg="add del mod modVis">
          <ac:chgData name="Yudi Zhu" userId="571e1a55-055f-4c28-8b35-fca6dd1c1369" providerId="ADAL" clId="{75A88773-6EE1-484E-AADE-FE631E01463B}" dt="2025-11-21T10:03:41.966" v="440714"/>
          <ac:spMkLst>
            <pc:docMk/>
            <pc:sldMk cId="80455690" sldId="2147483093"/>
            <ac:spMk id="1874" creationId="{582923B0-BF30-9559-B250-A9716B3A8E51}"/>
          </ac:spMkLst>
        </pc:spChg>
        <pc:spChg chg="add del mod">
          <ac:chgData name="Yudi Zhu" userId="571e1a55-055f-4c28-8b35-fca6dd1c1369" providerId="ADAL" clId="{75A88773-6EE1-484E-AADE-FE631E01463B}" dt="2025-11-24T02:59:56.731" v="487235"/>
          <ac:spMkLst>
            <pc:docMk/>
            <pc:sldMk cId="80455690" sldId="2147483093"/>
            <ac:spMk id="1874" creationId="{59730E26-78E4-953F-D2E8-557843F41EB6}"/>
          </ac:spMkLst>
        </pc:spChg>
        <pc:spChg chg="add del mod modVis">
          <ac:chgData name="Yudi Zhu" userId="571e1a55-055f-4c28-8b35-fca6dd1c1369" providerId="ADAL" clId="{75A88773-6EE1-484E-AADE-FE631E01463B}" dt="2025-11-21T10:03:41.240" v="440523"/>
          <ac:spMkLst>
            <pc:docMk/>
            <pc:sldMk cId="80455690" sldId="2147483093"/>
            <ac:spMk id="1876" creationId="{6CB076CB-28D6-1B47-43D0-BB98E97EED04}"/>
          </ac:spMkLst>
        </pc:spChg>
        <pc:spChg chg="add del mod">
          <ac:chgData name="Yudi Zhu" userId="571e1a55-055f-4c28-8b35-fca6dd1c1369" providerId="ADAL" clId="{75A88773-6EE1-484E-AADE-FE631E01463B}" dt="2025-11-24T03:00:29.037" v="488824"/>
          <ac:spMkLst>
            <pc:docMk/>
            <pc:sldMk cId="80455690" sldId="2147483093"/>
            <ac:spMk id="1876" creationId="{C281E17A-6C2F-FBE6-32E2-13FB73CC0EDF}"/>
          </ac:spMkLst>
        </pc:spChg>
        <pc:spChg chg="add del mod">
          <ac:chgData name="Yudi Zhu" userId="571e1a55-055f-4c28-8b35-fca6dd1c1369" providerId="ADAL" clId="{75A88773-6EE1-484E-AADE-FE631E01463B}" dt="2025-11-24T03:00:30.815" v="489128"/>
          <ac:spMkLst>
            <pc:docMk/>
            <pc:sldMk cId="80455690" sldId="2147483093"/>
            <ac:spMk id="1877" creationId="{B680FCBB-E5F2-9F34-020F-09EF8B89BB8D}"/>
          </ac:spMkLst>
        </pc:spChg>
        <pc:spChg chg="add del mod modVis">
          <ac:chgData name="Yudi Zhu" userId="571e1a55-055f-4c28-8b35-fca6dd1c1369" providerId="ADAL" clId="{75A88773-6EE1-484E-AADE-FE631E01463B}" dt="2025-11-21T10:03:40.138" v="440286" actId="962"/>
          <ac:spMkLst>
            <pc:docMk/>
            <pc:sldMk cId="80455690" sldId="2147483093"/>
            <ac:spMk id="1879" creationId="{4F892291-BF49-D742-F584-896DFB6397CE}"/>
          </ac:spMkLst>
        </pc:spChg>
        <pc:spChg chg="add del mod modVis">
          <ac:chgData name="Yudi Zhu" userId="571e1a55-055f-4c28-8b35-fca6dd1c1369" providerId="ADAL" clId="{75A88773-6EE1-484E-AADE-FE631E01463B}" dt="2025-11-24T02:59:45.255" v="486912"/>
          <ac:spMkLst>
            <pc:docMk/>
            <pc:sldMk cId="80455690" sldId="2147483093"/>
            <ac:spMk id="1880" creationId="{9B946572-52E7-55C4-B7F9-8FC3AED00D2D}"/>
          </ac:spMkLst>
        </pc:spChg>
        <pc:spChg chg="add del mod modVis">
          <ac:chgData name="Yudi Zhu" userId="571e1a55-055f-4c28-8b35-fca6dd1c1369" providerId="ADAL" clId="{75A88773-6EE1-484E-AADE-FE631E01463B}" dt="2025-11-24T02:59:49.484" v="487195"/>
          <ac:spMkLst>
            <pc:docMk/>
            <pc:sldMk cId="80455690" sldId="2147483093"/>
            <ac:spMk id="1882" creationId="{94B83599-03CE-59E7-D536-160C3DD8332A}"/>
          </ac:spMkLst>
        </pc:spChg>
        <pc:spChg chg="add del mod modVis">
          <ac:chgData name="Yudi Zhu" userId="571e1a55-055f-4c28-8b35-fca6dd1c1369" providerId="ADAL" clId="{75A88773-6EE1-484E-AADE-FE631E01463B}" dt="2025-11-24T02:59:56.914" v="487482"/>
          <ac:spMkLst>
            <pc:docMk/>
            <pc:sldMk cId="80455690" sldId="2147483093"/>
            <ac:spMk id="1884" creationId="{9B7544B8-4F02-F14A-E869-5355AF93584F}"/>
          </ac:spMkLst>
        </pc:spChg>
        <pc:spChg chg="add del mod modVis">
          <ac:chgData name="Yudi Zhu" userId="571e1a55-055f-4c28-8b35-fca6dd1c1369" providerId="ADAL" clId="{75A88773-6EE1-484E-AADE-FE631E01463B}" dt="2025-11-21T10:03:38.071" v="439534" actId="962"/>
          <ac:spMkLst>
            <pc:docMk/>
            <pc:sldMk cId="80455690" sldId="2147483093"/>
            <ac:spMk id="1886" creationId="{F90EE77F-4E32-E1D4-FCA3-1589AD7076E2}"/>
          </ac:spMkLst>
        </pc:spChg>
        <pc:spChg chg="add del mod modVis">
          <ac:chgData name="Yudi Zhu" userId="571e1a55-055f-4c28-8b35-fca6dd1c1369" providerId="ADAL" clId="{75A88773-6EE1-484E-AADE-FE631E01463B}" dt="2025-11-24T03:00:01.900" v="488065"/>
          <ac:spMkLst>
            <pc:docMk/>
            <pc:sldMk cId="80455690" sldId="2147483093"/>
            <ac:spMk id="1887" creationId="{DB893DC0-82C8-A4B4-B50C-2E14A2136A32}"/>
          </ac:spMkLst>
        </pc:spChg>
        <pc:spChg chg="add del mod">
          <ac:chgData name="Yudi Zhu" userId="571e1a55-055f-4c28-8b35-fca6dd1c1369" providerId="ADAL" clId="{75A88773-6EE1-484E-AADE-FE631E01463B}" dt="2025-11-24T03:00:04.654" v="488100"/>
          <ac:spMkLst>
            <pc:docMk/>
            <pc:sldMk cId="80455690" sldId="2147483093"/>
            <ac:spMk id="1888" creationId="{BE123DEE-C5DC-56B1-4F2D-650F3CD17436}"/>
          </ac:spMkLst>
        </pc:spChg>
        <pc:spChg chg="add del mod modVis">
          <ac:chgData name="Yudi Zhu" userId="571e1a55-055f-4c28-8b35-fca6dd1c1369" providerId="ADAL" clId="{75A88773-6EE1-484E-AADE-FE631E01463B}" dt="2025-11-21T10:04:50.596" v="443508"/>
          <ac:spMkLst>
            <pc:docMk/>
            <pc:sldMk cId="80455690" sldId="2147483093"/>
            <ac:spMk id="1889" creationId="{916312E3-F79D-0D62-37E5-36A9A6C5DBBF}"/>
          </ac:spMkLst>
        </pc:spChg>
        <pc:spChg chg="add del mod modVis">
          <ac:chgData name="Yudi Zhu" userId="571e1a55-055f-4c28-8b35-fca6dd1c1369" providerId="ADAL" clId="{75A88773-6EE1-484E-AADE-FE631E01463B}" dt="2025-11-24T03:00:04.900" v="488345"/>
          <ac:spMkLst>
            <pc:docMk/>
            <pc:sldMk cId="80455690" sldId="2147483093"/>
            <ac:spMk id="1890" creationId="{26687823-D7A0-D2D0-D930-B47768353D1D}"/>
          </ac:spMkLst>
        </pc:spChg>
        <pc:spChg chg="add del mod modVis">
          <ac:chgData name="Yudi Zhu" userId="571e1a55-055f-4c28-8b35-fca6dd1c1369" providerId="ADAL" clId="{75A88773-6EE1-484E-AADE-FE631E01463B}" dt="2025-11-21T10:04:53.771" v="443828"/>
          <ac:spMkLst>
            <pc:docMk/>
            <pc:sldMk cId="80455690" sldId="2147483093"/>
            <ac:spMk id="1891" creationId="{6BAD7B23-3359-729A-E5E5-366E64495715}"/>
          </ac:spMkLst>
        </pc:spChg>
        <pc:spChg chg="add del mod modVis">
          <ac:chgData name="Yudi Zhu" userId="571e1a55-055f-4c28-8b35-fca6dd1c1369" providerId="ADAL" clId="{75A88773-6EE1-484E-AADE-FE631E01463B}" dt="2025-11-24T03:00:17.348" v="488808"/>
          <ac:spMkLst>
            <pc:docMk/>
            <pc:sldMk cId="80455690" sldId="2147483093"/>
            <ac:spMk id="1892" creationId="{848FB766-E461-5217-89A7-51CA97067F39}"/>
          </ac:spMkLst>
        </pc:spChg>
        <pc:spChg chg="add del mod ord">
          <ac:chgData name="Yudi Zhu" userId="571e1a55-055f-4c28-8b35-fca6dd1c1369" providerId="ADAL" clId="{75A88773-6EE1-484E-AADE-FE631E01463B}" dt="2025-11-24T03:00:32.319" v="489423"/>
          <ac:spMkLst>
            <pc:docMk/>
            <pc:sldMk cId="80455690" sldId="2147483093"/>
            <ac:spMk id="1893" creationId="{68129B55-AFB9-6B1B-28FD-D16460B37443}"/>
          </ac:spMkLst>
        </pc:spChg>
        <pc:spChg chg="add del mod modVis">
          <ac:chgData name="Yudi Zhu" userId="571e1a55-055f-4c28-8b35-fca6dd1c1369" providerId="ADAL" clId="{75A88773-6EE1-484E-AADE-FE631E01463B}" dt="2025-11-21T10:05:19.126" v="444319"/>
          <ac:spMkLst>
            <pc:docMk/>
            <pc:sldMk cId="80455690" sldId="2147483093"/>
            <ac:spMk id="1893" creationId="{D0323452-D3FB-77D3-7F78-7D7B2E3175F7}"/>
          </ac:spMkLst>
        </pc:spChg>
        <pc:spChg chg="add del mod ord">
          <ac:chgData name="Yudi Zhu" userId="571e1a55-055f-4c28-8b35-fca6dd1c1369" providerId="ADAL" clId="{75A88773-6EE1-484E-AADE-FE631E01463B}" dt="2025-11-24T03:00:32.298" v="489410"/>
          <ac:spMkLst>
            <pc:docMk/>
            <pc:sldMk cId="80455690" sldId="2147483093"/>
            <ac:spMk id="1894" creationId="{233038A2-724C-EC90-A91F-F0B428B01727}"/>
          </ac:spMkLst>
        </pc:spChg>
        <pc:spChg chg="add del mod">
          <ac:chgData name="Yudi Zhu" userId="571e1a55-055f-4c28-8b35-fca6dd1c1369" providerId="ADAL" clId="{75A88773-6EE1-484E-AADE-FE631E01463B}" dt="2025-11-24T03:00:32.413" v="489465"/>
          <ac:spMkLst>
            <pc:docMk/>
            <pc:sldMk cId="80455690" sldId="2147483093"/>
            <ac:spMk id="1895" creationId="{8B48CBCC-5B76-5882-B837-750CC558E9BA}"/>
          </ac:spMkLst>
        </pc:spChg>
        <pc:spChg chg="add del mod modVis">
          <ac:chgData name="Yudi Zhu" userId="571e1a55-055f-4c28-8b35-fca6dd1c1369" providerId="ADAL" clId="{75A88773-6EE1-484E-AADE-FE631E01463B}" dt="2025-11-21T10:05:26.079" v="445179"/>
          <ac:spMkLst>
            <pc:docMk/>
            <pc:sldMk cId="80455690" sldId="2147483093"/>
            <ac:spMk id="1896" creationId="{4199B04F-2D4C-8489-DB5D-740934FF3343}"/>
          </ac:spMkLst>
        </pc:spChg>
        <pc:spChg chg="add del mod modVis">
          <ac:chgData name="Yudi Zhu" userId="571e1a55-055f-4c28-8b35-fca6dd1c1369" providerId="ADAL" clId="{75A88773-6EE1-484E-AADE-FE631E01463B}" dt="2025-11-24T03:00:29.264" v="489109"/>
          <ac:spMkLst>
            <pc:docMk/>
            <pc:sldMk cId="80455690" sldId="2147483093"/>
            <ac:spMk id="1897" creationId="{FA1C9565-5A56-09B4-11AF-4999DB454DEB}"/>
          </ac:spMkLst>
        </pc:spChg>
        <pc:spChg chg="add del mod modVis">
          <ac:chgData name="Yudi Zhu" userId="571e1a55-055f-4c28-8b35-fca6dd1c1369" providerId="ADAL" clId="{75A88773-6EE1-484E-AADE-FE631E01463B}" dt="2025-11-21T10:05:29.913" v="445693"/>
          <ac:spMkLst>
            <pc:docMk/>
            <pc:sldMk cId="80455690" sldId="2147483093"/>
            <ac:spMk id="1898" creationId="{DA65C1E5-6862-2C5E-791E-12748B49B843}"/>
          </ac:spMkLst>
        </pc:spChg>
        <pc:spChg chg="add del mod">
          <ac:chgData name="Yudi Zhu" userId="571e1a55-055f-4c28-8b35-fca6dd1c1369" providerId="ADAL" clId="{75A88773-6EE1-484E-AADE-FE631E01463B}" dt="2025-11-24T03:01:51.238" v="492452"/>
          <ac:spMkLst>
            <pc:docMk/>
            <pc:sldMk cId="80455690" sldId="2147483093"/>
            <ac:spMk id="1899" creationId="{D6A5EED5-7A24-47B4-964F-CE0CF45848E1}"/>
          </ac:spMkLst>
        </pc:spChg>
        <pc:spChg chg="add del mod modVis">
          <ac:chgData name="Yudi Zhu" userId="571e1a55-055f-4c28-8b35-fca6dd1c1369" providerId="ADAL" clId="{75A88773-6EE1-484E-AADE-FE631E01463B}" dt="2025-11-24T03:00:31.102" v="489406"/>
          <ac:spMkLst>
            <pc:docMk/>
            <pc:sldMk cId="80455690" sldId="2147483093"/>
            <ac:spMk id="1900" creationId="{6EB579FC-26DF-2C9E-AABC-5AFDFEA6D2DE}"/>
          </ac:spMkLst>
        </pc:spChg>
        <pc:spChg chg="add del mod modVis">
          <ac:chgData name="Yudi Zhu" userId="571e1a55-055f-4c28-8b35-fca6dd1c1369" providerId="ADAL" clId="{75A88773-6EE1-484E-AADE-FE631E01463B}" dt="2025-11-21T10:05:38.997" v="446553"/>
          <ac:spMkLst>
            <pc:docMk/>
            <pc:sldMk cId="80455690" sldId="2147483093"/>
            <ac:spMk id="1901" creationId="{FECDA87F-4618-1862-CF25-842ACFEBC59E}"/>
          </ac:spMkLst>
        </pc:spChg>
        <pc:spChg chg="add del mod">
          <ac:chgData name="Yudi Zhu" userId="571e1a55-055f-4c28-8b35-fca6dd1c1369" providerId="ADAL" clId="{75A88773-6EE1-484E-AADE-FE631E01463B}" dt="2025-11-24T03:00:32.413" v="489466"/>
          <ac:spMkLst>
            <pc:docMk/>
            <pc:sldMk cId="80455690" sldId="2147483093"/>
            <ac:spMk id="1902" creationId="{064C54B1-9081-3F15-E057-49B35497EEC2}"/>
          </ac:spMkLst>
        </pc:spChg>
        <pc:spChg chg="add del mod modVis">
          <ac:chgData name="Yudi Zhu" userId="571e1a55-055f-4c28-8b35-fca6dd1c1369" providerId="ADAL" clId="{75A88773-6EE1-484E-AADE-FE631E01463B}" dt="2025-11-21T10:05:41.949" v="447067"/>
          <ac:spMkLst>
            <pc:docMk/>
            <pc:sldMk cId="80455690" sldId="2147483093"/>
            <ac:spMk id="1903" creationId="{26C218F0-B2FD-8659-B18F-82C35536DCBF}"/>
          </ac:spMkLst>
        </pc:spChg>
        <pc:spChg chg="add del mod modVis">
          <ac:chgData name="Yudi Zhu" userId="571e1a55-055f-4c28-8b35-fca6dd1c1369" providerId="ADAL" clId="{75A88773-6EE1-484E-AADE-FE631E01463B}" dt="2025-11-24T03:00:32.564" v="489708"/>
          <ac:spMkLst>
            <pc:docMk/>
            <pc:sldMk cId="80455690" sldId="2147483093"/>
            <ac:spMk id="1903" creationId="{8210111F-5495-5FED-7793-502E1AF130AD}"/>
          </ac:spMkLst>
        </pc:spChg>
        <pc:spChg chg="add del mod modVis">
          <ac:chgData name="Yudi Zhu" userId="571e1a55-055f-4c28-8b35-fca6dd1c1369" providerId="ADAL" clId="{75A88773-6EE1-484E-AADE-FE631E01463B}" dt="2025-11-21T10:05:50.530" v="447670"/>
          <ac:spMkLst>
            <pc:docMk/>
            <pc:sldMk cId="80455690" sldId="2147483093"/>
            <ac:spMk id="1905" creationId="{43D97C7F-CD22-62CD-136F-6A2C2294BA01}"/>
          </ac:spMkLst>
        </pc:spChg>
        <pc:spChg chg="add del mod modVis">
          <ac:chgData name="Yudi Zhu" userId="571e1a55-055f-4c28-8b35-fca6dd1c1369" providerId="ADAL" clId="{75A88773-6EE1-484E-AADE-FE631E01463B}" dt="2025-11-24T03:00:48.207" v="489994"/>
          <ac:spMkLst>
            <pc:docMk/>
            <pc:sldMk cId="80455690" sldId="2147483093"/>
            <ac:spMk id="1905" creationId="{9AE061E1-4497-3E05-BA18-7D0EDB77D810}"/>
          </ac:spMkLst>
        </pc:spChg>
        <pc:spChg chg="add del mod modVis">
          <ac:chgData name="Yudi Zhu" userId="571e1a55-055f-4c28-8b35-fca6dd1c1369" providerId="ADAL" clId="{75A88773-6EE1-484E-AADE-FE631E01463B}" dt="2025-11-24T03:00:52.848" v="491071"/>
          <ac:spMkLst>
            <pc:docMk/>
            <pc:sldMk cId="80455690" sldId="2147483093"/>
            <ac:spMk id="1907" creationId="{913631C7-FE5E-FED8-087A-0FDAE1ABFD23}"/>
          </ac:spMkLst>
        </pc:spChg>
        <pc:spChg chg="add del mod modVis">
          <ac:chgData name="Yudi Zhu" userId="571e1a55-055f-4c28-8b35-fca6dd1c1369" providerId="ADAL" clId="{75A88773-6EE1-484E-AADE-FE631E01463B}" dt="2025-11-21T10:06:00.314" v="447722"/>
          <ac:spMkLst>
            <pc:docMk/>
            <pc:sldMk cId="80455690" sldId="2147483093"/>
            <ac:spMk id="1907" creationId="{D7346AB0-144A-65F7-E3B4-0CCDF2639966}"/>
          </ac:spMkLst>
        </pc:spChg>
        <pc:spChg chg="add del mod modVis">
          <ac:chgData name="Yudi Zhu" userId="571e1a55-055f-4c28-8b35-fca6dd1c1369" providerId="ADAL" clId="{75A88773-6EE1-484E-AADE-FE631E01463B}" dt="2025-11-21T10:11:41.594" v="456881"/>
          <ac:spMkLst>
            <pc:docMk/>
            <pc:sldMk cId="80455690" sldId="2147483093"/>
            <ac:spMk id="1908" creationId="{097F0C6E-7B8C-F7FE-11D6-AB543A578992}"/>
          </ac:spMkLst>
        </pc:spChg>
        <pc:spChg chg="add del mod ord">
          <ac:chgData name="Yudi Zhu" userId="571e1a55-055f-4c28-8b35-fca6dd1c1369" providerId="ADAL" clId="{75A88773-6EE1-484E-AADE-FE631E01463B}" dt="2025-11-24T03:01:00.982" v="491417"/>
          <ac:spMkLst>
            <pc:docMk/>
            <pc:sldMk cId="80455690" sldId="2147483093"/>
            <ac:spMk id="1908" creationId="{653A027D-8A2F-3090-86AD-F82859E287C0}"/>
          </ac:spMkLst>
        </pc:spChg>
        <pc:spChg chg="add del mod ord">
          <ac:chgData name="Yudi Zhu" userId="571e1a55-055f-4c28-8b35-fca6dd1c1369" providerId="ADAL" clId="{75A88773-6EE1-484E-AADE-FE631E01463B}" dt="2025-11-24T03:01:00.994" v="491432"/>
          <ac:spMkLst>
            <pc:docMk/>
            <pc:sldMk cId="80455690" sldId="2147483093"/>
            <ac:spMk id="1909" creationId="{A45E93A7-4026-6DD6-B727-9C7271B9C6A8}"/>
          </ac:spMkLst>
        </pc:spChg>
        <pc:spChg chg="add del mod">
          <ac:chgData name="Yudi Zhu" userId="571e1a55-055f-4c28-8b35-fca6dd1c1369" providerId="ADAL" clId="{75A88773-6EE1-484E-AADE-FE631E01463B}" dt="2025-11-24T03:01:01.003" v="491446"/>
          <ac:spMkLst>
            <pc:docMk/>
            <pc:sldMk cId="80455690" sldId="2147483093"/>
            <ac:spMk id="1910" creationId="{AB175482-397D-17A5-6ECD-BF01D7F44C5D}"/>
          </ac:spMkLst>
        </pc:spChg>
        <pc:spChg chg="add del mod modVis">
          <ac:chgData name="Yudi Zhu" userId="571e1a55-055f-4c28-8b35-fca6dd1c1369" providerId="ADAL" clId="{75A88773-6EE1-484E-AADE-FE631E01463B}" dt="2025-11-21T10:12:03.961" v="458912"/>
          <ac:spMkLst>
            <pc:docMk/>
            <pc:sldMk cId="80455690" sldId="2147483093"/>
            <ac:spMk id="1910" creationId="{ADB9BB39-4225-6F2D-6E4D-0BE54A5207BF}"/>
          </ac:spMkLst>
        </pc:spChg>
        <pc:spChg chg="add del mod ord">
          <ac:chgData name="Yudi Zhu" userId="571e1a55-055f-4c28-8b35-fca6dd1c1369" providerId="ADAL" clId="{75A88773-6EE1-484E-AADE-FE631E01463B}" dt="2025-11-24T03:01:51.238" v="492459"/>
          <ac:spMkLst>
            <pc:docMk/>
            <pc:sldMk cId="80455690" sldId="2147483093"/>
            <ac:spMk id="1911" creationId="{50ABC3A8-B399-6D17-A18A-A30F939DA200}"/>
          </ac:spMkLst>
        </pc:spChg>
        <pc:spChg chg="add del mod ord">
          <ac:chgData name="Yudi Zhu" userId="571e1a55-055f-4c28-8b35-fca6dd1c1369" providerId="ADAL" clId="{75A88773-6EE1-484E-AADE-FE631E01463B}" dt="2025-11-24T03:01:51.238" v="492457"/>
          <ac:spMkLst>
            <pc:docMk/>
            <pc:sldMk cId="80455690" sldId="2147483093"/>
            <ac:spMk id="1912" creationId="{83FAF085-3203-E4B1-C27A-35FA97A1980D}"/>
          </ac:spMkLst>
        </pc:spChg>
        <pc:spChg chg="add del mod">
          <ac:chgData name="Yudi Zhu" userId="571e1a55-055f-4c28-8b35-fca6dd1c1369" providerId="ADAL" clId="{75A88773-6EE1-484E-AADE-FE631E01463B}" dt="2025-11-21T10:12:57.985" v="462060"/>
          <ac:spMkLst>
            <pc:docMk/>
            <pc:sldMk cId="80455690" sldId="2147483093"/>
            <ac:spMk id="1912" creationId="{8C4D7C5F-D891-922D-76C3-71482F7F203A}"/>
          </ac:spMkLst>
        </pc:spChg>
        <pc:spChg chg="add del mod">
          <ac:chgData name="Yudi Zhu" userId="571e1a55-055f-4c28-8b35-fca6dd1c1369" providerId="ADAL" clId="{75A88773-6EE1-484E-AADE-FE631E01463B}" dt="2025-11-24T03:01:51.238" v="492455"/>
          <ac:spMkLst>
            <pc:docMk/>
            <pc:sldMk cId="80455690" sldId="2147483093"/>
            <ac:spMk id="1913" creationId="{A5613B22-6C23-2BD5-E0D9-C4AA5ED56EEC}"/>
          </ac:spMkLst>
        </pc:spChg>
        <pc:spChg chg="add del mod modVis">
          <ac:chgData name="Yudi Zhu" userId="571e1a55-055f-4c28-8b35-fca6dd1c1369" providerId="ADAL" clId="{75A88773-6EE1-484E-AADE-FE631E01463B}" dt="2025-11-21T10:12:52.035" v="462056"/>
          <ac:spMkLst>
            <pc:docMk/>
            <pc:sldMk cId="80455690" sldId="2147483093"/>
            <ac:spMk id="1913" creationId="{B011F1E7-83A8-1F8A-1910-A5D05E3FE6C3}"/>
          </ac:spMkLst>
        </pc:spChg>
        <pc:spChg chg="add del mod ord">
          <ac:chgData name="Yudi Zhu" userId="571e1a55-055f-4c28-8b35-fca6dd1c1369" providerId="ADAL" clId="{75A88773-6EE1-484E-AADE-FE631E01463B}" dt="2025-11-24T03:01:01.018" v="491471"/>
          <ac:spMkLst>
            <pc:docMk/>
            <pc:sldMk cId="80455690" sldId="2147483093"/>
            <ac:spMk id="1914" creationId="{5447B414-3072-03C2-4813-6FD8974786D8}"/>
          </ac:spMkLst>
        </pc:spChg>
        <pc:spChg chg="add del mod">
          <ac:chgData name="Yudi Zhu" userId="571e1a55-055f-4c28-8b35-fca6dd1c1369" providerId="ADAL" clId="{75A88773-6EE1-484E-AADE-FE631E01463B}" dt="2025-11-21T10:12:57.985" v="462059"/>
          <ac:spMkLst>
            <pc:docMk/>
            <pc:sldMk cId="80455690" sldId="2147483093"/>
            <ac:spMk id="1914" creationId="{70345A18-2133-80A4-CD4C-0B21360DFDBE}"/>
          </ac:spMkLst>
        </pc:spChg>
        <pc:spChg chg="add del mod ord">
          <ac:chgData name="Yudi Zhu" userId="571e1a55-055f-4c28-8b35-fca6dd1c1369" providerId="ADAL" clId="{75A88773-6EE1-484E-AADE-FE631E01463B}" dt="2025-11-24T03:01:01.018" v="491469"/>
          <ac:spMkLst>
            <pc:docMk/>
            <pc:sldMk cId="80455690" sldId="2147483093"/>
            <ac:spMk id="1917" creationId="{DB8B7F36-DE2D-2DFF-7D3B-5D3ACE25D09A}"/>
          </ac:spMkLst>
        </pc:spChg>
        <pc:spChg chg="add del mod">
          <ac:chgData name="Yudi Zhu" userId="571e1a55-055f-4c28-8b35-fca6dd1c1369" providerId="ADAL" clId="{75A88773-6EE1-484E-AADE-FE631E01463B}" dt="2025-11-24T03:01:01.018" v="491467"/>
          <ac:spMkLst>
            <pc:docMk/>
            <pc:sldMk cId="80455690" sldId="2147483093"/>
            <ac:spMk id="1918" creationId="{E38923DD-A55E-0BBC-A822-708560FE8314}"/>
          </ac:spMkLst>
        </pc:spChg>
        <pc:spChg chg="add del mod modVis">
          <ac:chgData name="Yudi Zhu" userId="571e1a55-055f-4c28-8b35-fca6dd1c1369" providerId="ADAL" clId="{75A88773-6EE1-484E-AADE-FE631E01463B}" dt="2025-11-24T03:50:35.644" v="602220"/>
          <ac:spMkLst>
            <pc:docMk/>
            <pc:sldMk cId="80455690" sldId="2147483093"/>
            <ac:spMk id="1932" creationId="{4772D8FC-DF67-3C0E-8C8E-B03849747096}"/>
          </ac:spMkLst>
        </pc:spChg>
        <pc:spChg chg="add del mod ord">
          <ac:chgData name="Yudi Zhu" userId="571e1a55-055f-4c28-8b35-fca6dd1c1369" providerId="ADAL" clId="{75A88773-6EE1-484E-AADE-FE631E01463B}" dt="2025-11-24T04:05:07.681" v="612614"/>
          <ac:spMkLst>
            <pc:docMk/>
            <pc:sldMk cId="80455690" sldId="2147483093"/>
            <ac:spMk id="1941" creationId="{D18E62C3-9ABD-7BA9-15EF-D17916B40F5A}"/>
          </ac:spMkLst>
        </pc:spChg>
        <pc:spChg chg="add del mod ord">
          <ac:chgData name="Yudi Zhu" userId="571e1a55-055f-4c28-8b35-fca6dd1c1369" providerId="ADAL" clId="{75A88773-6EE1-484E-AADE-FE631E01463B}" dt="2025-11-24T04:05:07.694" v="612629"/>
          <ac:spMkLst>
            <pc:docMk/>
            <pc:sldMk cId="80455690" sldId="2147483093"/>
            <ac:spMk id="1942" creationId="{812C8E86-0834-939A-00D8-7CB52769A34C}"/>
          </ac:spMkLst>
        </pc:spChg>
        <pc:spChg chg="add del mod">
          <ac:chgData name="Yudi Zhu" userId="571e1a55-055f-4c28-8b35-fca6dd1c1369" providerId="ADAL" clId="{75A88773-6EE1-484E-AADE-FE631E01463B}" dt="2025-11-24T04:05:07.703" v="612643"/>
          <ac:spMkLst>
            <pc:docMk/>
            <pc:sldMk cId="80455690" sldId="2147483093"/>
            <ac:spMk id="1943" creationId="{1BA42249-E657-DE31-B0F3-2D6D7CA7B781}"/>
          </ac:spMkLst>
        </pc:spChg>
        <pc:spChg chg="add del mod ord">
          <ac:chgData name="Yudi Zhu" userId="571e1a55-055f-4c28-8b35-fca6dd1c1369" providerId="ADAL" clId="{75A88773-6EE1-484E-AADE-FE631E01463B}" dt="2025-11-24T04:05:12.180" v="612973"/>
          <ac:spMkLst>
            <pc:docMk/>
            <pc:sldMk cId="80455690" sldId="2147483093"/>
            <ac:spMk id="1944" creationId="{9222C63F-D2C7-EC93-43DF-8822D7F9FFC8}"/>
          </ac:spMkLst>
        </pc:spChg>
        <pc:spChg chg="add del mod ord">
          <ac:chgData name="Yudi Zhu" userId="571e1a55-055f-4c28-8b35-fca6dd1c1369" providerId="ADAL" clId="{75A88773-6EE1-484E-AADE-FE631E01463B}" dt="2025-11-24T04:05:12.188" v="612988"/>
          <ac:spMkLst>
            <pc:docMk/>
            <pc:sldMk cId="80455690" sldId="2147483093"/>
            <ac:spMk id="1945" creationId="{F4EEBA7D-CB15-BD30-EC4D-F2BE36663316}"/>
          </ac:spMkLst>
        </pc:spChg>
        <pc:spChg chg="add del mod">
          <ac:chgData name="Yudi Zhu" userId="571e1a55-055f-4c28-8b35-fca6dd1c1369" providerId="ADAL" clId="{75A88773-6EE1-484E-AADE-FE631E01463B}" dt="2025-11-24T04:05:12.188" v="613002"/>
          <ac:spMkLst>
            <pc:docMk/>
            <pc:sldMk cId="80455690" sldId="2147483093"/>
            <ac:spMk id="1946" creationId="{D70AC033-E365-2689-B1FD-9D3D5429F46E}"/>
          </ac:spMkLst>
        </pc:spChg>
        <pc:spChg chg="add del mod modVis">
          <ac:chgData name="Yudi Zhu" userId="571e1a55-055f-4c28-8b35-fca6dd1c1369" providerId="ADAL" clId="{75A88773-6EE1-484E-AADE-FE631E01463B}" dt="2025-11-24T03:53:10.737" v="604995"/>
          <ac:spMkLst>
            <pc:docMk/>
            <pc:sldMk cId="80455690" sldId="2147483093"/>
            <ac:spMk id="1947" creationId="{ADC515E2-85A0-3223-4981-05D3C23878CB}"/>
          </ac:spMkLst>
        </pc:spChg>
        <pc:spChg chg="add del mod modVis">
          <ac:chgData name="Yudi Zhu" userId="571e1a55-055f-4c28-8b35-fca6dd1c1369" providerId="ADAL" clId="{75A88773-6EE1-484E-AADE-FE631E01463B}" dt="2025-11-24T03:53:36.997" v="605549"/>
          <ac:spMkLst>
            <pc:docMk/>
            <pc:sldMk cId="80455690" sldId="2147483093"/>
            <ac:spMk id="1949" creationId="{BDE7E03F-A64B-6F7F-E571-AAAEB21565EB}"/>
          </ac:spMkLst>
        </pc:spChg>
        <pc:spChg chg="add del mod ord">
          <ac:chgData name="Yudi Zhu" userId="571e1a55-055f-4c28-8b35-fca6dd1c1369" providerId="ADAL" clId="{75A88773-6EE1-484E-AADE-FE631E01463B}" dt="2025-11-24T05:18:45.590" v="640009"/>
          <ac:spMkLst>
            <pc:docMk/>
            <pc:sldMk cId="80455690" sldId="2147483093"/>
            <ac:spMk id="1952" creationId="{9D7DB8E6-C698-890D-D5A9-6B8B25FC2C90}"/>
          </ac:spMkLst>
        </pc:spChg>
        <pc:spChg chg="add del mod ord">
          <ac:chgData name="Yudi Zhu" userId="571e1a55-055f-4c28-8b35-fca6dd1c1369" providerId="ADAL" clId="{75A88773-6EE1-484E-AADE-FE631E01463B}" dt="2025-11-24T05:18:45.606" v="640024"/>
          <ac:spMkLst>
            <pc:docMk/>
            <pc:sldMk cId="80455690" sldId="2147483093"/>
            <ac:spMk id="1953" creationId="{95C7DC6F-B00F-1678-570E-C40A65BBA675}"/>
          </ac:spMkLst>
        </pc:spChg>
        <pc:spChg chg="add del mod">
          <ac:chgData name="Yudi Zhu" userId="571e1a55-055f-4c28-8b35-fca6dd1c1369" providerId="ADAL" clId="{75A88773-6EE1-484E-AADE-FE631E01463B}" dt="2025-11-24T05:18:45.607" v="640038"/>
          <ac:spMkLst>
            <pc:docMk/>
            <pc:sldMk cId="80455690" sldId="2147483093"/>
            <ac:spMk id="1954" creationId="{76BEF940-F2F9-2F30-E122-34FC4BE78524}"/>
          </ac:spMkLst>
        </pc:spChg>
        <pc:spChg chg="add del mod ord">
          <ac:chgData name="Yudi Zhu" userId="571e1a55-055f-4c28-8b35-fca6dd1c1369" providerId="ADAL" clId="{75A88773-6EE1-484E-AADE-FE631E01463B}" dt="2025-11-24T05:18:45.625" v="640050"/>
          <ac:spMkLst>
            <pc:docMk/>
            <pc:sldMk cId="80455690" sldId="2147483093"/>
            <ac:spMk id="1956" creationId="{A14A8058-268E-5E8D-94A3-03D10D72CF26}"/>
          </ac:spMkLst>
        </pc:spChg>
        <pc:spChg chg="add del mod ord">
          <ac:chgData name="Yudi Zhu" userId="571e1a55-055f-4c28-8b35-fca6dd1c1369" providerId="ADAL" clId="{75A88773-6EE1-484E-AADE-FE631E01463B}" dt="2025-11-24T05:18:45.634" v="640065"/>
          <ac:spMkLst>
            <pc:docMk/>
            <pc:sldMk cId="80455690" sldId="2147483093"/>
            <ac:spMk id="1957" creationId="{D02F3467-B302-6A1A-E391-B550E8EEE23E}"/>
          </ac:spMkLst>
        </pc:spChg>
        <pc:spChg chg="add del mod">
          <ac:chgData name="Yudi Zhu" userId="571e1a55-055f-4c28-8b35-fca6dd1c1369" providerId="ADAL" clId="{75A88773-6EE1-484E-AADE-FE631E01463B}" dt="2025-11-24T05:18:45.644" v="640079"/>
          <ac:spMkLst>
            <pc:docMk/>
            <pc:sldMk cId="80455690" sldId="2147483093"/>
            <ac:spMk id="1958" creationId="{6063402F-8121-3EDB-A9C7-886ED7FB0E10}"/>
          </ac:spMkLst>
        </pc:spChg>
        <pc:spChg chg="add del mod modVis">
          <ac:chgData name="Yudi Zhu" userId="571e1a55-055f-4c28-8b35-fca6dd1c1369" providerId="ADAL" clId="{75A88773-6EE1-484E-AADE-FE631E01463B}" dt="2025-11-24T04:05:20.218" v="613863"/>
          <ac:spMkLst>
            <pc:docMk/>
            <pc:sldMk cId="80455690" sldId="2147483093"/>
            <ac:spMk id="1960" creationId="{1EF7B518-9A74-8E41-7DEB-1EE66F9A8B5B}"/>
          </ac:spMkLst>
        </pc:spChg>
        <pc:spChg chg="add del mod">
          <ac:chgData name="Yudi Zhu" userId="571e1a55-055f-4c28-8b35-fca6dd1c1369" providerId="ADAL" clId="{75A88773-6EE1-484E-AADE-FE631E01463B}" dt="2025-11-24T04:11:42.004" v="616425"/>
          <ac:spMkLst>
            <pc:docMk/>
            <pc:sldMk cId="80455690" sldId="2147483093"/>
            <ac:spMk id="1962" creationId="{117BE758-E0E0-4A28-C076-557B75FD7A41}"/>
          </ac:spMkLst>
        </pc:spChg>
        <pc:spChg chg="add del mod modVis">
          <ac:chgData name="Yudi Zhu" userId="571e1a55-055f-4c28-8b35-fca6dd1c1369" providerId="ADAL" clId="{75A88773-6EE1-484E-AADE-FE631E01463B}" dt="2025-11-24T04:11:20.359" v="616110"/>
          <ac:spMkLst>
            <pc:docMk/>
            <pc:sldMk cId="80455690" sldId="2147483093"/>
            <ac:spMk id="1963" creationId="{3CA28ACE-86B2-37C8-33A5-90ABBB0010C8}"/>
          </ac:spMkLst>
        </pc:spChg>
        <pc:spChg chg="add del mod modVis">
          <ac:chgData name="Yudi Zhu" userId="571e1a55-055f-4c28-8b35-fca6dd1c1369" providerId="ADAL" clId="{75A88773-6EE1-484E-AADE-FE631E01463B}" dt="2025-11-24T04:12:05.316" v="618122"/>
          <ac:spMkLst>
            <pc:docMk/>
            <pc:sldMk cId="80455690" sldId="2147483093"/>
            <ac:spMk id="1969" creationId="{26E460E3-7AE3-38E5-8F4B-CA2026BFB76D}"/>
          </ac:spMkLst>
        </pc:spChg>
        <pc:spChg chg="add mod">
          <ac:chgData name="Yudi Zhu" userId="571e1a55-055f-4c28-8b35-fca6dd1c1369" providerId="ADAL" clId="{75A88773-6EE1-484E-AADE-FE631E01463B}" dt="2025-11-24T04:12:05.316" v="618122"/>
          <ac:spMkLst>
            <pc:docMk/>
            <pc:sldMk cId="80455690" sldId="2147483093"/>
            <ac:spMk id="1970" creationId="{E4923CBB-2AFA-19B1-AFBB-F6531687902A}"/>
          </ac:spMkLst>
        </pc:spChg>
        <pc:spChg chg="add mod">
          <ac:chgData name="Yudi Zhu" userId="571e1a55-055f-4c28-8b35-fca6dd1c1369" providerId="ADAL" clId="{75A88773-6EE1-484E-AADE-FE631E01463B}" dt="2025-11-24T04:12:05.316" v="618122"/>
          <ac:spMkLst>
            <pc:docMk/>
            <pc:sldMk cId="80455690" sldId="2147483093"/>
            <ac:spMk id="1971" creationId="{7BE187FD-FFF2-0F92-8E0C-7E5D53C95B9A}"/>
          </ac:spMkLst>
        </pc:spChg>
        <pc:spChg chg="add mod">
          <ac:chgData name="Yudi Zhu" userId="571e1a55-055f-4c28-8b35-fca6dd1c1369" providerId="ADAL" clId="{75A88773-6EE1-484E-AADE-FE631E01463B}" dt="2025-11-24T04:12:05.316" v="618122"/>
          <ac:spMkLst>
            <pc:docMk/>
            <pc:sldMk cId="80455690" sldId="2147483093"/>
            <ac:spMk id="1972" creationId="{04AA76DE-01DF-8DDD-CBCA-8488032BE719}"/>
          </ac:spMkLst>
        </pc:spChg>
        <pc:spChg chg="add del mod modVis">
          <ac:chgData name="Yudi Zhu" userId="571e1a55-055f-4c28-8b35-fca6dd1c1369" providerId="ADAL" clId="{75A88773-6EE1-484E-AADE-FE631E01463B}" dt="2025-11-24T04:12:16.134" v="619443"/>
          <ac:spMkLst>
            <pc:docMk/>
            <pc:sldMk cId="80455690" sldId="2147483093"/>
            <ac:spMk id="1974" creationId="{CF58BC64-EE13-F25B-A1ED-363847540DAD}"/>
          </ac:spMkLst>
        </pc:spChg>
        <pc:spChg chg="add mod">
          <ac:chgData name="Yudi Zhu" userId="571e1a55-055f-4c28-8b35-fca6dd1c1369" providerId="ADAL" clId="{75A88773-6EE1-484E-AADE-FE631E01463B}" dt="2025-11-24T04:12:15.478" v="619292"/>
          <ac:spMkLst>
            <pc:docMk/>
            <pc:sldMk cId="80455690" sldId="2147483093"/>
            <ac:spMk id="1976" creationId="{125AC78E-7DF9-E133-5EB5-99A23348E98B}"/>
          </ac:spMkLst>
        </pc:spChg>
        <pc:spChg chg="add del mod modVis">
          <ac:chgData name="Yudi Zhu" userId="571e1a55-055f-4c28-8b35-fca6dd1c1369" providerId="ADAL" clId="{75A88773-6EE1-484E-AADE-FE631E01463B}" dt="2025-11-24T04:12:15.478" v="619292"/>
          <ac:spMkLst>
            <pc:docMk/>
            <pc:sldMk cId="80455690" sldId="2147483093"/>
            <ac:spMk id="1977" creationId="{D80F5109-732D-CBBF-F1FA-D867BD5EA114}"/>
          </ac:spMkLst>
        </pc:spChg>
        <pc:spChg chg="add mod">
          <ac:chgData name="Yudi Zhu" userId="571e1a55-055f-4c28-8b35-fca6dd1c1369" providerId="ADAL" clId="{75A88773-6EE1-484E-AADE-FE631E01463B}" dt="2025-11-24T04:12:15.478" v="619292"/>
          <ac:spMkLst>
            <pc:docMk/>
            <pc:sldMk cId="80455690" sldId="2147483093"/>
            <ac:spMk id="1978" creationId="{A6A8AEF3-B5CD-2E96-AFBF-668BF183C64E}"/>
          </ac:spMkLst>
        </pc:spChg>
        <pc:spChg chg="add mod">
          <ac:chgData name="Yudi Zhu" userId="571e1a55-055f-4c28-8b35-fca6dd1c1369" providerId="ADAL" clId="{75A88773-6EE1-484E-AADE-FE631E01463B}" dt="2025-11-24T04:12:15.478" v="619292"/>
          <ac:spMkLst>
            <pc:docMk/>
            <pc:sldMk cId="80455690" sldId="2147483093"/>
            <ac:spMk id="1979" creationId="{D7644E29-FF97-D91B-D6A7-1762B438FB22}"/>
          </ac:spMkLst>
        </pc:spChg>
        <pc:spChg chg="add mod">
          <ac:chgData name="Yudi Zhu" userId="571e1a55-055f-4c28-8b35-fca6dd1c1369" providerId="ADAL" clId="{75A88773-6EE1-484E-AADE-FE631E01463B}" dt="2025-11-24T04:12:15.478" v="619292"/>
          <ac:spMkLst>
            <pc:docMk/>
            <pc:sldMk cId="80455690" sldId="2147483093"/>
            <ac:spMk id="1980" creationId="{2F110550-37F0-06D5-BF9F-1B468767E69E}"/>
          </ac:spMkLst>
        </pc:spChg>
        <pc:spChg chg="add del mod modVis">
          <ac:chgData name="Yudi Zhu" userId="571e1a55-055f-4c28-8b35-fca6dd1c1369" providerId="ADAL" clId="{75A88773-6EE1-484E-AADE-FE631E01463B}" dt="2025-11-24T04:12:20.252" v="619829"/>
          <ac:spMkLst>
            <pc:docMk/>
            <pc:sldMk cId="80455690" sldId="2147483093"/>
            <ac:spMk id="1982" creationId="{ECEF6BE7-AD26-509B-02DA-A0DA50B3A679}"/>
          </ac:spMkLst>
        </pc:spChg>
        <pc:spChg chg="add del mod">
          <ac:chgData name="Yudi Zhu" userId="571e1a55-055f-4c28-8b35-fca6dd1c1369" providerId="ADAL" clId="{75A88773-6EE1-484E-AADE-FE631E01463B}" dt="2025-11-24T04:12:27.855" v="620526"/>
          <ac:spMkLst>
            <pc:docMk/>
            <pc:sldMk cId="80455690" sldId="2147483093"/>
            <ac:spMk id="1984" creationId="{B98AE9CF-C926-0C3F-1CC4-4B5B9CC2133A}"/>
          </ac:spMkLst>
        </pc:spChg>
        <pc:spChg chg="add del mod modVis">
          <ac:chgData name="Yudi Zhu" userId="571e1a55-055f-4c28-8b35-fca6dd1c1369" providerId="ADAL" clId="{75A88773-6EE1-484E-AADE-FE631E01463B}" dt="2025-11-24T04:12:23.087" v="620210"/>
          <ac:spMkLst>
            <pc:docMk/>
            <pc:sldMk cId="80455690" sldId="2147483093"/>
            <ac:spMk id="1985" creationId="{F0715CB1-C55C-9581-C74B-A6B7C9D9BD00}"/>
          </ac:spMkLst>
        </pc:spChg>
        <pc:spChg chg="add del mod">
          <ac:chgData name="Yudi Zhu" userId="571e1a55-055f-4c28-8b35-fca6dd1c1369" providerId="ADAL" clId="{75A88773-6EE1-484E-AADE-FE631E01463B}" dt="2025-11-24T04:14:39.500" v="624588" actId="478"/>
          <ac:spMkLst>
            <pc:docMk/>
            <pc:sldMk cId="80455690" sldId="2147483093"/>
            <ac:spMk id="1989" creationId="{FB82C3AA-CE12-1EE6-5B98-217E54069285}"/>
          </ac:spMkLst>
        </pc:spChg>
        <pc:spChg chg="add del mod modVis">
          <ac:chgData name="Yudi Zhu" userId="571e1a55-055f-4c28-8b35-fca6dd1c1369" providerId="ADAL" clId="{75A88773-6EE1-484E-AADE-FE631E01463B}" dt="2025-11-24T04:12:55.593" v="621365"/>
          <ac:spMkLst>
            <pc:docMk/>
            <pc:sldMk cId="80455690" sldId="2147483093"/>
            <ac:spMk id="1990" creationId="{349F2958-C6F3-05EA-DE0E-02808C381BAD}"/>
          </ac:spMkLst>
        </pc:spChg>
        <pc:spChg chg="add del mod modVis">
          <ac:chgData name="Yudi Zhu" userId="571e1a55-055f-4c28-8b35-fca6dd1c1369" providerId="ADAL" clId="{75A88773-6EE1-484E-AADE-FE631E01463B}" dt="2025-11-24T04:14:14.565" v="624288"/>
          <ac:spMkLst>
            <pc:docMk/>
            <pc:sldMk cId="80455690" sldId="2147483093"/>
            <ac:spMk id="1995" creationId="{9545B513-758E-D248-8462-0B8166452AAB}"/>
          </ac:spMkLst>
        </pc:spChg>
        <pc:spChg chg="add del mod modVis">
          <ac:chgData name="Yudi Zhu" userId="571e1a55-055f-4c28-8b35-fca6dd1c1369" providerId="ADAL" clId="{75A88773-6EE1-484E-AADE-FE631E01463B}" dt="2025-11-24T04:14:44.293" v="625410"/>
          <ac:spMkLst>
            <pc:docMk/>
            <pc:sldMk cId="80455690" sldId="2147483093"/>
            <ac:spMk id="1998" creationId="{F3B8FCB2-603F-B040-A4E4-970D9F783A03}"/>
          </ac:spMkLst>
        </pc:spChg>
        <pc:spChg chg="add mod">
          <ac:chgData name="Yudi Zhu" userId="571e1a55-055f-4c28-8b35-fca6dd1c1369" providerId="ADAL" clId="{75A88773-6EE1-484E-AADE-FE631E01463B}" dt="2025-11-24T04:14:44.293" v="625410"/>
          <ac:spMkLst>
            <pc:docMk/>
            <pc:sldMk cId="80455690" sldId="2147483093"/>
            <ac:spMk id="1999" creationId="{3A84B66F-1DC1-28A6-F912-0394482C6AAB}"/>
          </ac:spMkLst>
        </pc:spChg>
        <pc:spChg chg="add mod ord">
          <ac:chgData name="Yudi Zhu" userId="571e1a55-055f-4c28-8b35-fca6dd1c1369" providerId="ADAL" clId="{75A88773-6EE1-484E-AADE-FE631E01463B}" dt="2025-11-24T04:14:44.293" v="625410"/>
          <ac:spMkLst>
            <pc:docMk/>
            <pc:sldMk cId="80455690" sldId="2147483093"/>
            <ac:spMk id="2000" creationId="{007544AF-D767-FA0C-A3C0-A884A56355F5}"/>
          </ac:spMkLst>
        </pc:spChg>
        <pc:spChg chg="add mod">
          <ac:chgData name="Yudi Zhu" userId="571e1a55-055f-4c28-8b35-fca6dd1c1369" providerId="ADAL" clId="{75A88773-6EE1-484E-AADE-FE631E01463B}" dt="2025-11-24T04:14:44.293" v="625410"/>
          <ac:spMkLst>
            <pc:docMk/>
            <pc:sldMk cId="80455690" sldId="2147483093"/>
            <ac:spMk id="2001" creationId="{D5B84295-6603-640C-7BFD-32D5F366A6C3}"/>
          </ac:spMkLst>
        </pc:spChg>
        <pc:spChg chg="add mod">
          <ac:chgData name="Yudi Zhu" userId="571e1a55-055f-4c28-8b35-fca6dd1c1369" providerId="ADAL" clId="{75A88773-6EE1-484E-AADE-FE631E01463B}" dt="2025-11-24T04:14:44.293" v="625410"/>
          <ac:spMkLst>
            <pc:docMk/>
            <pc:sldMk cId="80455690" sldId="2147483093"/>
            <ac:spMk id="2002" creationId="{9B9719F8-DF9A-FF11-6A69-7A53FD89C6AC}"/>
          </ac:spMkLst>
        </pc:spChg>
        <pc:spChg chg="add del mod modVis">
          <ac:chgData name="Yudi Zhu" userId="571e1a55-055f-4c28-8b35-fca6dd1c1369" providerId="ADAL" clId="{75A88773-6EE1-484E-AADE-FE631E01463B}" dt="2025-11-24T04:14:47.633" v="625765"/>
          <ac:spMkLst>
            <pc:docMk/>
            <pc:sldMk cId="80455690" sldId="2147483093"/>
            <ac:spMk id="2004" creationId="{D5776638-67D0-4559-6A1A-72A03099A8E6}"/>
          </ac:spMkLst>
        </pc:spChg>
        <pc:spChg chg="add del mod">
          <ac:chgData name="Yudi Zhu" userId="571e1a55-055f-4c28-8b35-fca6dd1c1369" providerId="ADAL" clId="{75A88773-6EE1-484E-AADE-FE631E01463B}" dt="2025-11-25T10:14:15.621" v="658354"/>
          <ac:spMkLst>
            <pc:docMk/>
            <pc:sldMk cId="80455690" sldId="2147483093"/>
            <ac:spMk id="2006" creationId="{3CC98E16-FB2E-495D-ADCF-FFF663C2DC9B}"/>
          </ac:spMkLst>
        </pc:spChg>
        <pc:spChg chg="add del mod modVis">
          <ac:chgData name="Yudi Zhu" userId="571e1a55-055f-4c28-8b35-fca6dd1c1369" providerId="ADAL" clId="{75A88773-6EE1-484E-AADE-FE631E01463B}" dt="2025-11-24T04:14:50.283" v="626310"/>
          <ac:spMkLst>
            <pc:docMk/>
            <pc:sldMk cId="80455690" sldId="2147483093"/>
            <ac:spMk id="2007" creationId="{71306DA0-C62E-BE10-8A17-7703A3A4DC30}"/>
          </ac:spMkLst>
        </pc:spChg>
        <pc:spChg chg="add del mod">
          <ac:chgData name="Yudi Zhu" userId="571e1a55-055f-4c28-8b35-fca6dd1c1369" providerId="ADAL" clId="{75A88773-6EE1-484E-AADE-FE631E01463B}" dt="2025-11-25T10:14:15.621" v="658356"/>
          <ac:spMkLst>
            <pc:docMk/>
            <pc:sldMk cId="80455690" sldId="2147483093"/>
            <ac:spMk id="2008" creationId="{7BD5FE52-3C31-692C-0431-58206417CADC}"/>
          </ac:spMkLst>
        </pc:spChg>
        <pc:spChg chg="add del mod">
          <ac:chgData name="Yudi Zhu" userId="571e1a55-055f-4c28-8b35-fca6dd1c1369" providerId="ADAL" clId="{75A88773-6EE1-484E-AADE-FE631E01463B}" dt="2025-11-25T10:14:15.621" v="658359"/>
          <ac:spMkLst>
            <pc:docMk/>
            <pc:sldMk cId="80455690" sldId="2147483093"/>
            <ac:spMk id="2009" creationId="{7217B9F1-0A58-5B0F-2E64-A84646CA65AE}"/>
          </ac:spMkLst>
        </pc:spChg>
        <pc:spChg chg="add del mod">
          <ac:chgData name="Yudi Zhu" userId="571e1a55-055f-4c28-8b35-fca6dd1c1369" providerId="ADAL" clId="{75A88773-6EE1-484E-AADE-FE631E01463B}" dt="2025-11-25T10:14:15.621" v="658362"/>
          <ac:spMkLst>
            <pc:docMk/>
            <pc:sldMk cId="80455690" sldId="2147483093"/>
            <ac:spMk id="2010" creationId="{BC99FD18-8285-240E-2946-45D78FEAB7A6}"/>
          </ac:spMkLst>
        </pc:spChg>
        <pc:spChg chg="add del mod modVis">
          <ac:chgData name="Yudi Zhu" userId="571e1a55-055f-4c28-8b35-fca6dd1c1369" providerId="ADAL" clId="{75A88773-6EE1-484E-AADE-FE631E01463B}" dt="2025-11-24T04:14:54.996" v="626639"/>
          <ac:spMkLst>
            <pc:docMk/>
            <pc:sldMk cId="80455690" sldId="2147483093"/>
            <ac:spMk id="2012" creationId="{5025E48D-8781-8B2B-FED2-32C396A68902}"/>
          </ac:spMkLst>
        </pc:spChg>
        <pc:spChg chg="add del mod modVis">
          <ac:chgData name="Yudi Zhu" userId="571e1a55-055f-4c28-8b35-fca6dd1c1369" providerId="ADAL" clId="{75A88773-6EE1-484E-AADE-FE631E01463B}" dt="2025-11-24T04:15:03.430" v="627001"/>
          <ac:spMkLst>
            <pc:docMk/>
            <pc:sldMk cId="80455690" sldId="2147483093"/>
            <ac:spMk id="2014" creationId="{92C0C427-3631-48ED-B092-A04C816AD4FB}"/>
          </ac:spMkLst>
        </pc:spChg>
        <pc:spChg chg="add del mod modVis">
          <ac:chgData name="Yudi Zhu" userId="571e1a55-055f-4c28-8b35-fca6dd1c1369" providerId="ADAL" clId="{75A88773-6EE1-484E-AADE-FE631E01463B}" dt="2025-11-24T04:16:56.175" v="631032"/>
          <ac:spMkLst>
            <pc:docMk/>
            <pc:sldMk cId="80455690" sldId="2147483093"/>
            <ac:spMk id="2022" creationId="{A440EDA9-C337-1FB1-4936-F0025A9682BA}"/>
          </ac:spMkLst>
        </pc:spChg>
        <pc:spChg chg="add mod ord">
          <ac:chgData name="Yudi Zhu" userId="571e1a55-055f-4c28-8b35-fca6dd1c1369" providerId="ADAL" clId="{75A88773-6EE1-484E-AADE-FE631E01463B}" dt="2025-11-25T10:14:15.621" v="658361"/>
          <ac:spMkLst>
            <pc:docMk/>
            <pc:sldMk cId="80455690" sldId="2147483093"/>
            <ac:spMk id="2025" creationId="{43D55BC5-9920-542B-5943-C2925A23663E}"/>
          </ac:spMkLst>
        </pc:spChg>
        <pc:spChg chg="add del mod modVis">
          <ac:chgData name="Yudi Zhu" userId="571e1a55-055f-4c28-8b35-fca6dd1c1369" providerId="ADAL" clId="{75A88773-6EE1-484E-AADE-FE631E01463B}" dt="2025-11-24T04:17:12.092" v="631698"/>
          <ac:spMkLst>
            <pc:docMk/>
            <pc:sldMk cId="80455690" sldId="2147483093"/>
            <ac:spMk id="2026" creationId="{EC595E99-6687-735C-78FA-25127AFDC709}"/>
          </ac:spMkLst>
        </pc:spChg>
        <pc:spChg chg="add del mod modVis">
          <ac:chgData name="Yudi Zhu" userId="571e1a55-055f-4c28-8b35-fca6dd1c1369" providerId="ADAL" clId="{75A88773-6EE1-484E-AADE-FE631E01463B}" dt="2025-11-24T04:17:43.258" v="633294"/>
          <ac:spMkLst>
            <pc:docMk/>
            <pc:sldMk cId="80455690" sldId="2147483093"/>
            <ac:spMk id="2032" creationId="{B0CBCD64-60E0-52F4-3491-8F48AE999DE7}"/>
          </ac:spMkLst>
        </pc:spChg>
        <pc:spChg chg="add del mod modVis">
          <ac:chgData name="Yudi Zhu" userId="571e1a55-055f-4c28-8b35-fca6dd1c1369" providerId="ADAL" clId="{75A88773-6EE1-484E-AADE-FE631E01463B}" dt="2025-11-24T04:19:15.450" v="636948"/>
          <ac:spMkLst>
            <pc:docMk/>
            <pc:sldMk cId="80455690" sldId="2147483093"/>
            <ac:spMk id="2036" creationId="{FCED9F3F-D90A-C511-625C-58567A02C190}"/>
          </ac:spMkLst>
        </pc:spChg>
        <pc:spChg chg="add mod ord">
          <ac:chgData name="Yudi Zhu" userId="571e1a55-055f-4c28-8b35-fca6dd1c1369" providerId="ADAL" clId="{75A88773-6EE1-484E-AADE-FE631E01463B}" dt="2025-11-24T04:19:13.665" v="636646"/>
          <ac:spMkLst>
            <pc:docMk/>
            <pc:sldMk cId="80455690" sldId="2147483093"/>
            <ac:spMk id="2039" creationId="{49E0E13D-BD89-B16C-C8B0-270A3EB14CBD}"/>
          </ac:spMkLst>
        </pc:spChg>
        <pc:spChg chg="add mod ord">
          <ac:chgData name="Yudi Zhu" userId="571e1a55-055f-4c28-8b35-fca6dd1c1369" providerId="ADAL" clId="{75A88773-6EE1-484E-AADE-FE631E01463B}" dt="2025-11-24T04:19:13.665" v="636646"/>
          <ac:spMkLst>
            <pc:docMk/>
            <pc:sldMk cId="80455690" sldId="2147483093"/>
            <ac:spMk id="2040" creationId="{D19BEC16-5B1B-6287-F950-77E3D750FA15}"/>
          </ac:spMkLst>
        </pc:spChg>
        <pc:spChg chg="add mod ord">
          <ac:chgData name="Yudi Zhu" userId="571e1a55-055f-4c28-8b35-fca6dd1c1369" providerId="ADAL" clId="{75A88773-6EE1-484E-AADE-FE631E01463B}" dt="2025-11-24T04:19:13.665" v="636646"/>
          <ac:spMkLst>
            <pc:docMk/>
            <pc:sldMk cId="80455690" sldId="2147483093"/>
            <ac:spMk id="2041" creationId="{65296614-5FE1-1DE3-A72B-846A869A010A}"/>
          </ac:spMkLst>
        </pc:spChg>
        <pc:spChg chg="add del mod modVis">
          <ac:chgData name="Yudi Zhu" userId="571e1a55-055f-4c28-8b35-fca6dd1c1369" providerId="ADAL" clId="{75A88773-6EE1-484E-AADE-FE631E01463B}" dt="2025-11-24T04:19:18.404" v="637460"/>
          <ac:spMkLst>
            <pc:docMk/>
            <pc:sldMk cId="80455690" sldId="2147483093"/>
            <ac:spMk id="2043" creationId="{1FDB2C72-727D-0E97-1A1F-FEBF3BBBECDF}"/>
          </ac:spMkLst>
        </pc:spChg>
        <pc:spChg chg="add del mod ord">
          <ac:chgData name="Yudi Zhu" userId="571e1a55-055f-4c28-8b35-fca6dd1c1369" providerId="ADAL" clId="{75A88773-6EE1-484E-AADE-FE631E01463B}" dt="2025-11-24T04:19:18.632" v="637464"/>
          <ac:spMkLst>
            <pc:docMk/>
            <pc:sldMk cId="80455690" sldId="2147483093"/>
            <ac:spMk id="2044" creationId="{9EDDF043-4262-1CBF-8BD0-663CC544DBC5}"/>
          </ac:spMkLst>
        </pc:spChg>
        <pc:spChg chg="add del mod ord">
          <ac:chgData name="Yudi Zhu" userId="571e1a55-055f-4c28-8b35-fca6dd1c1369" providerId="ADAL" clId="{75A88773-6EE1-484E-AADE-FE631E01463B}" dt="2025-11-24T04:19:18.639" v="637474"/>
          <ac:spMkLst>
            <pc:docMk/>
            <pc:sldMk cId="80455690" sldId="2147483093"/>
            <ac:spMk id="2045" creationId="{D4DB701D-7651-02D5-A29E-0B23F08B55BC}"/>
          </ac:spMkLst>
        </pc:spChg>
        <pc:spChg chg="add del mod ord">
          <ac:chgData name="Yudi Zhu" userId="571e1a55-055f-4c28-8b35-fca6dd1c1369" providerId="ADAL" clId="{75A88773-6EE1-484E-AADE-FE631E01463B}" dt="2025-11-24T04:19:18.641" v="637482"/>
          <ac:spMkLst>
            <pc:docMk/>
            <pc:sldMk cId="80455690" sldId="2147483093"/>
            <ac:spMk id="2046" creationId="{871B401B-BEEC-124B-712A-2D530EAE0F72}"/>
          </ac:spMkLst>
        </pc:spChg>
        <pc:spChg chg="add mod ord">
          <ac:chgData name="Yudi Zhu" userId="571e1a55-055f-4c28-8b35-fca6dd1c1369" providerId="ADAL" clId="{75A88773-6EE1-484E-AADE-FE631E01463B}" dt="2025-11-24T04:19:32.492" v="638420"/>
          <ac:spMkLst>
            <pc:docMk/>
            <pc:sldMk cId="80455690" sldId="2147483093"/>
            <ac:spMk id="2053" creationId="{7A091815-193B-63D9-F71F-497C0DE1392A}"/>
          </ac:spMkLst>
        </pc:spChg>
        <pc:spChg chg="add mod ord">
          <ac:chgData name="Yudi Zhu" userId="571e1a55-055f-4c28-8b35-fca6dd1c1369" providerId="ADAL" clId="{75A88773-6EE1-484E-AADE-FE631E01463B}" dt="2025-11-24T04:19:32.492" v="638420"/>
          <ac:spMkLst>
            <pc:docMk/>
            <pc:sldMk cId="80455690" sldId="2147483093"/>
            <ac:spMk id="2054" creationId="{EAB0C0C6-B2CB-CBC1-C4D9-23DE0BB8445C}"/>
          </ac:spMkLst>
        </pc:spChg>
        <pc:spChg chg="add mod ord">
          <ac:chgData name="Yudi Zhu" userId="571e1a55-055f-4c28-8b35-fca6dd1c1369" providerId="ADAL" clId="{75A88773-6EE1-484E-AADE-FE631E01463B}" dt="2025-11-24T04:19:32.492" v="638420"/>
          <ac:spMkLst>
            <pc:docMk/>
            <pc:sldMk cId="80455690" sldId="2147483093"/>
            <ac:spMk id="2055" creationId="{7D65B9CB-3C47-F620-5653-B21E452E910D}"/>
          </ac:spMkLst>
        </pc:spChg>
        <pc:spChg chg="add del mod modVis">
          <ac:chgData name="Yudi Zhu" userId="571e1a55-055f-4c28-8b35-fca6dd1c1369" providerId="ADAL" clId="{75A88773-6EE1-484E-AADE-FE631E01463B}" dt="2025-11-24T04:19:37.814" v="638843"/>
          <ac:spMkLst>
            <pc:docMk/>
            <pc:sldMk cId="80455690" sldId="2147483093"/>
            <ac:spMk id="2057" creationId="{9CA70036-11C0-12D9-46D5-6F59501E32CD}"/>
          </ac:spMkLst>
        </pc:spChg>
        <pc:spChg chg="add mod ord">
          <ac:chgData name="Yudi Zhu" userId="571e1a55-055f-4c28-8b35-fca6dd1c1369" providerId="ADAL" clId="{75A88773-6EE1-484E-AADE-FE631E01463B}" dt="2025-11-25T10:14:15.605" v="658320"/>
          <ac:spMkLst>
            <pc:docMk/>
            <pc:sldMk cId="80455690" sldId="2147483093"/>
            <ac:spMk id="2059" creationId="{4FF999FA-1CE6-816D-D3B3-94F0A436DD6A}"/>
          </ac:spMkLst>
        </pc:spChg>
        <pc:spChg chg="add mod ord">
          <ac:chgData name="Yudi Zhu" userId="571e1a55-055f-4c28-8b35-fca6dd1c1369" providerId="ADAL" clId="{75A88773-6EE1-484E-AADE-FE631E01463B}" dt="2025-11-25T10:14:15.605" v="658322"/>
          <ac:spMkLst>
            <pc:docMk/>
            <pc:sldMk cId="80455690" sldId="2147483093"/>
            <ac:spMk id="2060" creationId="{30997A82-F7AD-11CF-FD92-4153AF5D078E}"/>
          </ac:spMkLst>
        </pc:spChg>
        <pc:spChg chg="add mod">
          <ac:chgData name="Yudi Zhu" userId="571e1a55-055f-4c28-8b35-fca6dd1c1369" providerId="ADAL" clId="{75A88773-6EE1-484E-AADE-FE631E01463B}" dt="2025-11-25T10:14:15.605" v="658317"/>
          <ac:spMkLst>
            <pc:docMk/>
            <pc:sldMk cId="80455690" sldId="2147483093"/>
            <ac:spMk id="2061" creationId="{EC10FD50-1BB5-2F06-E80B-337A1E69A6D3}"/>
          </ac:spMkLst>
        </pc:spChg>
        <pc:spChg chg="add mod ord">
          <ac:chgData name="Yudi Zhu" userId="571e1a55-055f-4c28-8b35-fca6dd1c1369" providerId="ADAL" clId="{75A88773-6EE1-484E-AADE-FE631E01463B}" dt="2025-11-25T10:14:15.605" v="658324"/>
          <ac:spMkLst>
            <pc:docMk/>
            <pc:sldMk cId="80455690" sldId="2147483093"/>
            <ac:spMk id="2062" creationId="{3D43E4A8-995E-7592-502B-6A11E01635DA}"/>
          </ac:spMkLst>
        </pc:spChg>
        <pc:spChg chg="add mod ord">
          <ac:chgData name="Yudi Zhu" userId="571e1a55-055f-4c28-8b35-fca6dd1c1369" providerId="ADAL" clId="{75A88773-6EE1-484E-AADE-FE631E01463B}" dt="2025-11-25T10:14:15.605" v="658326"/>
          <ac:spMkLst>
            <pc:docMk/>
            <pc:sldMk cId="80455690" sldId="2147483093"/>
            <ac:spMk id="2063" creationId="{3AE91E55-A997-AF83-6A61-D6AA9CAC5831}"/>
          </ac:spMkLst>
        </pc:spChg>
        <pc:spChg chg="add mod">
          <ac:chgData name="Yudi Zhu" userId="571e1a55-055f-4c28-8b35-fca6dd1c1369" providerId="ADAL" clId="{75A88773-6EE1-484E-AADE-FE631E01463B}" dt="2025-11-25T10:14:15.605" v="658318"/>
          <ac:spMkLst>
            <pc:docMk/>
            <pc:sldMk cId="80455690" sldId="2147483093"/>
            <ac:spMk id="2064" creationId="{5519771D-DBD9-C3BC-7D7B-A2751226F9CF}"/>
          </ac:spMkLst>
        </pc:spChg>
        <pc:spChg chg="add del mod modVis">
          <ac:chgData name="Yudi Zhu" userId="571e1a55-055f-4c28-8b35-fca6dd1c1369" providerId="ADAL" clId="{75A88773-6EE1-484E-AADE-FE631E01463B}" dt="2025-11-24T05:18:45.961" v="640534"/>
          <ac:spMkLst>
            <pc:docMk/>
            <pc:sldMk cId="80455690" sldId="2147483093"/>
            <ac:spMk id="2065" creationId="{F609F99F-4107-E572-4E8E-CCF71EC69EBD}"/>
          </ac:spMkLst>
        </pc:spChg>
        <pc:spChg chg="add del mod modVis">
          <ac:chgData name="Yudi Zhu" userId="571e1a55-055f-4c28-8b35-fca6dd1c1369" providerId="ADAL" clId="{75A88773-6EE1-484E-AADE-FE631E01463B}" dt="2025-11-24T05:18:52.619" v="640916"/>
          <ac:spMkLst>
            <pc:docMk/>
            <pc:sldMk cId="80455690" sldId="2147483093"/>
            <ac:spMk id="2067" creationId="{3CC76629-5106-7D08-3954-B6B2B18D474E}"/>
          </ac:spMkLst>
        </pc:spChg>
        <pc:spChg chg="add mod ord">
          <ac:chgData name="Yudi Zhu" userId="571e1a55-055f-4c28-8b35-fca6dd1c1369" providerId="ADAL" clId="{75A88773-6EE1-484E-AADE-FE631E01463B}" dt="2025-11-25T10:14:15.621" v="658364"/>
          <ac:spMkLst>
            <pc:docMk/>
            <pc:sldMk cId="80455690" sldId="2147483093"/>
            <ac:spMk id="2069" creationId="{2C8C7C6E-7854-71B0-B5CD-346A1F62D9D5}"/>
          </ac:spMkLst>
        </pc:spChg>
        <pc:spChg chg="add mod ord">
          <ac:chgData name="Yudi Zhu" userId="571e1a55-055f-4c28-8b35-fca6dd1c1369" providerId="ADAL" clId="{75A88773-6EE1-484E-AADE-FE631E01463B}" dt="2025-11-25T10:14:15.621" v="658366"/>
          <ac:spMkLst>
            <pc:docMk/>
            <pc:sldMk cId="80455690" sldId="2147483093"/>
            <ac:spMk id="2070" creationId="{38C861AF-6F37-5EBF-7BB3-B7968983ADE2}"/>
          </ac:spMkLst>
        </pc:spChg>
        <pc:spChg chg="add del mod modVis">
          <ac:chgData name="Yudi Zhu" userId="571e1a55-055f-4c28-8b35-fca6dd1c1369" providerId="ADAL" clId="{75A88773-6EE1-484E-AADE-FE631E01463B}" dt="2025-11-24T05:20:49.001" v="641525"/>
          <ac:spMkLst>
            <pc:docMk/>
            <pc:sldMk cId="80455690" sldId="2147483093"/>
            <ac:spMk id="2071" creationId="{4D498C6B-B421-CA33-D877-584136A8CEF6}"/>
          </ac:spMkLst>
        </pc:spChg>
        <pc:spChg chg="add del mod modVis">
          <ac:chgData name="Yudi Zhu" userId="571e1a55-055f-4c28-8b35-fca6dd1c1369" providerId="ADAL" clId="{75A88773-6EE1-484E-AADE-FE631E01463B}" dt="2025-11-24T05:22:01.142" v="642173"/>
          <ac:spMkLst>
            <pc:docMk/>
            <pc:sldMk cId="80455690" sldId="2147483093"/>
            <ac:spMk id="2075" creationId="{A7EEA3C2-8BF6-1984-C85E-2F0984362C66}"/>
          </ac:spMkLst>
        </pc:spChg>
        <pc:spChg chg="add mod">
          <ac:chgData name="Yudi Zhu" userId="571e1a55-055f-4c28-8b35-fca6dd1c1369" providerId="ADAL" clId="{75A88773-6EE1-484E-AADE-FE631E01463B}" dt="2025-11-24T05:24:52.823" v="645039"/>
          <ac:spMkLst>
            <pc:docMk/>
            <pc:sldMk cId="80455690" sldId="2147483093"/>
            <ac:spMk id="2080" creationId="{A464F64C-C87B-D65C-77D3-65725EA7E476}"/>
          </ac:spMkLst>
        </pc:spChg>
        <pc:spChg chg="add mod ord">
          <ac:chgData name="Yudi Zhu" userId="571e1a55-055f-4c28-8b35-fca6dd1c1369" providerId="ADAL" clId="{75A88773-6EE1-484E-AADE-FE631E01463B}" dt="2025-11-24T05:25:49.738" v="646160" actId="20577"/>
          <ac:spMkLst>
            <pc:docMk/>
            <pc:sldMk cId="80455690" sldId="2147483093"/>
            <ac:spMk id="2081" creationId="{67B37DAE-F1A6-02BC-9079-DA97E49C636E}"/>
          </ac:spMkLst>
        </pc:spChg>
        <pc:spChg chg="add mod ord">
          <ac:chgData name="Yudi Zhu" userId="571e1a55-055f-4c28-8b35-fca6dd1c1369" providerId="ADAL" clId="{75A88773-6EE1-484E-AADE-FE631E01463B}" dt="2025-11-24T05:25:49.727" v="646148" actId="20577"/>
          <ac:spMkLst>
            <pc:docMk/>
            <pc:sldMk cId="80455690" sldId="2147483093"/>
            <ac:spMk id="2082" creationId="{E7129510-D77F-B9F4-1EB0-9530E151E65F}"/>
          </ac:spMkLst>
        </pc:spChg>
        <pc:spChg chg="add mod ord">
          <ac:chgData name="Yudi Zhu" userId="571e1a55-055f-4c28-8b35-fca6dd1c1369" providerId="ADAL" clId="{75A88773-6EE1-484E-AADE-FE631E01463B}" dt="2025-11-24T05:25:49.716" v="646136" actId="20577"/>
          <ac:spMkLst>
            <pc:docMk/>
            <pc:sldMk cId="80455690" sldId="2147483093"/>
            <ac:spMk id="2083" creationId="{403A7CDD-31F1-6A84-344A-99B0EB5801AB}"/>
          </ac:spMkLst>
        </pc:spChg>
        <pc:spChg chg="add mod ord">
          <ac:chgData name="Yudi Zhu" userId="571e1a55-055f-4c28-8b35-fca6dd1c1369" providerId="ADAL" clId="{75A88773-6EE1-484E-AADE-FE631E01463B}" dt="2025-11-24T05:25:49.706" v="646124" actId="20577"/>
          <ac:spMkLst>
            <pc:docMk/>
            <pc:sldMk cId="80455690" sldId="2147483093"/>
            <ac:spMk id="2084" creationId="{AEDF6498-CECE-437E-1DA9-7E9FE4123590}"/>
          </ac:spMkLst>
        </pc:spChg>
        <pc:spChg chg="add mod ord">
          <ac:chgData name="Yudi Zhu" userId="571e1a55-055f-4c28-8b35-fca6dd1c1369" providerId="ADAL" clId="{75A88773-6EE1-484E-AADE-FE631E01463B}" dt="2025-11-24T05:25:49.694" v="646112" actId="20577"/>
          <ac:spMkLst>
            <pc:docMk/>
            <pc:sldMk cId="80455690" sldId="2147483093"/>
            <ac:spMk id="2085" creationId="{D7C19866-AD9A-92F3-0BE7-6BD9D899C6B4}"/>
          </ac:spMkLst>
        </pc:spChg>
        <pc:spChg chg="add mod ord">
          <ac:chgData name="Yudi Zhu" userId="571e1a55-055f-4c28-8b35-fca6dd1c1369" providerId="ADAL" clId="{75A88773-6EE1-484E-AADE-FE631E01463B}" dt="2025-11-24T05:25:49.682" v="646100" actId="20577"/>
          <ac:spMkLst>
            <pc:docMk/>
            <pc:sldMk cId="80455690" sldId="2147483093"/>
            <ac:spMk id="2086" creationId="{AE671969-444A-B1F8-6DB1-9B3CB353A327}"/>
          </ac:spMkLst>
        </pc:spChg>
        <pc:spChg chg="add mod ord">
          <ac:chgData name="Yudi Zhu" userId="571e1a55-055f-4c28-8b35-fca6dd1c1369" providerId="ADAL" clId="{75A88773-6EE1-484E-AADE-FE631E01463B}" dt="2025-11-24T05:25:49.671" v="646088" actId="20577"/>
          <ac:spMkLst>
            <pc:docMk/>
            <pc:sldMk cId="80455690" sldId="2147483093"/>
            <ac:spMk id="2087" creationId="{6DA7FB13-E0AD-21C3-6D96-D9F653AE93C2}"/>
          </ac:spMkLst>
        </pc:spChg>
        <pc:spChg chg="add mod ord">
          <ac:chgData name="Yudi Zhu" userId="571e1a55-055f-4c28-8b35-fca6dd1c1369" providerId="ADAL" clId="{75A88773-6EE1-484E-AADE-FE631E01463B}" dt="2025-11-24T05:25:49.660" v="646076" actId="20577"/>
          <ac:spMkLst>
            <pc:docMk/>
            <pc:sldMk cId="80455690" sldId="2147483093"/>
            <ac:spMk id="2088" creationId="{1BAFA430-FC08-670B-3B43-64522B4A8F1E}"/>
          </ac:spMkLst>
        </pc:spChg>
        <pc:spChg chg="add mod ord">
          <ac:chgData name="Yudi Zhu" userId="571e1a55-055f-4c28-8b35-fca6dd1c1369" providerId="ADAL" clId="{75A88773-6EE1-484E-AADE-FE631E01463B}" dt="2025-11-24T05:25:49.649" v="646064" actId="20577"/>
          <ac:spMkLst>
            <pc:docMk/>
            <pc:sldMk cId="80455690" sldId="2147483093"/>
            <ac:spMk id="2089" creationId="{51397411-F634-89EF-C745-F074E52E780C}"/>
          </ac:spMkLst>
        </pc:spChg>
        <pc:spChg chg="add mod ord">
          <ac:chgData name="Yudi Zhu" userId="571e1a55-055f-4c28-8b35-fca6dd1c1369" providerId="ADAL" clId="{75A88773-6EE1-484E-AADE-FE631E01463B}" dt="2025-11-24T05:25:49.638" v="646052" actId="20577"/>
          <ac:spMkLst>
            <pc:docMk/>
            <pc:sldMk cId="80455690" sldId="2147483093"/>
            <ac:spMk id="2090" creationId="{42B5CD08-D753-373F-48F4-CAE56CD9EE13}"/>
          </ac:spMkLst>
        </pc:spChg>
        <pc:spChg chg="add del mod modVis">
          <ac:chgData name="Yudi Zhu" userId="571e1a55-055f-4c28-8b35-fca6dd1c1369" providerId="ADAL" clId="{75A88773-6EE1-484E-AADE-FE631E01463B}" dt="2025-11-24T05:25:49.627" v="646039" actId="962"/>
          <ac:spMkLst>
            <pc:docMk/>
            <pc:sldMk cId="80455690" sldId="2147483093"/>
            <ac:spMk id="2091" creationId="{D05B21B8-55D3-0000-8C9E-BCC46F261B7D}"/>
          </ac:spMkLst>
        </pc:spChg>
        <pc:spChg chg="add mod ord">
          <ac:chgData name="Yudi Zhu" userId="571e1a55-055f-4c28-8b35-fca6dd1c1369" providerId="ADAL" clId="{75A88773-6EE1-484E-AADE-FE631E01463B}" dt="2025-11-24T05:25:49.572" v="645944" actId="207"/>
          <ac:spMkLst>
            <pc:docMk/>
            <pc:sldMk cId="80455690" sldId="2147483093"/>
            <ac:spMk id="2093" creationId="{DFE5B18F-B130-D7F2-E415-6F710C2E8CD2}"/>
          </ac:spMkLst>
        </pc:spChg>
        <pc:spChg chg="add del mod modVis">
          <ac:chgData name="Yudi Zhu" userId="571e1a55-055f-4c28-8b35-fca6dd1c1369" providerId="ADAL" clId="{75A88773-6EE1-484E-AADE-FE631E01463B}" dt="2025-11-24T05:27:08.820" v="647002"/>
          <ac:spMkLst>
            <pc:docMk/>
            <pc:sldMk cId="80455690" sldId="2147483093"/>
            <ac:spMk id="2098" creationId="{EE1F8F01-D3C7-ECB6-1934-BDCA7108CC17}"/>
          </ac:spMkLst>
        </pc:spChg>
        <pc:spChg chg="add del mod">
          <ac:chgData name="Yudi Zhu" userId="571e1a55-055f-4c28-8b35-fca6dd1c1369" providerId="ADAL" clId="{75A88773-6EE1-484E-AADE-FE631E01463B}" dt="2025-11-24T05:27:29.364" v="647865"/>
          <ac:spMkLst>
            <pc:docMk/>
            <pc:sldMk cId="80455690" sldId="2147483093"/>
            <ac:spMk id="2099" creationId="{38D54D8A-2176-F8A6-9A9E-5043A353007F}"/>
          </ac:spMkLst>
        </pc:spChg>
        <pc:spChg chg="add del mod">
          <ac:chgData name="Yudi Zhu" userId="571e1a55-055f-4c28-8b35-fca6dd1c1369" providerId="ADAL" clId="{75A88773-6EE1-484E-AADE-FE631E01463B}" dt="2025-11-24T05:27:53.481" v="650785"/>
          <ac:spMkLst>
            <pc:docMk/>
            <pc:sldMk cId="80455690" sldId="2147483093"/>
            <ac:spMk id="2100" creationId="{56D842D8-3127-6E73-3329-E6AE9B00E6B8}"/>
          </ac:spMkLst>
        </pc:spChg>
        <pc:spChg chg="add del mod">
          <ac:chgData name="Yudi Zhu" userId="571e1a55-055f-4c28-8b35-fca6dd1c1369" providerId="ADAL" clId="{75A88773-6EE1-484E-AADE-FE631E01463B}" dt="2025-11-24T05:27:53.481" v="650779"/>
          <ac:spMkLst>
            <pc:docMk/>
            <pc:sldMk cId="80455690" sldId="2147483093"/>
            <ac:spMk id="2101" creationId="{7ED7E54B-7637-918E-0A23-C900AFC1D938}"/>
          </ac:spMkLst>
        </pc:spChg>
        <pc:spChg chg="add del mod">
          <ac:chgData name="Yudi Zhu" userId="571e1a55-055f-4c28-8b35-fca6dd1c1369" providerId="ADAL" clId="{75A88773-6EE1-484E-AADE-FE631E01463B}" dt="2025-11-24T05:27:30.460" v="648294"/>
          <ac:spMkLst>
            <pc:docMk/>
            <pc:sldMk cId="80455690" sldId="2147483093"/>
            <ac:spMk id="2106" creationId="{1FAB4573-2456-79CD-F215-F3F9A2C5A0DB}"/>
          </ac:spMkLst>
        </pc:spChg>
        <pc:spChg chg="add del mod modVis">
          <ac:chgData name="Yudi Zhu" userId="571e1a55-055f-4c28-8b35-fca6dd1c1369" providerId="ADAL" clId="{75A88773-6EE1-484E-AADE-FE631E01463B}" dt="2025-11-24T05:27:22.991" v="647846"/>
          <ac:spMkLst>
            <pc:docMk/>
            <pc:sldMk cId="80455690" sldId="2147483093"/>
            <ac:spMk id="2107" creationId="{2FFAFE08-E020-5BC3-AC59-459872C59E55}"/>
          </ac:spMkLst>
        </pc:spChg>
        <pc:spChg chg="add del mod">
          <ac:chgData name="Yudi Zhu" userId="571e1a55-055f-4c28-8b35-fca6dd1c1369" providerId="ADAL" clId="{75A88773-6EE1-484E-AADE-FE631E01463B}" dt="2025-11-24T05:27:33.458" v="649213"/>
          <ac:spMkLst>
            <pc:docMk/>
            <pc:sldMk cId="80455690" sldId="2147483093"/>
            <ac:spMk id="2112" creationId="{311FCCA1-BD98-29FF-026E-CAD96F5D94CD}"/>
          </ac:spMkLst>
        </pc:spChg>
        <pc:spChg chg="add del mod modVis">
          <ac:chgData name="Yudi Zhu" userId="571e1a55-055f-4c28-8b35-fca6dd1c1369" providerId="ADAL" clId="{75A88773-6EE1-484E-AADE-FE631E01463B}" dt="2025-11-24T05:27:29.671" v="648249"/>
          <ac:spMkLst>
            <pc:docMk/>
            <pc:sldMk cId="80455690" sldId="2147483093"/>
            <ac:spMk id="2113" creationId="{54F5B800-D81B-302D-BA34-2F6666779DDE}"/>
          </ac:spMkLst>
        </pc:spChg>
        <pc:spChg chg="add del mod ord">
          <ac:chgData name="Yudi Zhu" userId="571e1a55-055f-4c28-8b35-fca6dd1c1369" providerId="ADAL" clId="{75A88773-6EE1-484E-AADE-FE631E01463B}" dt="2025-11-24T05:27:35.997" v="649621"/>
          <ac:spMkLst>
            <pc:docMk/>
            <pc:sldMk cId="80455690" sldId="2147483093"/>
            <ac:spMk id="2114" creationId="{6A224BF9-48C0-A0B2-3FC2-AA700823B13B}"/>
          </ac:spMkLst>
        </pc:spChg>
        <pc:spChg chg="add del mod">
          <ac:chgData name="Yudi Zhu" userId="571e1a55-055f-4c28-8b35-fca6dd1c1369" providerId="ADAL" clId="{75A88773-6EE1-484E-AADE-FE631E01463B}" dt="2025-11-24T05:27:53.481" v="650786"/>
          <ac:spMkLst>
            <pc:docMk/>
            <pc:sldMk cId="80455690" sldId="2147483093"/>
            <ac:spMk id="2117" creationId="{789879DC-1F36-C3B9-A4C5-AC5CF4CDF87D}"/>
          </ac:spMkLst>
        </pc:spChg>
        <pc:spChg chg="add del mod modVis">
          <ac:chgData name="Yudi Zhu" userId="571e1a55-055f-4c28-8b35-fca6dd1c1369" providerId="ADAL" clId="{75A88773-6EE1-484E-AADE-FE631E01463B}" dt="2025-11-24T05:27:30.659" v="648612"/>
          <ac:spMkLst>
            <pc:docMk/>
            <pc:sldMk cId="80455690" sldId="2147483093"/>
            <ac:spMk id="2118" creationId="{72DAD64F-F31D-9A4E-247A-0C45721BECEA}"/>
          </ac:spMkLst>
        </pc:spChg>
        <pc:spChg chg="add del mod modVis">
          <ac:chgData name="Yudi Zhu" userId="571e1a55-055f-4c28-8b35-fca6dd1c1369" providerId="ADAL" clId="{75A88773-6EE1-484E-AADE-FE631E01463B}" dt="2025-11-24T05:27:33.307" v="649168"/>
          <ac:spMkLst>
            <pc:docMk/>
            <pc:sldMk cId="80455690" sldId="2147483093"/>
            <ac:spMk id="2120" creationId="{ACFDC5BE-88B6-B11F-3213-BA9769B468AB}"/>
          </ac:spMkLst>
        </pc:spChg>
        <pc:spChg chg="add del mod">
          <ac:chgData name="Yudi Zhu" userId="571e1a55-055f-4c28-8b35-fca6dd1c1369" providerId="ADAL" clId="{75A88773-6EE1-484E-AADE-FE631E01463B}" dt="2025-11-24T05:27:53.481" v="650782"/>
          <ac:spMkLst>
            <pc:docMk/>
            <pc:sldMk cId="80455690" sldId="2147483093"/>
            <ac:spMk id="2121" creationId="{FA9D9AC3-D552-90B6-16F1-D49C7ECCA43B}"/>
          </ac:spMkLst>
        </pc:spChg>
        <pc:spChg chg="add del mod">
          <ac:chgData name="Yudi Zhu" userId="571e1a55-055f-4c28-8b35-fca6dd1c1369" providerId="ADAL" clId="{75A88773-6EE1-484E-AADE-FE631E01463B}" dt="2025-11-24T05:27:53.481" v="650776"/>
          <ac:spMkLst>
            <pc:docMk/>
            <pc:sldMk cId="80455690" sldId="2147483093"/>
            <ac:spMk id="2122" creationId="{D4BEEB79-76C6-D0A1-55A0-31AE2AF62436}"/>
          </ac:spMkLst>
        </pc:spChg>
        <pc:spChg chg="add del mod ord">
          <ac:chgData name="Yudi Zhu" userId="571e1a55-055f-4c28-8b35-fca6dd1c1369" providerId="ADAL" clId="{75A88773-6EE1-484E-AADE-FE631E01463B}" dt="2025-11-24T05:27:35.845" v="649537"/>
          <ac:spMkLst>
            <pc:docMk/>
            <pc:sldMk cId="80455690" sldId="2147483093"/>
            <ac:spMk id="2123" creationId="{F0B0AFB7-93E1-CADF-6511-27B956B741F6}"/>
          </ac:spMkLst>
        </pc:spChg>
        <pc:spChg chg="add del mod">
          <ac:chgData name="Yudi Zhu" userId="571e1a55-055f-4c28-8b35-fca6dd1c1369" providerId="ADAL" clId="{75A88773-6EE1-484E-AADE-FE631E01463B}" dt="2025-11-24T05:27:53.481" v="650773"/>
          <ac:spMkLst>
            <pc:docMk/>
            <pc:sldMk cId="80455690" sldId="2147483093"/>
            <ac:spMk id="2125" creationId="{8BE82144-186D-2CED-4B96-0C2519EB2E72}"/>
          </ac:spMkLst>
        </pc:spChg>
        <pc:spChg chg="add del mod modVis">
          <ac:chgData name="Yudi Zhu" userId="571e1a55-055f-4c28-8b35-fca6dd1c1369" providerId="ADAL" clId="{75A88773-6EE1-484E-AADE-FE631E01463B}" dt="2025-11-24T05:27:33.761" v="649533"/>
          <ac:spMkLst>
            <pc:docMk/>
            <pc:sldMk cId="80455690" sldId="2147483093"/>
            <ac:spMk id="2126" creationId="{319C865D-756F-AA37-9279-FC8127D5648E}"/>
          </ac:spMkLst>
        </pc:spChg>
        <pc:spChg chg="add del mod modVis">
          <ac:chgData name="Yudi Zhu" userId="571e1a55-055f-4c28-8b35-fca6dd1c1369" providerId="ADAL" clId="{75A88773-6EE1-484E-AADE-FE631E01463B}" dt="2025-11-24T05:27:36.275" v="649966"/>
          <ac:spMkLst>
            <pc:docMk/>
            <pc:sldMk cId="80455690" sldId="2147483093"/>
            <ac:spMk id="2128" creationId="{E570DAA6-DD8F-F6CD-2EB8-73DCA69C089E}"/>
          </ac:spMkLst>
        </pc:spChg>
        <pc:spChg chg="add del mod">
          <ac:chgData name="Yudi Zhu" userId="571e1a55-055f-4c28-8b35-fca6dd1c1369" providerId="ADAL" clId="{75A88773-6EE1-484E-AADE-FE631E01463B}" dt="2025-11-24T05:27:38.280" v="649971"/>
          <ac:spMkLst>
            <pc:docMk/>
            <pc:sldMk cId="80455690" sldId="2147483093"/>
            <ac:spMk id="2129" creationId="{D8ED0041-3142-28C1-F0CE-3D2B3DB4CF85}"/>
          </ac:spMkLst>
        </pc:spChg>
        <pc:spChg chg="add del mod ord">
          <ac:chgData name="Yudi Zhu" userId="571e1a55-055f-4c28-8b35-fca6dd1c1369" providerId="ADAL" clId="{75A88773-6EE1-484E-AADE-FE631E01463B}" dt="2025-11-24T05:27:38.570" v="650052"/>
          <ac:spMkLst>
            <pc:docMk/>
            <pc:sldMk cId="80455690" sldId="2147483093"/>
            <ac:spMk id="2130" creationId="{0B1682CC-223B-791B-74DF-99C2CF0E708B}"/>
          </ac:spMkLst>
        </pc:spChg>
        <pc:spChg chg="add del mod modVis">
          <ac:chgData name="Yudi Zhu" userId="571e1a55-055f-4c28-8b35-fca6dd1c1369" providerId="ADAL" clId="{75A88773-6EE1-484E-AADE-FE631E01463B}" dt="2025-11-24T05:27:38.963" v="650386"/>
          <ac:spMkLst>
            <pc:docMk/>
            <pc:sldMk cId="80455690" sldId="2147483093"/>
            <ac:spMk id="2133" creationId="{10AA3173-2178-DE38-1CED-30D70F4A0997}"/>
          </ac:spMkLst>
        </pc:spChg>
        <pc:spChg chg="add del mod">
          <ac:chgData name="Yudi Zhu" userId="571e1a55-055f-4c28-8b35-fca6dd1c1369" providerId="ADAL" clId="{75A88773-6EE1-484E-AADE-FE631E01463B}" dt="2025-11-24T05:27:53.480" v="650772"/>
          <ac:spMkLst>
            <pc:docMk/>
            <pc:sldMk cId="80455690" sldId="2147483093"/>
            <ac:spMk id="2134" creationId="{70A9B823-3A59-6695-2BBD-45BB587C3565}"/>
          </ac:spMkLst>
        </pc:spChg>
        <pc:spChg chg="add del mod">
          <ac:chgData name="Yudi Zhu" userId="571e1a55-055f-4c28-8b35-fca6dd1c1369" providerId="ADAL" clId="{75A88773-6EE1-484E-AADE-FE631E01463B}" dt="2025-11-24T05:28:14.300" v="652080"/>
          <ac:spMkLst>
            <pc:docMk/>
            <pc:sldMk cId="80455690" sldId="2147483093"/>
            <ac:spMk id="2137" creationId="{20C5250E-DF1D-B886-FB3D-0DBE35933E4B}"/>
          </ac:spMkLst>
        </pc:spChg>
        <pc:spChg chg="add del mod modVis">
          <ac:chgData name="Yudi Zhu" userId="571e1a55-055f-4c28-8b35-fca6dd1c1369" providerId="ADAL" clId="{75A88773-6EE1-484E-AADE-FE631E01463B}" dt="2025-11-24T05:28:00.179" v="651336"/>
          <ac:spMkLst>
            <pc:docMk/>
            <pc:sldMk cId="80455690" sldId="2147483093"/>
            <ac:spMk id="2138" creationId="{301693F4-12F9-3EE9-96A4-85C0132EEED8}"/>
          </ac:spMkLst>
        </pc:spChg>
        <pc:spChg chg="add del mod">
          <ac:chgData name="Yudi Zhu" userId="571e1a55-055f-4c28-8b35-fca6dd1c1369" providerId="ADAL" clId="{75A88773-6EE1-484E-AADE-FE631E01463B}" dt="2025-11-24T05:28:36.079" v="655137"/>
          <ac:spMkLst>
            <pc:docMk/>
            <pc:sldMk cId="80455690" sldId="2147483093"/>
            <ac:spMk id="2139" creationId="{F41BF632-8E1C-9EE3-58D7-53FE8983A142}"/>
          </ac:spMkLst>
        </pc:spChg>
        <pc:spChg chg="add del mod">
          <ac:chgData name="Yudi Zhu" userId="571e1a55-055f-4c28-8b35-fca6dd1c1369" providerId="ADAL" clId="{75A88773-6EE1-484E-AADE-FE631E01463B}" dt="2025-11-24T05:28:36.079" v="655132"/>
          <ac:spMkLst>
            <pc:docMk/>
            <pc:sldMk cId="80455690" sldId="2147483093"/>
            <ac:spMk id="2140" creationId="{E84B83B3-78DA-4480-5A8B-778B8EE862A8}"/>
          </ac:spMkLst>
        </pc:spChg>
        <pc:spChg chg="add del mod">
          <ac:chgData name="Yudi Zhu" userId="571e1a55-055f-4c28-8b35-fca6dd1c1369" providerId="ADAL" clId="{75A88773-6EE1-484E-AADE-FE631E01463B}" dt="2025-11-24T05:28:15.529" v="652612"/>
          <ac:spMkLst>
            <pc:docMk/>
            <pc:sldMk cId="80455690" sldId="2147483093"/>
            <ac:spMk id="2144" creationId="{5D55859A-07AF-5EB9-F8EE-841943BEF635}"/>
          </ac:spMkLst>
        </pc:spChg>
        <pc:spChg chg="add del mod modVis">
          <ac:chgData name="Yudi Zhu" userId="571e1a55-055f-4c28-8b35-fca6dd1c1369" providerId="ADAL" clId="{75A88773-6EE1-484E-AADE-FE631E01463B}" dt="2025-11-24T05:28:13.130" v="652042"/>
          <ac:spMkLst>
            <pc:docMk/>
            <pc:sldMk cId="80455690" sldId="2147483093"/>
            <ac:spMk id="2145" creationId="{166396C8-7C3D-4413-CF97-43AEE9F0C846}"/>
          </ac:spMkLst>
        </pc:spChg>
        <pc:spChg chg="add del mod">
          <ac:chgData name="Yudi Zhu" userId="571e1a55-055f-4c28-8b35-fca6dd1c1369" providerId="ADAL" clId="{75A88773-6EE1-484E-AADE-FE631E01463B}" dt="2025-11-24T05:28:14.255" v="652060"/>
          <ac:spMkLst>
            <pc:docMk/>
            <pc:sldMk cId="80455690" sldId="2147483093"/>
            <ac:spMk id="2146" creationId="{2412022B-F0DF-E3F7-B441-CDA60F9B6DFA}"/>
          </ac:spMkLst>
        </pc:spChg>
        <pc:spChg chg="add del mod">
          <ac:chgData name="Yudi Zhu" userId="571e1a55-055f-4c28-8b35-fca6dd1c1369" providerId="ADAL" clId="{75A88773-6EE1-484E-AADE-FE631E01463B}" dt="2025-11-24T05:28:16.930" v="652982"/>
          <ac:spMkLst>
            <pc:docMk/>
            <pc:sldMk cId="80455690" sldId="2147483093"/>
            <ac:spMk id="2147" creationId="{113F2509-47C9-2699-73B8-0700BE62BA3D}"/>
          </ac:spMkLst>
        </pc:spChg>
        <pc:spChg chg="add del mod">
          <ac:chgData name="Yudi Zhu" userId="571e1a55-055f-4c28-8b35-fca6dd1c1369" providerId="ADAL" clId="{75A88773-6EE1-484E-AADE-FE631E01463B}" dt="2025-11-24T05:28:14.526" v="652208"/>
          <ac:spMkLst>
            <pc:docMk/>
            <pc:sldMk cId="80455690" sldId="2147483093"/>
            <ac:spMk id="2148" creationId="{08D62056-1A19-39CD-0724-D753CE197F87}"/>
          </ac:spMkLst>
        </pc:spChg>
        <pc:spChg chg="add del mod">
          <ac:chgData name="Yudi Zhu" userId="571e1a55-055f-4c28-8b35-fca6dd1c1369" providerId="ADAL" clId="{75A88773-6EE1-484E-AADE-FE631E01463B}" dt="2025-11-24T05:28:36.079" v="655127"/>
          <ac:spMkLst>
            <pc:docMk/>
            <pc:sldMk cId="80455690" sldId="2147483093"/>
            <ac:spMk id="2153" creationId="{73753ADB-2545-9B84-A606-4B23E442D6A9}"/>
          </ac:spMkLst>
        </pc:spChg>
        <pc:spChg chg="add del mod ord">
          <ac:chgData name="Yudi Zhu" userId="571e1a55-055f-4c28-8b35-fca6dd1c1369" providerId="ADAL" clId="{75A88773-6EE1-484E-AADE-FE631E01463B}" dt="2025-11-24T05:28:16.857" v="652937"/>
          <ac:spMkLst>
            <pc:docMk/>
            <pc:sldMk cId="80455690" sldId="2147483093"/>
            <ac:spMk id="2154" creationId="{6E1CE8DF-E80E-FBC8-361C-CE8E739A197D}"/>
          </ac:spMkLst>
        </pc:spChg>
        <pc:spChg chg="add del mod modVis">
          <ac:chgData name="Yudi Zhu" userId="571e1a55-055f-4c28-8b35-fca6dd1c1369" providerId="ADAL" clId="{75A88773-6EE1-484E-AADE-FE631E01463B}" dt="2025-11-24T05:28:14.789" v="652567"/>
          <ac:spMkLst>
            <pc:docMk/>
            <pc:sldMk cId="80455690" sldId="2147483093"/>
            <ac:spMk id="2155" creationId="{F247423D-1417-6E39-789E-9EBBCCD8AB8D}"/>
          </ac:spMkLst>
        </pc:spChg>
        <pc:spChg chg="add del mod">
          <ac:chgData name="Yudi Zhu" userId="571e1a55-055f-4c28-8b35-fca6dd1c1369" providerId="ADAL" clId="{75A88773-6EE1-484E-AADE-FE631E01463B}" dt="2025-11-24T05:28:16.944" v="652997"/>
          <ac:spMkLst>
            <pc:docMk/>
            <pc:sldMk cId="80455690" sldId="2147483093"/>
            <ac:spMk id="2156" creationId="{05A3159F-9DD8-87EB-8F0C-F9546CEA0D26}"/>
          </ac:spMkLst>
        </pc:spChg>
        <pc:spChg chg="add del mod ord">
          <ac:chgData name="Yudi Zhu" userId="571e1a55-055f-4c28-8b35-fca6dd1c1369" providerId="ADAL" clId="{75A88773-6EE1-484E-AADE-FE631E01463B}" dt="2025-11-24T05:28:19.124" v="653393"/>
          <ac:spMkLst>
            <pc:docMk/>
            <pc:sldMk cId="80455690" sldId="2147483093"/>
            <ac:spMk id="2157" creationId="{099A4902-D467-1505-DE67-769F915AC980}"/>
          </ac:spMkLst>
        </pc:spChg>
        <pc:spChg chg="add del mod ord">
          <ac:chgData name="Yudi Zhu" userId="571e1a55-055f-4c28-8b35-fca6dd1c1369" providerId="ADAL" clId="{75A88773-6EE1-484E-AADE-FE631E01463B}" dt="2025-11-24T05:28:16.930" v="652988"/>
          <ac:spMkLst>
            <pc:docMk/>
            <pc:sldMk cId="80455690" sldId="2147483093"/>
            <ac:spMk id="2158" creationId="{E6E80EA6-DA3E-7AA2-218B-863532E8C46A}"/>
          </ac:spMkLst>
        </pc:spChg>
        <pc:spChg chg="add del mod">
          <ac:chgData name="Yudi Zhu" userId="571e1a55-055f-4c28-8b35-fca6dd1c1369" providerId="ADAL" clId="{75A88773-6EE1-484E-AADE-FE631E01463B}" dt="2025-11-24T05:28:36.079" v="655138"/>
          <ac:spMkLst>
            <pc:docMk/>
            <pc:sldMk cId="80455690" sldId="2147483093"/>
            <ac:spMk id="2160" creationId="{8C03FB50-9CF8-0660-4F21-24118DE1A16C}"/>
          </ac:spMkLst>
        </pc:spChg>
        <pc:spChg chg="add del mod modVis">
          <ac:chgData name="Yudi Zhu" userId="571e1a55-055f-4c28-8b35-fca6dd1c1369" providerId="ADAL" clId="{75A88773-6EE1-484E-AADE-FE631E01463B}" dt="2025-11-24T05:28:15.759" v="652932"/>
          <ac:spMkLst>
            <pc:docMk/>
            <pc:sldMk cId="80455690" sldId="2147483093"/>
            <ac:spMk id="2161" creationId="{0EF11D7C-8F2E-DD87-D177-0CCC3FD1642C}"/>
          </ac:spMkLst>
        </pc:spChg>
        <pc:spChg chg="add del mod modVis">
          <ac:chgData name="Yudi Zhu" userId="571e1a55-055f-4c28-8b35-fca6dd1c1369" providerId="ADAL" clId="{75A88773-6EE1-484E-AADE-FE631E01463B}" dt="2025-11-24T05:28:17.207" v="653367"/>
          <ac:spMkLst>
            <pc:docMk/>
            <pc:sldMk cId="80455690" sldId="2147483093"/>
            <ac:spMk id="2163" creationId="{2FF870D7-D712-A329-0D4C-9401194C596C}"/>
          </ac:spMkLst>
        </pc:spChg>
        <pc:spChg chg="add del mod modVis">
          <ac:chgData name="Yudi Zhu" userId="571e1a55-055f-4c28-8b35-fca6dd1c1369" providerId="ADAL" clId="{75A88773-6EE1-484E-AADE-FE631E01463B}" dt="2025-11-24T05:28:19.504" v="653718"/>
          <ac:spMkLst>
            <pc:docMk/>
            <pc:sldMk cId="80455690" sldId="2147483093"/>
            <ac:spMk id="2168" creationId="{C8DC1ADB-FA60-5C55-0BA2-7736054930E0}"/>
          </ac:spMkLst>
        </pc:spChg>
        <pc:spChg chg="add del mod ord">
          <ac:chgData name="Yudi Zhu" userId="571e1a55-055f-4c28-8b35-fca6dd1c1369" providerId="ADAL" clId="{75A88773-6EE1-484E-AADE-FE631E01463B}" dt="2025-11-24T05:28:19.680" v="653722"/>
          <ac:spMkLst>
            <pc:docMk/>
            <pc:sldMk cId="80455690" sldId="2147483093"/>
            <ac:spMk id="2169" creationId="{D185CCE5-947B-F616-4B96-38DF4BF2AB44}"/>
          </ac:spMkLst>
        </pc:spChg>
        <pc:grpChg chg="mod ord">
          <ac:chgData name="Yudi Zhu" userId="571e1a55-055f-4c28-8b35-fca6dd1c1369" providerId="ADAL" clId="{75A88773-6EE1-484E-AADE-FE631E01463B}" dt="2025-11-25T10:14:15.605" v="658305"/>
          <ac:grpSpMkLst>
            <pc:docMk/>
            <pc:sldMk cId="80455690" sldId="2147483093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5T10:14:15.605" v="658307"/>
          <ac:grpSpMkLst>
            <pc:docMk/>
            <pc:sldMk cId="80455690" sldId="2147483093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5T10:14:15.605" v="658309"/>
          <ac:grpSpMkLst>
            <pc:docMk/>
            <pc:sldMk cId="80455690" sldId="2147483093"/>
            <ac:grpSpMk id="1604" creationId="{CAC77667-D6BB-F83B-AA16-FAE5D5B780AA}"/>
          </ac:grpSpMkLst>
        </pc:grpChg>
        <pc:graphicFrameChg chg="add mod ord modGraphic">
          <ac:chgData name="Yudi Zhu" userId="571e1a55-055f-4c28-8b35-fca6dd1c1369" providerId="ADAL" clId="{75A88773-6EE1-484E-AADE-FE631E01463B}" dt="2025-11-26T07:05:58.328" v="765907" actId="20577"/>
          <ac:graphicFrameMkLst>
            <pc:docMk/>
            <pc:sldMk cId="80455690" sldId="2147483093"/>
            <ac:graphicFrameMk id="3" creationId="{E90D6D2D-2F71-697E-2616-88B6A758C1F6}"/>
          </ac:graphicFrameMkLst>
        </pc:graphicFrameChg>
        <pc:graphicFrameChg chg="add mod">
          <ac:chgData name="Yudi Zhu" userId="571e1a55-055f-4c28-8b35-fca6dd1c1369" providerId="ADAL" clId="{75A88773-6EE1-484E-AADE-FE631E01463B}" dt="2025-11-24T01:55:06.211" v="476394"/>
          <ac:graphicFrameMkLst>
            <pc:docMk/>
            <pc:sldMk cId="80455690" sldId="2147483093"/>
            <ac:graphicFrameMk id="4" creationId="{633557E8-E74E-F026-0B1D-03E3F527FB11}"/>
          </ac:graphicFrameMkLst>
        </pc:graphicFrameChg>
        <pc:graphicFrameChg chg="add mod">
          <ac:chgData name="Yudi Zhu" userId="571e1a55-055f-4c28-8b35-fca6dd1c1369" providerId="ADAL" clId="{75A88773-6EE1-484E-AADE-FE631E01463B}" dt="2025-11-25T10:05:13.011" v="657722"/>
          <ac:graphicFrameMkLst>
            <pc:docMk/>
            <pc:sldMk cId="80455690" sldId="2147483093"/>
            <ac:graphicFrameMk id="5" creationId="{46DD8D3A-E668-DF18-5241-3658BEC70B1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4:55.763" v="413352"/>
          <ac:graphicFrameMkLst>
            <pc:docMk/>
            <pc:sldMk cId="80455690" sldId="2147483093"/>
            <ac:graphicFrameMk id="6" creationId="{5702FD2A-ED94-C675-5825-2A692D849B9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4:00.282" v="552196"/>
          <ac:graphicFrameMkLst>
            <pc:docMk/>
            <pc:sldMk cId="80455690" sldId="2147483093"/>
            <ac:graphicFrameMk id="7" creationId="{41C09F51-A2C9-BD4A-AC45-1812EA6C0295}"/>
          </ac:graphicFrameMkLst>
        </pc:graphicFrameChg>
        <pc:graphicFrameChg chg="add mod">
          <ac:chgData name="Yudi Zhu" userId="571e1a55-055f-4c28-8b35-fca6dd1c1369" providerId="ADAL" clId="{75A88773-6EE1-484E-AADE-FE631E01463B}" dt="2025-11-25T10:14:15.573" v="658215"/>
          <ac:graphicFrameMkLst>
            <pc:docMk/>
            <pc:sldMk cId="80455690" sldId="2147483093"/>
            <ac:graphicFrameMk id="8" creationId="{B950EE6B-2B3E-265D-E126-5B3D97BAF38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06.038" v="485159"/>
          <ac:graphicFrameMkLst>
            <pc:docMk/>
            <pc:sldMk cId="80455690" sldId="2147483093"/>
            <ac:graphicFrameMk id="9" creationId="{3906C612-5425-00B3-45FC-7475A3AEC2F9}"/>
          </ac:graphicFrameMkLst>
        </pc:graphicFrameChg>
        <pc:graphicFrameChg chg="mod">
          <ac:chgData name="Yudi Zhu" userId="571e1a55-055f-4c28-8b35-fca6dd1c1369" providerId="ADAL" clId="{75A88773-6EE1-484E-AADE-FE631E01463B}" dt="2025-11-25T10:14:15.636" v="658374"/>
          <ac:graphicFrameMkLst>
            <pc:docMk/>
            <pc:sldMk cId="80455690" sldId="2147483093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5:00.306" v="413801"/>
          <ac:graphicFrameMkLst>
            <pc:docMk/>
            <pc:sldMk cId="80455690" sldId="2147483093"/>
            <ac:graphicFrameMk id="15" creationId="{30DA42C7-7C00-03BF-0BA0-7728C58988D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4:33.253" v="425131"/>
          <ac:graphicFrameMkLst>
            <pc:docMk/>
            <pc:sldMk cId="80455690" sldId="2147483093"/>
            <ac:graphicFrameMk id="17" creationId="{2F299746-2CF0-DCFF-A0BE-BAD66482B51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6:02.458" v="415362"/>
          <ac:graphicFrameMkLst>
            <pc:docMk/>
            <pc:sldMk cId="80455690" sldId="2147483093"/>
            <ac:graphicFrameMk id="19" creationId="{C3CE5AB9-5714-FF61-EB43-8535A048FD2D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6:14.959" v="416198"/>
          <ac:graphicFrameMkLst>
            <pc:docMk/>
            <pc:sldMk cId="80455690" sldId="2147483093"/>
            <ac:graphicFrameMk id="22" creationId="{5ACA8208-3E2E-667B-01F1-941704E6FB8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6:41.610" v="416516"/>
          <ac:graphicFrameMkLst>
            <pc:docMk/>
            <pc:sldMk cId="80455690" sldId="2147483093"/>
            <ac:graphicFrameMk id="25" creationId="{96210675-AFFC-CC27-95C4-E08F326B291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26:44.791" v="416833"/>
          <ac:graphicFrameMkLst>
            <pc:docMk/>
            <pc:sldMk cId="80455690" sldId="2147483093"/>
            <ac:graphicFrameMk id="27" creationId="{4F87AA96-360D-6804-AF21-091F090B696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5:36.985" v="426618"/>
          <ac:graphicFrameMkLst>
            <pc:docMk/>
            <pc:sldMk cId="80455690" sldId="2147483093"/>
            <ac:graphicFrameMk id="29" creationId="{B7E73BA7-716C-5BD6-2F61-C389625FA12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4:42.367" v="425616"/>
          <ac:graphicFrameMkLst>
            <pc:docMk/>
            <pc:sldMk cId="80455690" sldId="2147483093"/>
            <ac:graphicFrameMk id="31" creationId="{1406CBB8-A444-321A-30B7-E8614FDC9C4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4:49.266" v="425911"/>
          <ac:graphicFrameMkLst>
            <pc:docMk/>
            <pc:sldMk cId="80455690" sldId="2147483093"/>
            <ac:graphicFrameMk id="37" creationId="{B7AB5D42-6AB7-2691-73CB-6394343357B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5:18.960" v="444064"/>
          <ac:graphicFrameMkLst>
            <pc:docMk/>
            <pc:sldMk cId="80455690" sldId="2147483093"/>
            <ac:graphicFrameMk id="39" creationId="{75FED75E-28F0-55FB-10F8-8F488FD664C8}"/>
          </ac:graphicFrameMkLst>
        </pc:graphicFrameChg>
        <pc:graphicFrameChg chg="del">
          <ac:chgData name="Yudi Zhu" userId="571e1a55-055f-4c28-8b35-fca6dd1c1369" providerId="ADAL" clId="{75A88773-6EE1-484E-AADE-FE631E01463B}" dt="2025-11-21T09:24:52.894" v="412805"/>
          <ac:graphicFrameMkLst>
            <pc:docMk/>
            <pc:sldMk cId="80455690" sldId="2147483093"/>
            <ac:graphicFrameMk id="43" creationId="{BDB78E0E-C12A-DAA5-8375-802279DFE72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5:55.863" v="427072"/>
          <ac:graphicFrameMkLst>
            <pc:docMk/>
            <pc:sldMk cId="80455690" sldId="2147483093"/>
            <ac:graphicFrameMk id="44" creationId="{CAA219FF-9B25-0ED6-EC16-B05BB82AD2C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6:05.269" v="427569"/>
          <ac:graphicFrameMkLst>
            <pc:docMk/>
            <pc:sldMk cId="80455690" sldId="2147483093"/>
            <ac:graphicFrameMk id="46" creationId="{6E1613CA-8E9A-389F-D992-BFD2E48101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4:50.103" v="443245"/>
          <ac:graphicFrameMkLst>
            <pc:docMk/>
            <pc:sldMk cId="80455690" sldId="2147483093"/>
            <ac:graphicFrameMk id="48" creationId="{0D300DB0-7F3C-E685-3C95-6A0D14B5593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00.483" v="464456"/>
          <ac:graphicFrameMkLst>
            <pc:docMk/>
            <pc:sldMk cId="80455690" sldId="2147483093"/>
            <ac:graphicFrameMk id="129" creationId="{F896A8AA-5592-99EC-E1FF-203AEDC4FE6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03.885" v="464724"/>
          <ac:graphicFrameMkLst>
            <pc:docMk/>
            <pc:sldMk cId="80455690" sldId="2147483093"/>
            <ac:graphicFrameMk id="131" creationId="{F7497663-E175-D81A-37D0-20554417E5E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04.920" v="464963"/>
          <ac:graphicFrameMkLst>
            <pc:docMk/>
            <pc:sldMk cId="80455690" sldId="2147483093"/>
            <ac:graphicFrameMk id="133" creationId="{DA0C99EB-7425-5262-F102-9DAA6AACDDC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1:55:21.555" v="476667"/>
          <ac:graphicFrameMkLst>
            <pc:docMk/>
            <pc:sldMk cId="80455690" sldId="2147483093"/>
            <ac:graphicFrameMk id="134" creationId="{3184FD06-8988-768A-4252-13E339B5DA0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57.277" v="491117"/>
          <ac:graphicFrameMkLst>
            <pc:docMk/>
            <pc:sldMk cId="80455690" sldId="2147483093"/>
            <ac:graphicFrameMk id="145" creationId="{7B3A248A-E2DF-5392-4B91-9120E4CD267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1:01.032" v="491482"/>
          <ac:graphicFrameMkLst>
            <pc:docMk/>
            <pc:sldMk cId="80455690" sldId="2147483093"/>
            <ac:graphicFrameMk id="147" creationId="{8796CBD3-9AC3-377A-7BC5-2B5FB518E41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1:09.934" v="491799"/>
          <ac:graphicFrameMkLst>
            <pc:docMk/>
            <pc:sldMk cId="80455690" sldId="2147483093"/>
            <ac:graphicFrameMk id="151" creationId="{7038581B-CC9F-F6EA-EAD9-177CEEF7532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1:14.332" v="492110"/>
          <ac:graphicFrameMkLst>
            <pc:docMk/>
            <pc:sldMk cId="80455690" sldId="2147483093"/>
            <ac:graphicFrameMk id="155" creationId="{B079F1EC-86BA-0236-9032-EB252544E48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1:51.238" v="492466"/>
          <ac:graphicFrameMkLst>
            <pc:docMk/>
            <pc:sldMk cId="80455690" sldId="2147483093"/>
            <ac:graphicFrameMk id="158" creationId="{4A057F3D-4B4C-6198-DD15-CF5B37CE0C5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1:59.974" v="492986"/>
          <ac:graphicFrameMkLst>
            <pc:docMk/>
            <pc:sldMk cId="80455690" sldId="2147483093"/>
            <ac:graphicFrameMk id="166" creationId="{BFDE7B85-61A8-CE10-1294-5017D5CAC9E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02.431" v="493243"/>
          <ac:graphicFrameMkLst>
            <pc:docMk/>
            <pc:sldMk cId="80455690" sldId="2147483093"/>
            <ac:graphicFrameMk id="167" creationId="{531388D8-6CD8-6485-0DDB-430E4E4869E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04.299" v="493504"/>
          <ac:graphicFrameMkLst>
            <pc:docMk/>
            <pc:sldMk cId="80455690" sldId="2147483093"/>
            <ac:graphicFrameMk id="168" creationId="{168BE345-B548-48E6-4E58-532F288C41B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11.324" v="493791"/>
          <ac:graphicFrameMkLst>
            <pc:docMk/>
            <pc:sldMk cId="80455690" sldId="2147483093"/>
            <ac:graphicFrameMk id="169" creationId="{C79C7BB1-5098-C99C-DEE1-B293EBE2E86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15.031" v="494080"/>
          <ac:graphicFrameMkLst>
            <pc:docMk/>
            <pc:sldMk cId="80455690" sldId="2147483093"/>
            <ac:graphicFrameMk id="171" creationId="{FCFEC84C-7C39-7710-F340-3F7B2E90C5B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21.409" v="494369"/>
          <ac:graphicFrameMkLst>
            <pc:docMk/>
            <pc:sldMk cId="80455690" sldId="2147483093"/>
            <ac:graphicFrameMk id="173" creationId="{609D1A3E-46B8-6C60-0D34-A70DEB8B53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22.912" v="494650"/>
          <ac:graphicFrameMkLst>
            <pc:docMk/>
            <pc:sldMk cId="80455690" sldId="2147483093"/>
            <ac:graphicFrameMk id="175" creationId="{4C92698F-4547-F95A-D5D0-8C2773AFF25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26.734" v="494945"/>
          <ac:graphicFrameMkLst>
            <pc:docMk/>
            <pc:sldMk cId="80455690" sldId="2147483093"/>
            <ac:graphicFrameMk id="178" creationId="{391D12CD-3779-4D6A-4E95-1277CC408D8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2:32.158" v="495301"/>
          <ac:graphicFrameMkLst>
            <pc:docMk/>
            <pc:sldMk cId="80455690" sldId="2147483093"/>
            <ac:graphicFrameMk id="181" creationId="{693BDCE0-70F3-64BE-F0C5-60BBABC3EA0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3:00.044" v="495627"/>
          <ac:graphicFrameMkLst>
            <pc:docMk/>
            <pc:sldMk cId="80455690" sldId="2147483093"/>
            <ac:graphicFrameMk id="185" creationId="{8DE07574-7CF7-F429-3CD6-8686993A061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3:03.121" v="495925"/>
          <ac:graphicFrameMkLst>
            <pc:docMk/>
            <pc:sldMk cId="80455690" sldId="2147483093"/>
            <ac:graphicFrameMk id="188" creationId="{154C5765-C5F1-DCDF-5AE6-273E8C248E8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3:47.555" v="496195"/>
          <ac:graphicFrameMkLst>
            <pc:docMk/>
            <pc:sldMk cId="80455690" sldId="2147483093"/>
            <ac:graphicFrameMk id="191" creationId="{EBC2DA59-C839-2C91-3013-352D5253FB5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3:57.226" v="496731"/>
          <ac:graphicFrameMkLst>
            <pc:docMk/>
            <pc:sldMk cId="80455690" sldId="2147483093"/>
            <ac:graphicFrameMk id="262" creationId="{D48226F6-94F7-DA5B-FA9B-252331E31D7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03.862" v="497044"/>
          <ac:graphicFrameMkLst>
            <pc:docMk/>
            <pc:sldMk cId="80455690" sldId="2147483093"/>
            <ac:graphicFrameMk id="264" creationId="{0C6CB28B-93C3-67E5-7673-8F938006E29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09.907" v="497334"/>
          <ac:graphicFrameMkLst>
            <pc:docMk/>
            <pc:sldMk cId="80455690" sldId="2147483093"/>
            <ac:graphicFrameMk id="267" creationId="{868B4C92-3052-45AA-D54A-CAFF338FAD0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13.253" v="497624"/>
          <ac:graphicFrameMkLst>
            <pc:docMk/>
            <pc:sldMk cId="80455690" sldId="2147483093"/>
            <ac:graphicFrameMk id="269" creationId="{FF3B8BE9-16A1-EE24-4277-F826A2B6B76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28.757" v="498063"/>
          <ac:graphicFrameMkLst>
            <pc:docMk/>
            <pc:sldMk cId="80455690" sldId="2147483093"/>
            <ac:graphicFrameMk id="271" creationId="{50D95CC8-0126-7905-AC1D-D04D045882D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34.665" v="498383"/>
          <ac:graphicFrameMkLst>
            <pc:docMk/>
            <pc:sldMk cId="80455690" sldId="2147483093"/>
            <ac:graphicFrameMk id="278" creationId="{303E22FD-7D29-4558-E024-FA43903B513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38.041" v="498709"/>
          <ac:graphicFrameMkLst>
            <pc:docMk/>
            <pc:sldMk cId="80455690" sldId="2147483093"/>
            <ac:graphicFrameMk id="281" creationId="{0C3C985F-4288-BACD-078F-40082DC4C8C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43.671" v="499037"/>
          <ac:graphicFrameMkLst>
            <pc:docMk/>
            <pc:sldMk cId="80455690" sldId="2147483093"/>
            <ac:graphicFrameMk id="284" creationId="{A17628E9-1054-9B9E-AE22-546BCB76159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49.588" v="500449"/>
          <ac:graphicFrameMkLst>
            <pc:docMk/>
            <pc:sldMk cId="80455690" sldId="2147483093"/>
            <ac:graphicFrameMk id="286" creationId="{831419A8-6992-D9A3-2C1E-5E1BE733B4B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4:54.474" v="500864"/>
          <ac:graphicFrameMkLst>
            <pc:docMk/>
            <pc:sldMk cId="80455690" sldId="2147483093"/>
            <ac:graphicFrameMk id="357" creationId="{A4ABAA36-C39E-070C-E81E-84721268EAF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02.188" v="501178"/>
          <ac:graphicFrameMkLst>
            <pc:docMk/>
            <pc:sldMk cId="80455690" sldId="2147483093"/>
            <ac:graphicFrameMk id="361" creationId="{8FD25646-30E8-9DEB-126A-C6252BA1A34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04.535" v="501594"/>
          <ac:graphicFrameMkLst>
            <pc:docMk/>
            <pc:sldMk cId="80455690" sldId="2147483093"/>
            <ac:graphicFrameMk id="362" creationId="{57F94893-2F90-296B-17A4-FD063E18472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09.081" v="501908"/>
          <ac:graphicFrameMkLst>
            <pc:docMk/>
            <pc:sldMk cId="80455690" sldId="2147483093"/>
            <ac:graphicFrameMk id="369" creationId="{95713C89-B007-48A3-16FA-E14AB305F67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13.357" v="502174"/>
          <ac:graphicFrameMkLst>
            <pc:docMk/>
            <pc:sldMk cId="80455690" sldId="2147483093"/>
            <ac:graphicFrameMk id="370" creationId="{22FCBE6E-A217-4A61-D092-8382E452D47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21.986" v="502444"/>
          <ac:graphicFrameMkLst>
            <pc:docMk/>
            <pc:sldMk cId="80455690" sldId="2147483093"/>
            <ac:graphicFrameMk id="371" creationId="{672A283F-8F7A-D841-8D3F-1C8820208B8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49.848" v="502710"/>
          <ac:graphicFrameMkLst>
            <pc:docMk/>
            <pc:sldMk cId="80455690" sldId="2147483093"/>
            <ac:graphicFrameMk id="372" creationId="{819AC19F-AC0A-0D20-623C-63FE38DC94D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57.757" v="502976"/>
          <ac:graphicFrameMkLst>
            <pc:docMk/>
            <pc:sldMk cId="80455690" sldId="2147483093"/>
            <ac:graphicFrameMk id="373" creationId="{88EBEB8A-32DD-5261-CE25-D9DA47103F7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5:58.719" v="503242"/>
          <ac:graphicFrameMkLst>
            <pc:docMk/>
            <pc:sldMk cId="80455690" sldId="2147483093"/>
            <ac:graphicFrameMk id="374" creationId="{EA008CEE-5C7C-4592-5C6B-F27E6F52DF9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02.982" v="503510"/>
          <ac:graphicFrameMkLst>
            <pc:docMk/>
            <pc:sldMk cId="80455690" sldId="2147483093"/>
            <ac:graphicFrameMk id="375" creationId="{BF69914D-6740-FC68-C72C-8E6EBE74208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06.587" v="503776"/>
          <ac:graphicFrameMkLst>
            <pc:docMk/>
            <pc:sldMk cId="80455690" sldId="2147483093"/>
            <ac:graphicFrameMk id="376" creationId="{22DBDCE2-E0F1-0260-473E-9D9D53AB49F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24.581" v="504132"/>
          <ac:graphicFrameMkLst>
            <pc:docMk/>
            <pc:sldMk cId="80455690" sldId="2147483093"/>
            <ac:graphicFrameMk id="377" creationId="{47D7E0F3-5734-B7DE-96B1-591E90A498F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26.081" v="504398"/>
          <ac:graphicFrameMkLst>
            <pc:docMk/>
            <pc:sldMk cId="80455690" sldId="2147483093"/>
            <ac:graphicFrameMk id="379" creationId="{B5AEC9BC-E69C-42F0-9661-2D0EDAD9EDF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41.678" v="506156"/>
          <ac:graphicFrameMkLst>
            <pc:docMk/>
            <pc:sldMk cId="80455690" sldId="2147483093"/>
            <ac:graphicFrameMk id="380" creationId="{DA78FBF1-0D5B-C3B6-251E-B08E35B274FD}"/>
          </ac:graphicFrameMkLst>
        </pc:graphicFrameChg>
        <pc:graphicFrameChg chg="add mod">
          <ac:chgData name="Yudi Zhu" userId="571e1a55-055f-4c28-8b35-fca6dd1c1369" providerId="ADAL" clId="{75A88773-6EE1-484E-AADE-FE631E01463B}" dt="2025-11-24T03:06:36.961" v="505961"/>
          <ac:graphicFrameMkLst>
            <pc:docMk/>
            <pc:sldMk cId="80455690" sldId="2147483093"/>
            <ac:graphicFrameMk id="400" creationId="{6EF72C64-77C9-CD98-B032-FDCD13069E4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45.695" v="506546"/>
          <ac:graphicFrameMkLst>
            <pc:docMk/>
            <pc:sldMk cId="80455690" sldId="2147483093"/>
            <ac:graphicFrameMk id="408" creationId="{F3687473-8E5C-FB0F-AF2D-983E95DB641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47.944" v="506942"/>
          <ac:graphicFrameMkLst>
            <pc:docMk/>
            <pc:sldMk cId="80455690" sldId="2147483093"/>
            <ac:graphicFrameMk id="415" creationId="{429299D0-533E-9EE3-1C43-293E342848E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50.550" v="507342"/>
          <ac:graphicFrameMkLst>
            <pc:docMk/>
            <pc:sldMk cId="80455690" sldId="2147483093"/>
            <ac:graphicFrameMk id="422" creationId="{BFCA4448-585F-87EB-CF85-773F3400F46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6:52.453" v="507660"/>
          <ac:graphicFrameMkLst>
            <pc:docMk/>
            <pc:sldMk cId="80455690" sldId="2147483093"/>
            <ac:graphicFrameMk id="430" creationId="{DCB6A5E9-4528-B132-96E5-5008B8A5A3E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7:26.564" v="509208"/>
          <ac:graphicFrameMkLst>
            <pc:docMk/>
            <pc:sldMk cId="80455690" sldId="2147483093"/>
            <ac:graphicFrameMk id="432" creationId="{1C36D566-CBD3-4891-F011-972B1C70602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7:08.873" v="508910"/>
          <ac:graphicFrameMkLst>
            <pc:docMk/>
            <pc:sldMk cId="80455690" sldId="2147483093"/>
            <ac:graphicFrameMk id="439" creationId="{60DBAB69-AD2B-91B6-C75D-173F6D62151E}"/>
          </ac:graphicFrameMkLst>
        </pc:graphicFrameChg>
        <pc:graphicFrameChg chg="add mod">
          <ac:chgData name="Yudi Zhu" userId="571e1a55-055f-4c28-8b35-fca6dd1c1369" providerId="ADAL" clId="{75A88773-6EE1-484E-AADE-FE631E01463B}" dt="2025-11-24T03:07:08.214" v="508750"/>
          <ac:graphicFrameMkLst>
            <pc:docMk/>
            <pc:sldMk cId="80455690" sldId="2147483093"/>
            <ac:graphicFrameMk id="440" creationId="{403AD337-5215-C426-CAD6-3A7B4D5CC42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7:30.064" v="509566"/>
          <ac:graphicFrameMkLst>
            <pc:docMk/>
            <pc:sldMk cId="80455690" sldId="2147483093"/>
            <ac:graphicFrameMk id="452" creationId="{97159F16-F886-771C-A41B-EBCEA16A665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7:34.713" v="509876"/>
          <ac:graphicFrameMkLst>
            <pc:docMk/>
            <pc:sldMk cId="80455690" sldId="2147483093"/>
            <ac:graphicFrameMk id="454" creationId="{CAE6EE4D-9CED-1158-D9D8-FEF2EF4EAA2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7:36.379" v="510184"/>
          <ac:graphicFrameMkLst>
            <pc:docMk/>
            <pc:sldMk cId="80455690" sldId="2147483093"/>
            <ac:graphicFrameMk id="455" creationId="{FAF0473A-7AAB-CB30-E05C-6F6337F8247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00.570" v="510494"/>
          <ac:graphicFrameMkLst>
            <pc:docMk/>
            <pc:sldMk cId="80455690" sldId="2147483093"/>
            <ac:graphicFrameMk id="456" creationId="{6ABB0D0B-C7BE-20B4-8D00-7776C220567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13.427" v="510843"/>
          <ac:graphicFrameMkLst>
            <pc:docMk/>
            <pc:sldMk cId="80455690" sldId="2147483093"/>
            <ac:graphicFrameMk id="458" creationId="{575833FF-DFC0-C347-DA80-792345B8E7B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15.548" v="511176"/>
          <ac:graphicFrameMkLst>
            <pc:docMk/>
            <pc:sldMk cId="80455690" sldId="2147483093"/>
            <ac:graphicFrameMk id="460" creationId="{D09D4915-8F78-7D75-FAD7-A15E45322E0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18.362" v="511490"/>
          <ac:graphicFrameMkLst>
            <pc:docMk/>
            <pc:sldMk cId="80455690" sldId="2147483093"/>
            <ac:graphicFrameMk id="462" creationId="{70276BC0-30F4-E1B4-24EA-9DA3E8A2934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20.359" v="511804"/>
          <ac:graphicFrameMkLst>
            <pc:docMk/>
            <pc:sldMk cId="80455690" sldId="2147483093"/>
            <ac:graphicFrameMk id="464" creationId="{0ABAF52B-224D-6185-BE7A-E1363EE227F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24.996" v="512153"/>
          <ac:graphicFrameMkLst>
            <pc:docMk/>
            <pc:sldMk cId="80455690" sldId="2147483093"/>
            <ac:graphicFrameMk id="466" creationId="{F9DF63C0-9B14-CCC1-6E30-9DC2D2873C9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27.518" v="512486"/>
          <ac:graphicFrameMkLst>
            <pc:docMk/>
            <pc:sldMk cId="80455690" sldId="2147483093"/>
            <ac:graphicFrameMk id="468" creationId="{999D465D-6A63-E03F-2829-0EF23D35AAF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31.931" v="512844"/>
          <ac:graphicFrameMkLst>
            <pc:docMk/>
            <pc:sldMk cId="80455690" sldId="2147483093"/>
            <ac:graphicFrameMk id="470" creationId="{637514FE-328B-266A-FDAC-402C3F6F946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33.628" v="513192"/>
          <ac:graphicFrameMkLst>
            <pc:docMk/>
            <pc:sldMk cId="80455690" sldId="2147483093"/>
            <ac:graphicFrameMk id="472" creationId="{788564B8-2B7E-7C17-D1E7-3B151BA8644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34.959" v="513550"/>
          <ac:graphicFrameMkLst>
            <pc:docMk/>
            <pc:sldMk cId="80455690" sldId="2147483093"/>
            <ac:graphicFrameMk id="474" creationId="{42BE06D3-055A-AE9C-A724-B7A724C5B39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47.010" v="513908"/>
          <ac:graphicFrameMkLst>
            <pc:docMk/>
            <pc:sldMk cId="80455690" sldId="2147483093"/>
            <ac:graphicFrameMk id="476" creationId="{1AEAD5B7-D73B-8DBD-653C-8DCE4F0C086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49.440" v="514192"/>
          <ac:graphicFrameMkLst>
            <pc:docMk/>
            <pc:sldMk cId="80455690" sldId="2147483093"/>
            <ac:graphicFrameMk id="478" creationId="{7C50399B-F804-BEF1-EE2E-C73E7448A5D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8:57.014" v="514589"/>
          <ac:graphicFrameMkLst>
            <pc:docMk/>
            <pc:sldMk cId="80455690" sldId="2147483093"/>
            <ac:graphicFrameMk id="479" creationId="{14DD384D-07D1-506B-F212-E52203B31B1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01.412" v="514927"/>
          <ac:graphicFrameMkLst>
            <pc:docMk/>
            <pc:sldMk cId="80455690" sldId="2147483093"/>
            <ac:graphicFrameMk id="485" creationId="{314F47A6-77E0-4715-ECB8-004EC4D780C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10.743" v="515239"/>
          <ac:graphicFrameMkLst>
            <pc:docMk/>
            <pc:sldMk cId="80455690" sldId="2147483093"/>
            <ac:graphicFrameMk id="487" creationId="{97EA5AC7-269B-15BF-C605-BBB0E05B747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13.192" v="515553"/>
          <ac:graphicFrameMkLst>
            <pc:docMk/>
            <pc:sldMk cId="80455690" sldId="2147483093"/>
            <ac:graphicFrameMk id="491" creationId="{12C37B41-AEB0-3306-7890-7D8492BD034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18.595" v="515867"/>
          <ac:graphicFrameMkLst>
            <pc:docMk/>
            <pc:sldMk cId="80455690" sldId="2147483093"/>
            <ac:graphicFrameMk id="493" creationId="{B5947094-D66A-6FF0-161B-455C7983965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28.274" v="516175"/>
          <ac:graphicFrameMkLst>
            <pc:docMk/>
            <pc:sldMk cId="80455690" sldId="2147483093"/>
            <ac:graphicFrameMk id="495" creationId="{FA706B78-5C80-C712-21E8-74C123E89B0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35.456" v="516513"/>
          <ac:graphicFrameMkLst>
            <pc:docMk/>
            <pc:sldMk cId="80455690" sldId="2147483093"/>
            <ac:graphicFrameMk id="497" creationId="{53E72FA9-3AAF-1F16-5BCC-424AFEF1B8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37.875" v="516846"/>
          <ac:graphicFrameMkLst>
            <pc:docMk/>
            <pc:sldMk cId="80455690" sldId="2147483093"/>
            <ac:graphicFrameMk id="499" creationId="{437CF84A-D6D0-C375-0CF5-B30867851C8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9:48.590" v="517168"/>
          <ac:graphicFrameMkLst>
            <pc:docMk/>
            <pc:sldMk cId="80455690" sldId="2147483093"/>
            <ac:graphicFrameMk id="502" creationId="{492817A4-74DF-4A3B-771E-E463937961F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0:00.457" v="517452"/>
          <ac:graphicFrameMkLst>
            <pc:docMk/>
            <pc:sldMk cId="80455690" sldId="2147483093"/>
            <ac:graphicFrameMk id="504" creationId="{B9B314FF-68D3-DB77-C164-117A4771FB2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0:17.621" v="517770"/>
          <ac:graphicFrameMkLst>
            <pc:docMk/>
            <pc:sldMk cId="80455690" sldId="2147483093"/>
            <ac:graphicFrameMk id="505" creationId="{0308007B-C5B0-C5F3-1793-4AA53670A80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0:19.555" v="518088"/>
          <ac:graphicFrameMkLst>
            <pc:docMk/>
            <pc:sldMk cId="80455690" sldId="2147483093"/>
            <ac:graphicFrameMk id="506" creationId="{20AB9AE3-17E9-6DE9-B9F7-DD6AD6DA6DD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1:26.740" v="518465"/>
          <ac:graphicFrameMkLst>
            <pc:docMk/>
            <pc:sldMk cId="80455690" sldId="2147483093"/>
            <ac:graphicFrameMk id="507" creationId="{A29C32FF-653F-0C45-490F-F69395D97C8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1:36.603" v="518777"/>
          <ac:graphicFrameMkLst>
            <pc:docMk/>
            <pc:sldMk cId="80455690" sldId="2147483093"/>
            <ac:graphicFrameMk id="511" creationId="{1DC2F480-01B3-9BBF-3354-E367BB0ABC8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1:45.273" v="519053"/>
          <ac:graphicFrameMkLst>
            <pc:docMk/>
            <pc:sldMk cId="80455690" sldId="2147483093"/>
            <ac:graphicFrameMk id="961" creationId="{5A819669-04D5-4669-AB01-4E5CCC56778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1:51.305" v="519448"/>
          <ac:graphicFrameMkLst>
            <pc:docMk/>
            <pc:sldMk cId="80455690" sldId="2147483093"/>
            <ac:graphicFrameMk id="962" creationId="{707AE336-CC6B-A103-6EFB-901B2362287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1:54.692" v="519806"/>
          <ac:graphicFrameMkLst>
            <pc:docMk/>
            <pc:sldMk cId="80455690" sldId="2147483093"/>
            <ac:graphicFrameMk id="968" creationId="{6B3BB393-5170-BF8E-F67E-F54887A9580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00.323" v="520120"/>
          <ac:graphicFrameMkLst>
            <pc:docMk/>
            <pc:sldMk cId="80455690" sldId="2147483093"/>
            <ac:graphicFrameMk id="970" creationId="{F513854A-687C-30BF-7207-423D118BDD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02.968" v="520434"/>
          <ac:graphicFrameMkLst>
            <pc:docMk/>
            <pc:sldMk cId="80455690" sldId="2147483093"/>
            <ac:graphicFrameMk id="972" creationId="{DFBB9329-EC7C-B395-52D5-A9071E3BF8C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09.178" v="520746"/>
          <ac:graphicFrameMkLst>
            <pc:docMk/>
            <pc:sldMk cId="80455690" sldId="2147483093"/>
            <ac:graphicFrameMk id="974" creationId="{E2DD4EF7-1AB6-F61D-A50F-F3F1114F260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11.222" v="521060"/>
          <ac:graphicFrameMkLst>
            <pc:docMk/>
            <pc:sldMk cId="80455690" sldId="2147483093"/>
            <ac:graphicFrameMk id="976" creationId="{77FFF59F-A3F7-6495-392B-9FE495D4FD2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53.022" v="521479"/>
          <ac:graphicFrameMkLst>
            <pc:docMk/>
            <pc:sldMk cId="80455690" sldId="2147483093"/>
            <ac:graphicFrameMk id="978" creationId="{FBF3ABF4-9019-E87F-5085-40BFD5B0149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2:55.758" v="521957"/>
          <ac:graphicFrameMkLst>
            <pc:docMk/>
            <pc:sldMk cId="80455690" sldId="2147483093"/>
            <ac:graphicFrameMk id="983" creationId="{48DB8412-C78C-BA5C-45A0-63A32EE16D7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3:49.275" v="523743"/>
          <ac:graphicFrameMkLst>
            <pc:docMk/>
            <pc:sldMk cId="80455690" sldId="2147483093"/>
            <ac:graphicFrameMk id="989" creationId="{0DC8B611-59EE-3D85-899E-9FF802F8BAE5}"/>
          </ac:graphicFrameMkLst>
        </pc:graphicFrameChg>
        <pc:graphicFrameChg chg="add mod">
          <ac:chgData name="Yudi Zhu" userId="571e1a55-055f-4c28-8b35-fca6dd1c1369" providerId="ADAL" clId="{75A88773-6EE1-484E-AADE-FE631E01463B}" dt="2025-11-24T03:13:11.236" v="522909"/>
          <ac:graphicFrameMkLst>
            <pc:docMk/>
            <pc:sldMk cId="80455690" sldId="2147483093"/>
            <ac:graphicFrameMk id="999" creationId="{0588BE14-BDD6-5027-2AFA-03765FBAD50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3:52.075" v="524055"/>
          <ac:graphicFrameMkLst>
            <pc:docMk/>
            <pc:sldMk cId="80455690" sldId="2147483093"/>
            <ac:graphicFrameMk id="1006" creationId="{9035FE14-1139-59F9-FA22-C291EA8B4B0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0:24.610" v="543886"/>
          <ac:graphicFrameMkLst>
            <pc:docMk/>
            <pc:sldMk cId="80455690" sldId="2147483093"/>
            <ac:graphicFrameMk id="1014" creationId="{CE553D7F-40A4-F728-EAF7-5EA14D87ABF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3:54.007" v="524351"/>
          <ac:graphicFrameMkLst>
            <pc:docMk/>
            <pc:sldMk cId="80455690" sldId="2147483093"/>
            <ac:graphicFrameMk id="1015" creationId="{C5531FE9-20FB-1071-7330-7CB411A50B2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3:56.059" v="524641"/>
          <ac:graphicFrameMkLst>
            <pc:docMk/>
            <pc:sldMk cId="80455690" sldId="2147483093"/>
            <ac:graphicFrameMk id="1016" creationId="{FFEBEFC8-68EF-1920-E5B4-57CD9148CDD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11.236" v="525124"/>
          <ac:graphicFrameMkLst>
            <pc:docMk/>
            <pc:sldMk cId="80455690" sldId="2147483093"/>
            <ac:graphicFrameMk id="1017" creationId="{1C102544-FB4E-BA78-3938-88D7DF306CB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16.548" v="525481"/>
          <ac:graphicFrameMkLst>
            <pc:docMk/>
            <pc:sldMk cId="80455690" sldId="2147483093"/>
            <ac:graphicFrameMk id="1023" creationId="{819A39F1-66BB-CD2D-6678-E8BEEAD97A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20.308" v="526554"/>
          <ac:graphicFrameMkLst>
            <pc:docMk/>
            <pc:sldMk cId="80455690" sldId="2147483093"/>
            <ac:graphicFrameMk id="1153" creationId="{866514DF-DDA2-2671-36B3-A18B78FEBF7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23.009" v="526968"/>
          <ac:graphicFrameMkLst>
            <pc:docMk/>
            <pc:sldMk cId="80455690" sldId="2147483093"/>
            <ac:graphicFrameMk id="1178" creationId="{E5FE9ADD-6665-47F0-F820-1D2DED4E105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31.552" v="527359"/>
          <ac:graphicFrameMkLst>
            <pc:docMk/>
            <pc:sldMk cId="80455690" sldId="2147483093"/>
            <ac:graphicFrameMk id="1182" creationId="{36B8DD7F-80FB-6F55-9AD6-96700D39FFE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33.254" v="527660"/>
          <ac:graphicFrameMkLst>
            <pc:docMk/>
            <pc:sldMk cId="80455690" sldId="2147483093"/>
            <ac:graphicFrameMk id="1184" creationId="{5F5CB98C-B402-C68E-2F52-0D6A36DBC5F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37.604" v="527959"/>
          <ac:graphicFrameMkLst>
            <pc:docMk/>
            <pc:sldMk cId="80455690" sldId="2147483093"/>
            <ac:graphicFrameMk id="1185" creationId="{BBCCBBD5-2971-E4CA-73CA-F0CDF41486E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42.218" v="528260"/>
          <ac:graphicFrameMkLst>
            <pc:docMk/>
            <pc:sldMk cId="80455690" sldId="2147483093"/>
            <ac:graphicFrameMk id="1186" creationId="{45B4D25E-17ED-2E8E-4BBE-67DFD364A04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44.733" v="528559"/>
          <ac:graphicFrameMkLst>
            <pc:docMk/>
            <pc:sldMk cId="80455690" sldId="2147483093"/>
            <ac:graphicFrameMk id="1187" creationId="{4DA0424B-5755-CDAE-42BA-F1D5A00923B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50.388" v="528858"/>
          <ac:graphicFrameMkLst>
            <pc:docMk/>
            <pc:sldMk cId="80455690" sldId="2147483093"/>
            <ac:graphicFrameMk id="1188" creationId="{05437C74-ECF7-6674-2E64-F96111E6FE6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4:52.608" v="529157"/>
          <ac:graphicFrameMkLst>
            <pc:docMk/>
            <pc:sldMk cId="80455690" sldId="2147483093"/>
            <ac:graphicFrameMk id="1189" creationId="{5FB96AD9-6592-FA4E-274D-1BFEFCD422A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5:04.935" v="529456"/>
          <ac:graphicFrameMkLst>
            <pc:docMk/>
            <pc:sldMk cId="80455690" sldId="2147483093"/>
            <ac:graphicFrameMk id="1190" creationId="{9953C2EF-7F3B-ED44-A436-0C2CCEC767F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5:06.597" v="529755"/>
          <ac:graphicFrameMkLst>
            <pc:docMk/>
            <pc:sldMk cId="80455690" sldId="2147483093"/>
            <ac:graphicFrameMk id="1191" creationId="{B8AB7D6A-75B8-8118-7AED-D9663A6D7DB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5:11.862" v="530105"/>
          <ac:graphicFrameMkLst>
            <pc:docMk/>
            <pc:sldMk cId="80455690" sldId="2147483093"/>
            <ac:graphicFrameMk id="1192" creationId="{F32838D3-635E-A274-6CAF-0198CFD7411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5:13.731" v="530407"/>
          <ac:graphicFrameMkLst>
            <pc:docMk/>
            <pc:sldMk cId="80455690" sldId="2147483093"/>
            <ac:graphicFrameMk id="1216" creationId="{890FB74E-8DBC-145B-E6B5-CB23D06F6CE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26.544" v="541740"/>
          <ac:graphicFrameMkLst>
            <pc:docMk/>
            <pc:sldMk cId="80455690" sldId="2147483093"/>
            <ac:graphicFrameMk id="1218" creationId="{463183BD-C2AC-FFC1-7757-609ABBDD4F7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8.260" v="538386"/>
          <ac:graphicFrameMkLst>
            <pc:docMk/>
            <pc:sldMk cId="80455690" sldId="2147483093"/>
            <ac:graphicFrameMk id="1219" creationId="{BA979BD4-0838-3E62-3EF9-98E9A3C3DE1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7.600" v="538285"/>
          <ac:graphicFrameMkLst>
            <pc:docMk/>
            <pc:sldMk cId="80455690" sldId="2147483093"/>
            <ac:graphicFrameMk id="1226" creationId="{5D6343C3-8FC3-7055-C72B-5F0AFC24B31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6.876" v="538101"/>
          <ac:graphicFrameMkLst>
            <pc:docMk/>
            <pc:sldMk cId="80455690" sldId="2147483093"/>
            <ac:graphicFrameMk id="1227" creationId="{7A3149CA-E894-CB89-CC7B-0E30E6149A3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6.233" v="537925" actId="1076"/>
          <ac:graphicFrameMkLst>
            <pc:docMk/>
            <pc:sldMk cId="80455690" sldId="2147483093"/>
            <ac:graphicFrameMk id="1229" creationId="{8AE1F5EE-128D-364D-BCA8-DF1F9F3E6FA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5.413" v="537827"/>
          <ac:graphicFrameMkLst>
            <pc:docMk/>
            <pc:sldMk cId="80455690" sldId="2147483093"/>
            <ac:graphicFrameMk id="1230" creationId="{4509E6AA-DAA9-C0BD-3F01-AAEEDED76F8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4.791" v="537728"/>
          <ac:graphicFrameMkLst>
            <pc:docMk/>
            <pc:sldMk cId="80455690" sldId="2147483093"/>
            <ac:graphicFrameMk id="1231" creationId="{7A9756F2-2F8F-5F7C-303F-A14BB83623B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4.028" v="537633"/>
          <ac:graphicFrameMkLst>
            <pc:docMk/>
            <pc:sldMk cId="80455690" sldId="2147483093"/>
            <ac:graphicFrameMk id="1234" creationId="{51779DA7-A683-2B0B-C9CB-758B9962157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3.245" v="537520"/>
          <ac:graphicFrameMkLst>
            <pc:docMk/>
            <pc:sldMk cId="80455690" sldId="2147483093"/>
            <ac:graphicFrameMk id="1237" creationId="{18A5A985-4BB6-F4CB-BB50-52C9EECB2B1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2.493" v="537407"/>
          <ac:graphicFrameMkLst>
            <pc:docMk/>
            <pc:sldMk cId="80455690" sldId="2147483093"/>
            <ac:graphicFrameMk id="1239" creationId="{FF0B6930-0EB3-1C11-FE24-74BE465FAB3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1.212" v="537298"/>
          <ac:graphicFrameMkLst>
            <pc:docMk/>
            <pc:sldMk cId="80455690" sldId="2147483093"/>
            <ac:graphicFrameMk id="1248" creationId="{67EBF101-4EA8-2B7D-6BAE-6C286D0F3F2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40.095" v="537100"/>
          <ac:graphicFrameMkLst>
            <pc:docMk/>
            <pc:sldMk cId="80455690" sldId="2147483093"/>
            <ac:graphicFrameMk id="1258" creationId="{0D3B1C44-61A2-1194-EDCF-F592C136FEB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39.220" v="536910"/>
          <ac:graphicFrameMkLst>
            <pc:docMk/>
            <pc:sldMk cId="80455690" sldId="2147483093"/>
            <ac:graphicFrameMk id="1259" creationId="{562F0138-490C-165B-BE41-7E3E34FF5C6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38.429" v="536815"/>
          <ac:graphicFrameMkLst>
            <pc:docMk/>
            <pc:sldMk cId="80455690" sldId="2147483093"/>
            <ac:graphicFrameMk id="1262" creationId="{9BF68863-0BD2-D2FD-19EF-E6498F9D04A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37.245" v="536702"/>
          <ac:graphicFrameMkLst>
            <pc:docMk/>
            <pc:sldMk cId="80455690" sldId="2147483093"/>
            <ac:graphicFrameMk id="1265" creationId="{0FED611C-2CED-0B71-C797-2B4BF113EDD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7:36.444" v="536589"/>
          <ac:graphicFrameMkLst>
            <pc:docMk/>
            <pc:sldMk cId="80455690" sldId="2147483093"/>
            <ac:graphicFrameMk id="1269" creationId="{7040988B-0F90-322B-EB69-49430532FDFF}"/>
          </ac:graphicFrameMkLst>
        </pc:graphicFrameChg>
        <pc:graphicFrameChg chg="add mod">
          <ac:chgData name="Yudi Zhu" userId="571e1a55-055f-4c28-8b35-fca6dd1c1369" providerId="ADAL" clId="{75A88773-6EE1-484E-AADE-FE631E01463B}" dt="2025-11-24T03:17:35.703" v="536359" actId="1076"/>
          <ac:graphicFrameMkLst>
            <pc:docMk/>
            <pc:sldMk cId="80455690" sldId="2147483093"/>
            <ac:graphicFrameMk id="1275" creationId="{127046A2-6421-E0FE-4834-8F607FE52CA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11.530" v="541509"/>
          <ac:graphicFrameMkLst>
            <pc:docMk/>
            <pc:sldMk cId="80455690" sldId="2147483093"/>
            <ac:graphicFrameMk id="1350" creationId="{84E8E03F-15FF-9BCA-2B49-62B8A538BD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10.550" v="541268"/>
          <ac:graphicFrameMkLst>
            <pc:docMk/>
            <pc:sldMk cId="80455690" sldId="2147483093"/>
            <ac:graphicFrameMk id="1353" creationId="{2B228CFD-CCC0-FE15-6202-7094886A2D0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09.716" v="541140"/>
          <ac:graphicFrameMkLst>
            <pc:docMk/>
            <pc:sldMk cId="80455690" sldId="2147483093"/>
            <ac:graphicFrameMk id="1359" creationId="{FE9A1C36-8A5D-E811-5F3F-21753A1E8F1A}"/>
          </ac:graphicFrameMkLst>
        </pc:graphicFrameChg>
        <pc:graphicFrameChg chg="add mod">
          <ac:chgData name="Yudi Zhu" userId="571e1a55-055f-4c28-8b35-fca6dd1c1369" providerId="ADAL" clId="{75A88773-6EE1-484E-AADE-FE631E01463B}" dt="2025-11-24T03:19:05.821" v="540989"/>
          <ac:graphicFrameMkLst>
            <pc:docMk/>
            <pc:sldMk cId="80455690" sldId="2147483093"/>
            <ac:graphicFrameMk id="1361" creationId="{04D56FCA-7113-8AD1-779C-AD665C7B4204}"/>
          </ac:graphicFrameMkLst>
        </pc:graphicFrameChg>
        <pc:graphicFrameChg chg="add mod">
          <ac:chgData name="Yudi Zhu" userId="571e1a55-055f-4c28-8b35-fca6dd1c1369" providerId="ADAL" clId="{75A88773-6EE1-484E-AADE-FE631E01463B}" dt="2025-11-24T03:19:04.828" v="540867"/>
          <ac:graphicFrameMkLst>
            <pc:docMk/>
            <pc:sldMk cId="80455690" sldId="2147483093"/>
            <ac:graphicFrameMk id="1369" creationId="{27018F14-9C55-25C2-A1A6-8D5E73F4E04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35.345" v="542106"/>
          <ac:graphicFrameMkLst>
            <pc:docMk/>
            <pc:sldMk cId="80455690" sldId="2147483093"/>
            <ac:graphicFrameMk id="1380" creationId="{C2267D98-078E-81B3-3842-75A11E9503D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37.949" v="542499"/>
          <ac:graphicFrameMkLst>
            <pc:docMk/>
            <pc:sldMk cId="80455690" sldId="2147483093"/>
            <ac:graphicFrameMk id="1385" creationId="{40DAFE11-E886-AA3D-A9F0-4B4FF34D97D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50.296" v="542924"/>
          <ac:graphicFrameMkLst>
            <pc:docMk/>
            <pc:sldMk cId="80455690" sldId="2147483093"/>
            <ac:graphicFrameMk id="1387" creationId="{2B0B88D0-ED76-309D-CFE9-1666C6110F7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19:52.739" v="543404"/>
          <ac:graphicFrameMkLst>
            <pc:docMk/>
            <pc:sldMk cId="80455690" sldId="2147483093"/>
            <ac:graphicFrameMk id="1391" creationId="{F2A3D190-A3C4-3037-8672-05A1BB03DB4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39.647" v="546907"/>
          <ac:graphicFrameMkLst>
            <pc:docMk/>
            <pc:sldMk cId="80455690" sldId="2147483093"/>
            <ac:graphicFrameMk id="1397" creationId="{564A42BB-0B57-D2F8-35AD-BF45E645F32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0:51.740" v="544272"/>
          <ac:graphicFrameMkLst>
            <pc:docMk/>
            <pc:sldMk cId="80455690" sldId="2147483093"/>
            <ac:graphicFrameMk id="1402" creationId="{5CDBE5AB-8748-5853-6808-48A00A943C5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0:56.431" v="544649"/>
          <ac:graphicFrameMkLst>
            <pc:docMk/>
            <pc:sldMk cId="80455690" sldId="2147483093"/>
            <ac:graphicFrameMk id="1404" creationId="{7992AC7A-03AB-BF1C-8734-24E5738900D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00.053" v="545055"/>
          <ac:graphicFrameMkLst>
            <pc:docMk/>
            <pc:sldMk cId="80455690" sldId="2147483093"/>
            <ac:graphicFrameMk id="1406" creationId="{E54FD58A-D363-8B7F-C745-6DB1A4BC09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14.986" v="545528"/>
          <ac:graphicFrameMkLst>
            <pc:docMk/>
            <pc:sldMk cId="80455690" sldId="2147483093"/>
            <ac:graphicFrameMk id="1412" creationId="{6A588A08-75F7-41B2-8E98-2763C084DC6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20.199" v="545963"/>
          <ac:graphicFrameMkLst>
            <pc:docMk/>
            <pc:sldMk cId="80455690" sldId="2147483093"/>
            <ac:graphicFrameMk id="1419" creationId="{E4F7ACE8-E00E-6976-AC2C-1D1BC1E0DCE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27.541" v="546384"/>
          <ac:graphicFrameMkLst>
            <pc:docMk/>
            <pc:sldMk cId="80455690" sldId="2147483093"/>
            <ac:graphicFrameMk id="1426" creationId="{320181A5-7C53-11BF-EAB9-C00B851BBC0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38.263" v="550236"/>
          <ac:graphicFrameMkLst>
            <pc:docMk/>
            <pc:sldMk cId="80455690" sldId="2147483093"/>
            <ac:graphicFrameMk id="1431" creationId="{24E0FCCB-73A6-6352-D9D8-8884E5A5ADE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41.260" v="547260"/>
          <ac:graphicFrameMkLst>
            <pc:docMk/>
            <pc:sldMk cId="80455690" sldId="2147483093"/>
            <ac:graphicFrameMk id="1445" creationId="{11A8194B-E534-848C-7D9C-F22C00DFFC6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42.082" v="547594"/>
          <ac:graphicFrameMkLst>
            <pc:docMk/>
            <pc:sldMk cId="80455690" sldId="2147483093"/>
            <ac:graphicFrameMk id="1448" creationId="{C0BFD504-80DD-03E2-8581-E6E08EF9793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43.697" v="548036"/>
          <ac:graphicFrameMkLst>
            <pc:docMk/>
            <pc:sldMk cId="80455690" sldId="2147483093"/>
            <ac:graphicFrameMk id="1451" creationId="{EA0ABAFB-47A7-BF94-4FAF-0E901441DA4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45.915" v="548442"/>
          <ac:graphicFrameMkLst>
            <pc:docMk/>
            <pc:sldMk cId="80455690" sldId="2147483093"/>
            <ac:graphicFrameMk id="1457" creationId="{42006EB4-1DB9-1202-9B2F-766AC8C8365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49.106" v="548902"/>
          <ac:graphicFrameMkLst>
            <pc:docMk/>
            <pc:sldMk cId="80455690" sldId="2147483093"/>
            <ac:graphicFrameMk id="1470" creationId="{C9B6D924-EAB4-BAC8-49D4-3ACD4CF95A4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1:52.821" v="549316"/>
          <ac:graphicFrameMkLst>
            <pc:docMk/>
            <pc:sldMk cId="80455690" sldId="2147483093"/>
            <ac:graphicFrameMk id="1478" creationId="{8EB4EB42-5818-66B1-AC5D-6D1A6656283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02.684" v="549614"/>
          <ac:graphicFrameMkLst>
            <pc:docMk/>
            <pc:sldMk cId="80455690" sldId="2147483093"/>
            <ac:graphicFrameMk id="1485" creationId="{A398F8BD-F03F-11AA-5B95-7EF4CCDD52C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06.168" v="549910"/>
          <ac:graphicFrameMkLst>
            <pc:docMk/>
            <pc:sldMk cId="80455690" sldId="2147483093"/>
            <ac:graphicFrameMk id="1486" creationId="{D94713DB-2871-E6E5-316F-AE1CFAC961F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41.198" v="550258"/>
          <ac:graphicFrameMkLst>
            <pc:docMk/>
            <pc:sldMk cId="80455690" sldId="2147483093"/>
            <ac:graphicFrameMk id="1487" creationId="{00477812-07D5-F57E-95E9-5DBD6B31095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42.613" v="550651"/>
          <ac:graphicFrameMkLst>
            <pc:docMk/>
            <pc:sldMk cId="80455690" sldId="2147483093"/>
            <ac:graphicFrameMk id="1488" creationId="{E19BD129-EC26-2DDC-D411-0DE81486983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43.853" v="551047"/>
          <ac:graphicFrameMkLst>
            <pc:docMk/>
            <pc:sldMk cId="80455690" sldId="2147483093"/>
            <ac:graphicFrameMk id="1495" creationId="{3B2C0539-B318-1553-5211-B017872A983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54.298" v="551366"/>
          <ac:graphicFrameMkLst>
            <pc:docMk/>
            <pc:sldMk cId="80455690" sldId="2147483093"/>
            <ac:graphicFrameMk id="1502" creationId="{625EA777-17EA-4D32-6D08-F4E8BB1678D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2:59.333" v="551684"/>
          <ac:graphicFrameMkLst>
            <pc:docMk/>
            <pc:sldMk cId="80455690" sldId="2147483093"/>
            <ac:graphicFrameMk id="1503" creationId="{753C4044-006E-D18B-8D74-DFA9E50B17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22.342" v="554530"/>
          <ac:graphicFrameMkLst>
            <pc:docMk/>
            <pc:sldMk cId="80455690" sldId="2147483093"/>
            <ac:graphicFrameMk id="1504" creationId="{B3FC5F30-E739-72AB-049E-88716BF3087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02.273" v="552971"/>
          <ac:graphicFrameMkLst>
            <pc:docMk/>
            <pc:sldMk cId="80455690" sldId="2147483093"/>
            <ac:graphicFrameMk id="1507" creationId="{840CAA16-F308-94EC-2F30-1EE0E55C3AC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05.279" v="553563"/>
          <ac:graphicFrameMkLst>
            <pc:docMk/>
            <pc:sldMk cId="80455690" sldId="2147483093"/>
            <ac:graphicFrameMk id="1525" creationId="{E4FB41ED-C4E9-7600-621B-353C206321D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12.025" v="554089"/>
          <ac:graphicFrameMkLst>
            <pc:docMk/>
            <pc:sldMk cId="80455690" sldId="2147483093"/>
            <ac:graphicFrameMk id="1526" creationId="{DE9A3F95-E3F3-EF81-D3D1-2AE6D970035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7:32.239" v="557783"/>
          <ac:graphicFrameMkLst>
            <pc:docMk/>
            <pc:sldMk cId="80455690" sldId="2147483093"/>
            <ac:graphicFrameMk id="1535" creationId="{22374E10-1761-8D0A-76AE-C5021FA0A9B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26.368" v="554914"/>
          <ac:graphicFrameMkLst>
            <pc:docMk/>
            <pc:sldMk cId="80455690" sldId="2147483093"/>
            <ac:graphicFrameMk id="1542" creationId="{5DEE67A6-F467-4388-D9EA-17678ED7D71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32.461" v="555298"/>
          <ac:graphicFrameMkLst>
            <pc:docMk/>
            <pc:sldMk cId="80455690" sldId="2147483093"/>
            <ac:graphicFrameMk id="1549" creationId="{8C2AFAA5-3921-C04A-A813-76097A43A48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42.090" v="555622"/>
          <ac:graphicFrameMkLst>
            <pc:docMk/>
            <pc:sldMk cId="80455690" sldId="2147483093"/>
            <ac:graphicFrameMk id="1556" creationId="{5CD50760-5274-6E47-D5C0-FCBFE9EED3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6:43.453" v="555946"/>
          <ac:graphicFrameMkLst>
            <pc:docMk/>
            <pc:sldMk cId="80455690" sldId="2147483093"/>
            <ac:graphicFrameMk id="1557" creationId="{732174F7-669F-B38D-354A-A969E175215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7:08.376" v="557102"/>
          <ac:graphicFrameMkLst>
            <pc:docMk/>
            <pc:sldMk cId="80455690" sldId="2147483093"/>
            <ac:graphicFrameMk id="1558" creationId="{FF650378-6924-A0AF-2B43-E5CA899F9C36}"/>
          </ac:graphicFrameMkLst>
        </pc:graphicFrameChg>
        <pc:graphicFrameChg chg="add mod">
          <ac:chgData name="Yudi Zhu" userId="571e1a55-055f-4c28-8b35-fca6dd1c1369" providerId="ADAL" clId="{75A88773-6EE1-484E-AADE-FE631E01463B}" dt="2025-11-24T03:27:00.509" v="556887"/>
          <ac:graphicFrameMkLst>
            <pc:docMk/>
            <pc:sldMk cId="80455690" sldId="2147483093"/>
            <ac:graphicFrameMk id="1562" creationId="{74C40AF8-1791-01EC-3933-78464938F38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1:55.106" v="560791"/>
          <ac:graphicFrameMkLst>
            <pc:docMk/>
            <pc:sldMk cId="80455690" sldId="2147483093"/>
            <ac:graphicFrameMk id="1570" creationId="{822A825A-4338-DB9A-FF08-1F7B3AD016C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7:35.811" v="558351"/>
          <ac:graphicFrameMkLst>
            <pc:docMk/>
            <pc:sldMk cId="80455690" sldId="2147483093"/>
            <ac:graphicFrameMk id="1572" creationId="{31D61128-B5EF-3A96-D3E9-30972CD7DB9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7:44.107" v="558823"/>
          <ac:graphicFrameMkLst>
            <pc:docMk/>
            <pc:sldMk cId="80455690" sldId="2147483093"/>
            <ac:graphicFrameMk id="1583" creationId="{00F7A30B-A5A3-8621-9A9F-1E0591E45D8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7:54.861" v="559387"/>
          <ac:graphicFrameMkLst>
            <pc:docMk/>
            <pc:sldMk cId="80455690" sldId="2147483093"/>
            <ac:graphicFrameMk id="1584" creationId="{14E9157D-AD0B-082F-558A-DF2D557E651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8:33.195" v="560116"/>
          <ac:graphicFrameMkLst>
            <pc:docMk/>
            <pc:sldMk cId="80455690" sldId="2147483093"/>
            <ac:graphicFrameMk id="1597" creationId="{2E35E520-790A-A1A8-481C-1217F0B3EB0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28:35.310" v="560399"/>
          <ac:graphicFrameMkLst>
            <pc:docMk/>
            <pc:sldMk cId="80455690" sldId="2147483093"/>
            <ac:graphicFrameMk id="1601" creationId="{25807FB3-6372-EB4D-A9ED-81A92EF611B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55.439" v="621065"/>
          <ac:graphicFrameMkLst>
            <pc:docMk/>
            <pc:sldMk cId="80455690" sldId="2147483093"/>
            <ac:graphicFrameMk id="1602" creationId="{8A7DB340-399D-553A-7386-131FF3789BF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04.915" v="561065"/>
          <ac:graphicFrameMkLst>
            <pc:docMk/>
            <pc:sldMk cId="80455690" sldId="2147483093"/>
            <ac:graphicFrameMk id="1612" creationId="{D2C28074-EC6B-D7A7-9381-D34D26FFE5B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08.598" v="561339"/>
          <ac:graphicFrameMkLst>
            <pc:docMk/>
            <pc:sldMk cId="80455690" sldId="2147483093"/>
            <ac:graphicFrameMk id="1613" creationId="{A4A08D85-4993-9F06-B5C2-A0E34DCA777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11" v="561613"/>
          <ac:graphicFrameMkLst>
            <pc:docMk/>
            <pc:sldMk cId="80455690" sldId="2147483093"/>
            <ac:graphicFrameMk id="1614" creationId="{46DDE894-0EDC-76A9-23FF-D45604F759C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13.164" v="561887"/>
          <ac:graphicFrameMkLst>
            <pc:docMk/>
            <pc:sldMk cId="80455690" sldId="2147483093"/>
            <ac:graphicFrameMk id="1615" creationId="{0C9A410E-831F-DE4F-B023-46C74A50CF3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14.596" v="562210"/>
          <ac:graphicFrameMkLst>
            <pc:docMk/>
            <pc:sldMk cId="80455690" sldId="2147483093"/>
            <ac:graphicFrameMk id="1616" creationId="{8630BA98-3E41-DBB9-6D8E-5CA1A27CCD7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18.215" v="562533"/>
          <ac:graphicFrameMkLst>
            <pc:docMk/>
            <pc:sldMk cId="80455690" sldId="2147483093"/>
            <ac:graphicFrameMk id="1619" creationId="{B830030B-3BB4-B58F-4B92-DFE8F71B5CA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1.778" v="562813"/>
          <ac:graphicFrameMkLst>
            <pc:docMk/>
            <pc:sldMk cId="80455690" sldId="2147483093"/>
            <ac:graphicFrameMk id="1622" creationId="{80C87B0E-3CF1-21A5-9323-88481B81F8F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3.281" v="563095"/>
          <ac:graphicFrameMkLst>
            <pc:docMk/>
            <pc:sldMk cId="80455690" sldId="2147483093"/>
            <ac:graphicFrameMk id="1623" creationId="{F4BED224-D318-D8D5-80FA-0A78AAE8C50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4.299" v="563374"/>
          <ac:graphicFrameMkLst>
            <pc:docMk/>
            <pc:sldMk cId="80455690" sldId="2147483093"/>
            <ac:graphicFrameMk id="1624" creationId="{2A30C3AB-2A0E-6A93-3C0E-82FD1002BCA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6.505" v="563651"/>
          <ac:graphicFrameMkLst>
            <pc:docMk/>
            <pc:sldMk cId="80455690" sldId="2147483093"/>
            <ac:graphicFrameMk id="1625" creationId="{810DA92B-C552-25A3-0FE0-00B9E8F0A43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7.433" v="563928"/>
          <ac:graphicFrameMkLst>
            <pc:docMk/>
            <pc:sldMk cId="80455690" sldId="2147483093"/>
            <ac:graphicFrameMk id="1626" creationId="{B2144694-E488-39C4-1D67-DFD94B730D7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8.698" v="564209"/>
          <ac:graphicFrameMkLst>
            <pc:docMk/>
            <pc:sldMk cId="80455690" sldId="2147483093"/>
            <ac:graphicFrameMk id="1627" creationId="{92A371F6-9F37-1547-15A8-359457E07AE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29.471" v="564487"/>
          <ac:graphicFrameMkLst>
            <pc:docMk/>
            <pc:sldMk cId="80455690" sldId="2147483093"/>
            <ac:graphicFrameMk id="1628" creationId="{004FF888-BC34-ED94-35D0-D56B95ADFB0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40.321" v="564892"/>
          <ac:graphicFrameMkLst>
            <pc:docMk/>
            <pc:sldMk cId="80455690" sldId="2147483093"/>
            <ac:graphicFrameMk id="1629" creationId="{DB494BC6-2F11-D1E8-97A3-24FBF65BA80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43.454" v="565228"/>
          <ac:graphicFrameMkLst>
            <pc:docMk/>
            <pc:sldMk cId="80455690" sldId="2147483093"/>
            <ac:graphicFrameMk id="1635" creationId="{5861B567-86BD-99FF-8C41-15CA5A70509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44.676" v="565578"/>
          <ac:graphicFrameMkLst>
            <pc:docMk/>
            <pc:sldMk cId="80455690" sldId="2147483093"/>
            <ac:graphicFrameMk id="1636" creationId="{237CB6E8-A41D-6582-B3BD-104DD6FC2CB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2:55.464" v="565936"/>
          <ac:graphicFrameMkLst>
            <pc:docMk/>
            <pc:sldMk cId="80455690" sldId="2147483093"/>
            <ac:graphicFrameMk id="1638" creationId="{532DFBF7-7C8A-CA02-365A-21299239B93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3:02.767" v="566298"/>
          <ac:graphicFrameMkLst>
            <pc:docMk/>
            <pc:sldMk cId="80455690" sldId="2147483093"/>
            <ac:graphicFrameMk id="1640" creationId="{60AD9172-3025-C998-075E-5B3E45C671F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4:22.064" v="568483"/>
          <ac:graphicFrameMkLst>
            <pc:docMk/>
            <pc:sldMk cId="80455690" sldId="2147483093"/>
            <ac:graphicFrameMk id="1642" creationId="{9A76FB0B-C67F-5B4E-AD6A-458C6E192FC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4:01.382" v="567477" actId="1076"/>
          <ac:graphicFrameMkLst>
            <pc:docMk/>
            <pc:sldMk cId="80455690" sldId="2147483093"/>
            <ac:graphicFrameMk id="1644" creationId="{742785F9-30E8-EAB2-6050-363B6E2F2215}"/>
          </ac:graphicFrameMkLst>
        </pc:graphicFrameChg>
        <pc:graphicFrameChg chg="add mod">
          <ac:chgData name="Yudi Zhu" userId="571e1a55-055f-4c28-8b35-fca6dd1c1369" providerId="ADAL" clId="{75A88773-6EE1-484E-AADE-FE631E01463B}" dt="2025-11-24T03:33:59.601" v="567344" actId="1076"/>
          <ac:graphicFrameMkLst>
            <pc:docMk/>
            <pc:sldMk cId="80455690" sldId="2147483093"/>
            <ac:graphicFrameMk id="1646" creationId="{F72457EA-F91A-C971-BCCB-7DA0D30FC58C}"/>
          </ac:graphicFrameMkLst>
        </pc:graphicFrameChg>
        <pc:graphicFrameChg chg="add mod">
          <ac:chgData name="Yudi Zhu" userId="571e1a55-055f-4c28-8b35-fca6dd1c1369" providerId="ADAL" clId="{75A88773-6EE1-484E-AADE-FE631E01463B}" dt="2025-11-24T03:34:13.710" v="568112" actId="1076"/>
          <ac:graphicFrameMkLst>
            <pc:docMk/>
            <pc:sldMk cId="80455690" sldId="2147483093"/>
            <ac:graphicFrameMk id="1654" creationId="{789F76CA-03E4-391B-0D93-25569C471C7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5:36.336" v="569056"/>
          <ac:graphicFrameMkLst>
            <pc:docMk/>
            <pc:sldMk cId="80455690" sldId="2147483093"/>
            <ac:graphicFrameMk id="1662" creationId="{50386670-08AA-B563-F7CA-2143C40F87E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5:46.045" v="570372"/>
          <ac:graphicFrameMkLst>
            <pc:docMk/>
            <pc:sldMk cId="80455690" sldId="2147483093"/>
            <ac:graphicFrameMk id="1671" creationId="{B1168AC2-B95E-F498-8EFC-1482C49FD17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5:43.331" v="570141" actId="1076"/>
          <ac:graphicFrameMkLst>
            <pc:docMk/>
            <pc:sldMk cId="80455690" sldId="2147483093"/>
            <ac:graphicFrameMk id="1673" creationId="{3FD853D8-84B4-6C50-8D95-8C36F9D17DF4}"/>
          </ac:graphicFrameMkLst>
        </pc:graphicFrameChg>
        <pc:graphicFrameChg chg="add mod">
          <ac:chgData name="Yudi Zhu" userId="571e1a55-055f-4c28-8b35-fca6dd1c1369" providerId="ADAL" clId="{75A88773-6EE1-484E-AADE-FE631E01463B}" dt="2025-11-24T03:35:43.307" v="570042" actId="1076"/>
          <ac:graphicFrameMkLst>
            <pc:docMk/>
            <pc:sldMk cId="80455690" sldId="2147483093"/>
            <ac:graphicFrameMk id="1674" creationId="{C078B5F0-E4A1-8C3B-D98C-0E0D982341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5:47.428" v="570658"/>
          <ac:graphicFrameMkLst>
            <pc:docMk/>
            <pc:sldMk cId="80455690" sldId="2147483093"/>
            <ac:graphicFrameMk id="1693" creationId="{E269C55D-F623-5AC9-9F4D-236A56E61A9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12.888" v="572418"/>
          <ac:graphicFrameMkLst>
            <pc:docMk/>
            <pc:sldMk cId="80455690" sldId="2147483093"/>
            <ac:graphicFrameMk id="1694" creationId="{E8AFB054-A620-68DC-63F6-488E61D0334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10.726" v="572162" actId="1076"/>
          <ac:graphicFrameMkLst>
            <pc:docMk/>
            <pc:sldMk cId="80455690" sldId="2147483093"/>
            <ac:graphicFrameMk id="1696" creationId="{C91126AB-052D-B6F2-2982-5E49984130C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07.544" v="572064"/>
          <ac:graphicFrameMkLst>
            <pc:docMk/>
            <pc:sldMk cId="80455690" sldId="2147483093"/>
            <ac:graphicFrameMk id="1697" creationId="{C0F4E9A6-33FB-4C49-1589-425F310E4AF7}"/>
          </ac:graphicFrameMkLst>
        </pc:graphicFrameChg>
        <pc:graphicFrameChg chg="add mod">
          <ac:chgData name="Yudi Zhu" userId="571e1a55-055f-4c28-8b35-fca6dd1c1369" providerId="ADAL" clId="{75A88773-6EE1-484E-AADE-FE631E01463B}" dt="2025-11-24T03:36:07.544" v="572064"/>
          <ac:graphicFrameMkLst>
            <pc:docMk/>
            <pc:sldMk cId="80455690" sldId="2147483093"/>
            <ac:graphicFrameMk id="1698" creationId="{329BBABB-15DD-5567-3D6A-7BC48DC4825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14.257" v="572704"/>
          <ac:graphicFrameMkLst>
            <pc:docMk/>
            <pc:sldMk cId="80455690" sldId="2147483093"/>
            <ac:graphicFrameMk id="1706" creationId="{07234730-04F6-E016-F1D4-746EC1D46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16.195" v="573072"/>
          <ac:graphicFrameMkLst>
            <pc:docMk/>
            <pc:sldMk cId="80455690" sldId="2147483093"/>
            <ac:graphicFrameMk id="1707" creationId="{F8AFD653-2DDB-912A-F046-5699FFC8461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21.074" v="573403"/>
          <ac:graphicFrameMkLst>
            <pc:docMk/>
            <pc:sldMk cId="80455690" sldId="2147483093"/>
            <ac:graphicFrameMk id="1709" creationId="{AA0C73FB-5B8D-8F07-B195-DE751A78555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36:27.315" v="573733"/>
          <ac:graphicFrameMkLst>
            <pc:docMk/>
            <pc:sldMk cId="80455690" sldId="2147483093"/>
            <ac:graphicFrameMk id="1711" creationId="{F95C615C-ED82-4E39-994C-92C0490608F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3:10.588" v="604697"/>
          <ac:graphicFrameMkLst>
            <pc:docMk/>
            <pc:sldMk cId="80455690" sldId="2147483093"/>
            <ac:graphicFrameMk id="1713" creationId="{D2362DEB-A05F-84EE-0A5D-0CB10C06845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13.241" v="574578"/>
          <ac:graphicFrameMkLst>
            <pc:docMk/>
            <pc:sldMk cId="80455690" sldId="2147483093"/>
            <ac:graphicFrameMk id="1720" creationId="{3AAEF33A-6453-931C-B350-9FCE9009E02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28.918" v="574879"/>
          <ac:graphicFrameMkLst>
            <pc:docMk/>
            <pc:sldMk cId="80455690" sldId="2147483093"/>
            <ac:graphicFrameMk id="1721" creationId="{1AFA3114-8526-41C1-CEEA-B4BEFA8EA9B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33.056" v="575184"/>
          <ac:graphicFrameMkLst>
            <pc:docMk/>
            <pc:sldMk cId="80455690" sldId="2147483093"/>
            <ac:graphicFrameMk id="1722" creationId="{868A5116-F6C8-14DC-2222-EAF9F9C819F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37.116" v="575489"/>
          <ac:graphicFrameMkLst>
            <pc:docMk/>
            <pc:sldMk cId="80455690" sldId="2147483093"/>
            <ac:graphicFrameMk id="1724" creationId="{6C39FE64-955E-E226-6A15-6EFA54288FB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40.306" v="575794"/>
          <ac:graphicFrameMkLst>
            <pc:docMk/>
            <pc:sldMk cId="80455690" sldId="2147483093"/>
            <ac:graphicFrameMk id="1725" creationId="{CBBC7F7D-A071-C9CF-F3E1-5A3C7A38D95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3:42.149" v="576099"/>
          <ac:graphicFrameMkLst>
            <pc:docMk/>
            <pc:sldMk cId="80455690" sldId="2147483093"/>
            <ac:graphicFrameMk id="1726" creationId="{2A938E92-9345-F83C-2402-A8F7CF5F653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01.942" v="576437"/>
          <ac:graphicFrameMkLst>
            <pc:docMk/>
            <pc:sldMk cId="80455690" sldId="2147483093"/>
            <ac:graphicFrameMk id="1727" creationId="{D8A4CF0E-7E9C-1A40-886E-50C9C63901E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09.882" v="576771"/>
          <ac:graphicFrameMkLst>
            <pc:docMk/>
            <pc:sldMk cId="80455690" sldId="2147483093"/>
            <ac:graphicFrameMk id="1729" creationId="{1136F5A0-A496-9643-66B0-503BE43BFF7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11.886" v="577102"/>
          <ac:graphicFrameMkLst>
            <pc:docMk/>
            <pc:sldMk cId="80455690" sldId="2147483093"/>
            <ac:graphicFrameMk id="1731" creationId="{847BFA8B-BA21-01F7-0FBA-30346A06897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15.581" v="577436"/>
          <ac:graphicFrameMkLst>
            <pc:docMk/>
            <pc:sldMk cId="80455690" sldId="2147483093"/>
            <ac:graphicFrameMk id="1733" creationId="{9ADCE643-C356-1532-2CBD-28B9559D970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18.960" v="577763"/>
          <ac:graphicFrameMkLst>
            <pc:docMk/>
            <pc:sldMk cId="80455690" sldId="2147483093"/>
            <ac:graphicFrameMk id="1735" creationId="{D7727BC3-D321-3C22-6DFC-EC0B09358D6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23.505" v="578101"/>
          <ac:graphicFrameMkLst>
            <pc:docMk/>
            <pc:sldMk cId="80455690" sldId="2147483093"/>
            <ac:graphicFrameMk id="1737" creationId="{14E26F96-691D-F752-B30F-D3C284E7E29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4:36.840" v="578430"/>
          <ac:graphicFrameMkLst>
            <pc:docMk/>
            <pc:sldMk cId="80455690" sldId="2147483093"/>
            <ac:graphicFrameMk id="1740" creationId="{ED01B1AD-5E28-E4DB-68DB-3E5A33A58D2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06.977" v="578757"/>
          <ac:graphicFrameMkLst>
            <pc:docMk/>
            <pc:sldMk cId="80455690" sldId="2147483093"/>
            <ac:graphicFrameMk id="1742" creationId="{81C092DF-F53A-1324-F42F-863195F00CC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10.439" v="579090"/>
          <ac:graphicFrameMkLst>
            <pc:docMk/>
            <pc:sldMk cId="80455690" sldId="2147483093"/>
            <ac:graphicFrameMk id="1744" creationId="{E209631D-5D47-86B0-6FB1-49381356BA7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14.583" v="579573"/>
          <ac:graphicFrameMkLst>
            <pc:docMk/>
            <pc:sldMk cId="80455690" sldId="2147483093"/>
            <ac:graphicFrameMk id="1747" creationId="{317C58B2-C333-95F0-652E-8585CB0DC5D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38.726" v="579941"/>
          <ac:graphicFrameMkLst>
            <pc:docMk/>
            <pc:sldMk cId="80455690" sldId="2147483093"/>
            <ac:graphicFrameMk id="1754" creationId="{11B32B79-5CCE-6615-1103-294CC75B3A3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41.243" v="580303"/>
          <ac:graphicFrameMkLst>
            <pc:docMk/>
            <pc:sldMk cId="80455690" sldId="2147483093"/>
            <ac:graphicFrameMk id="1756" creationId="{20F817CE-E993-3BCB-693C-1F420E0482A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45.846" v="580648"/>
          <ac:graphicFrameMkLst>
            <pc:docMk/>
            <pc:sldMk cId="80455690" sldId="2147483093"/>
            <ac:graphicFrameMk id="1759" creationId="{19FD2E95-3E8D-9F44-CAC2-E61B3EDFE6C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49.143" v="581063"/>
          <ac:graphicFrameMkLst>
            <pc:docMk/>
            <pc:sldMk cId="80455690" sldId="2147483093"/>
            <ac:graphicFrameMk id="1763" creationId="{C1A29906-740F-7EC0-5FF4-DF725211FF0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50.824" v="581402"/>
          <ac:graphicFrameMkLst>
            <pc:docMk/>
            <pc:sldMk cId="80455690" sldId="2147483093"/>
            <ac:graphicFrameMk id="1768" creationId="{C71A81A7-4023-D6F3-9129-9D2F66982A4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5:58.206" v="581793"/>
          <ac:graphicFrameMkLst>
            <pc:docMk/>
            <pc:sldMk cId="80455690" sldId="2147483093"/>
            <ac:graphicFrameMk id="1770" creationId="{EF575EE9-2827-C837-CCA8-00CD66E9A06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02.542" v="582140"/>
          <ac:graphicFrameMkLst>
            <pc:docMk/>
            <pc:sldMk cId="80455690" sldId="2147483093"/>
            <ac:graphicFrameMk id="1771" creationId="{283971A6-A121-97D3-1E20-93C2680F2FD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07.974" v="582446"/>
          <ac:graphicFrameMkLst>
            <pc:docMk/>
            <pc:sldMk cId="80455690" sldId="2147483093"/>
            <ac:graphicFrameMk id="1772" creationId="{AA94C428-928F-126C-67E2-31BA50408B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22.025" v="582830"/>
          <ac:graphicFrameMkLst>
            <pc:docMk/>
            <pc:sldMk cId="80455690" sldId="2147483093"/>
            <ac:graphicFrameMk id="1773" creationId="{90ADA634-FEFF-49A2-8CAE-D52ACC7C7BD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25.187" v="583210"/>
          <ac:graphicFrameMkLst>
            <pc:docMk/>
            <pc:sldMk cId="80455690" sldId="2147483093"/>
            <ac:graphicFrameMk id="1774" creationId="{B50CD3EE-91E4-1978-7058-DBF5428993D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26.118" v="583517"/>
          <ac:graphicFrameMkLst>
            <pc:docMk/>
            <pc:sldMk cId="80455690" sldId="2147483093"/>
            <ac:graphicFrameMk id="1777" creationId="{977EDE6B-29F0-46B9-712C-1A485505F01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29.267" v="583825"/>
          <ac:graphicFrameMkLst>
            <pc:docMk/>
            <pc:sldMk cId="80455690" sldId="2147483093"/>
            <ac:graphicFrameMk id="1778" creationId="{1460BEFC-4C22-BD11-EBC4-B43D1F7CB46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33.086" v="584367"/>
          <ac:graphicFrameMkLst>
            <pc:docMk/>
            <pc:sldMk cId="80455690" sldId="2147483093"/>
            <ac:graphicFrameMk id="1779" creationId="{14692347-6F65-EBCD-D4F4-A825552024F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34.955" v="584673"/>
          <ac:graphicFrameMkLst>
            <pc:docMk/>
            <pc:sldMk cId="80455690" sldId="2147483093"/>
            <ac:graphicFrameMk id="1784" creationId="{FCF32F1B-7EA1-1C09-83DE-49E47852639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41.933" v="584977"/>
          <ac:graphicFrameMkLst>
            <pc:docMk/>
            <pc:sldMk cId="80455690" sldId="2147483093"/>
            <ac:graphicFrameMk id="1785" creationId="{FDEF939B-D86B-5D7D-585B-71BF59870A9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45.717" v="585361"/>
          <ac:graphicFrameMkLst>
            <pc:docMk/>
            <pc:sldMk cId="80455690" sldId="2147483093"/>
            <ac:graphicFrameMk id="1786" creationId="{89AA0E5D-90C4-6E2A-0C46-3627DCE7FF4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6:48.485" v="585705"/>
          <ac:graphicFrameMkLst>
            <pc:docMk/>
            <pc:sldMk cId="80455690" sldId="2147483093"/>
            <ac:graphicFrameMk id="1787" creationId="{782DA8AA-E37F-1B12-D5C9-DFEFDE9F0B4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04.674" v="586009"/>
          <ac:graphicFrameMkLst>
            <pc:docMk/>
            <pc:sldMk cId="80455690" sldId="2147483093"/>
            <ac:graphicFrameMk id="1788" creationId="{0EE5FCB4-C47A-84EB-1EAC-70B0C9DED7B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12.024" v="586388"/>
          <ac:graphicFrameMkLst>
            <pc:docMk/>
            <pc:sldMk cId="80455690" sldId="2147483093"/>
            <ac:graphicFrameMk id="1789" creationId="{4CF23CD1-00D7-2207-5072-EBCC4B0CD85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14.797" v="586783"/>
          <ac:graphicFrameMkLst>
            <pc:docMk/>
            <pc:sldMk cId="80455690" sldId="2147483093"/>
            <ac:graphicFrameMk id="1803" creationId="{1E5C84E6-09EF-7C93-0C91-ACC0B12865A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16.040" v="587090"/>
          <ac:graphicFrameMkLst>
            <pc:docMk/>
            <pc:sldMk cId="80455690" sldId="2147483093"/>
            <ac:graphicFrameMk id="1806" creationId="{96ABD30A-7155-D346-E25E-C4285286D44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22.268" v="587467"/>
          <ac:graphicFrameMkLst>
            <pc:docMk/>
            <pc:sldMk cId="80455690" sldId="2147483093"/>
            <ac:graphicFrameMk id="1807" creationId="{116747B3-50E8-FD5B-256D-98BE34F81CF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23.390" v="587871"/>
          <ac:graphicFrameMkLst>
            <pc:docMk/>
            <pc:sldMk cId="80455690" sldId="2147483093"/>
            <ac:graphicFrameMk id="1812" creationId="{A514DA57-0270-F8AC-E6AF-5C02D67BE0D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33.720" v="588187"/>
          <ac:graphicFrameMkLst>
            <pc:docMk/>
            <pc:sldMk cId="80455690" sldId="2147483093"/>
            <ac:graphicFrameMk id="1816" creationId="{44E027B8-B279-93CB-6F9A-6310E824CAF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36.162" v="588517"/>
          <ac:graphicFrameMkLst>
            <pc:docMk/>
            <pc:sldMk cId="80455690" sldId="2147483093"/>
            <ac:graphicFrameMk id="1817" creationId="{23229A07-C26D-7227-2D79-4F46213F125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44.900" v="588850"/>
          <ac:graphicFrameMkLst>
            <pc:docMk/>
            <pc:sldMk cId="80455690" sldId="2147483093"/>
            <ac:graphicFrameMk id="1818" creationId="{54418FC3-E47F-CB0D-84BB-894AD4B1E02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53.750" v="589178"/>
          <ac:graphicFrameMkLst>
            <pc:docMk/>
            <pc:sldMk cId="80455690" sldId="2147483093"/>
            <ac:graphicFrameMk id="1821" creationId="{F8D0A5DB-DDC8-5254-32CA-8737E040B81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7:58.625" v="589506"/>
          <ac:graphicFrameMkLst>
            <pc:docMk/>
            <pc:sldMk cId="80455690" sldId="2147483093"/>
            <ac:graphicFrameMk id="1822" creationId="{EAB6C093-1347-3F1A-009C-A6CFC730A4F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04.504" v="589838"/>
          <ac:graphicFrameMkLst>
            <pc:docMk/>
            <pc:sldMk cId="80455690" sldId="2147483093"/>
            <ac:graphicFrameMk id="1823" creationId="{F36BD096-BF07-9DBD-1E0C-0B2874FE3E9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08.023" v="590170"/>
          <ac:graphicFrameMkLst>
            <pc:docMk/>
            <pc:sldMk cId="80455690" sldId="2147483093"/>
            <ac:graphicFrameMk id="1824" creationId="{7329C436-950A-D53E-52DD-3B9D983622E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44.938" v="591508"/>
          <ac:graphicFrameMkLst>
            <pc:docMk/>
            <pc:sldMk cId="80455690" sldId="2147483093"/>
            <ac:graphicFrameMk id="1825" creationId="{62E6A11C-3ABC-A294-0CAC-F41B18F6091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35.035" v="591413"/>
          <ac:graphicFrameMkLst>
            <pc:docMk/>
            <pc:sldMk cId="80455690" sldId="2147483093"/>
            <ac:graphicFrameMk id="1826" creationId="{657B517D-9D41-15A9-033F-D89B9DA30819}"/>
          </ac:graphicFrameMkLst>
        </pc:graphicFrameChg>
        <pc:graphicFrameChg chg="add mod">
          <ac:chgData name="Yudi Zhu" userId="571e1a55-055f-4c28-8b35-fca6dd1c1369" providerId="ADAL" clId="{75A88773-6EE1-484E-AADE-FE631E01463B}" dt="2025-11-24T03:48:34.436" v="591294"/>
          <ac:graphicFrameMkLst>
            <pc:docMk/>
            <pc:sldMk cId="80455690" sldId="2147483093"/>
            <ac:graphicFrameMk id="1827" creationId="{01561204-4B11-C067-6093-F7C34FC0252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52.635" v="591810"/>
          <ac:graphicFrameMkLst>
            <pc:docMk/>
            <pc:sldMk cId="80455690" sldId="2147483093"/>
            <ac:graphicFrameMk id="1829" creationId="{9ACA1108-11B5-33BB-4679-42BD0A6D340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8:54.999" v="592181"/>
          <ac:graphicFrameMkLst>
            <pc:docMk/>
            <pc:sldMk cId="80455690" sldId="2147483093"/>
            <ac:graphicFrameMk id="1830" creationId="{75C7A298-2EE4-5F5A-1C85-B14C8807468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13.700" v="593576"/>
          <ac:graphicFrameMkLst>
            <pc:docMk/>
            <pc:sldMk cId="80455690" sldId="2147483093"/>
            <ac:graphicFrameMk id="1832" creationId="{D44DE5BC-272C-BF36-5757-C1A04AA7520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06.136" v="593468"/>
          <ac:graphicFrameMkLst>
            <pc:docMk/>
            <pc:sldMk cId="80455690" sldId="2147483093"/>
            <ac:graphicFrameMk id="1833" creationId="{4FCEAA20-0601-A2DC-9EDF-C2CD9CF500AE}"/>
          </ac:graphicFrameMkLst>
        </pc:graphicFrameChg>
        <pc:graphicFrameChg chg="add mod">
          <ac:chgData name="Yudi Zhu" userId="571e1a55-055f-4c28-8b35-fca6dd1c1369" providerId="ADAL" clId="{75A88773-6EE1-484E-AADE-FE631E01463B}" dt="2025-11-24T03:49:05.409" v="593337"/>
          <ac:graphicFrameMkLst>
            <pc:docMk/>
            <pc:sldMk cId="80455690" sldId="2147483093"/>
            <ac:graphicFrameMk id="1834" creationId="{A9CB9A2A-C119-7547-4FDE-BC72894C8B9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27.300" v="593951"/>
          <ac:graphicFrameMkLst>
            <pc:docMk/>
            <pc:sldMk cId="80455690" sldId="2147483093"/>
            <ac:graphicFrameMk id="1836" creationId="{49EC19F4-E0D9-7C77-6418-FB0E88A2DE7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28.766" v="594253"/>
          <ac:graphicFrameMkLst>
            <pc:docMk/>
            <pc:sldMk cId="80455690" sldId="2147483093"/>
            <ac:graphicFrameMk id="1838" creationId="{D1CEC0E9-DC8F-E952-79BA-626C585B7DB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32.432" v="594555"/>
          <ac:graphicFrameMkLst>
            <pc:docMk/>
            <pc:sldMk cId="80455690" sldId="2147483093"/>
            <ac:graphicFrameMk id="1839" creationId="{D4C6EEFF-D9D8-10EA-37FA-E8A9F24F5CA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38.930" v="594859"/>
          <ac:graphicFrameMkLst>
            <pc:docMk/>
            <pc:sldMk cId="80455690" sldId="2147483093"/>
            <ac:graphicFrameMk id="1840" creationId="{81BCB38A-1C41-7F95-6B2A-DAEA10492F6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40.784" v="595159"/>
          <ac:graphicFrameMkLst>
            <pc:docMk/>
            <pc:sldMk cId="80455690" sldId="2147483093"/>
            <ac:graphicFrameMk id="1841" creationId="{3FC2C88C-37E1-967C-0B2A-2CD10A4925B0}"/>
          </ac:graphicFrameMkLst>
        </pc:graphicFrameChg>
        <pc:graphicFrameChg chg="del mod">
          <ac:chgData name="Yudi Zhu" userId="571e1a55-055f-4c28-8b35-fca6dd1c1369" providerId="ADAL" clId="{75A88773-6EE1-484E-AADE-FE631E01463B}" dt="2025-11-21T09:25:55.857" v="414482"/>
          <ac:graphicFrameMkLst>
            <pc:docMk/>
            <pc:sldMk cId="80455690" sldId="2147483093"/>
            <ac:graphicFrameMk id="1841" creationId="{75CA4059-95BE-974C-1015-A32F93ED226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42.868" v="595459"/>
          <ac:graphicFrameMkLst>
            <pc:docMk/>
            <pc:sldMk cId="80455690" sldId="2147483093"/>
            <ac:graphicFrameMk id="1842" creationId="{4503288B-EAC8-D7B8-B46C-A422B80DCF0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44.684" v="595759"/>
          <ac:graphicFrameMkLst>
            <pc:docMk/>
            <pc:sldMk cId="80455690" sldId="2147483093"/>
            <ac:graphicFrameMk id="1843" creationId="{A57B54EC-A331-616D-B730-E3F978C9916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45.764" v="596065"/>
          <ac:graphicFrameMkLst>
            <pc:docMk/>
            <pc:sldMk cId="80455690" sldId="2147483093"/>
            <ac:graphicFrameMk id="1844" creationId="{8D5B87E6-621B-C7DA-76A2-8CB92FAB319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46.709" v="596373"/>
          <ac:graphicFrameMkLst>
            <pc:docMk/>
            <pc:sldMk cId="80455690" sldId="2147483093"/>
            <ac:graphicFrameMk id="1845" creationId="{41B44B8A-39C8-2468-D55E-9F0CF99979A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50.402" v="596673"/>
          <ac:graphicFrameMkLst>
            <pc:docMk/>
            <pc:sldMk cId="80455690" sldId="2147483093"/>
            <ac:graphicFrameMk id="1846" creationId="{43E89763-CF62-46F9-89DC-AEC3D73EA9F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55.621" v="596976"/>
          <ac:graphicFrameMkLst>
            <pc:docMk/>
            <pc:sldMk cId="80455690" sldId="2147483093"/>
            <ac:graphicFrameMk id="1847" creationId="{2FA0FB3E-A14A-E760-F78A-174C1FB4921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49:58.516" v="597287"/>
          <ac:graphicFrameMkLst>
            <pc:docMk/>
            <pc:sldMk cId="80455690" sldId="2147483093"/>
            <ac:graphicFrameMk id="1848" creationId="{4BFFFE84-751F-163C-EE35-4AD52498FC4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01.178" v="597863"/>
          <ac:graphicFrameMkLst>
            <pc:docMk/>
            <pc:sldMk cId="80455690" sldId="2147483093"/>
            <ac:graphicFrameMk id="1849" creationId="{1B7EAAA4-D45B-66D3-A70D-E5ABEAD7CCF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3:36.843" v="605251"/>
          <ac:graphicFrameMkLst>
            <pc:docMk/>
            <pc:sldMk cId="80455690" sldId="2147483093"/>
            <ac:graphicFrameMk id="1862" creationId="{C66378B5-CB60-87C2-FA10-33822186BFA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4:00.103" v="442840"/>
          <ac:graphicFrameMkLst>
            <pc:docMk/>
            <pc:sldMk cId="80455690" sldId="2147483093"/>
            <ac:graphicFrameMk id="1864" creationId="{9C56D55B-6839-EBAA-A712-2ACF93015A3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10.583" v="485529"/>
          <ac:graphicFrameMkLst>
            <pc:docMk/>
            <pc:sldMk cId="80455690" sldId="2147483093"/>
            <ac:graphicFrameMk id="1868" creationId="{9ED055FA-6338-989A-2B21-051E8ED3800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49.421" v="441656"/>
          <ac:graphicFrameMkLst>
            <pc:docMk/>
            <pc:sldMk cId="80455690" sldId="2147483093"/>
            <ac:graphicFrameMk id="1871" creationId="{21C7110E-1B5D-C905-4F75-932E650A340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47.948" v="441300"/>
          <ac:graphicFrameMkLst>
            <pc:docMk/>
            <pc:sldMk cId="80455690" sldId="2147483093"/>
            <ac:graphicFrameMk id="1873" creationId="{C77BED71-C4B0-FEE0-C7B1-057FB91327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41.966" v="440714"/>
          <ac:graphicFrameMkLst>
            <pc:docMk/>
            <pc:sldMk cId="80455690" sldId="2147483093"/>
            <ac:graphicFrameMk id="1875" creationId="{1E8C7600-4625-89F1-ED3A-A2A69774F7F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28.986" v="486133"/>
          <ac:graphicFrameMkLst>
            <pc:docMk/>
            <pc:sldMk cId="80455690" sldId="2147483093"/>
            <ac:graphicFrameMk id="1875" creationId="{8769E950-F156-7739-660A-0AE96FD666D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41.240" v="440523"/>
          <ac:graphicFrameMkLst>
            <pc:docMk/>
            <pc:sldMk cId="80455690" sldId="2147483093"/>
            <ac:graphicFrameMk id="1877" creationId="{9AECC247-7495-D3AC-8641-1D2501E455D9}"/>
          </ac:graphicFrameMkLst>
        </pc:graphicFrameChg>
        <pc:graphicFrameChg chg="del mod">
          <ac:chgData name="Yudi Zhu" userId="571e1a55-055f-4c28-8b35-fca6dd1c1369" providerId="ADAL" clId="{75A88773-6EE1-484E-AADE-FE631E01463B}" dt="2025-11-21T09:57:10.744" v="428933"/>
          <ac:graphicFrameMkLst>
            <pc:docMk/>
            <pc:sldMk cId="80455690" sldId="2147483093"/>
            <ac:graphicFrameMk id="1878" creationId="{327F4ECA-FAFB-527F-C5AC-4EC826B3A84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32.822" v="486386"/>
          <ac:graphicFrameMkLst>
            <pc:docMk/>
            <pc:sldMk cId="80455690" sldId="2147483093"/>
            <ac:graphicFrameMk id="1878" creationId="{91CACAEF-F508-EBB1-5F3F-B32240BE42D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45.103" v="486665"/>
          <ac:graphicFrameMkLst>
            <pc:docMk/>
            <pc:sldMk cId="80455690" sldId="2147483093"/>
            <ac:graphicFrameMk id="1879" creationId="{9C6A59DE-2D65-58D5-DD4F-B8B7780A6FB5}"/>
          </ac:graphicFrameMkLst>
        </pc:graphicFrameChg>
        <pc:graphicFrameChg chg="add mod">
          <ac:chgData name="Yudi Zhu" userId="571e1a55-055f-4c28-8b35-fca6dd1c1369" providerId="ADAL" clId="{75A88773-6EE1-484E-AADE-FE631E01463B}" dt="2025-11-21T10:03:40.050" v="440154" actId="1076"/>
          <ac:graphicFrameMkLst>
            <pc:docMk/>
            <pc:sldMk cId="80455690" sldId="2147483093"/>
            <ac:graphicFrameMk id="1880" creationId="{BEE0BDA7-6C4A-2C59-CB2B-D66BC92E394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373" v="440022" actId="1076"/>
          <ac:graphicFrameMkLst>
            <pc:docMk/>
            <pc:sldMk cId="80455690" sldId="2147483093"/>
            <ac:graphicFrameMk id="1881" creationId="{D1806390-8E76-47E3-7765-3CDE335653B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49.341" v="486948"/>
          <ac:graphicFrameMkLst>
            <pc:docMk/>
            <pc:sldMk cId="80455690" sldId="2147483093"/>
            <ac:graphicFrameMk id="1881" creationId="{E8950B63-8FB4-A1C7-6E71-015D5CDC3F5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350" v="439924" actId="1076"/>
          <ac:graphicFrameMkLst>
            <pc:docMk/>
            <pc:sldMk cId="80455690" sldId="2147483093"/>
            <ac:graphicFrameMk id="1882" creationId="{F9A585CD-B003-9BEE-73AF-6FC90CCBB22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317" v="439826" actId="1076"/>
          <ac:graphicFrameMkLst>
            <pc:docMk/>
            <pc:sldMk cId="80455690" sldId="2147483093"/>
            <ac:graphicFrameMk id="1883" creationId="{4E409E27-4EDA-5E9D-2684-B4544F298C4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56.746" v="487239"/>
          <ac:graphicFrameMkLst>
            <pc:docMk/>
            <pc:sldMk cId="80455690" sldId="2147483093"/>
            <ac:graphicFrameMk id="1883" creationId="{97C6EF5A-DADD-DA98-3E63-F5FD8470E7C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285" v="439728" actId="1076"/>
          <ac:graphicFrameMkLst>
            <pc:docMk/>
            <pc:sldMk cId="80455690" sldId="2147483093"/>
            <ac:graphicFrameMk id="1884" creationId="{245105E0-C18F-515A-2481-8EEBD3A2C38C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254" v="439630" actId="1076"/>
          <ac:graphicFrameMkLst>
            <pc:docMk/>
            <pc:sldMk cId="80455690" sldId="2147483093"/>
            <ac:graphicFrameMk id="1885" creationId="{6A7D39DA-3AF7-CF79-DBDF-70628702D26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9:58.004" v="487486"/>
          <ac:graphicFrameMkLst>
            <pc:docMk/>
            <pc:sldMk cId="80455690" sldId="2147483093"/>
            <ac:graphicFrameMk id="1885" creationId="{A36A6362-D730-C00E-D519-519A6B7C02D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01.588" v="487821"/>
          <ac:graphicFrameMkLst>
            <pc:docMk/>
            <pc:sldMk cId="80455690" sldId="2147483093"/>
            <ac:graphicFrameMk id="1886" creationId="{4A1EF0FE-4570-CBB4-5118-F4D9D504926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8.054" v="439513" actId="1076"/>
          <ac:graphicFrameMkLst>
            <pc:docMk/>
            <pc:sldMk cId="80455690" sldId="2147483093"/>
            <ac:graphicFrameMk id="1887" creationId="{29D6D9EA-1C1C-33E4-784F-163C2F1B13A6}"/>
          </ac:graphicFrameMkLst>
        </pc:graphicFrameChg>
        <pc:graphicFrameChg chg="add mod">
          <ac:chgData name="Yudi Zhu" userId="571e1a55-055f-4c28-8b35-fca6dd1c1369" providerId="ADAL" clId="{75A88773-6EE1-484E-AADE-FE631E01463B}" dt="2025-11-21T10:03:38.040" v="439414" actId="1076"/>
          <ac:graphicFrameMkLst>
            <pc:docMk/>
            <pc:sldMk cId="80455690" sldId="2147483093"/>
            <ac:graphicFrameMk id="1888" creationId="{87300027-A0D1-DA2F-2413-FE120EC911A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04.654" v="488102"/>
          <ac:graphicFrameMkLst>
            <pc:docMk/>
            <pc:sldMk cId="80455690" sldId="2147483093"/>
            <ac:graphicFrameMk id="1889" creationId="{3562D84B-5C3C-06FE-AA6D-851A7C6EAD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4:53.239" v="443565"/>
          <ac:graphicFrameMkLst>
            <pc:docMk/>
            <pc:sldMk cId="80455690" sldId="2147483093"/>
            <ac:graphicFrameMk id="1890" creationId="{00E93804-05EB-C71E-C1E4-53330E8AB02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17.187" v="488560"/>
          <ac:graphicFrameMkLst>
            <pc:docMk/>
            <pc:sldMk cId="80455690" sldId="2147483093"/>
            <ac:graphicFrameMk id="1891" creationId="{D3232294-C525-E3A5-9C94-0273F088BD1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56.214" v="464194"/>
          <ac:graphicFrameMkLst>
            <pc:docMk/>
            <pc:sldMk cId="80455690" sldId="2147483093"/>
            <ac:graphicFrameMk id="1892" creationId="{BF89DCB2-9EA2-6C4C-E60B-45217E97E16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5:20.328" v="444323"/>
          <ac:graphicFrameMkLst>
            <pc:docMk/>
            <pc:sldMk cId="80455690" sldId="2147483093"/>
            <ac:graphicFrameMk id="1894" creationId="{F11705A5-27D6-5C13-F852-6D6A8DFEA9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5:29.746" v="445438"/>
          <ac:graphicFrameMkLst>
            <pc:docMk/>
            <pc:sldMk cId="80455690" sldId="2147483093"/>
            <ac:graphicFrameMk id="1895" creationId="{E9485626-16B9-2983-8683-6324A63B8E0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29.080" v="488859"/>
          <ac:graphicFrameMkLst>
            <pc:docMk/>
            <pc:sldMk cId="80455690" sldId="2147483093"/>
            <ac:graphicFrameMk id="1896" creationId="{B4EEFD68-8806-73D4-7C4A-C97D50821356}"/>
          </ac:graphicFrameMkLst>
        </pc:graphicFrameChg>
        <pc:graphicFrameChg chg="add mod">
          <ac:chgData name="Yudi Zhu" userId="571e1a55-055f-4c28-8b35-fca6dd1c1369" providerId="ADAL" clId="{75A88773-6EE1-484E-AADE-FE631E01463B}" dt="2025-11-21T10:05:26.079" v="445179"/>
          <ac:graphicFrameMkLst>
            <pc:docMk/>
            <pc:sldMk cId="80455690" sldId="2147483093"/>
            <ac:graphicFrameMk id="1897" creationId="{78F471F9-694D-DD99-2B7D-1B3E15577B2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30.895" v="489161"/>
          <ac:graphicFrameMkLst>
            <pc:docMk/>
            <pc:sldMk cId="80455690" sldId="2147483093"/>
            <ac:graphicFrameMk id="1898" creationId="{60F23D2E-FC36-74D3-CB8C-9D2F96A5F9B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5:31.328" v="445697"/>
          <ac:graphicFrameMkLst>
            <pc:docMk/>
            <pc:sldMk cId="80455690" sldId="2147483093"/>
            <ac:graphicFrameMk id="1899" creationId="{9A71F2DE-7B16-EBA1-C6CB-4F74F3C868B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5:41.812" v="446812"/>
          <ac:graphicFrameMkLst>
            <pc:docMk/>
            <pc:sldMk cId="80455690" sldId="2147483093"/>
            <ac:graphicFrameMk id="1900" creationId="{566403F8-36C6-5F97-8344-881E5625ED8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32.413" v="489468"/>
          <ac:graphicFrameMkLst>
            <pc:docMk/>
            <pc:sldMk cId="80455690" sldId="2147483093"/>
            <ac:graphicFrameMk id="1901" creationId="{AB1F3375-62CC-ECC5-5B22-49D6D18F2DA0}"/>
          </ac:graphicFrameMkLst>
        </pc:graphicFrameChg>
        <pc:graphicFrameChg chg="add mod">
          <ac:chgData name="Yudi Zhu" userId="571e1a55-055f-4c28-8b35-fca6dd1c1369" providerId="ADAL" clId="{75A88773-6EE1-484E-AADE-FE631E01463B}" dt="2025-11-21T10:05:38.997" v="446553"/>
          <ac:graphicFrameMkLst>
            <pc:docMk/>
            <pc:sldMk cId="80455690" sldId="2147483093"/>
            <ac:graphicFrameMk id="1902" creationId="{C5890CCF-1F3D-0470-BF88-58B2102E44C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03.755" v="458681"/>
          <ac:graphicFrameMkLst>
            <pc:docMk/>
            <pc:sldMk cId="80455690" sldId="2147483093"/>
            <ac:graphicFrameMk id="1904" creationId="{0D8238EF-2771-E2F0-1B6A-84AD121421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48.070" v="489754"/>
          <ac:graphicFrameMkLst>
            <pc:docMk/>
            <pc:sldMk cId="80455690" sldId="2147483093"/>
            <ac:graphicFrameMk id="1904" creationId="{8295A91A-E465-9610-163E-1DA9D45D482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00:52.653" v="490792"/>
          <ac:graphicFrameMkLst>
            <pc:docMk/>
            <pc:sldMk cId="80455690" sldId="2147483093"/>
            <ac:graphicFrameMk id="1906" creationId="{98A85CCD-CED3-982D-E33F-2F3C83CB2842}"/>
          </ac:graphicFrameMkLst>
        </pc:graphicFrameChg>
        <pc:graphicFrameChg chg="add mod">
          <ac:chgData name="Yudi Zhu" userId="571e1a55-055f-4c28-8b35-fca6dd1c1369" providerId="ADAL" clId="{75A88773-6EE1-484E-AADE-FE631E01463B}" dt="2025-11-21T10:05:50.530" v="447670"/>
          <ac:graphicFrameMkLst>
            <pc:docMk/>
            <pc:sldMk cId="80455690" sldId="2147483093"/>
            <ac:graphicFrameMk id="1906" creationId="{D75CFCBD-A30F-1253-465A-614F5686FFE7}"/>
          </ac:graphicFrameMkLst>
        </pc:graphicFrameChg>
        <pc:graphicFrameChg chg="add mod">
          <ac:chgData name="Yudi Zhu" userId="571e1a55-055f-4c28-8b35-fca6dd1c1369" providerId="ADAL" clId="{75A88773-6EE1-484E-AADE-FE631E01463B}" dt="2025-11-21T10:11:41.594" v="456881"/>
          <ac:graphicFrameMkLst>
            <pc:docMk/>
            <pc:sldMk cId="80455690" sldId="2147483093"/>
            <ac:graphicFrameMk id="1909" creationId="{19715FB0-1D1D-B92E-0EC9-92F938D451FB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51.805" v="461802"/>
          <ac:graphicFrameMkLst>
            <pc:docMk/>
            <pc:sldMk cId="80455690" sldId="2147483093"/>
            <ac:graphicFrameMk id="1911" creationId="{89A2B04D-225F-57DB-1E8A-6D92CC35ACD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58.017" v="462062"/>
          <ac:graphicFrameMkLst>
            <pc:docMk/>
            <pc:sldMk cId="80455690" sldId="2147483093"/>
            <ac:graphicFrameMk id="1917" creationId="{A6BB549D-D6B4-2736-C79B-34831CE8179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02.389" v="462307"/>
          <ac:graphicFrameMkLst>
            <pc:docMk/>
            <pc:sldMk cId="80455690" sldId="2147483093"/>
            <ac:graphicFrameMk id="1918" creationId="{B00B6134-C2CD-B603-608A-4F16B3FC6DC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5:20.027" v="613536"/>
          <ac:graphicFrameMkLst>
            <pc:docMk/>
            <pc:sldMk cId="80455690" sldId="2147483093"/>
            <ac:graphicFrameMk id="1919" creationId="{679052DD-CF71-D946-1EF0-65274069EA7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05.394" v="598243"/>
          <ac:graphicFrameMkLst>
            <pc:docMk/>
            <pc:sldMk cId="80455690" sldId="2147483093"/>
            <ac:graphicFrameMk id="1920" creationId="{6385FBFF-E444-83EE-BC10-825E4E33EB9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07.735" v="598549"/>
          <ac:graphicFrameMkLst>
            <pc:docMk/>
            <pc:sldMk cId="80455690" sldId="2147483093"/>
            <ac:graphicFrameMk id="1921" creationId="{ECEF9B8B-E4B0-1156-7D5F-ABEE08850CA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09.958" v="598855"/>
          <ac:graphicFrameMkLst>
            <pc:docMk/>
            <pc:sldMk cId="80455690" sldId="2147483093"/>
            <ac:graphicFrameMk id="1922" creationId="{17EA8C8A-99FF-2E5D-79E5-EC92A0041FE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11.265" v="599165"/>
          <ac:graphicFrameMkLst>
            <pc:docMk/>
            <pc:sldMk cId="80455690" sldId="2147483093"/>
            <ac:graphicFrameMk id="1923" creationId="{3A2AE64F-E28C-6125-DFFD-0DEFADA7138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12.268" v="599472"/>
          <ac:graphicFrameMkLst>
            <pc:docMk/>
            <pc:sldMk cId="80455690" sldId="2147483093"/>
            <ac:graphicFrameMk id="1924" creationId="{C75214B9-D2DA-76BB-F8DE-6FCF45EDB44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13.846" v="599845"/>
          <ac:graphicFrameMkLst>
            <pc:docMk/>
            <pc:sldMk cId="80455690" sldId="2147483093"/>
            <ac:graphicFrameMk id="1925" creationId="{8576A526-3240-5A16-C4D6-6E3C556B6E5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16.799" v="600218"/>
          <ac:graphicFrameMkLst>
            <pc:docMk/>
            <pc:sldMk cId="80455690" sldId="2147483093"/>
            <ac:graphicFrameMk id="1926" creationId="{ACD9B60D-732C-1C0B-127D-66E6B908782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21.033" v="600557"/>
          <ac:graphicFrameMkLst>
            <pc:docMk/>
            <pc:sldMk cId="80455690" sldId="2147483093"/>
            <ac:graphicFrameMk id="1927" creationId="{9CFBBE47-6281-ECD7-4F87-7FA4CCD8753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24.476" v="600896"/>
          <ac:graphicFrameMkLst>
            <pc:docMk/>
            <pc:sldMk cId="80455690" sldId="2147483093"/>
            <ac:graphicFrameMk id="1928" creationId="{9264D168-8374-46B4-B423-0EC9FDC467D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28.949" v="601235"/>
          <ac:graphicFrameMkLst>
            <pc:docMk/>
            <pc:sldMk cId="80455690" sldId="2147483093"/>
            <ac:graphicFrameMk id="1929" creationId="{23723BFB-A28E-9B21-9779-D8FC3AC23F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33.091" v="601540"/>
          <ac:graphicFrameMkLst>
            <pc:docMk/>
            <pc:sldMk cId="80455690" sldId="2147483093"/>
            <ac:graphicFrameMk id="1930" creationId="{622184D3-9CF1-8728-F220-E5D4EB650AB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35.413" v="601922"/>
          <ac:graphicFrameMkLst>
            <pc:docMk/>
            <pc:sldMk cId="80455690" sldId="2147483093"/>
            <ac:graphicFrameMk id="1931" creationId="{F17BB5EF-63E8-1A3B-2F22-EBC45DEC856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41.945" v="602228"/>
          <ac:graphicFrameMkLst>
            <pc:docMk/>
            <pc:sldMk cId="80455690" sldId="2147483093"/>
            <ac:graphicFrameMk id="1933" creationId="{4E2D48FD-B85F-E665-A111-F889884C1C1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0:51.378" v="602548"/>
          <ac:graphicFrameMkLst>
            <pc:docMk/>
            <pc:sldMk cId="80455690" sldId="2147483093"/>
            <ac:graphicFrameMk id="1934" creationId="{4F2FCE8D-F343-9BCB-65F1-31E327A4865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1:15.846" v="602884"/>
          <ac:graphicFrameMkLst>
            <pc:docMk/>
            <pc:sldMk cId="80455690" sldId="2147483093"/>
            <ac:graphicFrameMk id="1935" creationId="{C57C475E-642E-A847-B569-CD2EE78F9E4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1:21.645" v="603220"/>
          <ac:graphicFrameMkLst>
            <pc:docMk/>
            <pc:sldMk cId="80455690" sldId="2147483093"/>
            <ac:graphicFrameMk id="1936" creationId="{F80C0541-8D71-0F30-2FCD-BCA41D533AC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1:27.110" v="603556"/>
          <ac:graphicFrameMkLst>
            <pc:docMk/>
            <pc:sldMk cId="80455690" sldId="2147483093"/>
            <ac:graphicFrameMk id="1937" creationId="{A0647F06-EFCA-2E24-606D-B328F788C60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1:36.262" v="603860"/>
          <ac:graphicFrameMkLst>
            <pc:docMk/>
            <pc:sldMk cId="80455690" sldId="2147483093"/>
            <ac:graphicFrameMk id="1938" creationId="{C82F7F84-800F-801F-D34C-F36965C726C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2:15.747" v="604196"/>
          <ac:graphicFrameMkLst>
            <pc:docMk/>
            <pc:sldMk cId="80455690" sldId="2147483093"/>
            <ac:graphicFrameMk id="1939" creationId="{6EF75263-1D7D-9A27-DFF8-BCE6F8C546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1:20.174" v="615810"/>
          <ac:graphicFrameMkLst>
            <pc:docMk/>
            <pc:sldMk cId="80455690" sldId="2147483093"/>
            <ac:graphicFrameMk id="1940" creationId="{2956D29E-D6D3-0F0A-AE35-73C340D3B47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5:07.722" v="612673"/>
          <ac:graphicFrameMkLst>
            <pc:docMk/>
            <pc:sldMk cId="80455690" sldId="2147483093"/>
            <ac:graphicFrameMk id="1948" creationId="{E1A75257-B985-226A-89A8-FF814B24C92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3:45.259" v="605557"/>
          <ac:graphicFrameMkLst>
            <pc:docMk/>
            <pc:sldMk cId="80455690" sldId="2147483093"/>
            <ac:graphicFrameMk id="1950" creationId="{C1A4A597-44F7-4689-5F9A-3D0B7AC808A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2:00.964" v="641879"/>
          <ac:graphicFrameMkLst>
            <pc:docMk/>
            <pc:sldMk cId="80455690" sldId="2147483093"/>
            <ac:graphicFrameMk id="1951" creationId="{3F6C5D25-61DD-6050-04AC-75F4D4474DC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5:12.203" v="613014"/>
          <ac:graphicFrameMkLst>
            <pc:docMk/>
            <pc:sldMk cId="80455690" sldId="2147483093"/>
            <ac:graphicFrameMk id="1955" creationId="{F14EFE86-4CB7-63FE-4688-733683DC42F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18:45.811" v="640246"/>
          <ac:graphicFrameMkLst>
            <pc:docMk/>
            <pc:sldMk cId="80455690" sldId="2147483093"/>
            <ac:graphicFrameMk id="1959" creationId="{5E45307F-06BF-4BE5-75E3-E44AB83C5D6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0:48.854" v="641233"/>
          <ac:graphicFrameMkLst>
            <pc:docMk/>
            <pc:sldMk cId="80455690" sldId="2147483093"/>
            <ac:graphicFrameMk id="1961" creationId="{E8A48E2C-D649-AB80-8AA1-E353AA9DF73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1:25.172" v="616124"/>
          <ac:graphicFrameMkLst>
            <pc:docMk/>
            <pc:sldMk cId="80455690" sldId="2147483093"/>
            <ac:graphicFrameMk id="1964" creationId="{2FA52C82-0224-1BB4-6AB5-51592B5C77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1:42.005" v="616431"/>
          <ac:graphicFrameMkLst>
            <pc:docMk/>
            <pc:sldMk cId="80455690" sldId="2147483093"/>
            <ac:graphicFrameMk id="1965" creationId="{16F82F0A-69F7-5262-0D77-9297E686E9C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1:45.372" v="616736"/>
          <ac:graphicFrameMkLst>
            <pc:docMk/>
            <pc:sldMk cId="80455690" sldId="2147483093"/>
            <ac:graphicFrameMk id="1966" creationId="{2A8B7218-7603-034F-8041-112BF26443E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1:47.648" v="617041"/>
          <ac:graphicFrameMkLst>
            <pc:docMk/>
            <pc:sldMk cId="80455690" sldId="2147483093"/>
            <ac:graphicFrameMk id="1967" creationId="{A4CD4C96-5699-5B87-E4ED-823569689E0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20.056" v="619530"/>
          <ac:graphicFrameMkLst>
            <pc:docMk/>
            <pc:sldMk cId="80455690" sldId="2147483093"/>
            <ac:graphicFrameMk id="1968" creationId="{D7E7FBF9-3461-5368-4037-D4732821DD5C}"/>
          </ac:graphicFrameMkLst>
        </pc:graphicFrameChg>
        <pc:graphicFrameChg chg="add mod">
          <ac:chgData name="Yudi Zhu" userId="571e1a55-055f-4c28-8b35-fca6dd1c1369" providerId="ADAL" clId="{75A88773-6EE1-484E-AADE-FE631E01463B}" dt="2025-11-24T04:12:05.316" v="618122"/>
          <ac:graphicFrameMkLst>
            <pc:docMk/>
            <pc:sldMk cId="80455690" sldId="2147483093"/>
            <ac:graphicFrameMk id="1973" creationId="{43A5FD50-B835-B4E8-0A82-941B49A4A3F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16.134" v="619443"/>
          <ac:graphicFrameMkLst>
            <pc:docMk/>
            <pc:sldMk cId="80455690" sldId="2147483093"/>
            <ac:graphicFrameMk id="1975" creationId="{17B15454-6D42-E374-D97F-58FCD39E69EF}"/>
          </ac:graphicFrameMkLst>
        </pc:graphicFrameChg>
        <pc:graphicFrameChg chg="add mod">
          <ac:chgData name="Yudi Zhu" userId="571e1a55-055f-4c28-8b35-fca6dd1c1369" providerId="ADAL" clId="{75A88773-6EE1-484E-AADE-FE631E01463B}" dt="2025-11-24T04:12:15.478" v="619292"/>
          <ac:graphicFrameMkLst>
            <pc:docMk/>
            <pc:sldMk cId="80455690" sldId="2147483093"/>
            <ac:graphicFrameMk id="1981" creationId="{5064D498-244F-3C54-5DD6-4E9B6A6C7BB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22.939" v="619910"/>
          <ac:graphicFrameMkLst>
            <pc:docMk/>
            <pc:sldMk cId="80455690" sldId="2147483093"/>
            <ac:graphicFrameMk id="1983" creationId="{040C1F9B-367D-0DB2-9EAA-67D1C42CF2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25.279" v="620225"/>
          <ac:graphicFrameMkLst>
            <pc:docMk/>
            <pc:sldMk cId="80455690" sldId="2147483093"/>
            <ac:graphicFrameMk id="1986" creationId="{23E59AA7-8E1D-322F-BF48-C6BC43FA03A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27.874" v="620532"/>
          <ac:graphicFrameMkLst>
            <pc:docMk/>
            <pc:sldMk cId="80455690" sldId="2147483093"/>
            <ac:graphicFrameMk id="1987" creationId="{C4447762-3911-90A4-543D-97E6CD552C4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4:14.408" v="624000"/>
          <ac:graphicFrameMkLst>
            <pc:docMk/>
            <pc:sldMk cId="80455690" sldId="2147483093"/>
            <ac:graphicFrameMk id="1988" creationId="{17763F8A-C2E6-6589-808F-B67C7A29922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2:57.117" v="621369"/>
          <ac:graphicFrameMkLst>
            <pc:docMk/>
            <pc:sldMk cId="80455690" sldId="2147483093"/>
            <ac:graphicFrameMk id="1991" creationId="{4A857042-0DB1-4B3A-22E0-7C0D979952A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3:30.998" v="622325"/>
          <ac:graphicFrameMkLst>
            <pc:docMk/>
            <pc:sldMk cId="80455690" sldId="2147483093"/>
            <ac:graphicFrameMk id="1992" creationId="{1DDFE831-3B7A-57BC-30BB-9BEC1BCE67A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18.243" v="637166"/>
          <ac:graphicFrameMkLst>
            <pc:docMk/>
            <pc:sldMk cId="80455690" sldId="2147483093"/>
            <ac:graphicFrameMk id="1993" creationId="{AB41FC48-6CB1-E1AD-5842-F17A0BC89C2E}"/>
          </ac:graphicFrameMkLst>
        </pc:graphicFrameChg>
        <pc:graphicFrameChg chg="add mod">
          <ac:chgData name="Yudi Zhu" userId="571e1a55-055f-4c28-8b35-fca6dd1c1369" providerId="ADAL" clId="{75A88773-6EE1-484E-AADE-FE631E01463B}" dt="2025-11-24T04:14:11.849" v="623913"/>
          <ac:graphicFrameMkLst>
            <pc:docMk/>
            <pc:sldMk cId="80455690" sldId="2147483093"/>
            <ac:graphicFrameMk id="1994" creationId="{CE026554-5B34-C634-4537-066DACAAE1A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4:35.108" v="624298"/>
          <ac:graphicFrameMkLst>
            <pc:docMk/>
            <pc:sldMk cId="80455690" sldId="2147483093"/>
            <ac:graphicFrameMk id="1996" creationId="{564D6DEE-E70C-E07F-30F4-3DFA8B3511D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4:47.473" v="625481"/>
          <ac:graphicFrameMkLst>
            <pc:docMk/>
            <pc:sldMk cId="80455690" sldId="2147483093"/>
            <ac:graphicFrameMk id="1997" creationId="{E5A59D2B-55A8-99CE-67E2-EF04F9A63BD4}"/>
          </ac:graphicFrameMkLst>
        </pc:graphicFrameChg>
        <pc:graphicFrameChg chg="add mod">
          <ac:chgData name="Yudi Zhu" userId="571e1a55-055f-4c28-8b35-fca6dd1c1369" providerId="ADAL" clId="{75A88773-6EE1-484E-AADE-FE631E01463B}" dt="2025-11-24T04:14:44.293" v="625410"/>
          <ac:graphicFrameMkLst>
            <pc:docMk/>
            <pc:sldMk cId="80455690" sldId="2147483093"/>
            <ac:graphicFrameMk id="2003" creationId="{26F5979F-F794-1E43-D054-F95E29FD801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4:50.108" v="626022"/>
          <ac:graphicFrameMkLst>
            <pc:docMk/>
            <pc:sldMk cId="80455690" sldId="2147483093"/>
            <ac:graphicFrameMk id="2005" creationId="{7783D815-3129-CF41-4D5A-00362187D8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4:54.813" v="626351"/>
          <ac:graphicFrameMkLst>
            <pc:docMk/>
            <pc:sldMk cId="80455690" sldId="2147483093"/>
            <ac:graphicFrameMk id="2011" creationId="{B6353B2A-1AC9-B1B9-3D80-A7F2AD4D23B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03.277" v="626713"/>
          <ac:graphicFrameMkLst>
            <pc:docMk/>
            <pc:sldMk cId="80455690" sldId="2147483093"/>
            <ac:graphicFrameMk id="2013" creationId="{E94E9100-0FCE-74D8-3480-E5D30A25013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46.194" v="628420"/>
          <ac:graphicFrameMkLst>
            <pc:docMk/>
            <pc:sldMk cId="80455690" sldId="2147483093"/>
            <ac:graphicFrameMk id="2015" creationId="{D9A6DF8C-6DDD-DCB2-4954-5699070A1CD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49.146" v="628714"/>
          <ac:graphicFrameMkLst>
            <pc:docMk/>
            <pc:sldMk cId="80455690" sldId="2147483093"/>
            <ac:graphicFrameMk id="2016" creationId="{99C97EF5-9B02-0C7F-5C12-16959D013F0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6:56.028" v="630748"/>
          <ac:graphicFrameMkLst>
            <pc:docMk/>
            <pc:sldMk cId="80455690" sldId="2147483093"/>
            <ac:graphicFrameMk id="2017" creationId="{92C1DE50-8237-D758-3992-58DE3224448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6:50.459" v="630635"/>
          <ac:graphicFrameMkLst>
            <pc:docMk/>
            <pc:sldMk cId="80455690" sldId="2147483093"/>
            <ac:graphicFrameMk id="2018" creationId="{051D0593-DB90-23EB-DF8E-3A2F46FF975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6:49.790" v="630513" actId="1076"/>
          <ac:graphicFrameMkLst>
            <pc:docMk/>
            <pc:sldMk cId="80455690" sldId="2147483093"/>
            <ac:graphicFrameMk id="2019" creationId="{26147148-AB1E-B8E7-8E22-4FDD1AFF43B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6:48.958" v="630401" actId="1076"/>
          <ac:graphicFrameMkLst>
            <pc:docMk/>
            <pc:sldMk cId="80455690" sldId="2147483093"/>
            <ac:graphicFrameMk id="2020" creationId="{BF06031A-D198-BA50-7124-E35AE5EBE6E4}"/>
          </ac:graphicFrameMkLst>
        </pc:graphicFrameChg>
        <pc:graphicFrameChg chg="add mod">
          <ac:chgData name="Yudi Zhu" userId="571e1a55-055f-4c28-8b35-fca6dd1c1369" providerId="ADAL" clId="{75A88773-6EE1-484E-AADE-FE631E01463B}" dt="2025-11-24T04:16:48.302" v="630289" actId="1076"/>
          <ac:graphicFrameMkLst>
            <pc:docMk/>
            <pc:sldMk cId="80455690" sldId="2147483093"/>
            <ac:graphicFrameMk id="2021" creationId="{631B3B0A-02AA-3AA9-B18D-0986AEAA2C8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04.988" v="631040"/>
          <ac:graphicFrameMkLst>
            <pc:docMk/>
            <pc:sldMk cId="80455690" sldId="2147483093"/>
            <ac:graphicFrameMk id="2023" creationId="{6A763D8A-EF1A-2953-6115-B7B40A7CF4F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11.932" v="631410"/>
          <ac:graphicFrameMkLst>
            <pc:docMk/>
            <pc:sldMk cId="80455690" sldId="2147483093"/>
            <ac:graphicFrameMk id="2024" creationId="{3B6C5FC9-26FC-EE97-FBFC-E7D1E1A3EED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43.091" v="633006"/>
          <ac:graphicFrameMkLst>
            <pc:docMk/>
            <pc:sldMk cId="80455690" sldId="2147483093"/>
            <ac:graphicFrameMk id="2028" creationId="{5DE42A44-EEB5-D0DF-62F3-F0CB000957A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31.157" v="632907" actId="1076"/>
          <ac:graphicFrameMkLst>
            <pc:docMk/>
            <pc:sldMk cId="80455690" sldId="2147483093"/>
            <ac:graphicFrameMk id="2029" creationId="{ACB62CB8-F754-8A0A-CDF5-753ADE5F864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29.941" v="632800"/>
          <ac:graphicFrameMkLst>
            <pc:docMk/>
            <pc:sldMk cId="80455690" sldId="2147483093"/>
            <ac:graphicFrameMk id="2030" creationId="{E647ED19-62EE-345C-6663-7B9472B3BA19}"/>
          </ac:graphicFrameMkLst>
        </pc:graphicFrameChg>
        <pc:graphicFrameChg chg="add mod">
          <ac:chgData name="Yudi Zhu" userId="571e1a55-055f-4c28-8b35-fca6dd1c1369" providerId="ADAL" clId="{75A88773-6EE1-484E-AADE-FE631E01463B}" dt="2025-11-24T04:17:29.218" v="632682" actId="1076"/>
          <ac:graphicFrameMkLst>
            <pc:docMk/>
            <pc:sldMk cId="80455690" sldId="2147483093"/>
            <ac:graphicFrameMk id="2031" creationId="{5BC50A7E-471A-6FAD-54A8-4243EB2640C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7:56.508" v="633302"/>
          <ac:graphicFrameMkLst>
            <pc:docMk/>
            <pc:sldMk cId="80455690" sldId="2147483093"/>
            <ac:graphicFrameMk id="2033" creationId="{95DA1531-C9D8-A75E-93C0-91DD8AE4354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8:03.871" v="633596"/>
          <ac:graphicFrameMkLst>
            <pc:docMk/>
            <pc:sldMk cId="80455690" sldId="2147483093"/>
            <ac:graphicFrameMk id="2034" creationId="{AA08B134-5A5E-FAC1-2708-0FC681F693BB}"/>
          </ac:graphicFrameMkLst>
        </pc:graphicFrameChg>
        <pc:graphicFrameChg chg="add mod">
          <ac:chgData name="Yudi Zhu" userId="571e1a55-055f-4c28-8b35-fca6dd1c1369" providerId="ADAL" clId="{75A88773-6EE1-484E-AADE-FE631E01463B}" dt="2025-11-25T10:14:15.621" v="658353"/>
          <ac:graphicFrameMkLst>
            <pc:docMk/>
            <pc:sldMk cId="80455690" sldId="2147483093"/>
            <ac:graphicFrameMk id="2035" creationId="{0E196CA3-0CC6-6288-BC09-465FAA5A4E7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15.450" v="636948"/>
          <ac:graphicFrameMkLst>
            <pc:docMk/>
            <pc:sldMk cId="80455690" sldId="2147483093"/>
            <ac:graphicFrameMk id="2037" creationId="{3A6B28FF-3CAA-1525-EB28-923927FB0BF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14.233" v="636763"/>
          <ac:graphicFrameMkLst>
            <pc:docMk/>
            <pc:sldMk cId="80455690" sldId="2147483093"/>
            <ac:graphicFrameMk id="2038" creationId="{9FA1C069-E310-0AE2-D975-9C01F5D56D18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13.665" v="636646"/>
          <ac:graphicFrameMkLst>
            <pc:docMk/>
            <pc:sldMk cId="80455690" sldId="2147483093"/>
            <ac:graphicFrameMk id="2042" creationId="{50845DF9-8C5B-D365-4AAE-3B7AA15D751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18.702" v="637580"/>
          <ac:graphicFrameMkLst>
            <pc:docMk/>
            <pc:sldMk cId="80455690" sldId="2147483093"/>
            <ac:graphicFrameMk id="2047" creationId="{C1A66124-0FC2-42D8-DB1A-39B79AB0EA1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37.645" v="638547"/>
          <ac:graphicFrameMkLst>
            <pc:docMk/>
            <pc:sldMk cId="80455690" sldId="2147483093"/>
            <ac:graphicFrameMk id="2052" creationId="{32E1EF29-2497-B01E-994A-4E2166FE4A2E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32.492" v="638420"/>
          <ac:graphicFrameMkLst>
            <pc:docMk/>
            <pc:sldMk cId="80455690" sldId="2147483093"/>
            <ac:graphicFrameMk id="2056" creationId="{953847BE-B539-5FCD-C325-0E446E60A5D2}"/>
          </ac:graphicFrameMkLst>
        </pc:graphicFrameChg>
        <pc:graphicFrameChg chg="add mod">
          <ac:chgData name="Yudi Zhu" userId="571e1a55-055f-4c28-8b35-fca6dd1c1369" providerId="ADAL" clId="{75A88773-6EE1-484E-AADE-FE631E01463B}" dt="2025-11-25T10:14:15.516" v="658117"/>
          <ac:graphicFrameMkLst>
            <pc:docMk/>
            <pc:sldMk cId="80455690" sldId="2147483093"/>
            <ac:graphicFrameMk id="2058" creationId="{2033C248-D87E-636A-5623-FB3463F1424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18:52.467" v="640628"/>
          <ac:graphicFrameMkLst>
            <pc:docMk/>
            <pc:sldMk cId="80455690" sldId="2147483093"/>
            <ac:graphicFrameMk id="2066" creationId="{52E5F16D-2CCC-2F99-2319-F00E125655CA}"/>
          </ac:graphicFrameMkLst>
        </pc:graphicFrameChg>
        <pc:graphicFrameChg chg="add mod">
          <ac:chgData name="Yudi Zhu" userId="571e1a55-055f-4c28-8b35-fca6dd1c1369" providerId="ADAL" clId="{75A88773-6EE1-484E-AADE-FE631E01463B}" dt="2025-11-25T10:14:15.605" v="658316"/>
          <ac:graphicFrameMkLst>
            <pc:docMk/>
            <pc:sldMk cId="80455690" sldId="2147483093"/>
            <ac:graphicFrameMk id="2068" creationId="{EC480910-6387-3F16-6F43-2ED7976114A1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14:15.550" v="658163"/>
          <ac:graphicFrameMkLst>
            <pc:docMk/>
            <pc:sldMk cId="80455690" sldId="2147483093"/>
            <ac:graphicFrameMk id="2072" creationId="{71071794-EF62-02C5-E864-46A37481E12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2:34.394" v="642187"/>
          <ac:graphicFrameMkLst>
            <pc:docMk/>
            <pc:sldMk cId="80455690" sldId="2147483093"/>
            <ac:graphicFrameMk id="2076" creationId="{274AD4D8-378A-84B2-9CB2-9341A8470DD4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14:15.453" v="658033"/>
          <ac:graphicFrameMkLst>
            <pc:docMk/>
            <pc:sldMk cId="80455690" sldId="2147483093"/>
            <ac:graphicFrameMk id="2077" creationId="{9E0FE605-701E-EBFA-AE27-A85EC056B80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5:50.787" v="646401"/>
          <ac:graphicFrameMkLst>
            <pc:docMk/>
            <pc:sldMk cId="80455690" sldId="2147483093"/>
            <ac:graphicFrameMk id="2079" creationId="{D62FB2D0-2B92-034E-DD3B-29D536E0ECB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5:49.575" v="645946" actId="1076"/>
          <ac:graphicFrameMkLst>
            <pc:docMk/>
            <pc:sldMk cId="80455690" sldId="2147483093"/>
            <ac:graphicFrameMk id="2092" creationId="{F61C5EC0-772C-E7F3-7C32-5877E939A24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5:48.474" v="645789"/>
          <ac:graphicFrameMkLst>
            <pc:docMk/>
            <pc:sldMk cId="80455690" sldId="2147483093"/>
            <ac:graphicFrameMk id="2094" creationId="{9BD08EE9-9643-DAAE-9250-ED9F4894CDC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5:47.133" v="645594"/>
          <ac:graphicFrameMkLst>
            <pc:docMk/>
            <pc:sldMk cId="80455690" sldId="2147483093"/>
            <ac:graphicFrameMk id="2095" creationId="{C1421760-D8DD-E15E-80EF-30D43531A47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5:46.048" v="645459" actId="1076"/>
          <ac:graphicFrameMkLst>
            <pc:docMk/>
            <pc:sldMk cId="80455690" sldId="2147483093"/>
            <ac:graphicFrameMk id="2096" creationId="{3B11FDA0-C85F-671A-846D-683440B6A562}"/>
          </ac:graphicFrameMkLst>
        </pc:graphicFrameChg>
        <pc:graphicFrameChg chg="add mod">
          <ac:chgData name="Yudi Zhu" userId="571e1a55-055f-4c28-8b35-fca6dd1c1369" providerId="ADAL" clId="{75A88773-6EE1-484E-AADE-FE631E01463B}" dt="2025-11-24T05:25:45.075" v="645326" actId="1076"/>
          <ac:graphicFrameMkLst>
            <pc:docMk/>
            <pc:sldMk cId="80455690" sldId="2147483093"/>
            <ac:graphicFrameMk id="2097" creationId="{A9535233-0197-D82B-0306-8CE4D5307F2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11.743" v="647034"/>
          <ac:graphicFrameMkLst>
            <pc:docMk/>
            <pc:sldMk cId="80455690" sldId="2147483093"/>
            <ac:graphicFrameMk id="2104" creationId="{7F95C68F-817B-E5DC-79B9-32B67B0479E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22.744" v="647538"/>
          <ac:graphicFrameMkLst>
            <pc:docMk/>
            <pc:sldMk cId="80455690" sldId="2147483093"/>
            <ac:graphicFrameMk id="2105" creationId="{0DF33842-AA13-CC58-DC70-8A943AE11B6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29.458" v="647937"/>
          <ac:graphicFrameMkLst>
            <pc:docMk/>
            <pc:sldMk cId="80455690" sldId="2147483093"/>
            <ac:graphicFrameMk id="2111" creationId="{9D6AB215-0CDB-BBE2-B072-0CA1F1C803D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30.476" v="648300"/>
          <ac:graphicFrameMkLst>
            <pc:docMk/>
            <pc:sldMk cId="80455690" sldId="2147483093"/>
            <ac:graphicFrameMk id="2116" creationId="{EB580E09-AD52-059E-11DA-F16F5DE08E6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33.015" v="648854"/>
          <ac:graphicFrameMkLst>
            <pc:docMk/>
            <pc:sldMk cId="80455690" sldId="2147483093"/>
            <ac:graphicFrameMk id="2119" creationId="{F355C522-6D11-58A3-7E37-600CDAAE774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33.458" v="649219"/>
          <ac:graphicFrameMkLst>
            <pc:docMk/>
            <pc:sldMk cId="80455690" sldId="2147483093"/>
            <ac:graphicFrameMk id="2124" creationId="{E0305C13-9A8B-801E-8B2D-85DDBF086BB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36.029" v="649651"/>
          <ac:graphicFrameMkLst>
            <pc:docMk/>
            <pc:sldMk cId="80455690" sldId="2147483093"/>
            <ac:graphicFrameMk id="2127" creationId="{B6B2FCB6-E271-8920-67DD-4928A355758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38.613" v="650075"/>
          <ac:graphicFrameMkLst>
            <pc:docMk/>
            <pc:sldMk cId="80455690" sldId="2147483093"/>
            <ac:graphicFrameMk id="2132" creationId="{3289DA01-23D7-0ACA-138B-A305BC65670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51.215" v="650458"/>
          <ac:graphicFrameMkLst>
            <pc:docMk/>
            <pc:sldMk cId="80455690" sldId="2147483093"/>
            <ac:graphicFrameMk id="2135" creationId="{E9F9E591-BCED-5D34-3DEF-BF9B393F5C3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7:53.481" v="650788"/>
          <ac:graphicFrameMkLst>
            <pc:docMk/>
            <pc:sldMk cId="80455690" sldId="2147483093"/>
            <ac:graphicFrameMk id="2136" creationId="{CC451B91-BB9A-9B95-2822-19613E8B15B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2.928" v="651731"/>
          <ac:graphicFrameMkLst>
            <pc:docMk/>
            <pc:sldMk cId="80455690" sldId="2147483093"/>
            <ac:graphicFrameMk id="2143" creationId="{C5D20014-2213-13DB-0473-4F694605CE8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4.573" v="652253"/>
          <ac:graphicFrameMkLst>
            <pc:docMk/>
            <pc:sldMk cId="80455690" sldId="2147483093"/>
            <ac:graphicFrameMk id="2152" creationId="{F8E8A6D8-168D-3CF1-04FD-0E0B4448239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5.545" v="652618"/>
          <ac:graphicFrameMkLst>
            <pc:docMk/>
            <pc:sldMk cId="80455690" sldId="2147483093"/>
            <ac:graphicFrameMk id="2159" creationId="{32504A6E-C90F-A9A0-3825-56E38C2EE91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6.976" v="653053"/>
          <ac:graphicFrameMkLst>
            <pc:docMk/>
            <pc:sldMk cId="80455690" sldId="2147483093"/>
            <ac:graphicFrameMk id="2162" creationId="{071B2596-6A98-1E5E-970C-A96225DC308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9.140" v="653406"/>
          <ac:graphicFrameMkLst>
            <pc:docMk/>
            <pc:sldMk cId="80455690" sldId="2147483093"/>
            <ac:graphicFrameMk id="2167" creationId="{516D7E65-8168-50BC-DF74-DA2677F1AC5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19.744" v="653774"/>
          <ac:graphicFrameMkLst>
            <pc:docMk/>
            <pc:sldMk cId="80455690" sldId="2147483093"/>
            <ac:graphicFrameMk id="2170" creationId="{B872E3D3-78B6-721B-44BF-C05617A178C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29.807" v="654140"/>
          <ac:graphicFrameMkLst>
            <pc:docMk/>
            <pc:sldMk cId="80455690" sldId="2147483093"/>
            <ac:graphicFrameMk id="2171" creationId="{089BC6FD-D2E6-CF69-EB6E-A386BBCB9BF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32.041" v="654478"/>
          <ac:graphicFrameMkLst>
            <pc:docMk/>
            <pc:sldMk cId="80455690" sldId="2147483093"/>
            <ac:graphicFrameMk id="2172" creationId="{103038CE-6331-70EF-5720-1C2193449B9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33.760" v="654816"/>
          <ac:graphicFrameMkLst>
            <pc:docMk/>
            <pc:sldMk cId="80455690" sldId="2147483093"/>
            <ac:graphicFrameMk id="2173" creationId="{AD510BC5-89D7-4484-8D3E-802DC2BA0B9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5:28:36.090" v="655140"/>
          <ac:graphicFrameMkLst>
            <pc:docMk/>
            <pc:sldMk cId="80455690" sldId="2147483093"/>
            <ac:graphicFrameMk id="2174" creationId="{ECA18E44-5218-532C-450E-073149DACD1B}"/>
          </ac:graphicFrameMkLst>
        </pc:graphicFrameChg>
        <pc:cxnChg chg="add del mod ord">
          <ac:chgData name="Yudi Zhu" userId="571e1a55-055f-4c28-8b35-fca6dd1c1369" providerId="ADAL" clId="{75A88773-6EE1-484E-AADE-FE631E01463B}" dt="2025-11-21T10:12:03.157" v="458416"/>
          <ac:cxnSpMkLst>
            <pc:docMk/>
            <pc:sldMk cId="80455690" sldId="2147483093"/>
            <ac:cxnSpMk id="4" creationId="{99B0713B-9E8D-0C65-E6A8-DC898B3FF396}"/>
          </ac:cxnSpMkLst>
        </pc:cxnChg>
        <pc:cxnChg chg="add del mod ord">
          <ac:chgData name="Yudi Zhu" userId="571e1a55-055f-4c28-8b35-fca6dd1c1369" providerId="ADAL" clId="{75A88773-6EE1-484E-AADE-FE631E01463B}" dt="2025-11-21T10:12:03.157" v="458414"/>
          <ac:cxnSpMkLst>
            <pc:docMk/>
            <pc:sldMk cId="80455690" sldId="2147483093"/>
            <ac:cxnSpMk id="5" creationId="{4852D6DB-6CD8-4A91-F25B-60352E200BF4}"/>
          </ac:cxnSpMkLst>
        </pc:cxnChg>
        <pc:cxnChg chg="add del mod ord">
          <ac:chgData name="Yudi Zhu" userId="571e1a55-055f-4c28-8b35-fca6dd1c1369" providerId="ADAL" clId="{75A88773-6EE1-484E-AADE-FE631E01463B}" dt="2025-11-24T03:26:05.273" v="553551"/>
          <ac:cxnSpMkLst>
            <pc:docMk/>
            <pc:sldMk cId="80455690" sldId="2147483093"/>
            <ac:cxnSpMk id="6" creationId="{C0EBEEFF-DFF0-98FB-410A-A37D6AD1E466}"/>
          </ac:cxnSpMkLst>
        </pc:cxnChg>
        <pc:cxnChg chg="add mod ord">
          <ac:chgData name="Yudi Zhu" userId="571e1a55-055f-4c28-8b35-fca6dd1c1369" providerId="ADAL" clId="{75A88773-6EE1-484E-AADE-FE631E01463B}" dt="2025-11-25T10:14:15.573" v="658217"/>
          <ac:cxnSpMkLst>
            <pc:docMk/>
            <pc:sldMk cId="80455690" sldId="2147483093"/>
            <ac:cxnSpMk id="7" creationId="{CBC9BAD9-0F24-9106-3CAE-E7247D7A0B79}"/>
          </ac:cxnSpMkLst>
        </pc:cxnChg>
        <pc:cxnChg chg="add del mod ord">
          <ac:chgData name="Yudi Zhu" userId="571e1a55-055f-4c28-8b35-fca6dd1c1369" providerId="ADAL" clId="{75A88773-6EE1-484E-AADE-FE631E01463B}" dt="2025-11-21T10:12:03.157" v="458412"/>
          <ac:cxnSpMkLst>
            <pc:docMk/>
            <pc:sldMk cId="80455690" sldId="2147483093"/>
            <ac:cxnSpMk id="8" creationId="{6241BD07-0BE6-BE0C-2589-7A86ED934237}"/>
          </ac:cxnSpMkLst>
        </pc:cxnChg>
        <pc:cxnChg chg="add del mod ord">
          <ac:chgData name="Yudi Zhu" userId="571e1a55-055f-4c28-8b35-fca6dd1c1369" providerId="ADAL" clId="{75A88773-6EE1-484E-AADE-FE631E01463B}" dt="2025-11-21T10:12:03.157" v="458410"/>
          <ac:cxnSpMkLst>
            <pc:docMk/>
            <pc:sldMk cId="80455690" sldId="2147483093"/>
            <ac:cxnSpMk id="9" creationId="{3CBE1CF3-9CFD-4A81-CF45-CEF69E783730}"/>
          </ac:cxnSpMkLst>
        </pc:cxnChg>
        <pc:cxnChg chg="add del mod ord">
          <ac:chgData name="Yudi Zhu" userId="571e1a55-055f-4c28-8b35-fca6dd1c1369" providerId="ADAL" clId="{75A88773-6EE1-484E-AADE-FE631E01463B}" dt="2025-11-21T10:12:03.157" v="458408"/>
          <ac:cxnSpMkLst>
            <pc:docMk/>
            <pc:sldMk cId="80455690" sldId="2147483093"/>
            <ac:cxnSpMk id="10" creationId="{D5B32C6B-D770-1FD6-01F8-9E50F0954633}"/>
          </ac:cxnSpMkLst>
        </pc:cxnChg>
        <pc:cxnChg chg="add del mod ord">
          <ac:chgData name="Yudi Zhu" userId="571e1a55-055f-4c28-8b35-fca6dd1c1369" providerId="ADAL" clId="{75A88773-6EE1-484E-AADE-FE631E01463B}" dt="2025-11-24T02:59:10.563" v="485488"/>
          <ac:cxnSpMkLst>
            <pc:docMk/>
            <pc:sldMk cId="80455690" sldId="2147483093"/>
            <ac:cxnSpMk id="10" creationId="{D9379A00-EE50-7ABC-B362-A93D5D176751}"/>
          </ac:cxnSpMkLst>
        </pc:cxnChg>
        <pc:cxnChg chg="add del mod ord">
          <ac:chgData name="Yudi Zhu" userId="571e1a55-055f-4c28-8b35-fca6dd1c1369" providerId="ADAL" clId="{75A88773-6EE1-484E-AADE-FE631E01463B}" dt="2025-11-21T10:12:03.157" v="458406"/>
          <ac:cxnSpMkLst>
            <pc:docMk/>
            <pc:sldMk cId="80455690" sldId="2147483093"/>
            <ac:cxnSpMk id="12" creationId="{4357DB57-C36A-F36D-1B2F-1C4C24501A58}"/>
          </ac:cxnSpMkLst>
        </pc:cxnChg>
        <pc:cxnChg chg="add del mod ord">
          <ac:chgData name="Yudi Zhu" userId="571e1a55-055f-4c28-8b35-fca6dd1c1369" providerId="ADAL" clId="{75A88773-6EE1-484E-AADE-FE631E01463B}" dt="2025-11-24T02:59:10.559" v="485486"/>
          <ac:cxnSpMkLst>
            <pc:docMk/>
            <pc:sldMk cId="80455690" sldId="2147483093"/>
            <ac:cxnSpMk id="12" creationId="{7708FFA5-3A2B-DA15-FAC3-B963B6B4FC9E}"/>
          </ac:cxnSpMkLst>
        </pc:cxnChg>
        <pc:cxnChg chg="add del mod ord">
          <ac:chgData name="Yudi Zhu" userId="571e1a55-055f-4c28-8b35-fca6dd1c1369" providerId="ADAL" clId="{75A88773-6EE1-484E-AADE-FE631E01463B}" dt="2025-11-21T10:12:03.157" v="458404"/>
          <ac:cxnSpMkLst>
            <pc:docMk/>
            <pc:sldMk cId="80455690" sldId="2147483093"/>
            <ac:cxnSpMk id="13" creationId="{5623D238-BB73-68B9-7EE8-35A69B575749}"/>
          </ac:cxnSpMkLst>
        </pc:cxnChg>
        <pc:cxnChg chg="add del mod ord">
          <ac:chgData name="Yudi Zhu" userId="571e1a55-055f-4c28-8b35-fca6dd1c1369" providerId="ADAL" clId="{75A88773-6EE1-484E-AADE-FE631E01463B}" dt="2025-11-21T09:54:42.326" v="425578"/>
          <ac:cxnSpMkLst>
            <pc:docMk/>
            <pc:sldMk cId="80455690" sldId="2147483093"/>
            <ac:cxnSpMk id="14" creationId="{76647564-AC80-B050-3744-6A8A61747237}"/>
          </ac:cxnSpMkLst>
        </pc:cxnChg>
        <pc:cxnChg chg="add del mod ord">
          <ac:chgData name="Yudi Zhu" userId="571e1a55-055f-4c28-8b35-fca6dd1c1369" providerId="ADAL" clId="{75A88773-6EE1-484E-AADE-FE631E01463B}" dt="2025-11-21T10:12:03.173" v="458422"/>
          <ac:cxnSpMkLst>
            <pc:docMk/>
            <pc:sldMk cId="80455690" sldId="2147483093"/>
            <ac:cxnSpMk id="33" creationId="{7AAA0163-D737-220F-7DEE-BF3C596482FB}"/>
          </ac:cxnSpMkLst>
        </pc:cxnChg>
        <pc:cxnChg chg="add del mod ord">
          <ac:chgData name="Yudi Zhu" userId="571e1a55-055f-4c28-8b35-fca6dd1c1369" providerId="ADAL" clId="{75A88773-6EE1-484E-AADE-FE631E01463B}" dt="2025-11-21T10:12:03.157" v="458420"/>
          <ac:cxnSpMkLst>
            <pc:docMk/>
            <pc:sldMk cId="80455690" sldId="2147483093"/>
            <ac:cxnSpMk id="34" creationId="{BC1CD5DF-7D8C-D66B-3E9C-53A27C768BAE}"/>
          </ac:cxnSpMkLst>
        </pc:cxnChg>
        <pc:cxnChg chg="del mod ord">
          <ac:chgData name="Yudi Zhu" userId="571e1a55-055f-4c28-8b35-fca6dd1c1369" providerId="ADAL" clId="{75A88773-6EE1-484E-AADE-FE631E01463B}" dt="2025-11-24T03:26:05.256" v="553503"/>
          <ac:cxnSpMkLst>
            <pc:docMk/>
            <pc:sldMk cId="80455690" sldId="2147483093"/>
            <ac:cxnSpMk id="35" creationId="{E6530368-09A5-8CD9-EC3E-C6B7643D79D6}"/>
          </ac:cxnSpMkLst>
        </pc:cxnChg>
        <pc:cxnChg chg="add del mod ord">
          <ac:chgData name="Yudi Zhu" userId="571e1a55-055f-4c28-8b35-fca6dd1c1369" providerId="ADAL" clId="{75A88773-6EE1-484E-AADE-FE631E01463B}" dt="2025-11-21T10:12:03.157" v="458418"/>
          <ac:cxnSpMkLst>
            <pc:docMk/>
            <pc:sldMk cId="80455690" sldId="2147483093"/>
            <ac:cxnSpMk id="36" creationId="{7D0727A7-F83D-726E-C6F0-3BA3C71AF9E0}"/>
          </ac:cxnSpMkLst>
        </pc:cxnChg>
        <pc:cxnChg chg="add del mod ord">
          <ac:chgData name="Yudi Zhu" userId="571e1a55-055f-4c28-8b35-fca6dd1c1369" providerId="ADAL" clId="{75A88773-6EE1-484E-AADE-FE631E01463B}" dt="2025-11-24T03:26:05.242" v="553491"/>
          <ac:cxnSpMkLst>
            <pc:docMk/>
            <pc:sldMk cId="80455690" sldId="2147483093"/>
            <ac:cxnSpMk id="42" creationId="{958A415F-AB97-A16D-12FC-3245B7857B55}"/>
          </ac:cxnSpMkLst>
        </pc:cxnChg>
        <pc:cxnChg chg="add mod ord">
          <ac:chgData name="Yudi Zhu" userId="571e1a55-055f-4c28-8b35-fca6dd1c1369" providerId="ADAL" clId="{75A88773-6EE1-484E-AADE-FE631E01463B}" dt="2025-11-25T10:14:15.573" v="658229"/>
          <ac:cxnSpMkLst>
            <pc:docMk/>
            <pc:sldMk cId="80455690" sldId="2147483093"/>
            <ac:cxnSpMk id="57" creationId="{B8A70BC4-880F-79F8-BF39-DEB7ECF3AAAF}"/>
          </ac:cxnSpMkLst>
        </pc:cxnChg>
        <pc:cxnChg chg="add mod ord">
          <ac:chgData name="Yudi Zhu" userId="571e1a55-055f-4c28-8b35-fca6dd1c1369" providerId="ADAL" clId="{75A88773-6EE1-484E-AADE-FE631E01463B}" dt="2025-11-25T10:14:15.573" v="658233"/>
          <ac:cxnSpMkLst>
            <pc:docMk/>
            <pc:sldMk cId="80455690" sldId="2147483093"/>
            <ac:cxnSpMk id="58" creationId="{544E8E06-7A8F-3954-A4AA-EE20FECFFF3B}"/>
          </ac:cxnSpMkLst>
        </pc:cxnChg>
        <pc:cxnChg chg="add mod ord">
          <ac:chgData name="Yudi Zhu" userId="571e1a55-055f-4c28-8b35-fca6dd1c1369" providerId="ADAL" clId="{75A88773-6EE1-484E-AADE-FE631E01463B}" dt="2025-11-25T10:14:15.573" v="658239"/>
          <ac:cxnSpMkLst>
            <pc:docMk/>
            <pc:sldMk cId="80455690" sldId="2147483093"/>
            <ac:cxnSpMk id="59" creationId="{F626354A-02F7-D8D1-C43E-6F2AA2506D97}"/>
          </ac:cxnSpMkLst>
        </pc:cxnChg>
        <pc:cxnChg chg="add mod ord">
          <ac:chgData name="Yudi Zhu" userId="571e1a55-055f-4c28-8b35-fca6dd1c1369" providerId="ADAL" clId="{75A88773-6EE1-484E-AADE-FE631E01463B}" dt="2025-11-25T10:14:15.573" v="658243"/>
          <ac:cxnSpMkLst>
            <pc:docMk/>
            <pc:sldMk cId="80455690" sldId="2147483093"/>
            <ac:cxnSpMk id="60" creationId="{920FA605-E38D-0766-1BEA-D0809D4F30B1}"/>
          </ac:cxnSpMkLst>
        </pc:cxnChg>
        <pc:cxnChg chg="add del mod ord">
          <ac:chgData name="Yudi Zhu" userId="571e1a55-055f-4c28-8b35-fca6dd1c1369" providerId="ADAL" clId="{75A88773-6EE1-484E-AADE-FE631E01463B}" dt="2025-11-25T10:14:15.573" v="658247"/>
          <ac:cxnSpMkLst>
            <pc:docMk/>
            <pc:sldMk cId="80455690" sldId="2147483093"/>
            <ac:cxnSpMk id="61" creationId="{5460B9C1-B478-B2EA-64C1-1F3A3ED7DB5F}"/>
          </ac:cxnSpMkLst>
        </pc:cxnChg>
        <pc:cxnChg chg="add mod ord">
          <ac:chgData name="Yudi Zhu" userId="571e1a55-055f-4c28-8b35-fca6dd1c1369" providerId="ADAL" clId="{75A88773-6EE1-484E-AADE-FE631E01463B}" dt="2025-11-25T10:14:15.589" v="658255"/>
          <ac:cxnSpMkLst>
            <pc:docMk/>
            <pc:sldMk cId="80455690" sldId="2147483093"/>
            <ac:cxnSpMk id="62" creationId="{D3FC26B7-159F-8978-6453-5F5B3488596A}"/>
          </ac:cxnSpMkLst>
        </pc:cxnChg>
        <pc:cxnChg chg="add mod ord">
          <ac:chgData name="Yudi Zhu" userId="571e1a55-055f-4c28-8b35-fca6dd1c1369" providerId="ADAL" clId="{75A88773-6EE1-484E-AADE-FE631E01463B}" dt="2025-11-25T10:14:15.589" v="658257"/>
          <ac:cxnSpMkLst>
            <pc:docMk/>
            <pc:sldMk cId="80455690" sldId="2147483093"/>
            <ac:cxnSpMk id="63" creationId="{036720A8-6C47-441D-7C79-B2E3C0977058}"/>
          </ac:cxnSpMkLst>
        </pc:cxnChg>
        <pc:cxnChg chg="add del mod ord">
          <ac:chgData name="Yudi Zhu" userId="571e1a55-055f-4c28-8b35-fca6dd1c1369" providerId="ADAL" clId="{75A88773-6EE1-484E-AADE-FE631E01463B}" dt="2025-11-24T03:01:00.980" v="491415"/>
          <ac:cxnSpMkLst>
            <pc:docMk/>
            <pc:sldMk cId="80455690" sldId="2147483093"/>
            <ac:cxnSpMk id="138" creationId="{B36D82F3-54E9-B41B-8326-3CD2CE2CD925}"/>
          </ac:cxnSpMkLst>
        </pc:cxnChg>
        <pc:cxnChg chg="add del mod ord">
          <ac:chgData name="Yudi Zhu" userId="571e1a55-055f-4c28-8b35-fca6dd1c1369" providerId="ADAL" clId="{75A88773-6EE1-484E-AADE-FE631E01463B}" dt="2025-11-24T03:01:00.979" v="491412"/>
          <ac:cxnSpMkLst>
            <pc:docMk/>
            <pc:sldMk cId="80455690" sldId="2147483093"/>
            <ac:cxnSpMk id="139" creationId="{59D7A311-6211-3964-532B-F1441D8C9376}"/>
          </ac:cxnSpMkLst>
        </pc:cxnChg>
        <pc:cxnChg chg="add del mod ord">
          <ac:chgData name="Yudi Zhu" userId="571e1a55-055f-4c28-8b35-fca6dd1c1369" providerId="ADAL" clId="{75A88773-6EE1-484E-AADE-FE631E01463B}" dt="2025-11-24T03:01:00.978" v="491409"/>
          <ac:cxnSpMkLst>
            <pc:docMk/>
            <pc:sldMk cId="80455690" sldId="2147483093"/>
            <ac:cxnSpMk id="140" creationId="{DAFAC81C-E3D2-1E7D-98AC-E9A47B338FCD}"/>
          </ac:cxnSpMkLst>
        </pc:cxnChg>
        <pc:cxnChg chg="add del mod ord">
          <ac:chgData name="Yudi Zhu" userId="571e1a55-055f-4c28-8b35-fca6dd1c1369" providerId="ADAL" clId="{75A88773-6EE1-484E-AADE-FE631E01463B}" dt="2025-11-24T03:01:00.977" v="491406"/>
          <ac:cxnSpMkLst>
            <pc:docMk/>
            <pc:sldMk cId="80455690" sldId="2147483093"/>
            <ac:cxnSpMk id="141" creationId="{657571C4-5244-4D39-0D98-5AB94C1BD54E}"/>
          </ac:cxnSpMkLst>
        </pc:cxnChg>
        <pc:cxnChg chg="add del mod ord">
          <ac:chgData name="Yudi Zhu" userId="571e1a55-055f-4c28-8b35-fca6dd1c1369" providerId="ADAL" clId="{75A88773-6EE1-484E-AADE-FE631E01463B}" dt="2025-11-24T03:00:57.262" v="491115"/>
          <ac:cxnSpMkLst>
            <pc:docMk/>
            <pc:sldMk cId="80455690" sldId="2147483093"/>
            <ac:cxnSpMk id="142" creationId="{47689686-C24D-C937-A1C4-A8DB38385944}"/>
          </ac:cxnSpMkLst>
        </pc:cxnChg>
        <pc:cxnChg chg="add del mod ord">
          <ac:chgData name="Yudi Zhu" userId="571e1a55-055f-4c28-8b35-fca6dd1c1369" providerId="ADAL" clId="{75A88773-6EE1-484E-AADE-FE631E01463B}" dt="2025-11-24T03:01:00.975" v="491402"/>
          <ac:cxnSpMkLst>
            <pc:docMk/>
            <pc:sldMk cId="80455690" sldId="2147483093"/>
            <ac:cxnSpMk id="143" creationId="{78AEA858-3C6A-2717-CAA1-0CB964904F43}"/>
          </ac:cxnSpMkLst>
        </pc:cxnChg>
        <pc:cxnChg chg="add del mod ord">
          <ac:chgData name="Yudi Zhu" userId="571e1a55-055f-4c28-8b35-fca6dd1c1369" providerId="ADAL" clId="{75A88773-6EE1-484E-AADE-FE631E01463B}" dt="2025-11-24T03:01:00.973" v="491399"/>
          <ac:cxnSpMkLst>
            <pc:docMk/>
            <pc:sldMk cId="80455690" sldId="2147483093"/>
            <ac:cxnSpMk id="144" creationId="{49E4684F-E4F0-27B6-954C-F257BE5AA383}"/>
          </ac:cxnSpMkLst>
        </pc:cxnChg>
        <pc:cxnChg chg="mod ord">
          <ac:chgData name="Yudi Zhu" userId="571e1a55-055f-4c28-8b35-fca6dd1c1369" providerId="ADAL" clId="{75A88773-6EE1-484E-AADE-FE631E01463B}" dt="2025-11-25T10:14:15.516" v="658090"/>
          <ac:cxnSpMkLst>
            <pc:docMk/>
            <pc:sldMk cId="80455690" sldId="2147483093"/>
            <ac:cxnSpMk id="153" creationId="{3D86BA23-82AC-89CB-0C7A-64BE0C2149C7}"/>
          </ac:cxnSpMkLst>
        </pc:cxnChg>
        <pc:cxnChg chg="add del mod ord">
          <ac:chgData name="Yudi Zhu" userId="571e1a55-055f-4c28-8b35-fca6dd1c1369" providerId="ADAL" clId="{75A88773-6EE1-484E-AADE-FE631E01463B}" dt="2025-11-24T03:03:47.555" v="496191"/>
          <ac:cxnSpMkLst>
            <pc:docMk/>
            <pc:sldMk cId="80455690" sldId="2147483093"/>
            <ac:cxnSpMk id="164" creationId="{668B1EE6-E608-98C0-4C5C-62A9237395E3}"/>
          </ac:cxnSpMkLst>
        </pc:cxnChg>
        <pc:cxnChg chg="add del mod ord">
          <ac:chgData name="Yudi Zhu" userId="571e1a55-055f-4c28-8b35-fca6dd1c1369" providerId="ADAL" clId="{75A88773-6EE1-484E-AADE-FE631E01463B}" dt="2025-11-24T03:03:47.555" v="496181"/>
          <ac:cxnSpMkLst>
            <pc:docMk/>
            <pc:sldMk cId="80455690" sldId="2147483093"/>
            <ac:cxnSpMk id="165" creationId="{24F2B2FC-2E53-1A67-7397-DBCC4A66D447}"/>
          </ac:cxnSpMkLst>
        </pc:cxnChg>
        <pc:cxnChg chg="add del mod ord">
          <ac:chgData name="Yudi Zhu" userId="571e1a55-055f-4c28-8b35-fca6dd1c1369" providerId="ADAL" clId="{75A88773-6EE1-484E-AADE-FE631E01463B}" dt="2025-11-24T03:03:47.555" v="496186"/>
          <ac:cxnSpMkLst>
            <pc:docMk/>
            <pc:sldMk cId="80455690" sldId="2147483093"/>
            <ac:cxnSpMk id="177" creationId="{5F619F6F-C92A-E55D-AEDB-379DD17D05B0}"/>
          </ac:cxnSpMkLst>
        </pc:cxnChg>
        <pc:cxnChg chg="add del mod ord">
          <ac:chgData name="Yudi Zhu" userId="571e1a55-055f-4c28-8b35-fca6dd1c1369" providerId="ADAL" clId="{75A88773-6EE1-484E-AADE-FE631E01463B}" dt="2025-11-24T03:03:47.555" v="496189"/>
          <ac:cxnSpMkLst>
            <pc:docMk/>
            <pc:sldMk cId="80455690" sldId="2147483093"/>
            <ac:cxnSpMk id="187" creationId="{4913C554-483A-2388-648B-6F40BE81C28E}"/>
          </ac:cxnSpMkLst>
        </pc:cxnChg>
        <pc:cxnChg chg="add del mod ord">
          <ac:chgData name="Yudi Zhu" userId="571e1a55-055f-4c28-8b35-fca6dd1c1369" providerId="ADAL" clId="{75A88773-6EE1-484E-AADE-FE631E01463B}" dt="2025-11-24T03:03:47.555" v="496184"/>
          <ac:cxnSpMkLst>
            <pc:docMk/>
            <pc:sldMk cId="80455690" sldId="2147483093"/>
            <ac:cxnSpMk id="190" creationId="{42196AB4-D5FB-BA95-4823-FD4126B970B9}"/>
          </ac:cxnSpMkLst>
        </pc:cxnChg>
        <pc:cxnChg chg="add del mod ord">
          <ac:chgData name="Yudi Zhu" userId="571e1a55-055f-4c28-8b35-fca6dd1c1369" providerId="ADAL" clId="{75A88773-6EE1-484E-AADE-FE631E01463B}" dt="2025-11-24T03:20:24.604" v="543856"/>
          <ac:cxnSpMkLst>
            <pc:docMk/>
            <pc:sldMk cId="80455690" sldId="2147483093"/>
            <ac:cxnSpMk id="260" creationId="{1AD98E3E-1D70-603F-516F-8F97CD782AAD}"/>
          </ac:cxnSpMkLst>
        </pc:cxnChg>
        <pc:cxnChg chg="add del mod ord">
          <ac:chgData name="Yudi Zhu" userId="571e1a55-055f-4c28-8b35-fca6dd1c1369" providerId="ADAL" clId="{75A88773-6EE1-484E-AADE-FE631E01463B}" dt="2025-11-24T03:22:38.254" v="550218"/>
          <ac:cxnSpMkLst>
            <pc:docMk/>
            <pc:sldMk cId="80455690" sldId="2147483093"/>
            <ac:cxnSpMk id="261" creationId="{EF5F3204-4116-B57B-1BC7-F07B5F0B0310}"/>
          </ac:cxnSpMkLst>
        </pc:cxnChg>
        <pc:cxnChg chg="add del mod ord">
          <ac:chgData name="Yudi Zhu" userId="571e1a55-055f-4c28-8b35-fca6dd1c1369" providerId="ADAL" clId="{75A88773-6EE1-484E-AADE-FE631E01463B}" dt="2025-11-24T03:21:20.066" v="545829"/>
          <ac:cxnSpMkLst>
            <pc:docMk/>
            <pc:sldMk cId="80455690" sldId="2147483093"/>
            <ac:cxnSpMk id="277" creationId="{AEE65F98-4F1E-23BF-8930-71C6BDDAF956}"/>
          </ac:cxnSpMkLst>
        </pc:cxnChg>
        <pc:cxnChg chg="add del mod ord">
          <ac:chgData name="Yudi Zhu" userId="571e1a55-055f-4c28-8b35-fca6dd1c1369" providerId="ADAL" clId="{75A88773-6EE1-484E-AADE-FE631E01463B}" dt="2025-11-24T03:04:49.557" v="500402"/>
          <ac:cxnSpMkLst>
            <pc:docMk/>
            <pc:sldMk cId="80455690" sldId="2147483093"/>
            <ac:cxnSpMk id="280" creationId="{01E2A46C-FD7E-C996-C566-C0E97760B91B}"/>
          </ac:cxnSpMkLst>
        </pc:cxnChg>
        <pc:cxnChg chg="add del mod ord">
          <ac:chgData name="Yudi Zhu" userId="571e1a55-055f-4c28-8b35-fca6dd1c1369" providerId="ADAL" clId="{75A88773-6EE1-484E-AADE-FE631E01463B}" dt="2025-11-24T03:04:49.572" v="500418"/>
          <ac:cxnSpMkLst>
            <pc:docMk/>
            <pc:sldMk cId="80455690" sldId="2147483093"/>
            <ac:cxnSpMk id="283" creationId="{EACD02E8-66F8-BFDC-292F-7EA8233ACBA3}"/>
          </ac:cxnSpMkLst>
        </pc:cxnChg>
        <pc:cxnChg chg="add del mod ord">
          <ac:chgData name="Yudi Zhu" userId="571e1a55-055f-4c28-8b35-fca6dd1c1369" providerId="ADAL" clId="{75A88773-6EE1-484E-AADE-FE631E01463B}" dt="2025-11-24T03:04:54.431" v="500781"/>
          <ac:cxnSpMkLst>
            <pc:docMk/>
            <pc:sldMk cId="80455690" sldId="2147483093"/>
            <ac:cxnSpMk id="317" creationId="{7C8B9C68-94BC-EEFB-19D3-6FE43BAA3931}"/>
          </ac:cxnSpMkLst>
        </pc:cxnChg>
        <pc:cxnChg chg="add del mod ord">
          <ac:chgData name="Yudi Zhu" userId="571e1a55-055f-4c28-8b35-fca6dd1c1369" providerId="ADAL" clId="{75A88773-6EE1-484E-AADE-FE631E01463B}" dt="2025-11-24T03:04:54.429" v="500778"/>
          <ac:cxnSpMkLst>
            <pc:docMk/>
            <pc:sldMk cId="80455690" sldId="2147483093"/>
            <ac:cxnSpMk id="321" creationId="{DD522942-43A2-D8D5-141F-04C04BC047C2}"/>
          </ac:cxnSpMkLst>
        </pc:cxnChg>
        <pc:cxnChg chg="add del mod ord">
          <ac:chgData name="Yudi Zhu" userId="571e1a55-055f-4c28-8b35-fca6dd1c1369" providerId="ADAL" clId="{75A88773-6EE1-484E-AADE-FE631E01463B}" dt="2025-11-24T03:04:54.428" v="500775"/>
          <ac:cxnSpMkLst>
            <pc:docMk/>
            <pc:sldMk cId="80455690" sldId="2147483093"/>
            <ac:cxnSpMk id="325" creationId="{79D1FF74-9AB6-1FCC-CFEC-ECBDDFB85342}"/>
          </ac:cxnSpMkLst>
        </pc:cxnChg>
        <pc:cxnChg chg="add del mod ord">
          <ac:chgData name="Yudi Zhu" userId="571e1a55-055f-4c28-8b35-fca6dd1c1369" providerId="ADAL" clId="{75A88773-6EE1-484E-AADE-FE631E01463B}" dt="2025-11-24T03:04:54.427" v="500772"/>
          <ac:cxnSpMkLst>
            <pc:docMk/>
            <pc:sldMk cId="80455690" sldId="2147483093"/>
            <ac:cxnSpMk id="329" creationId="{00DC2020-31A7-30CC-B391-1FB40DBCC373}"/>
          </ac:cxnSpMkLst>
        </pc:cxnChg>
        <pc:cxnChg chg="add del mod ord">
          <ac:chgData name="Yudi Zhu" userId="571e1a55-055f-4c28-8b35-fca6dd1c1369" providerId="ADAL" clId="{75A88773-6EE1-484E-AADE-FE631E01463B}" dt="2025-11-24T03:04:54.425" v="500769"/>
          <ac:cxnSpMkLst>
            <pc:docMk/>
            <pc:sldMk cId="80455690" sldId="2147483093"/>
            <ac:cxnSpMk id="333" creationId="{372C1719-8942-0F56-7CBD-025D5696DD89}"/>
          </ac:cxnSpMkLst>
        </pc:cxnChg>
        <pc:cxnChg chg="add del mod ord">
          <ac:chgData name="Yudi Zhu" userId="571e1a55-055f-4c28-8b35-fca6dd1c1369" providerId="ADAL" clId="{75A88773-6EE1-484E-AADE-FE631E01463B}" dt="2025-11-24T03:04:54.424" v="500766"/>
          <ac:cxnSpMkLst>
            <pc:docMk/>
            <pc:sldMk cId="80455690" sldId="2147483093"/>
            <ac:cxnSpMk id="341" creationId="{B3B5B595-545F-EB95-7233-0E4DC88412E4}"/>
          </ac:cxnSpMkLst>
        </pc:cxnChg>
        <pc:cxnChg chg="add del mod ord">
          <ac:chgData name="Yudi Zhu" userId="571e1a55-055f-4c28-8b35-fca6dd1c1369" providerId="ADAL" clId="{75A88773-6EE1-484E-AADE-FE631E01463B}" dt="2025-11-24T03:04:54.416" v="500763"/>
          <ac:cxnSpMkLst>
            <pc:docMk/>
            <pc:sldMk cId="80455690" sldId="2147483093"/>
            <ac:cxnSpMk id="344" creationId="{41A9DE41-69B5-84C0-50AF-BC409F904EA4}"/>
          </ac:cxnSpMkLst>
        </pc:cxnChg>
        <pc:cxnChg chg="add del mod ord">
          <ac:chgData name="Yudi Zhu" userId="571e1a55-055f-4c28-8b35-fca6dd1c1369" providerId="ADAL" clId="{75A88773-6EE1-484E-AADE-FE631E01463B}" dt="2025-11-24T03:04:54.416" v="500760"/>
          <ac:cxnSpMkLst>
            <pc:docMk/>
            <pc:sldMk cId="80455690" sldId="2147483093"/>
            <ac:cxnSpMk id="348" creationId="{8EC3F97C-402A-CF7D-1AD3-C3B85EB1B3A3}"/>
          </ac:cxnSpMkLst>
        </pc:cxnChg>
        <pc:cxnChg chg="add del mod ord">
          <ac:chgData name="Yudi Zhu" userId="571e1a55-055f-4c28-8b35-fca6dd1c1369" providerId="ADAL" clId="{75A88773-6EE1-484E-AADE-FE631E01463B}" dt="2025-11-24T03:04:54.416" v="500757"/>
          <ac:cxnSpMkLst>
            <pc:docMk/>
            <pc:sldMk cId="80455690" sldId="2147483093"/>
            <ac:cxnSpMk id="349" creationId="{45C63D2A-A8CB-052E-5B3B-955E1AC29E85}"/>
          </ac:cxnSpMkLst>
        </pc:cxnChg>
        <pc:cxnChg chg="mod ord">
          <ac:chgData name="Yudi Zhu" userId="571e1a55-055f-4c28-8b35-fca6dd1c1369" providerId="ADAL" clId="{75A88773-6EE1-484E-AADE-FE631E01463B}" dt="2025-11-25T10:14:15.573" v="658205"/>
          <ac:cxnSpMkLst>
            <pc:docMk/>
            <pc:sldMk cId="80455690" sldId="2147483093"/>
            <ac:cxnSpMk id="352" creationId="{4263A71F-EC78-DFDC-7D74-6EA9067C3D93}"/>
          </ac:cxnSpMkLst>
        </pc:cxnChg>
        <pc:cxnChg chg="add del mod ord">
          <ac:chgData name="Yudi Zhu" userId="571e1a55-055f-4c28-8b35-fca6dd1c1369" providerId="ADAL" clId="{75A88773-6EE1-484E-AADE-FE631E01463B}" dt="2025-11-24T03:04:54.416" v="500754"/>
          <ac:cxnSpMkLst>
            <pc:docMk/>
            <pc:sldMk cId="80455690" sldId="2147483093"/>
            <ac:cxnSpMk id="356" creationId="{DBB58D79-64AD-06C4-15B0-D6BCA7394BE8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4" creationId="{F2DB5A95-A29F-ECDF-B807-A09960D5DDB0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5" creationId="{B5D8FE03-6E2E-336D-C5DD-2F3A1EAC37E5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6" creationId="{2AF81AD9-1AAD-BEE7-131F-C2664D960A72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7" creationId="{61CE702A-C92D-8F78-86DC-A885577552FF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8" creationId="{863393E3-D654-03E1-3012-EB9E828A76DA}"/>
          </ac:cxnSpMkLst>
        </pc:cxnChg>
        <pc:cxnChg chg="add mod ord">
          <ac:chgData name="Yudi Zhu" userId="571e1a55-055f-4c28-8b35-fca6dd1c1369" providerId="ADAL" clId="{75A88773-6EE1-484E-AADE-FE631E01463B}" dt="2025-11-24T03:06:36.961" v="505961"/>
          <ac:cxnSpMkLst>
            <pc:docMk/>
            <pc:sldMk cId="80455690" sldId="2147483093"/>
            <ac:cxnSpMk id="399" creationId="{466CA600-2FEE-37F2-5F0D-0751C02422ED}"/>
          </ac:cxnSpMkLst>
        </pc:cxnChg>
        <pc:cxnChg chg="mod ord">
          <ac:chgData name="Yudi Zhu" userId="571e1a55-055f-4c28-8b35-fca6dd1c1369" providerId="ADAL" clId="{75A88773-6EE1-484E-AADE-FE631E01463B}" dt="2025-11-25T10:14:15.516" v="658092"/>
          <ac:cxnSpMkLst>
            <pc:docMk/>
            <pc:sldMk cId="80455690" sldId="2147483093"/>
            <ac:cxnSpMk id="428" creationId="{69E7427C-117E-56BC-C7B6-997EB645D1E0}"/>
          </ac:cxnSpMkLst>
        </pc:cxnChg>
        <pc:cxnChg chg="del mod ord">
          <ac:chgData name="Yudi Zhu" userId="571e1a55-055f-4c28-8b35-fca6dd1c1369" providerId="ADAL" clId="{75A88773-6EE1-484E-AADE-FE631E01463B}" dt="2025-11-24T03:26:05.273" v="553539"/>
          <ac:cxnSpMkLst>
            <pc:docMk/>
            <pc:sldMk cId="80455690" sldId="2147483093"/>
            <ac:cxnSpMk id="431" creationId="{5AA105B7-A2E6-B910-AAFB-0A129E5A83EE}"/>
          </ac:cxnSpMkLst>
        </pc:cxnChg>
        <pc:cxnChg chg="add del mod ord">
          <ac:chgData name="Yudi Zhu" userId="571e1a55-055f-4c28-8b35-fca6dd1c1369" providerId="ADAL" clId="{75A88773-6EE1-484E-AADE-FE631E01463B}" dt="2025-11-24T03:08:49.424" v="514188"/>
          <ac:cxnSpMkLst>
            <pc:docMk/>
            <pc:sldMk cId="80455690" sldId="2147483093"/>
            <ac:cxnSpMk id="449" creationId="{5101D252-C072-8B81-1E55-77D3721BEF68}"/>
          </ac:cxnSpMkLst>
        </pc:cxnChg>
        <pc:cxnChg chg="add del mod ord">
          <ac:chgData name="Yudi Zhu" userId="571e1a55-055f-4c28-8b35-fca6dd1c1369" providerId="ADAL" clId="{75A88773-6EE1-484E-AADE-FE631E01463B}" dt="2025-11-24T03:08:49.424" v="514186"/>
          <ac:cxnSpMkLst>
            <pc:docMk/>
            <pc:sldMk cId="80455690" sldId="2147483093"/>
            <ac:cxnSpMk id="450" creationId="{D97EC653-B2F4-AC51-37EB-D5F49CE71486}"/>
          </ac:cxnSpMkLst>
        </pc:cxnChg>
        <pc:cxnChg chg="add del mod ord">
          <ac:chgData name="Yudi Zhu" userId="571e1a55-055f-4c28-8b35-fca6dd1c1369" providerId="ADAL" clId="{75A88773-6EE1-484E-AADE-FE631E01463B}" dt="2025-11-24T03:08:49.424" v="514184"/>
          <ac:cxnSpMkLst>
            <pc:docMk/>
            <pc:sldMk cId="80455690" sldId="2147483093"/>
            <ac:cxnSpMk id="451" creationId="{175FB4E6-C732-E95C-CFF4-97CF448AB93C}"/>
          </ac:cxnSpMkLst>
        </pc:cxnChg>
        <pc:cxnChg chg="add del mod ord">
          <ac:chgData name="Yudi Zhu" userId="571e1a55-055f-4c28-8b35-fca6dd1c1369" providerId="ADAL" clId="{75A88773-6EE1-484E-AADE-FE631E01463B}" dt="2025-11-24T03:10:00.441" v="517448"/>
          <ac:cxnSpMkLst>
            <pc:docMk/>
            <pc:sldMk cId="80455690" sldId="2147483093"/>
            <ac:cxnSpMk id="482" creationId="{D5FC2666-9D05-D4B2-A51F-0541EE358308}"/>
          </ac:cxnSpMkLst>
        </pc:cxnChg>
        <pc:cxnChg chg="add del mod ord">
          <ac:chgData name="Yudi Zhu" userId="571e1a55-055f-4c28-8b35-fca6dd1c1369" providerId="ADAL" clId="{75A88773-6EE1-484E-AADE-FE631E01463B}" dt="2025-11-24T03:10:00.441" v="517446"/>
          <ac:cxnSpMkLst>
            <pc:docMk/>
            <pc:sldMk cId="80455690" sldId="2147483093"/>
            <ac:cxnSpMk id="483" creationId="{AC7C7D8E-D2D6-28CA-109E-B62B2F0819D0}"/>
          </ac:cxnSpMkLst>
        </pc:cxnChg>
        <pc:cxnChg chg="add del mod ord">
          <ac:chgData name="Yudi Zhu" userId="571e1a55-055f-4c28-8b35-fca6dd1c1369" providerId="ADAL" clId="{75A88773-6EE1-484E-AADE-FE631E01463B}" dt="2025-11-24T03:10:00.441" v="517444"/>
          <ac:cxnSpMkLst>
            <pc:docMk/>
            <pc:sldMk cId="80455690" sldId="2147483093"/>
            <ac:cxnSpMk id="484" creationId="{B208B7FA-8B8E-8B0E-11E6-FE3F355DBC06}"/>
          </ac:cxnSpMkLst>
        </pc:cxnChg>
        <pc:cxnChg chg="del mod ord">
          <ac:chgData name="Yudi Zhu" userId="571e1a55-055f-4c28-8b35-fca6dd1c1369" providerId="ADAL" clId="{75A88773-6EE1-484E-AADE-FE631E01463B}" dt="2025-11-24T03:26:05.242" v="553479"/>
          <ac:cxnSpMkLst>
            <pc:docMk/>
            <pc:sldMk cId="80455690" sldId="2147483093"/>
            <ac:cxnSpMk id="488" creationId="{D28D1E49-68EF-4D63-E72E-25882683E109}"/>
          </ac:cxnSpMkLst>
        </pc:cxnChg>
        <pc:cxnChg chg="del mod ord">
          <ac:chgData name="Yudi Zhu" userId="571e1a55-055f-4c28-8b35-fca6dd1c1369" providerId="ADAL" clId="{75A88773-6EE1-484E-AADE-FE631E01463B}" dt="2025-11-24T03:26:05.256" v="553515"/>
          <ac:cxnSpMkLst>
            <pc:docMk/>
            <pc:sldMk cId="80455690" sldId="2147483093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5T10:14:15.516" v="658094"/>
          <ac:cxnSpMkLst>
            <pc:docMk/>
            <pc:sldMk cId="80455690" sldId="2147483093"/>
            <ac:cxnSpMk id="501" creationId="{31BBDF1D-384A-CA1B-E5CC-8D290EBDEE93}"/>
          </ac:cxnSpMkLst>
        </pc:cxnChg>
        <pc:cxnChg chg="add del mod ord">
          <ac:chgData name="Yudi Zhu" userId="571e1a55-055f-4c28-8b35-fca6dd1c1369" providerId="ADAL" clId="{75A88773-6EE1-484E-AADE-FE631E01463B}" dt="2025-11-24T03:11:45.257" v="519049"/>
          <ac:cxnSpMkLst>
            <pc:docMk/>
            <pc:sldMk cId="80455690" sldId="2147483093"/>
            <ac:cxnSpMk id="510" creationId="{853B20D5-44D3-FD91-2AFD-275605DFFB34}"/>
          </ac:cxnSpMkLst>
        </pc:cxnChg>
        <pc:cxnChg chg="add del mod ord">
          <ac:chgData name="Yudi Zhu" userId="571e1a55-055f-4c28-8b35-fca6dd1c1369" providerId="ADAL" clId="{75A88773-6EE1-484E-AADE-FE631E01463B}" dt="2025-11-21T10:12:03.173" v="458424"/>
          <ac:cxnSpMkLst>
            <pc:docMk/>
            <pc:sldMk cId="80455690" sldId="2147483093"/>
            <ac:cxnSpMk id="550" creationId="{6CD00907-2A9C-1E33-80B9-E0465A3BC831}"/>
          </ac:cxnSpMkLst>
        </pc:cxnChg>
        <pc:cxnChg chg="add del mod ord">
          <ac:chgData name="Yudi Zhu" userId="571e1a55-055f-4c28-8b35-fca6dd1c1369" providerId="ADAL" clId="{75A88773-6EE1-484E-AADE-FE631E01463B}" dt="2025-11-21T10:12:03.142" v="458402"/>
          <ac:cxnSpMkLst>
            <pc:docMk/>
            <pc:sldMk cId="80455690" sldId="2147483093"/>
            <ac:cxnSpMk id="555" creationId="{C85D946B-2BB8-5E01-0A36-2EDD703FB15B}"/>
          </ac:cxnSpMkLst>
        </pc:cxnChg>
        <pc:cxnChg chg="add del mod ord">
          <ac:chgData name="Yudi Zhu" userId="571e1a55-055f-4c28-8b35-fca6dd1c1369" providerId="ADAL" clId="{75A88773-6EE1-484E-AADE-FE631E01463B}" dt="2025-11-24T03:22:38.254" v="550210"/>
          <ac:cxnSpMkLst>
            <pc:docMk/>
            <pc:sldMk cId="80455690" sldId="2147483093"/>
            <ac:cxnSpMk id="965" creationId="{0C790661-9B48-024B-D999-1B0F3417159C}"/>
          </ac:cxnSpMkLst>
        </pc:cxnChg>
        <pc:cxnChg chg="add del mod ord">
          <ac:chgData name="Yudi Zhu" userId="571e1a55-055f-4c28-8b35-fca6dd1c1369" providerId="ADAL" clId="{75A88773-6EE1-484E-AADE-FE631E01463B}" dt="2025-11-24T03:22:38.254" v="550208"/>
          <ac:cxnSpMkLst>
            <pc:docMk/>
            <pc:sldMk cId="80455690" sldId="2147483093"/>
            <ac:cxnSpMk id="966" creationId="{8E8B5F3A-7C7F-A8EF-3B19-5F6EDCE80C54}"/>
          </ac:cxnSpMkLst>
        </pc:cxnChg>
        <pc:cxnChg chg="add del mod ord">
          <ac:chgData name="Yudi Zhu" userId="571e1a55-055f-4c28-8b35-fca6dd1c1369" providerId="ADAL" clId="{75A88773-6EE1-484E-AADE-FE631E01463B}" dt="2025-11-24T03:22:38.247" v="550206"/>
          <ac:cxnSpMkLst>
            <pc:docMk/>
            <pc:sldMk cId="80455690" sldId="2147483093"/>
            <ac:cxnSpMk id="967" creationId="{A1E6470F-6B75-4C92-F9E2-5295C430855F}"/>
          </ac:cxnSpMkLst>
        </pc:cxnChg>
        <pc:cxnChg chg="add del mod ord">
          <ac:chgData name="Yudi Zhu" userId="571e1a55-055f-4c28-8b35-fca6dd1c1369" providerId="ADAL" clId="{75A88773-6EE1-484E-AADE-FE631E01463B}" dt="2025-11-24T03:12:55.694" v="521886"/>
          <ac:cxnSpMkLst>
            <pc:docMk/>
            <pc:sldMk cId="80455690" sldId="2147483093"/>
            <ac:cxnSpMk id="981" creationId="{9355B284-A5D7-8E99-3398-99703B69638F}"/>
          </ac:cxnSpMkLst>
        </pc:cxnChg>
        <pc:cxnChg chg="add del mod ord">
          <ac:chgData name="Yudi Zhu" userId="571e1a55-055f-4c28-8b35-fca6dd1c1369" providerId="ADAL" clId="{75A88773-6EE1-484E-AADE-FE631E01463B}" dt="2025-11-24T03:12:55.705" v="521898"/>
          <ac:cxnSpMkLst>
            <pc:docMk/>
            <pc:sldMk cId="80455690" sldId="2147483093"/>
            <ac:cxnSpMk id="982" creationId="{845379E0-C2D5-9B77-C596-6DD7E732F272}"/>
          </ac:cxnSpMkLst>
        </pc:cxnChg>
        <pc:cxnChg chg="add del mod ord">
          <ac:chgData name="Yudi Zhu" userId="571e1a55-055f-4c28-8b35-fca6dd1c1369" providerId="ADAL" clId="{75A88773-6EE1-484E-AADE-FE631E01463B}" dt="2025-11-24T03:21:45.915" v="548432"/>
          <ac:cxnSpMkLst>
            <pc:docMk/>
            <pc:sldMk cId="80455690" sldId="2147483093"/>
            <ac:cxnSpMk id="1004" creationId="{8C6DD52C-EC17-2291-C5C1-1571CBC42C90}"/>
          </ac:cxnSpMkLst>
        </pc:cxnChg>
        <pc:cxnChg chg="add mod ord">
          <ac:chgData name="Yudi Zhu" userId="571e1a55-055f-4c28-8b35-fca6dd1c1369" providerId="ADAL" clId="{75A88773-6EE1-484E-AADE-FE631E01463B}" dt="2025-11-25T10:14:15.605" v="658313"/>
          <ac:cxnSpMkLst>
            <pc:docMk/>
            <pc:sldMk cId="80455690" sldId="2147483093"/>
            <ac:cxnSpMk id="1005" creationId="{938B6BE6-FD07-85B5-162A-2021870C89B9}"/>
          </ac:cxnSpMkLst>
        </pc:cxnChg>
        <pc:cxnChg chg="add del mod ord">
          <ac:chgData name="Yudi Zhu" userId="571e1a55-055f-4c28-8b35-fca6dd1c1369" providerId="ADAL" clId="{75A88773-6EE1-484E-AADE-FE631E01463B}" dt="2025-11-24T03:14:20.257" v="526503"/>
          <ac:cxnSpMkLst>
            <pc:docMk/>
            <pc:sldMk cId="80455690" sldId="2147483093"/>
            <ac:cxnSpMk id="1020" creationId="{04529040-1898-FE2F-6BAC-67A296637CFF}"/>
          </ac:cxnSpMkLst>
        </pc:cxnChg>
        <pc:cxnChg chg="add del mod ord">
          <ac:chgData name="Yudi Zhu" userId="571e1a55-055f-4c28-8b35-fca6dd1c1369" providerId="ADAL" clId="{75A88773-6EE1-484E-AADE-FE631E01463B}" dt="2025-11-24T03:14:20.289" v="526521"/>
          <ac:cxnSpMkLst>
            <pc:docMk/>
            <pc:sldMk cId="80455690" sldId="2147483093"/>
            <ac:cxnSpMk id="1021" creationId="{EC9815EE-3ABF-349A-F970-85476AE91B80}"/>
          </ac:cxnSpMkLst>
        </pc:cxnChg>
        <pc:cxnChg chg="add mod ord">
          <ac:chgData name="Yudi Zhu" userId="571e1a55-055f-4c28-8b35-fca6dd1c1369" providerId="ADAL" clId="{75A88773-6EE1-484E-AADE-FE631E01463B}" dt="2025-11-25T10:14:15.605" v="658315"/>
          <ac:cxnSpMkLst>
            <pc:docMk/>
            <pc:sldMk cId="80455690" sldId="2147483093"/>
            <ac:cxnSpMk id="1022" creationId="{C6DB9E9F-DAC5-E517-B8A2-EB49006A9DAA}"/>
          </ac:cxnSpMkLst>
        </pc:cxnChg>
        <pc:cxnChg chg="add del mod ord">
          <ac:chgData name="Yudi Zhu" userId="571e1a55-055f-4c28-8b35-fca6dd1c1369" providerId="ADAL" clId="{75A88773-6EE1-484E-AADE-FE631E01463B}" dt="2025-11-24T03:14:22.952" v="526890"/>
          <ac:cxnSpMkLst>
            <pc:docMk/>
            <pc:sldMk cId="80455690" sldId="2147483093"/>
            <ac:cxnSpMk id="1173" creationId="{BCEDDDE4-4EB2-08F2-DCB9-D747EA9FD7EF}"/>
          </ac:cxnSpMkLst>
        </pc:cxnChg>
        <pc:cxnChg chg="add del mod ord">
          <ac:chgData name="Yudi Zhu" userId="571e1a55-055f-4c28-8b35-fca6dd1c1369" providerId="ADAL" clId="{75A88773-6EE1-484E-AADE-FE631E01463B}" dt="2025-11-24T03:14:22.952" v="526887"/>
          <ac:cxnSpMkLst>
            <pc:docMk/>
            <pc:sldMk cId="80455690" sldId="2147483093"/>
            <ac:cxnSpMk id="1174" creationId="{12D782B3-984C-B712-76A6-2263F1A2C2AB}"/>
          </ac:cxnSpMkLst>
        </pc:cxnChg>
        <pc:cxnChg chg="add del mod ord">
          <ac:chgData name="Yudi Zhu" userId="571e1a55-055f-4c28-8b35-fca6dd1c1369" providerId="ADAL" clId="{75A88773-6EE1-484E-AADE-FE631E01463B}" dt="2025-11-24T03:14:22.952" v="526884"/>
          <ac:cxnSpMkLst>
            <pc:docMk/>
            <pc:sldMk cId="80455690" sldId="2147483093"/>
            <ac:cxnSpMk id="1175" creationId="{E1E19C26-1C62-B711-8611-D6697BF8B075}"/>
          </ac:cxnSpMkLst>
        </pc:cxnChg>
        <pc:cxnChg chg="add del mod ord">
          <ac:chgData name="Yudi Zhu" userId="571e1a55-055f-4c28-8b35-fca6dd1c1369" providerId="ADAL" clId="{75A88773-6EE1-484E-AADE-FE631E01463B}" dt="2025-11-24T03:14:22.952" v="526881"/>
          <ac:cxnSpMkLst>
            <pc:docMk/>
            <pc:sldMk cId="80455690" sldId="2147483093"/>
            <ac:cxnSpMk id="1176" creationId="{623F7D02-594E-2403-F060-D75A204CEAC9}"/>
          </ac:cxnSpMkLst>
        </pc:cxnChg>
        <pc:cxnChg chg="add del mod ord">
          <ac:chgData name="Yudi Zhu" userId="571e1a55-055f-4c28-8b35-fca6dd1c1369" providerId="ADAL" clId="{75A88773-6EE1-484E-AADE-FE631E01463B}" dt="2025-11-24T03:14:22.952" v="526878"/>
          <ac:cxnSpMkLst>
            <pc:docMk/>
            <pc:sldMk cId="80455690" sldId="2147483093"/>
            <ac:cxnSpMk id="1177" creationId="{2427E8A9-007E-B08C-A886-DE90B5158462}"/>
          </ac:cxnSpMkLst>
        </pc:cxnChg>
        <pc:cxnChg chg="del mod ord">
          <ac:chgData name="Yudi Zhu" userId="571e1a55-055f-4c28-8b35-fca6dd1c1369" providerId="ADAL" clId="{75A88773-6EE1-484E-AADE-FE631E01463B}" dt="2025-11-21T09:26:14.940" v="416180"/>
          <ac:cxnSpMkLst>
            <pc:docMk/>
            <pc:sldMk cId="80455690" sldId="2147483093"/>
            <ac:cxnSpMk id="1220" creationId="{414B61A7-9B67-9450-135B-E84FE46F6ABE}"/>
          </ac:cxnSpMkLst>
        </pc:cxnChg>
        <pc:cxnChg chg="del mod ord">
          <ac:chgData name="Yudi Zhu" userId="571e1a55-055f-4c28-8b35-fca6dd1c1369" providerId="ADAL" clId="{75A88773-6EE1-484E-AADE-FE631E01463B}" dt="2025-11-24T03:26:05.256" v="553527"/>
          <ac:cxnSpMkLst>
            <pc:docMk/>
            <pc:sldMk cId="80455690" sldId="2147483093"/>
            <ac:cxnSpMk id="1221" creationId="{C051EBC2-367F-7868-4767-FF881D2E6AF4}"/>
          </ac:cxnSpMkLst>
        </pc:cxnChg>
        <pc:cxnChg chg="add del mod ord">
          <ac:chgData name="Yudi Zhu" userId="571e1a55-055f-4c28-8b35-fca6dd1c1369" providerId="ADAL" clId="{75A88773-6EE1-484E-AADE-FE631E01463B}" dt="2025-11-24T03:17:47.600" v="538285"/>
          <ac:cxnSpMkLst>
            <pc:docMk/>
            <pc:sldMk cId="80455690" sldId="2147483093"/>
            <ac:cxnSpMk id="1223" creationId="{316B4711-9D56-EEAF-8756-E43D5FB4E60B}"/>
          </ac:cxnSpMkLst>
        </pc:cxnChg>
        <pc:cxnChg chg="add del mod ord">
          <ac:chgData name="Yudi Zhu" userId="571e1a55-055f-4c28-8b35-fca6dd1c1369" providerId="ADAL" clId="{75A88773-6EE1-484E-AADE-FE631E01463B}" dt="2025-11-24T03:17:47.600" v="538285"/>
          <ac:cxnSpMkLst>
            <pc:docMk/>
            <pc:sldMk cId="80455690" sldId="2147483093"/>
            <ac:cxnSpMk id="1224" creationId="{DB94F558-5B19-3911-BF0B-BD5F6F33F2D8}"/>
          </ac:cxnSpMkLst>
        </pc:cxnChg>
        <pc:cxnChg chg="add del mod ord">
          <ac:chgData name="Yudi Zhu" userId="571e1a55-055f-4c28-8b35-fca6dd1c1369" providerId="ADAL" clId="{75A88773-6EE1-484E-AADE-FE631E01463B}" dt="2025-11-24T03:17:47.600" v="538285"/>
          <ac:cxnSpMkLst>
            <pc:docMk/>
            <pc:sldMk cId="80455690" sldId="2147483093"/>
            <ac:cxnSpMk id="1225" creationId="{99141590-0FB1-F604-7510-F3643977F07C}"/>
          </ac:cxnSpMkLst>
        </pc:cxnChg>
        <pc:cxnChg chg="add mod ord">
          <ac:chgData name="Yudi Zhu" userId="571e1a55-055f-4c28-8b35-fca6dd1c1369" providerId="ADAL" clId="{75A88773-6EE1-484E-AADE-FE631E01463B}" dt="2025-11-24T03:17:40.095" v="537100"/>
          <ac:cxnSpMkLst>
            <pc:docMk/>
            <pc:sldMk cId="80455690" sldId="2147483093"/>
            <ac:cxnSpMk id="1257" creationId="{A52C3910-FEC9-BE2B-8B98-B38073887CB1}"/>
          </ac:cxnSpMkLst>
        </pc:cxnChg>
        <pc:cxnChg chg="add del mod ord">
          <ac:chgData name="Yudi Zhu" userId="571e1a55-055f-4c28-8b35-fca6dd1c1369" providerId="ADAL" clId="{75A88773-6EE1-484E-AADE-FE631E01463B}" dt="2025-11-24T03:17:36.444" v="536589"/>
          <ac:cxnSpMkLst>
            <pc:docMk/>
            <pc:sldMk cId="80455690" sldId="2147483093"/>
            <ac:cxnSpMk id="1268" creationId="{B0D956C0-EA4D-D135-5659-89AF3A4A7512}"/>
          </ac:cxnSpMkLst>
        </pc:cxnChg>
        <pc:cxnChg chg="add del mod ord">
          <ac:chgData name="Yudi Zhu" userId="571e1a55-055f-4c28-8b35-fca6dd1c1369" providerId="ADAL" clId="{75A88773-6EE1-484E-AADE-FE631E01463B}" dt="2025-11-24T03:19:11.530" v="541509"/>
          <ac:cxnSpMkLst>
            <pc:docMk/>
            <pc:sldMk cId="80455690" sldId="2147483093"/>
            <ac:cxnSpMk id="1349" creationId="{C6A2DDF7-F162-922F-8058-B705EF5A5F88}"/>
          </ac:cxnSpMkLst>
        </pc:cxnChg>
        <pc:cxnChg chg="mod ord">
          <ac:chgData name="Yudi Zhu" userId="571e1a55-055f-4c28-8b35-fca6dd1c1369" providerId="ADAL" clId="{75A88773-6EE1-484E-AADE-FE631E01463B}" dt="2025-11-25T10:14:15.605" v="658296"/>
          <ac:cxnSpMkLst>
            <pc:docMk/>
            <pc:sldMk cId="80455690" sldId="2147483093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5T10:14:15.605" v="658298"/>
          <ac:cxnSpMkLst>
            <pc:docMk/>
            <pc:sldMk cId="80455690" sldId="2147483093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5T10:14:15.605" v="658300"/>
          <ac:cxnSpMkLst>
            <pc:docMk/>
            <pc:sldMk cId="80455690" sldId="2147483093"/>
            <ac:cxnSpMk id="1383" creationId="{06C80ABB-ADE7-9188-D748-6A0BB890BA72}"/>
          </ac:cxnSpMkLst>
        </pc:cxnChg>
        <pc:cxnChg chg="add del mod ord">
          <ac:chgData name="Yudi Zhu" userId="571e1a55-055f-4c28-8b35-fca6dd1c1369" providerId="ADAL" clId="{75A88773-6EE1-484E-AADE-FE631E01463B}" dt="2025-11-24T03:19:52.704" v="543366"/>
          <ac:cxnSpMkLst>
            <pc:docMk/>
            <pc:sldMk cId="80455690" sldId="2147483093"/>
            <ac:cxnSpMk id="1390" creationId="{1D5C6DDE-31EA-02C1-5443-D61609826237}"/>
          </ac:cxnSpMkLst>
        </pc:cxnChg>
        <pc:cxnChg chg="add del mod ord">
          <ac:chgData name="Yudi Zhu" userId="571e1a55-055f-4c28-8b35-fca6dd1c1369" providerId="ADAL" clId="{75A88773-6EE1-484E-AADE-FE631E01463B}" dt="2025-11-24T03:21:27.541" v="546378"/>
          <ac:cxnSpMkLst>
            <pc:docMk/>
            <pc:sldMk cId="80455690" sldId="2147483093"/>
            <ac:cxnSpMk id="1411" creationId="{9DF065EF-03CB-3276-F1CC-1335AD181030}"/>
          </ac:cxnSpMkLst>
        </pc:cxnChg>
        <pc:cxnChg chg="add del mod ord">
          <ac:chgData name="Yudi Zhu" userId="571e1a55-055f-4c28-8b35-fca6dd1c1369" providerId="ADAL" clId="{75A88773-6EE1-484E-AADE-FE631E01463B}" dt="2025-11-24T03:21:27.441" v="546284"/>
          <ac:cxnSpMkLst>
            <pc:docMk/>
            <pc:sldMk cId="80455690" sldId="2147483093"/>
            <ac:cxnSpMk id="1415" creationId="{5D62B462-52F5-197B-6F4C-CEFDA35D47B9}"/>
          </ac:cxnSpMkLst>
        </pc:cxnChg>
        <pc:cxnChg chg="mod ord">
          <ac:chgData name="Yudi Zhu" userId="571e1a55-055f-4c28-8b35-fca6dd1c1369" providerId="ADAL" clId="{75A88773-6EE1-484E-AADE-FE631E01463B}" dt="2025-11-25T10:14:15.573" v="658225"/>
          <ac:cxnSpMkLst>
            <pc:docMk/>
            <pc:sldMk cId="80455690" sldId="2147483093"/>
            <ac:cxnSpMk id="1416" creationId="{72D85A7C-D068-4FDE-7721-9FFD5EE00CF7}"/>
          </ac:cxnSpMkLst>
        </pc:cxnChg>
        <pc:cxnChg chg="add del mod ord">
          <ac:chgData name="Yudi Zhu" userId="571e1a55-055f-4c28-8b35-fca6dd1c1369" providerId="ADAL" clId="{75A88773-6EE1-484E-AADE-FE631E01463B}" dt="2025-11-24T03:21:20.152" v="545912"/>
          <ac:cxnSpMkLst>
            <pc:docMk/>
            <pc:sldMk cId="80455690" sldId="2147483093"/>
            <ac:cxnSpMk id="1417" creationId="{C5116439-0BDE-EFBB-5F80-4E9C5A3930EA}"/>
          </ac:cxnSpMkLst>
        </pc:cxnChg>
        <pc:cxnChg chg="add del mod ord">
          <ac:chgData name="Yudi Zhu" userId="571e1a55-055f-4c28-8b35-fca6dd1c1369" providerId="ADAL" clId="{75A88773-6EE1-484E-AADE-FE631E01463B}" dt="2025-11-24T03:21:20.089" v="545849"/>
          <ac:cxnSpMkLst>
            <pc:docMk/>
            <pc:sldMk cId="80455690" sldId="2147483093"/>
            <ac:cxnSpMk id="1418" creationId="{A9A43F7D-B325-9621-40B0-A937C09E2751}"/>
          </ac:cxnSpMkLst>
        </pc:cxnChg>
        <pc:cxnChg chg="mod ord">
          <ac:chgData name="Yudi Zhu" userId="571e1a55-055f-4c28-8b35-fca6dd1c1369" providerId="ADAL" clId="{75A88773-6EE1-484E-AADE-FE631E01463B}" dt="2025-11-25T10:14:15.573" v="658219"/>
          <ac:cxnSpMkLst>
            <pc:docMk/>
            <pc:sldMk cId="80455690" sldId="2147483093"/>
            <ac:cxnSpMk id="1427" creationId="{8CD1BFBD-29D4-7EFA-3730-7685282ECB0D}"/>
          </ac:cxnSpMkLst>
        </pc:cxnChg>
        <pc:cxnChg chg="add del mod ord">
          <ac:chgData name="Yudi Zhu" userId="571e1a55-055f-4c28-8b35-fca6dd1c1369" providerId="ADAL" clId="{75A88773-6EE1-484E-AADE-FE631E01463B}" dt="2025-11-24T03:21:43.526" v="547900"/>
          <ac:cxnSpMkLst>
            <pc:docMk/>
            <pc:sldMk cId="80455690" sldId="2147483093"/>
            <ac:cxnSpMk id="1443" creationId="{5B7E6B69-B815-03A4-41A0-A13E24A54DC1}"/>
          </ac:cxnSpMkLst>
        </pc:cxnChg>
        <pc:cxnChg chg="add del mod ord">
          <ac:chgData name="Yudi Zhu" userId="571e1a55-055f-4c28-8b35-fca6dd1c1369" providerId="ADAL" clId="{75A88773-6EE1-484E-AADE-FE631E01463B}" dt="2025-11-24T03:21:43.524" v="547896"/>
          <ac:cxnSpMkLst>
            <pc:docMk/>
            <pc:sldMk cId="80455690" sldId="2147483093"/>
            <ac:cxnSpMk id="1444" creationId="{12B2FDAE-D669-6C2C-7728-EAF931B1833D}"/>
          </ac:cxnSpMkLst>
        </pc:cxnChg>
        <pc:cxnChg chg="del mod ord">
          <ac:chgData name="Yudi Zhu" userId="571e1a55-055f-4c28-8b35-fca6dd1c1369" providerId="ADAL" clId="{75A88773-6EE1-484E-AADE-FE631E01463B}" dt="2025-11-21T09:57:09.778" v="428610"/>
          <ac:cxnSpMkLst>
            <pc:docMk/>
            <pc:sldMk cId="80455690" sldId="2147483093"/>
            <ac:cxnSpMk id="1455" creationId="{7DF33E7B-CAA0-6353-13B4-76A8E48B02D6}"/>
          </ac:cxnSpMkLst>
        </pc:cxnChg>
        <pc:cxnChg chg="del mod ord">
          <ac:chgData name="Yudi Zhu" userId="571e1a55-055f-4c28-8b35-fca6dd1c1369" providerId="ADAL" clId="{75A88773-6EE1-484E-AADE-FE631E01463B}" dt="2025-11-21T09:57:09.789" v="428614"/>
          <ac:cxnSpMkLst>
            <pc:docMk/>
            <pc:sldMk cId="80455690" sldId="2147483093"/>
            <ac:cxnSpMk id="1456" creationId="{3FDAA0F8-29A1-AA7E-5A7C-A2B636BE75F3}"/>
          </ac:cxnSpMkLst>
        </pc:cxnChg>
        <pc:cxnChg chg="del mod ord">
          <ac:chgData name="Yudi Zhu" userId="571e1a55-055f-4c28-8b35-fca6dd1c1369" providerId="ADAL" clId="{75A88773-6EE1-484E-AADE-FE631E01463B}" dt="2025-11-21T09:57:09.789" v="428618"/>
          <ac:cxnSpMkLst>
            <pc:docMk/>
            <pc:sldMk cId="80455690" sldId="2147483093"/>
            <ac:cxnSpMk id="1457" creationId="{8A58C40D-72F6-5A46-1D4E-6E17FD7ECEA7}"/>
          </ac:cxnSpMkLst>
        </pc:cxnChg>
        <pc:cxnChg chg="del mod ord">
          <ac:chgData name="Yudi Zhu" userId="571e1a55-055f-4c28-8b35-fca6dd1c1369" providerId="ADAL" clId="{75A88773-6EE1-484E-AADE-FE631E01463B}" dt="2025-11-21T09:57:09.928" v="428664"/>
          <ac:cxnSpMkLst>
            <pc:docMk/>
            <pc:sldMk cId="80455690" sldId="2147483093"/>
            <ac:cxnSpMk id="1458" creationId="{644B05D6-18A1-FFCB-778E-957F2CD30EA6}"/>
          </ac:cxnSpMkLst>
        </pc:cxnChg>
        <pc:cxnChg chg="add del mod ord">
          <ac:chgData name="Yudi Zhu" userId="571e1a55-055f-4c28-8b35-fca6dd1c1369" providerId="ADAL" clId="{75A88773-6EE1-484E-AADE-FE631E01463B}" dt="2025-11-25T10:14:15.573" v="658249"/>
          <ac:cxnSpMkLst>
            <pc:docMk/>
            <pc:sldMk cId="80455690" sldId="2147483093"/>
            <ac:cxnSpMk id="1459" creationId="{16AAA7D6-7B2F-3A99-2825-6C1703FEC375}"/>
          </ac:cxnSpMkLst>
        </pc:cxnChg>
        <pc:cxnChg chg="del mod ord">
          <ac:chgData name="Yudi Zhu" userId="571e1a55-055f-4c28-8b35-fca6dd1c1369" providerId="ADAL" clId="{75A88773-6EE1-484E-AADE-FE631E01463B}" dt="2025-11-21T09:57:10.107" v="428716"/>
          <ac:cxnSpMkLst>
            <pc:docMk/>
            <pc:sldMk cId="80455690" sldId="2147483093"/>
            <ac:cxnSpMk id="1460" creationId="{A666E717-6FE4-0BC0-50E0-4F8E82044624}"/>
          </ac:cxnSpMkLst>
        </pc:cxnChg>
        <pc:cxnChg chg="mod ord">
          <ac:chgData name="Yudi Zhu" userId="571e1a55-055f-4c28-8b35-fca6dd1c1369" providerId="ADAL" clId="{75A88773-6EE1-484E-AADE-FE631E01463B}" dt="2025-11-25T10:14:15.589" v="658259"/>
          <ac:cxnSpMkLst>
            <pc:docMk/>
            <pc:sldMk cId="80455690" sldId="2147483093"/>
            <ac:cxnSpMk id="1462" creationId="{B25EED74-3BE6-1A25-FFAA-ED5F7EF0AB47}"/>
          </ac:cxnSpMkLst>
        </pc:cxnChg>
        <pc:cxnChg chg="del mod ord">
          <ac:chgData name="Yudi Zhu" userId="571e1a55-055f-4c28-8b35-fca6dd1c1369" providerId="ADAL" clId="{75A88773-6EE1-484E-AADE-FE631E01463B}" dt="2025-11-21T09:57:10.425" v="428810"/>
          <ac:cxnSpMkLst>
            <pc:docMk/>
            <pc:sldMk cId="80455690" sldId="2147483093"/>
            <ac:cxnSpMk id="1464" creationId="{92007F0A-B7EA-5A8E-1784-4FB8BFEEA8DA}"/>
          </ac:cxnSpMkLst>
        </pc:cxnChg>
        <pc:cxnChg chg="mod ord">
          <ac:chgData name="Yudi Zhu" userId="571e1a55-055f-4c28-8b35-fca6dd1c1369" providerId="ADAL" clId="{75A88773-6EE1-484E-AADE-FE631E01463B}" dt="2025-11-25T10:14:15.573" v="658231"/>
          <ac:cxnSpMkLst>
            <pc:docMk/>
            <pc:sldMk cId="80455690" sldId="2147483093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5T10:14:15.573" v="658235"/>
          <ac:cxnSpMkLst>
            <pc:docMk/>
            <pc:sldMk cId="80455690" sldId="2147483093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5T10:14:15.573" v="658237"/>
          <ac:cxnSpMkLst>
            <pc:docMk/>
            <pc:sldMk cId="80455690" sldId="2147483093"/>
            <ac:cxnSpMk id="1468" creationId="{DB3DA2FD-3F9C-7D07-1499-92AEE88BBABE}"/>
          </ac:cxnSpMkLst>
        </pc:cxnChg>
        <pc:cxnChg chg="add del mod ord">
          <ac:chgData name="Yudi Zhu" userId="571e1a55-055f-4c28-8b35-fca6dd1c1369" providerId="ADAL" clId="{75A88773-6EE1-484E-AADE-FE631E01463B}" dt="2025-11-25T10:14:15.573" v="658245"/>
          <ac:cxnSpMkLst>
            <pc:docMk/>
            <pc:sldMk cId="80455690" sldId="2147483093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5T10:14:15.573" v="658223"/>
          <ac:cxnSpMkLst>
            <pc:docMk/>
            <pc:sldMk cId="80455690" sldId="2147483093"/>
            <ac:cxnSpMk id="1474" creationId="{967E8F84-C6F1-30BA-DDED-462B5D7B17E2}"/>
          </ac:cxnSpMkLst>
        </pc:cxnChg>
        <pc:cxnChg chg="add mod ord">
          <ac:chgData name="Yudi Zhu" userId="571e1a55-055f-4c28-8b35-fca6dd1c1369" providerId="ADAL" clId="{75A88773-6EE1-484E-AADE-FE631E01463B}" dt="2025-11-25T10:14:15.605" v="658311"/>
          <ac:cxnSpMkLst>
            <pc:docMk/>
            <pc:sldMk cId="80455690" sldId="2147483093"/>
            <ac:cxnSpMk id="1477" creationId="{152B86F5-FAEA-60A6-7C19-C68CC06B21E4}"/>
          </ac:cxnSpMkLst>
        </pc:cxnChg>
        <pc:cxnChg chg="add del mod ord">
          <ac:chgData name="Yudi Zhu" userId="571e1a55-055f-4c28-8b35-fca6dd1c1369" providerId="ADAL" clId="{75A88773-6EE1-484E-AADE-FE631E01463B}" dt="2025-11-24T04:19:18.206" v="637128"/>
          <ac:cxnSpMkLst>
            <pc:docMk/>
            <pc:sldMk cId="80455690" sldId="2147483093"/>
            <ac:cxnSpMk id="1506" creationId="{BB0F55B6-0C78-D4EF-A336-891CC9FCE583}"/>
          </ac:cxnSpMkLst>
        </pc:cxnChg>
        <pc:cxnChg chg="add del mod ord">
          <ac:chgData name="Yudi Zhu" userId="571e1a55-055f-4c28-8b35-fca6dd1c1369" providerId="ADAL" clId="{75A88773-6EE1-484E-AADE-FE631E01463B}" dt="2025-11-24T03:26:05.136" v="553292"/>
          <ac:cxnSpMkLst>
            <pc:docMk/>
            <pc:sldMk cId="80455690" sldId="2147483093"/>
            <ac:cxnSpMk id="1508" creationId="{2FFCBB40-D151-DE5A-7129-C40ED3EB7F5A}"/>
          </ac:cxnSpMkLst>
        </pc:cxnChg>
        <pc:cxnChg chg="add del mod ord">
          <ac:chgData name="Yudi Zhu" userId="571e1a55-055f-4c28-8b35-fca6dd1c1369" providerId="ADAL" clId="{75A88773-6EE1-484E-AADE-FE631E01463B}" dt="2025-11-24T03:26:05.155" v="553326"/>
          <ac:cxnSpMkLst>
            <pc:docMk/>
            <pc:sldMk cId="80455690" sldId="2147483093"/>
            <ac:cxnSpMk id="1509" creationId="{4FDC284D-75E5-FEF7-B27B-DE37D4A2D29F}"/>
          </ac:cxnSpMkLst>
        </pc:cxnChg>
        <pc:cxnChg chg="add del mod ord">
          <ac:chgData name="Yudi Zhu" userId="571e1a55-055f-4c28-8b35-fca6dd1c1369" providerId="ADAL" clId="{75A88773-6EE1-484E-AADE-FE631E01463B}" dt="2025-11-24T03:26:05.162" v="553339"/>
          <ac:cxnSpMkLst>
            <pc:docMk/>
            <pc:sldMk cId="80455690" sldId="2147483093"/>
            <ac:cxnSpMk id="1510" creationId="{1F932E4C-C0A9-D12D-4A24-1640268B3F2F}"/>
          </ac:cxnSpMkLst>
        </pc:cxnChg>
        <pc:cxnChg chg="add del mod ord">
          <ac:chgData name="Yudi Zhu" userId="571e1a55-055f-4c28-8b35-fca6dd1c1369" providerId="ADAL" clId="{75A88773-6EE1-484E-AADE-FE631E01463B}" dt="2025-11-24T03:26:05.162" v="553353"/>
          <ac:cxnSpMkLst>
            <pc:docMk/>
            <pc:sldMk cId="80455690" sldId="2147483093"/>
            <ac:cxnSpMk id="1511" creationId="{0CE7DF5F-AE86-AB85-9A5F-9E45F2059503}"/>
          </ac:cxnSpMkLst>
        </pc:cxnChg>
        <pc:cxnChg chg="add del mod ord">
          <ac:chgData name="Yudi Zhu" userId="571e1a55-055f-4c28-8b35-fca6dd1c1369" providerId="ADAL" clId="{75A88773-6EE1-484E-AADE-FE631E01463B}" dt="2025-11-24T03:26:05.180" v="553377"/>
          <ac:cxnSpMkLst>
            <pc:docMk/>
            <pc:sldMk cId="80455690" sldId="2147483093"/>
            <ac:cxnSpMk id="1513" creationId="{6997F170-2D84-3DE8-6D7F-8E06646EF4E9}"/>
          </ac:cxnSpMkLst>
        </pc:cxnChg>
        <pc:cxnChg chg="add del mod ord">
          <ac:chgData name="Yudi Zhu" userId="571e1a55-055f-4c28-8b35-fca6dd1c1369" providerId="ADAL" clId="{75A88773-6EE1-484E-AADE-FE631E01463B}" dt="2025-11-24T03:26:05.193" v="553394"/>
          <ac:cxnSpMkLst>
            <pc:docMk/>
            <pc:sldMk cId="80455690" sldId="2147483093"/>
            <ac:cxnSpMk id="1514" creationId="{C51824A3-FD67-432E-199D-B11265E093B0}"/>
          </ac:cxnSpMkLst>
        </pc:cxnChg>
        <pc:cxnChg chg="add del mod ord">
          <ac:chgData name="Yudi Zhu" userId="571e1a55-055f-4c28-8b35-fca6dd1c1369" providerId="ADAL" clId="{75A88773-6EE1-484E-AADE-FE631E01463B}" dt="2025-11-24T03:26:05.193" v="553409"/>
          <ac:cxnSpMkLst>
            <pc:docMk/>
            <pc:sldMk cId="80455690" sldId="2147483093"/>
            <ac:cxnSpMk id="1515" creationId="{DB8701B3-FB43-5022-B8F5-35795D6998CB}"/>
          </ac:cxnSpMkLst>
        </pc:cxnChg>
        <pc:cxnChg chg="add del mod ord">
          <ac:chgData name="Yudi Zhu" userId="571e1a55-055f-4c28-8b35-fca6dd1c1369" providerId="ADAL" clId="{75A88773-6EE1-484E-AADE-FE631E01463B}" dt="2025-11-24T03:26:05.209" v="553421"/>
          <ac:cxnSpMkLst>
            <pc:docMk/>
            <pc:sldMk cId="80455690" sldId="2147483093"/>
            <ac:cxnSpMk id="1516" creationId="{2BADA424-D5D7-72B0-774D-EE32CA6C9033}"/>
          </ac:cxnSpMkLst>
        </pc:cxnChg>
        <pc:cxnChg chg="add del mod ord">
          <ac:chgData name="Yudi Zhu" userId="571e1a55-055f-4c28-8b35-fca6dd1c1369" providerId="ADAL" clId="{75A88773-6EE1-484E-AADE-FE631E01463B}" dt="2025-11-24T03:26:05.225" v="553438"/>
          <ac:cxnSpMkLst>
            <pc:docMk/>
            <pc:sldMk cId="80455690" sldId="2147483093"/>
            <ac:cxnSpMk id="1517" creationId="{EE810B79-9480-5216-9C2D-584671B9D0AB}"/>
          </ac:cxnSpMkLst>
        </pc:cxnChg>
        <pc:cxnChg chg="add del mod ord">
          <ac:chgData name="Yudi Zhu" userId="571e1a55-055f-4c28-8b35-fca6dd1c1369" providerId="ADAL" clId="{75A88773-6EE1-484E-AADE-FE631E01463B}" dt="2025-11-24T03:27:32.223" v="557723"/>
          <ac:cxnSpMkLst>
            <pc:docMk/>
            <pc:sldMk cId="80455690" sldId="2147483093"/>
            <ac:cxnSpMk id="1518" creationId="{E2BCFB2B-9FAD-C6FD-6038-09681BA4A865}"/>
          </ac:cxnSpMkLst>
        </pc:cxnChg>
        <pc:cxnChg chg="add mod ord">
          <ac:chgData name="Yudi Zhu" userId="571e1a55-055f-4c28-8b35-fca6dd1c1369" providerId="ADAL" clId="{75A88773-6EE1-484E-AADE-FE631E01463B}" dt="2025-11-25T10:14:15.516" v="658100"/>
          <ac:cxnSpMkLst>
            <pc:docMk/>
            <pc:sldMk cId="80455690" sldId="2147483093"/>
            <ac:cxnSpMk id="1519" creationId="{DB475FC9-58A8-F50C-7AD4-C76A1BA430D5}"/>
          </ac:cxnSpMkLst>
        </pc:cxnChg>
        <pc:cxnChg chg="add del mod ord">
          <ac:chgData name="Yudi Zhu" userId="571e1a55-055f-4c28-8b35-fca6dd1c1369" providerId="ADAL" clId="{75A88773-6EE1-484E-AADE-FE631E01463B}" dt="2025-11-24T04:19:18.230" v="637142"/>
          <ac:cxnSpMkLst>
            <pc:docMk/>
            <pc:sldMk cId="80455690" sldId="2147483093"/>
            <ac:cxnSpMk id="1520" creationId="{3CB49AF6-9704-491C-F81E-0D23463A0055}"/>
          </ac:cxnSpMkLst>
        </pc:cxnChg>
        <pc:cxnChg chg="add del mod ord">
          <ac:chgData name="Yudi Zhu" userId="571e1a55-055f-4c28-8b35-fca6dd1c1369" providerId="ADAL" clId="{75A88773-6EE1-484E-AADE-FE631E01463B}" dt="2025-11-24T03:27:32.223" v="557743"/>
          <ac:cxnSpMkLst>
            <pc:docMk/>
            <pc:sldMk cId="80455690" sldId="2147483093"/>
            <ac:cxnSpMk id="1521" creationId="{55E73DB0-A0E4-71FC-5AAE-3C18C44CCEEB}"/>
          </ac:cxnSpMkLst>
        </pc:cxnChg>
        <pc:cxnChg chg="add del mod ord">
          <ac:chgData name="Yudi Zhu" userId="571e1a55-055f-4c28-8b35-fca6dd1c1369" providerId="ADAL" clId="{75A88773-6EE1-484E-AADE-FE631E01463B}" dt="2025-11-24T03:27:32.223" v="557755"/>
          <ac:cxnSpMkLst>
            <pc:docMk/>
            <pc:sldMk cId="80455690" sldId="2147483093"/>
            <ac:cxnSpMk id="1522" creationId="{681D01FD-4347-688F-12A5-FCA3507C8646}"/>
          </ac:cxnSpMkLst>
        </pc:cxnChg>
        <pc:cxnChg chg="add del mod ord">
          <ac:chgData name="Yudi Zhu" userId="571e1a55-055f-4c28-8b35-fca6dd1c1369" providerId="ADAL" clId="{75A88773-6EE1-484E-AADE-FE631E01463B}" dt="2025-11-24T03:27:32.239" v="557767"/>
          <ac:cxnSpMkLst>
            <pc:docMk/>
            <pc:sldMk cId="80455690" sldId="2147483093"/>
            <ac:cxnSpMk id="1523" creationId="{D98D5A56-5E94-DDF0-5D94-5C06251F0381}"/>
          </ac:cxnSpMkLst>
        </pc:cxnChg>
        <pc:cxnChg chg="add mod ord">
          <ac:chgData name="Yudi Zhu" userId="571e1a55-055f-4c28-8b35-fca6dd1c1369" providerId="ADAL" clId="{75A88773-6EE1-484E-AADE-FE631E01463B}" dt="2025-11-25T10:14:15.516" v="658116"/>
          <ac:cxnSpMkLst>
            <pc:docMk/>
            <pc:sldMk cId="80455690" sldId="2147483093"/>
            <ac:cxnSpMk id="1524" creationId="{C473C6AD-8681-B41F-FEBD-B32D433102CF}"/>
          </ac:cxnSpMkLst>
        </pc:cxnChg>
        <pc:cxnChg chg="add del mod ord">
          <ac:chgData name="Yudi Zhu" userId="571e1a55-055f-4c28-8b35-fca6dd1c1369" providerId="ADAL" clId="{75A88773-6EE1-484E-AADE-FE631E01463B}" dt="2025-11-24T03:27:32.161" v="557619"/>
          <ac:cxnSpMkLst>
            <pc:docMk/>
            <pc:sldMk cId="80455690" sldId="2147483093"/>
            <ac:cxnSpMk id="1527" creationId="{670AD662-8CEA-8FA1-4EE9-5388BBB7B926}"/>
          </ac:cxnSpMkLst>
        </pc:cxnChg>
        <pc:cxnChg chg="add del mod ord">
          <ac:chgData name="Yudi Zhu" userId="571e1a55-055f-4c28-8b35-fca6dd1c1369" providerId="ADAL" clId="{75A88773-6EE1-484E-AADE-FE631E01463B}" dt="2025-11-24T03:27:32.176" v="557650"/>
          <ac:cxnSpMkLst>
            <pc:docMk/>
            <pc:sldMk cId="80455690" sldId="2147483093"/>
            <ac:cxnSpMk id="1528" creationId="{5BCC1218-DE91-F5E3-AB74-71E0D575D31E}"/>
          </ac:cxnSpMkLst>
        </pc:cxnChg>
        <pc:cxnChg chg="add del mod ord">
          <ac:chgData name="Yudi Zhu" userId="571e1a55-055f-4c28-8b35-fca6dd1c1369" providerId="ADAL" clId="{75A88773-6EE1-484E-AADE-FE631E01463B}" dt="2025-11-24T03:27:32.192" v="557665"/>
          <ac:cxnSpMkLst>
            <pc:docMk/>
            <pc:sldMk cId="80455690" sldId="2147483093"/>
            <ac:cxnSpMk id="1529" creationId="{1E8EC518-0E2F-5F1B-819B-73B5755E40D5}"/>
          </ac:cxnSpMkLst>
        </pc:cxnChg>
        <pc:cxnChg chg="add del mod ord">
          <ac:chgData name="Yudi Zhu" userId="571e1a55-055f-4c28-8b35-fca6dd1c1369" providerId="ADAL" clId="{75A88773-6EE1-484E-AADE-FE631E01463B}" dt="2025-11-24T03:27:32.192" v="557680"/>
          <ac:cxnSpMkLst>
            <pc:docMk/>
            <pc:sldMk cId="80455690" sldId="2147483093"/>
            <ac:cxnSpMk id="1530" creationId="{776A787D-7E5C-36BD-9C08-CBCA774C0291}"/>
          </ac:cxnSpMkLst>
        </pc:cxnChg>
        <pc:cxnChg chg="add del mod ord">
          <ac:chgData name="Yudi Zhu" userId="571e1a55-055f-4c28-8b35-fca6dd1c1369" providerId="ADAL" clId="{75A88773-6EE1-484E-AADE-FE631E01463B}" dt="2025-11-24T03:27:44.075" v="558763"/>
          <ac:cxnSpMkLst>
            <pc:docMk/>
            <pc:sldMk cId="80455690" sldId="2147483093"/>
            <ac:cxnSpMk id="1531" creationId="{9175F3F4-0FC7-E43C-377A-FD87A6D993D1}"/>
          </ac:cxnSpMkLst>
        </pc:cxnChg>
        <pc:cxnChg chg="add del mod ord">
          <ac:chgData name="Yudi Zhu" userId="571e1a55-055f-4c28-8b35-fca6dd1c1369" providerId="ADAL" clId="{75A88773-6EE1-484E-AADE-FE631E01463B}" dt="2025-11-24T03:27:44.094" v="558783"/>
          <ac:cxnSpMkLst>
            <pc:docMk/>
            <pc:sldMk cId="80455690" sldId="2147483093"/>
            <ac:cxnSpMk id="1532" creationId="{B4FC7A94-0890-E8F0-BFF9-77DBBF499246}"/>
          </ac:cxnSpMkLst>
        </pc:cxnChg>
        <pc:cxnChg chg="add del mod ord">
          <ac:chgData name="Yudi Zhu" userId="571e1a55-055f-4c28-8b35-fca6dd1c1369" providerId="ADAL" clId="{75A88773-6EE1-484E-AADE-FE631E01463B}" dt="2025-11-24T03:27:44.094" v="558795"/>
          <ac:cxnSpMkLst>
            <pc:docMk/>
            <pc:sldMk cId="80455690" sldId="2147483093"/>
            <ac:cxnSpMk id="1533" creationId="{FA077BDA-CC18-835D-3AFC-69FE77F75A34}"/>
          </ac:cxnSpMkLst>
        </pc:cxnChg>
        <pc:cxnChg chg="add del mod ord">
          <ac:chgData name="Yudi Zhu" userId="571e1a55-055f-4c28-8b35-fca6dd1c1369" providerId="ADAL" clId="{75A88773-6EE1-484E-AADE-FE631E01463B}" dt="2025-11-24T03:27:44.107" v="558807"/>
          <ac:cxnSpMkLst>
            <pc:docMk/>
            <pc:sldMk cId="80455690" sldId="2147483093"/>
            <ac:cxnSpMk id="1534" creationId="{D83792EE-0007-5D48-2C85-66BA5665278F}"/>
          </ac:cxnSpMkLst>
        </pc:cxnChg>
        <pc:cxnChg chg="add mod ord">
          <ac:chgData name="Yudi Zhu" userId="571e1a55-055f-4c28-8b35-fca6dd1c1369" providerId="ADAL" clId="{75A88773-6EE1-484E-AADE-FE631E01463B}" dt="2025-11-24T03:27:00.509" v="556887"/>
          <ac:cxnSpMkLst>
            <pc:docMk/>
            <pc:sldMk cId="80455690" sldId="2147483093"/>
            <ac:cxnSpMk id="1560" creationId="{CE629F24-F7A9-AC6E-6BC5-F9B96D559E29}"/>
          </ac:cxnSpMkLst>
        </pc:cxnChg>
        <pc:cxnChg chg="add mod ord">
          <ac:chgData name="Yudi Zhu" userId="571e1a55-055f-4c28-8b35-fca6dd1c1369" providerId="ADAL" clId="{75A88773-6EE1-484E-AADE-FE631E01463B}" dt="2025-11-24T03:27:00.509" v="556887"/>
          <ac:cxnSpMkLst>
            <pc:docMk/>
            <pc:sldMk cId="80455690" sldId="2147483093"/>
            <ac:cxnSpMk id="1561" creationId="{03A45783-04E3-E734-1445-C407CD2F43AD}"/>
          </ac:cxnSpMkLst>
        </pc:cxnChg>
        <pc:cxnChg chg="add del mod ord">
          <ac:chgData name="Yudi Zhu" userId="571e1a55-055f-4c28-8b35-fca6dd1c1369" providerId="ADAL" clId="{75A88773-6EE1-484E-AADE-FE631E01463B}" dt="2025-11-24T03:27:44.023" v="558655"/>
          <ac:cxnSpMkLst>
            <pc:docMk/>
            <pc:sldMk cId="80455690" sldId="2147483093"/>
            <ac:cxnSpMk id="1573" creationId="{677B43D8-C60D-9BAE-CCF5-9799556AC05F}"/>
          </ac:cxnSpMkLst>
        </pc:cxnChg>
        <pc:cxnChg chg="add del mod ord">
          <ac:chgData name="Yudi Zhu" userId="571e1a55-055f-4c28-8b35-fca6dd1c1369" providerId="ADAL" clId="{75A88773-6EE1-484E-AADE-FE631E01463B}" dt="2025-11-24T03:27:44.042" v="558687"/>
          <ac:cxnSpMkLst>
            <pc:docMk/>
            <pc:sldMk cId="80455690" sldId="2147483093"/>
            <ac:cxnSpMk id="1574" creationId="{D5E13FDE-A0CF-9393-079C-21043C9E2227}"/>
          </ac:cxnSpMkLst>
        </pc:cxnChg>
        <pc:cxnChg chg="add del mod ord">
          <ac:chgData name="Yudi Zhu" userId="571e1a55-055f-4c28-8b35-fca6dd1c1369" providerId="ADAL" clId="{75A88773-6EE1-484E-AADE-FE631E01463B}" dt="2025-11-24T03:27:44.044" v="558703"/>
          <ac:cxnSpMkLst>
            <pc:docMk/>
            <pc:sldMk cId="80455690" sldId="2147483093"/>
            <ac:cxnSpMk id="1575" creationId="{94E9170F-F8E9-9724-32E2-D6564A798D60}"/>
          </ac:cxnSpMkLst>
        </pc:cxnChg>
        <pc:cxnChg chg="add del mod ord">
          <ac:chgData name="Yudi Zhu" userId="571e1a55-055f-4c28-8b35-fca6dd1c1369" providerId="ADAL" clId="{75A88773-6EE1-484E-AADE-FE631E01463B}" dt="2025-11-24T03:27:44.059" v="558719"/>
          <ac:cxnSpMkLst>
            <pc:docMk/>
            <pc:sldMk cId="80455690" sldId="2147483093"/>
            <ac:cxnSpMk id="1576" creationId="{11585BDF-EA62-C9A6-5857-455C2948F88E}"/>
          </ac:cxnSpMkLst>
        </pc:cxnChg>
        <pc:cxnChg chg="add del mod ord">
          <ac:chgData name="Yudi Zhu" userId="571e1a55-055f-4c28-8b35-fca6dd1c1369" providerId="ADAL" clId="{75A88773-6EE1-484E-AADE-FE631E01463B}" dt="2025-11-24T04:19:18.222" v="637130"/>
          <ac:cxnSpMkLst>
            <pc:docMk/>
            <pc:sldMk cId="80455690" sldId="2147483093"/>
            <ac:cxnSpMk id="1577" creationId="{EF2CE3C8-E135-885D-EBCD-640E0243BA5B}"/>
          </ac:cxnSpMkLst>
        </pc:cxnChg>
        <pc:cxnChg chg="add del mod ord">
          <ac:chgData name="Yudi Zhu" userId="571e1a55-055f-4c28-8b35-fca6dd1c1369" providerId="ADAL" clId="{75A88773-6EE1-484E-AADE-FE631E01463B}" dt="2025-11-24T04:19:18.236" v="637154"/>
          <ac:cxnSpMkLst>
            <pc:docMk/>
            <pc:sldMk cId="80455690" sldId="2147483093"/>
            <ac:cxnSpMk id="1580" creationId="{E99143B8-5E44-602C-11F8-899233E0CA94}"/>
          </ac:cxnSpMkLst>
        </pc:cxnChg>
        <pc:cxnChg chg="add mod ord">
          <ac:chgData name="Yudi Zhu" userId="571e1a55-055f-4c28-8b35-fca6dd1c1369" providerId="ADAL" clId="{75A88773-6EE1-484E-AADE-FE631E01463B}" dt="2025-11-25T10:14:15.516" v="658086"/>
          <ac:cxnSpMkLst>
            <pc:docMk/>
            <pc:sldMk cId="80455690" sldId="2147483093"/>
            <ac:cxnSpMk id="1581" creationId="{822DC2B8-79ED-2E97-65D5-B24BD6099DE3}"/>
          </ac:cxnSpMkLst>
        </pc:cxnChg>
        <pc:cxnChg chg="add mod ord">
          <ac:chgData name="Yudi Zhu" userId="571e1a55-055f-4c28-8b35-fca6dd1c1369" providerId="ADAL" clId="{75A88773-6EE1-484E-AADE-FE631E01463B}" dt="2025-11-25T10:14:15.516" v="658112"/>
          <ac:cxnSpMkLst>
            <pc:docMk/>
            <pc:sldMk cId="80455690" sldId="2147483093"/>
            <ac:cxnSpMk id="1582" creationId="{522C1A32-4C1E-7C5A-1A1F-AB0C8073B48E}"/>
          </ac:cxnSpMkLst>
        </pc:cxnChg>
        <pc:cxnChg chg="add mod ord">
          <ac:chgData name="Yudi Zhu" userId="571e1a55-055f-4c28-8b35-fca6dd1c1369" providerId="ADAL" clId="{75A88773-6EE1-484E-AADE-FE631E01463B}" dt="2025-11-25T10:14:15.516" v="658119"/>
          <ac:cxnSpMkLst>
            <pc:docMk/>
            <pc:sldMk cId="80455690" sldId="2147483093"/>
            <ac:cxnSpMk id="1585" creationId="{26453B75-A203-AEA1-F433-D2A84081DC3A}"/>
          </ac:cxnSpMkLst>
        </pc:cxnChg>
        <pc:cxnChg chg="add mod ord">
          <ac:chgData name="Yudi Zhu" userId="571e1a55-055f-4c28-8b35-fca6dd1c1369" providerId="ADAL" clId="{75A88773-6EE1-484E-AADE-FE631E01463B}" dt="2025-11-25T10:14:15.532" v="658123"/>
          <ac:cxnSpMkLst>
            <pc:docMk/>
            <pc:sldMk cId="80455690" sldId="2147483093"/>
            <ac:cxnSpMk id="1587" creationId="{1F80F8EE-7195-5C60-7F36-66FFA93BEE7C}"/>
          </ac:cxnSpMkLst>
        </pc:cxnChg>
        <pc:cxnChg chg="add mod ord">
          <ac:chgData name="Yudi Zhu" userId="571e1a55-055f-4c28-8b35-fca6dd1c1369" providerId="ADAL" clId="{75A88773-6EE1-484E-AADE-FE631E01463B}" dt="2025-11-25T10:14:15.532" v="658125"/>
          <ac:cxnSpMkLst>
            <pc:docMk/>
            <pc:sldMk cId="80455690" sldId="2147483093"/>
            <ac:cxnSpMk id="1591" creationId="{45B3B88D-C4D2-857C-DE64-D5056A9386D8}"/>
          </ac:cxnSpMkLst>
        </pc:cxnChg>
        <pc:cxnChg chg="add mod ord">
          <ac:chgData name="Yudi Zhu" userId="571e1a55-055f-4c28-8b35-fca6dd1c1369" providerId="ADAL" clId="{75A88773-6EE1-484E-AADE-FE631E01463B}" dt="2025-11-25T10:14:15.532" v="658127"/>
          <ac:cxnSpMkLst>
            <pc:docMk/>
            <pc:sldMk cId="80455690" sldId="2147483093"/>
            <ac:cxnSpMk id="1592" creationId="{80A237D9-085B-F196-46AA-6ECF5BCFF128}"/>
          </ac:cxnSpMkLst>
        </pc:cxnChg>
        <pc:cxnChg chg="add del mod ord">
          <ac:chgData name="Yudi Zhu" userId="571e1a55-055f-4c28-8b35-fca6dd1c1369" providerId="ADAL" clId="{75A88773-6EE1-484E-AADE-FE631E01463B}" dt="2025-11-25T10:14:15.516" v="658096"/>
          <ac:cxnSpMkLst>
            <pc:docMk/>
            <pc:sldMk cId="80455690" sldId="2147483093"/>
            <ac:cxnSpMk id="1593" creationId="{6BDEA4E6-357A-2358-2347-22267E74416D}"/>
          </ac:cxnSpMkLst>
        </pc:cxnChg>
        <pc:cxnChg chg="add del mod ord">
          <ac:chgData name="Yudi Zhu" userId="571e1a55-055f-4c28-8b35-fca6dd1c1369" providerId="ADAL" clId="{75A88773-6EE1-484E-AADE-FE631E01463B}" dt="2025-11-25T10:14:15.516" v="658106"/>
          <ac:cxnSpMkLst>
            <pc:docMk/>
            <pc:sldMk cId="80455690" sldId="2147483093"/>
            <ac:cxnSpMk id="1594" creationId="{CA8BCBDE-7919-DFD2-CB10-EA88A315DC7B}"/>
          </ac:cxnSpMkLst>
        </pc:cxnChg>
        <pc:cxnChg chg="add mod ord">
          <ac:chgData name="Yudi Zhu" userId="571e1a55-055f-4c28-8b35-fca6dd1c1369" providerId="ADAL" clId="{75A88773-6EE1-484E-AADE-FE631E01463B}" dt="2025-11-25T10:14:15.516" v="658110"/>
          <ac:cxnSpMkLst>
            <pc:docMk/>
            <pc:sldMk cId="80455690" sldId="2147483093"/>
            <ac:cxnSpMk id="1595" creationId="{A73ED295-15B4-2F3B-66BB-F98525C1C7AA}"/>
          </ac:cxnSpMkLst>
        </pc:cxnChg>
        <pc:cxnChg chg="add mod ord">
          <ac:chgData name="Yudi Zhu" userId="571e1a55-055f-4c28-8b35-fca6dd1c1369" providerId="ADAL" clId="{75A88773-6EE1-484E-AADE-FE631E01463B}" dt="2025-11-25T10:14:15.516" v="658114"/>
          <ac:cxnSpMkLst>
            <pc:docMk/>
            <pc:sldMk cId="80455690" sldId="2147483093"/>
            <ac:cxnSpMk id="1596" creationId="{C82C9374-0347-8640-AD18-C259C5B53F7E}"/>
          </ac:cxnSpMkLst>
        </pc:cxnChg>
        <pc:cxnChg chg="add mod ord">
          <ac:chgData name="Yudi Zhu" userId="571e1a55-055f-4c28-8b35-fca6dd1c1369" providerId="ADAL" clId="{75A88773-6EE1-484E-AADE-FE631E01463B}" dt="2025-11-25T10:14:15.516" v="658121"/>
          <ac:cxnSpMkLst>
            <pc:docMk/>
            <pc:sldMk cId="80455690" sldId="2147483093"/>
            <ac:cxnSpMk id="1599" creationId="{82B80641-5327-76DC-CF0C-CA9AB465B612}"/>
          </ac:cxnSpMkLst>
        </pc:cxnChg>
        <pc:cxnChg chg="add del mod ord">
          <ac:chgData name="Yudi Zhu" userId="571e1a55-055f-4c28-8b35-fca6dd1c1369" providerId="ADAL" clId="{75A88773-6EE1-484E-AADE-FE631E01463B}" dt="2025-11-25T10:14:15.516" v="658102"/>
          <ac:cxnSpMkLst>
            <pc:docMk/>
            <pc:sldMk cId="80455690" sldId="2147483093"/>
            <ac:cxnSpMk id="1600" creationId="{04D1FAC4-6359-D7AF-AB55-F04359BE2FF7}"/>
          </ac:cxnSpMkLst>
        </pc:cxnChg>
        <pc:cxnChg chg="add mod ord">
          <ac:chgData name="Yudi Zhu" userId="571e1a55-055f-4c28-8b35-fca6dd1c1369" providerId="ADAL" clId="{75A88773-6EE1-484E-AADE-FE631E01463B}" dt="2025-11-25T10:14:15.605" v="658328"/>
          <ac:cxnSpMkLst>
            <pc:docMk/>
            <pc:sldMk cId="80455690" sldId="2147483093"/>
            <ac:cxnSpMk id="1632" creationId="{B4DA3414-B571-A710-4CA4-455FEA70C690}"/>
          </ac:cxnSpMkLst>
        </pc:cxnChg>
        <pc:cxnChg chg="add mod ord">
          <ac:chgData name="Yudi Zhu" userId="571e1a55-055f-4c28-8b35-fca6dd1c1369" providerId="ADAL" clId="{75A88773-6EE1-484E-AADE-FE631E01463B}" dt="2025-11-25T10:14:15.605" v="658330"/>
          <ac:cxnSpMkLst>
            <pc:docMk/>
            <pc:sldMk cId="80455690" sldId="2147483093"/>
            <ac:cxnSpMk id="1633" creationId="{44C7D2AB-95F3-D282-89C9-1BEC81DB6D59}"/>
          </ac:cxnSpMkLst>
        </pc:cxnChg>
        <pc:cxnChg chg="add mod ord">
          <ac:chgData name="Yudi Zhu" userId="571e1a55-055f-4c28-8b35-fca6dd1c1369" providerId="ADAL" clId="{75A88773-6EE1-484E-AADE-FE631E01463B}" dt="2025-11-25T10:14:15.605" v="658332"/>
          <ac:cxnSpMkLst>
            <pc:docMk/>
            <pc:sldMk cId="80455690" sldId="2147483093"/>
            <ac:cxnSpMk id="1634" creationId="{AFA34B1B-0F62-2E29-39C8-9E8DC52E3487}"/>
          </ac:cxnSpMkLst>
        </pc:cxnChg>
        <pc:cxnChg chg="add mod ord">
          <ac:chgData name="Yudi Zhu" userId="571e1a55-055f-4c28-8b35-fca6dd1c1369" providerId="ADAL" clId="{75A88773-6EE1-484E-AADE-FE631E01463B}" dt="2025-11-25T10:14:15.621" v="658348"/>
          <ac:cxnSpMkLst>
            <pc:docMk/>
            <pc:sldMk cId="80455690" sldId="2147483093"/>
            <ac:cxnSpMk id="1718" creationId="{BB946B49-2560-B6BC-DC3B-8E2B7788DF77}"/>
          </ac:cxnSpMkLst>
        </pc:cxnChg>
        <pc:cxnChg chg="add del mod ord">
          <ac:chgData name="Yudi Zhu" userId="571e1a55-055f-4c28-8b35-fca6dd1c1369" providerId="ADAL" clId="{75A88773-6EE1-484E-AADE-FE631E01463B}" dt="2025-11-24T04:16:55.875" v="630639"/>
          <ac:cxnSpMkLst>
            <pc:docMk/>
            <pc:sldMk cId="80455690" sldId="2147483093"/>
            <ac:cxnSpMk id="1719" creationId="{86D50972-24CA-21B3-7A84-225DF0E2D40A}"/>
          </ac:cxnSpMkLst>
        </pc:cxnChg>
        <pc:cxnChg chg="add mod ord">
          <ac:chgData name="Yudi Zhu" userId="571e1a55-055f-4c28-8b35-fca6dd1c1369" providerId="ADAL" clId="{75A88773-6EE1-484E-AADE-FE631E01463B}" dt="2025-11-25T10:14:15.621" v="658346"/>
          <ac:cxnSpMkLst>
            <pc:docMk/>
            <pc:sldMk cId="80455690" sldId="2147483093"/>
            <ac:cxnSpMk id="1753" creationId="{6F89B6DC-E3F5-CD48-0D46-FFAA36062107}"/>
          </ac:cxnSpMkLst>
        </pc:cxnChg>
        <pc:cxnChg chg="add del mod ord">
          <ac:chgData name="Yudi Zhu" userId="571e1a55-055f-4c28-8b35-fca6dd1c1369" providerId="ADAL" clId="{75A88773-6EE1-484E-AADE-FE631E01463B}" dt="2025-11-24T03:46:33.039" v="584332"/>
          <ac:cxnSpMkLst>
            <pc:docMk/>
            <pc:sldMk cId="80455690" sldId="2147483093"/>
            <ac:cxnSpMk id="1758" creationId="{27064334-D93E-0AEA-0033-9A093E05F7B2}"/>
          </ac:cxnSpMkLst>
        </pc:cxnChg>
        <pc:cxnChg chg="add del mod ord">
          <ac:chgData name="Yudi Zhu" userId="571e1a55-055f-4c28-8b35-fca6dd1c1369" providerId="ADAL" clId="{75A88773-6EE1-484E-AADE-FE631E01463B}" dt="2025-11-24T03:46:33.054" v="584348"/>
          <ac:cxnSpMkLst>
            <pc:docMk/>
            <pc:sldMk cId="80455690" sldId="2147483093"/>
            <ac:cxnSpMk id="1761" creationId="{1D71E13D-51B0-4960-8043-4817BE878E83}"/>
          </ac:cxnSpMkLst>
        </pc:cxnChg>
        <pc:cxnChg chg="add del mod ord">
          <ac:chgData name="Yudi Zhu" userId="571e1a55-055f-4c28-8b35-fca6dd1c1369" providerId="ADAL" clId="{75A88773-6EE1-484E-AADE-FE631E01463B}" dt="2025-11-24T03:47:16.017" v="587086"/>
          <ac:cxnSpMkLst>
            <pc:docMk/>
            <pc:sldMk cId="80455690" sldId="2147483093"/>
            <ac:cxnSpMk id="1767" creationId="{20A4FE0D-F91F-21D0-DF0B-537BDB8D12B9}"/>
          </ac:cxnSpMkLst>
        </pc:cxnChg>
        <pc:cxnChg chg="add del mod ord">
          <ac:chgData name="Yudi Zhu" userId="571e1a55-055f-4c28-8b35-fca6dd1c1369" providerId="ADAL" clId="{75A88773-6EE1-484E-AADE-FE631E01463B}" dt="2025-11-24T03:47:33.682" v="588177"/>
          <ac:cxnSpMkLst>
            <pc:docMk/>
            <pc:sldMk cId="80455690" sldId="2147483093"/>
            <ac:cxnSpMk id="1811" creationId="{E1A8731B-22AB-C055-A237-85576170C16F}"/>
          </ac:cxnSpMkLst>
        </pc:cxnChg>
        <pc:cxnChg chg="mod ord">
          <ac:chgData name="Yudi Zhu" userId="571e1a55-055f-4c28-8b35-fca6dd1c1369" providerId="ADAL" clId="{75A88773-6EE1-484E-AADE-FE631E01463B}" dt="2025-11-25T10:14:15.573" v="658251"/>
          <ac:cxnSpMkLst>
            <pc:docMk/>
            <pc:sldMk cId="80455690" sldId="2147483093"/>
            <ac:cxnSpMk id="1819" creationId="{89A23327-5608-B9B1-48B6-09A5B94BD12A}"/>
          </ac:cxnSpMkLst>
        </pc:cxnChg>
        <pc:cxnChg chg="add mod ord">
          <ac:chgData name="Yudi Zhu" userId="571e1a55-055f-4c28-8b35-fca6dd1c1369" providerId="ADAL" clId="{75A88773-6EE1-484E-AADE-FE631E01463B}" dt="2025-11-25T10:14:15.589" v="658261"/>
          <ac:cxnSpMkLst>
            <pc:docMk/>
            <pc:sldMk cId="80455690" sldId="2147483093"/>
            <ac:cxnSpMk id="1856" creationId="{D1BA9907-3658-82E5-F2ED-A6180F1B2854}"/>
          </ac:cxnSpMkLst>
        </pc:cxnChg>
        <pc:cxnChg chg="add mod ord">
          <ac:chgData name="Yudi Zhu" userId="571e1a55-055f-4c28-8b35-fca6dd1c1369" providerId="ADAL" clId="{75A88773-6EE1-484E-AADE-FE631E01463B}" dt="2025-11-25T10:14:15.589" v="658263"/>
          <ac:cxnSpMkLst>
            <pc:docMk/>
            <pc:sldMk cId="80455690" sldId="2147483093"/>
            <ac:cxnSpMk id="1857" creationId="{CF12010B-7B22-DD94-C36D-C11F4ECD2C5D}"/>
          </ac:cxnSpMkLst>
        </pc:cxnChg>
        <pc:cxnChg chg="add mod ord">
          <ac:chgData name="Yudi Zhu" userId="571e1a55-055f-4c28-8b35-fca6dd1c1369" providerId="ADAL" clId="{75A88773-6EE1-484E-AADE-FE631E01463B}" dt="2025-11-25T10:14:15.573" v="658227"/>
          <ac:cxnSpMkLst>
            <pc:docMk/>
            <pc:sldMk cId="80455690" sldId="2147483093"/>
            <ac:cxnSpMk id="1858" creationId="{0D4B99E3-DB56-6849-EF97-337EA1B0324A}"/>
          </ac:cxnSpMkLst>
        </pc:cxnChg>
        <pc:cxnChg chg="add mod ord">
          <ac:chgData name="Yudi Zhu" userId="571e1a55-055f-4c28-8b35-fca6dd1c1369" providerId="ADAL" clId="{75A88773-6EE1-484E-AADE-FE631E01463B}" dt="2025-11-25T10:14:15.573" v="658241"/>
          <ac:cxnSpMkLst>
            <pc:docMk/>
            <pc:sldMk cId="80455690" sldId="2147483093"/>
            <ac:cxnSpMk id="1859" creationId="{FD8FF0CA-37CF-D887-74DE-07CF29094DE7}"/>
          </ac:cxnSpMkLst>
        </pc:cxnChg>
        <pc:cxnChg chg="add mod ord">
          <ac:chgData name="Yudi Zhu" userId="571e1a55-055f-4c28-8b35-fca6dd1c1369" providerId="ADAL" clId="{75A88773-6EE1-484E-AADE-FE631E01463B}" dt="2025-11-25T10:14:15.573" v="658253"/>
          <ac:cxnSpMkLst>
            <pc:docMk/>
            <pc:sldMk cId="80455690" sldId="2147483093"/>
            <ac:cxnSpMk id="1860" creationId="{1A93DD93-BD90-4150-D381-32F900E769FB}"/>
          </ac:cxnSpMkLst>
        </pc:cxnChg>
        <pc:cxnChg chg="add mod ord">
          <ac:chgData name="Yudi Zhu" userId="571e1a55-055f-4c28-8b35-fca6dd1c1369" providerId="ADAL" clId="{75A88773-6EE1-484E-AADE-FE631E01463B}" dt="2025-11-25T10:14:15.573" v="658221"/>
          <ac:cxnSpMkLst>
            <pc:docMk/>
            <pc:sldMk cId="80455690" sldId="2147483093"/>
            <ac:cxnSpMk id="1861" creationId="{15660DEE-4916-933D-E2C2-A4D09FBA11D1}"/>
          </ac:cxnSpMkLst>
        </pc:cxnChg>
        <pc:cxnChg chg="add del mod ord">
          <ac:chgData name="Yudi Zhu" userId="571e1a55-055f-4c28-8b35-fca6dd1c1369" providerId="ADAL" clId="{75A88773-6EE1-484E-AADE-FE631E01463B}" dt="2025-11-24T02:59:10.579" v="485522"/>
          <ac:cxnSpMkLst>
            <pc:docMk/>
            <pc:sldMk cId="80455690" sldId="2147483093"/>
            <ac:cxnSpMk id="1863" creationId="{82AE9ACB-2353-CEE5-B55B-82BF25067C69}"/>
          </ac:cxnSpMkLst>
        </pc:cxnChg>
        <pc:cxnChg chg="add mod ord">
          <ac:chgData name="Yudi Zhu" userId="571e1a55-055f-4c28-8b35-fca6dd1c1369" providerId="ADAL" clId="{75A88773-6EE1-484E-AADE-FE631E01463B}" dt="2025-11-25T10:14:15.550" v="658165"/>
          <ac:cxnSpMkLst>
            <pc:docMk/>
            <pc:sldMk cId="80455690" sldId="2147483093"/>
            <ac:cxnSpMk id="1915" creationId="{556810A5-1ED5-31DD-E50C-A26A7DB04837}"/>
          </ac:cxnSpMkLst>
        </pc:cxnChg>
        <pc:cxnChg chg="add mod ord">
          <ac:chgData name="Yudi Zhu" userId="571e1a55-055f-4c28-8b35-fca6dd1c1369" providerId="ADAL" clId="{75A88773-6EE1-484E-AADE-FE631E01463B}" dt="2025-11-25T10:14:15.551" v="658167"/>
          <ac:cxnSpMkLst>
            <pc:docMk/>
            <pc:sldMk cId="80455690" sldId="2147483093"/>
            <ac:cxnSpMk id="1916" creationId="{7945F6A2-9F38-277D-F5AE-EF96B3C11E5E}"/>
          </ac:cxnSpMkLst>
        </pc:cxnChg>
        <pc:cxnChg chg="add mod ord">
          <ac:chgData name="Yudi Zhu" userId="571e1a55-055f-4c28-8b35-fca6dd1c1369" providerId="ADAL" clId="{75A88773-6EE1-484E-AADE-FE631E01463B}" dt="2025-11-25T10:14:15.621" v="658350"/>
          <ac:cxnSpMkLst>
            <pc:docMk/>
            <pc:sldMk cId="80455690" sldId="2147483093"/>
            <ac:cxnSpMk id="2027" creationId="{EDEC6A54-327B-6A29-4374-80B7580FFFF9}"/>
          </ac:cxnSpMkLst>
        </pc:cxnChg>
        <pc:cxnChg chg="add del mod ord">
          <ac:chgData name="Yudi Zhu" userId="571e1a55-055f-4c28-8b35-fca6dd1c1369" providerId="ADAL" clId="{75A88773-6EE1-484E-AADE-FE631E01463B}" dt="2025-11-25T10:14:15.516" v="658088"/>
          <ac:cxnSpMkLst>
            <pc:docMk/>
            <pc:sldMk cId="80455690" sldId="2147483093"/>
            <ac:cxnSpMk id="2048" creationId="{977756EB-51BC-9FC9-0AE4-4BD27EE431BC}"/>
          </ac:cxnSpMkLst>
        </pc:cxnChg>
        <pc:cxnChg chg="add mod ord">
          <ac:chgData name="Yudi Zhu" userId="571e1a55-055f-4c28-8b35-fca6dd1c1369" providerId="ADAL" clId="{75A88773-6EE1-484E-AADE-FE631E01463B}" dt="2025-11-25T10:14:15.516" v="658098"/>
          <ac:cxnSpMkLst>
            <pc:docMk/>
            <pc:sldMk cId="80455690" sldId="2147483093"/>
            <ac:cxnSpMk id="2049" creationId="{A165F795-E25E-73C6-34EF-CDE2FFF090E5}"/>
          </ac:cxnSpMkLst>
        </pc:cxnChg>
        <pc:cxnChg chg="add mod ord">
          <ac:chgData name="Yudi Zhu" userId="571e1a55-055f-4c28-8b35-fca6dd1c1369" providerId="ADAL" clId="{75A88773-6EE1-484E-AADE-FE631E01463B}" dt="2025-11-25T10:14:15.516" v="658104"/>
          <ac:cxnSpMkLst>
            <pc:docMk/>
            <pc:sldMk cId="80455690" sldId="2147483093"/>
            <ac:cxnSpMk id="2050" creationId="{EDE25A69-B05D-15E3-7AA6-CD653F7DBFDD}"/>
          </ac:cxnSpMkLst>
        </pc:cxnChg>
        <pc:cxnChg chg="add mod ord">
          <ac:chgData name="Yudi Zhu" userId="571e1a55-055f-4c28-8b35-fca6dd1c1369" providerId="ADAL" clId="{75A88773-6EE1-484E-AADE-FE631E01463B}" dt="2025-11-25T10:14:15.516" v="658108"/>
          <ac:cxnSpMkLst>
            <pc:docMk/>
            <pc:sldMk cId="80455690" sldId="2147483093"/>
            <ac:cxnSpMk id="2051" creationId="{2E9608A4-AA98-2C22-9C43-2579A93B7E18}"/>
          </ac:cxnSpMkLst>
        </pc:cxnChg>
        <pc:cxnChg chg="add mod ord">
          <ac:chgData name="Yudi Zhu" userId="571e1a55-055f-4c28-8b35-fca6dd1c1369" providerId="ADAL" clId="{75A88773-6EE1-484E-AADE-FE631E01463B}" dt="2025-11-25T10:14:15.621" v="658368"/>
          <ac:cxnSpMkLst>
            <pc:docMk/>
            <pc:sldMk cId="80455690" sldId="2147483093"/>
            <ac:cxnSpMk id="2074" creationId="{DC085743-D412-C3E0-BD8A-77CCC98E3B10}"/>
          </ac:cxnSpMkLst>
        </pc:cxnChg>
        <pc:cxnChg chg="add del mod ord">
          <ac:chgData name="Yudi Zhu" userId="571e1a55-055f-4c28-8b35-fca6dd1c1369" providerId="ADAL" clId="{75A88773-6EE1-484E-AADE-FE631E01463B}" dt="2025-11-24T05:27:32.999" v="648840"/>
          <ac:cxnSpMkLst>
            <pc:docMk/>
            <pc:sldMk cId="80455690" sldId="2147483093"/>
            <ac:cxnSpMk id="2102" creationId="{9D7BC9F5-030B-3510-E10C-12F673BECEAE}"/>
          </ac:cxnSpMkLst>
        </pc:cxnChg>
        <pc:cxnChg chg="add del mod ord">
          <ac:chgData name="Yudi Zhu" userId="571e1a55-055f-4c28-8b35-fca6dd1c1369" providerId="ADAL" clId="{75A88773-6EE1-484E-AADE-FE631E01463B}" dt="2025-11-24T05:27:53.481" v="650778"/>
          <ac:cxnSpMkLst>
            <pc:docMk/>
            <pc:sldMk cId="80455690" sldId="2147483093"/>
            <ac:cxnSpMk id="2103" creationId="{5C5E131B-A5E5-9860-2F23-4E9102CAF621}"/>
          </ac:cxnSpMkLst>
        </pc:cxnChg>
        <pc:cxnChg chg="add del mod ord">
          <ac:chgData name="Yudi Zhu" userId="571e1a55-055f-4c28-8b35-fca6dd1c1369" providerId="ADAL" clId="{75A88773-6EE1-484E-AADE-FE631E01463B}" dt="2025-11-24T05:27:53.481" v="650781"/>
          <ac:cxnSpMkLst>
            <pc:docMk/>
            <pc:sldMk cId="80455690" sldId="2147483093"/>
            <ac:cxnSpMk id="2108" creationId="{E8E227CC-7745-9B25-A813-76B94702C9B5}"/>
          </ac:cxnSpMkLst>
        </pc:cxnChg>
        <pc:cxnChg chg="add del mod ord">
          <ac:chgData name="Yudi Zhu" userId="571e1a55-055f-4c28-8b35-fca6dd1c1369" providerId="ADAL" clId="{75A88773-6EE1-484E-AADE-FE631E01463B}" dt="2025-11-24T05:27:53.481" v="650775"/>
          <ac:cxnSpMkLst>
            <pc:docMk/>
            <pc:sldMk cId="80455690" sldId="2147483093"/>
            <ac:cxnSpMk id="2109" creationId="{FE615E6B-8E21-140F-0BC7-EE57EDEA0648}"/>
          </ac:cxnSpMkLst>
        </pc:cxnChg>
        <pc:cxnChg chg="add del mod ord">
          <ac:chgData name="Yudi Zhu" userId="571e1a55-055f-4c28-8b35-fca6dd1c1369" providerId="ADAL" clId="{75A88773-6EE1-484E-AADE-FE631E01463B}" dt="2025-11-24T05:27:53.479" v="650771"/>
          <ac:cxnSpMkLst>
            <pc:docMk/>
            <pc:sldMk cId="80455690" sldId="2147483093"/>
            <ac:cxnSpMk id="2110" creationId="{8F65125A-51C4-C5FB-7364-FBB36F704C80}"/>
          </ac:cxnSpMkLst>
        </pc:cxnChg>
        <pc:cxnChg chg="add del mod ord">
          <ac:chgData name="Yudi Zhu" userId="571e1a55-055f-4c28-8b35-fca6dd1c1369" providerId="ADAL" clId="{75A88773-6EE1-484E-AADE-FE631E01463B}" dt="2025-11-24T05:27:38.280" v="649970"/>
          <ac:cxnSpMkLst>
            <pc:docMk/>
            <pc:sldMk cId="80455690" sldId="2147483093"/>
            <ac:cxnSpMk id="2115" creationId="{C7E25B1B-D6DF-0CE4-6496-C794F888C90D}"/>
          </ac:cxnSpMkLst>
        </pc:cxnChg>
        <pc:cxnChg chg="add del mod ord">
          <ac:chgData name="Yudi Zhu" userId="571e1a55-055f-4c28-8b35-fca6dd1c1369" providerId="ADAL" clId="{75A88773-6EE1-484E-AADE-FE631E01463B}" dt="2025-11-24T05:27:53.481" v="650784"/>
          <ac:cxnSpMkLst>
            <pc:docMk/>
            <pc:sldMk cId="80455690" sldId="2147483093"/>
            <ac:cxnSpMk id="2131" creationId="{57A00AF9-E0C0-E1D5-DE8A-CD282B669D56}"/>
          </ac:cxnSpMkLst>
        </pc:cxnChg>
        <pc:cxnChg chg="add del mod ord">
          <ac:chgData name="Yudi Zhu" userId="571e1a55-055f-4c28-8b35-fca6dd1c1369" providerId="ADAL" clId="{75A88773-6EE1-484E-AADE-FE631E01463B}" dt="2025-11-24T05:28:36.079" v="655136"/>
          <ac:cxnSpMkLst>
            <pc:docMk/>
            <pc:sldMk cId="80455690" sldId="2147483093"/>
            <ac:cxnSpMk id="2141" creationId="{5455CA6D-F4E6-08D2-87DE-A2DC4BC458C5}"/>
          </ac:cxnSpMkLst>
        </pc:cxnChg>
        <pc:cxnChg chg="add del mod ord">
          <ac:chgData name="Yudi Zhu" userId="571e1a55-055f-4c28-8b35-fca6dd1c1369" providerId="ADAL" clId="{75A88773-6EE1-484E-AADE-FE631E01463B}" dt="2025-11-24T05:28:36.079" v="655131"/>
          <ac:cxnSpMkLst>
            <pc:docMk/>
            <pc:sldMk cId="80455690" sldId="2147483093"/>
            <ac:cxnSpMk id="2142" creationId="{DC9EC9B3-B18F-CCA9-BF10-81FB9A17C6E3}"/>
          </ac:cxnSpMkLst>
        </pc:cxnChg>
        <pc:cxnChg chg="add del mod ord">
          <ac:chgData name="Yudi Zhu" userId="571e1a55-055f-4c28-8b35-fca6dd1c1369" providerId="ADAL" clId="{75A88773-6EE1-484E-AADE-FE631E01463B}" dt="2025-11-24T05:28:36.079" v="655134"/>
          <ac:cxnSpMkLst>
            <pc:docMk/>
            <pc:sldMk cId="80455690" sldId="2147483093"/>
            <ac:cxnSpMk id="2149" creationId="{7608CACC-ADF1-F2DF-D753-B99010F0F867}"/>
          </ac:cxnSpMkLst>
        </pc:cxnChg>
        <pc:cxnChg chg="add del mod ord">
          <ac:chgData name="Yudi Zhu" userId="571e1a55-055f-4c28-8b35-fca6dd1c1369" providerId="ADAL" clId="{75A88773-6EE1-484E-AADE-FE631E01463B}" dt="2025-11-24T05:28:36.079" v="655129"/>
          <ac:cxnSpMkLst>
            <pc:docMk/>
            <pc:sldMk cId="80455690" sldId="2147483093"/>
            <ac:cxnSpMk id="2150" creationId="{D4967523-9EF7-9C46-4EEF-55C4F4D7ADA1}"/>
          </ac:cxnSpMkLst>
        </pc:cxnChg>
        <pc:cxnChg chg="add del mod ord">
          <ac:chgData name="Yudi Zhu" userId="571e1a55-055f-4c28-8b35-fca6dd1c1369" providerId="ADAL" clId="{75A88773-6EE1-484E-AADE-FE631E01463B}" dt="2025-11-24T05:28:14.573" v="652251"/>
          <ac:cxnSpMkLst>
            <pc:docMk/>
            <pc:sldMk cId="80455690" sldId="2147483093"/>
            <ac:cxnSpMk id="2151" creationId="{8CBB8E2D-1585-DC5D-80F4-073D4557C9AC}"/>
          </ac:cxnSpMkLst>
        </pc:cxnChg>
        <pc:cxnChg chg="add del mod ord">
          <ac:chgData name="Yudi Zhu" userId="571e1a55-055f-4c28-8b35-fca6dd1c1369" providerId="ADAL" clId="{75A88773-6EE1-484E-AADE-FE631E01463B}" dt="2025-11-24T05:28:19.061" v="653371"/>
          <ac:cxnSpMkLst>
            <pc:docMk/>
            <pc:sldMk cId="80455690" sldId="2147483093"/>
            <ac:cxnSpMk id="2164" creationId="{56EDD7E6-2397-E791-BD45-33C599C8C7BB}"/>
          </ac:cxnSpMkLst>
        </pc:cxnChg>
        <pc:cxnChg chg="add del mod ord">
          <ac:chgData name="Yudi Zhu" userId="571e1a55-055f-4c28-8b35-fca6dd1c1369" providerId="ADAL" clId="{75A88773-6EE1-484E-AADE-FE631E01463B}" dt="2025-11-24T05:28:36.079" v="655126"/>
          <ac:cxnSpMkLst>
            <pc:docMk/>
            <pc:sldMk cId="80455690" sldId="2147483093"/>
            <ac:cxnSpMk id="2165" creationId="{569AD6AE-9339-EA89-AF93-C833467A5732}"/>
          </ac:cxnSpMkLst>
        </pc:cxnChg>
        <pc:cxnChg chg="add del mod ord">
          <ac:chgData name="Yudi Zhu" userId="571e1a55-055f-4c28-8b35-fca6dd1c1369" providerId="ADAL" clId="{75A88773-6EE1-484E-AADE-FE631E01463B}" dt="2025-11-24T05:28:19.680" v="653724"/>
          <ac:cxnSpMkLst>
            <pc:docMk/>
            <pc:sldMk cId="80455690" sldId="2147483093"/>
            <ac:cxnSpMk id="2166" creationId="{956F45AF-92AB-BA2B-26CB-F133274B516C}"/>
          </ac:cxnSpMkLst>
        </pc:cxnChg>
      </pc:sldChg>
      <pc:sldChg chg="addSp delSp modSp add del mod modShow">
        <pc:chgData name="Yudi Zhu" userId="571e1a55-055f-4c28-8b35-fca6dd1c1369" providerId="ADAL" clId="{75A88773-6EE1-484E-AADE-FE631E01463B}" dt="2025-11-25T11:14:51.222" v="690930" actId="47"/>
        <pc:sldMkLst>
          <pc:docMk/>
          <pc:sldMk cId="4105311989" sldId="2147483094"/>
        </pc:sldMkLst>
        <pc:spChg chg="mod ord">
          <ac:chgData name="Yudi Zhu" userId="571e1a55-055f-4c28-8b35-fca6dd1c1369" providerId="ADAL" clId="{75A88773-6EE1-484E-AADE-FE631E01463B}" dt="2025-11-24T04:19:48.897" v="639283"/>
          <ac:spMkLst>
            <pc:docMk/>
            <pc:sldMk cId="4105311989" sldId="2147483094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4T01:56:58.892" v="477434"/>
          <ac:spMkLst>
            <pc:docMk/>
            <pc:sldMk cId="4105311989" sldId="2147483094"/>
            <ac:spMk id="3" creationId="{0E0D07D5-9957-19F8-4C3E-2CE010846991}"/>
          </ac:spMkLst>
        </pc:spChg>
        <pc:spChg chg="add del mod modVis">
          <ac:chgData name="Yudi Zhu" userId="571e1a55-055f-4c28-8b35-fca6dd1c1369" providerId="ADAL" clId="{75A88773-6EE1-484E-AADE-FE631E01463B}" dt="2025-11-21T09:58:32.598" v="429441"/>
          <ac:spMkLst>
            <pc:docMk/>
            <pc:sldMk cId="4105311989" sldId="2147483094"/>
            <ac:spMk id="3" creationId="{5370BAF4-4E12-226E-913E-F9A1966D6A15}"/>
          </ac:spMkLst>
        </pc:spChg>
        <pc:spChg chg="add del mod modVis">
          <ac:chgData name="Yudi Zhu" userId="571e1a55-055f-4c28-8b35-fca6dd1c1369" providerId="ADAL" clId="{75A88773-6EE1-484E-AADE-FE631E01463B}" dt="2025-11-21T09:58:57.264" v="430142"/>
          <ac:spMkLst>
            <pc:docMk/>
            <pc:sldMk cId="4105311989" sldId="2147483094"/>
            <ac:spMk id="6" creationId="{456AE855-81A7-4615-CD20-A6ECFF1456DA}"/>
          </ac:spMkLst>
        </pc:spChg>
        <pc:spChg chg="add del mod modVis">
          <ac:chgData name="Yudi Zhu" userId="571e1a55-055f-4c28-8b35-fca6dd1c1369" providerId="ADAL" clId="{75A88773-6EE1-484E-AADE-FE631E01463B}" dt="2025-11-24T01:59:53.811" v="479839"/>
          <ac:spMkLst>
            <pc:docMk/>
            <pc:sldMk cId="4105311989" sldId="2147483094"/>
            <ac:spMk id="6" creationId="{743468B0-2B88-94E4-C599-A5F9312D8179}"/>
          </ac:spMkLst>
        </pc:spChg>
        <pc:spChg chg="add del mod modVis">
          <ac:chgData name="Yudi Zhu" userId="571e1a55-055f-4c28-8b35-fca6dd1c1369" providerId="ADAL" clId="{75A88773-6EE1-484E-AADE-FE631E01463B}" dt="2025-11-24T04:13:49.077" v="622965"/>
          <ac:spMkLst>
            <pc:docMk/>
            <pc:sldMk cId="4105311989" sldId="2147483094"/>
            <ac:spMk id="7" creationId="{ABC2F3D2-B023-7E68-3074-80231DFE9341}"/>
          </ac:spMkLst>
        </pc:spChg>
        <pc:spChg chg="add del mod modVis">
          <ac:chgData name="Yudi Zhu" userId="571e1a55-055f-4c28-8b35-fca6dd1c1369" providerId="ADAL" clId="{75A88773-6EE1-484E-AADE-FE631E01463B}" dt="2025-11-21T09:59:18.134" v="430622"/>
          <ac:spMkLst>
            <pc:docMk/>
            <pc:sldMk cId="4105311989" sldId="2147483094"/>
            <ac:spMk id="14" creationId="{8B9EE7BF-69D9-4BBA-2BCA-240A360A29AF}"/>
          </ac:spMkLst>
        </pc:spChg>
        <pc:spChg chg="add del mod modVis">
          <ac:chgData name="Yudi Zhu" userId="571e1a55-055f-4c28-8b35-fca6dd1c1369" providerId="ADAL" clId="{75A88773-6EE1-484E-AADE-FE631E01463B}" dt="2025-11-21T10:04:02.631" v="442961"/>
          <ac:spMkLst>
            <pc:docMk/>
            <pc:sldMk cId="4105311989" sldId="2147483094"/>
            <ac:spMk id="16" creationId="{214E30DD-877E-1A58-6B74-4A444693B52B}"/>
          </ac:spMkLst>
        </pc:spChg>
        <pc:spChg chg="add del mod modVis">
          <ac:chgData name="Yudi Zhu" userId="571e1a55-055f-4c28-8b35-fca6dd1c1369" providerId="ADAL" clId="{75A88773-6EE1-484E-AADE-FE631E01463B}" dt="2025-11-21T10:03:38.018" v="439325" actId="962"/>
          <ac:spMkLst>
            <pc:docMk/>
            <pc:sldMk cId="4105311989" sldId="2147483094"/>
            <ac:spMk id="18" creationId="{82708F88-AA92-DD4F-8B6C-9ADC2030F2A1}"/>
          </ac:spMkLst>
        </pc:spChg>
        <pc:spChg chg="add del mod modVis">
          <ac:chgData name="Yudi Zhu" userId="571e1a55-055f-4c28-8b35-fca6dd1c1369" providerId="ADAL" clId="{75A88773-6EE1-484E-AADE-FE631E01463B}" dt="2025-11-21T10:03:37.708" v="439114" actId="962"/>
          <ac:spMkLst>
            <pc:docMk/>
            <pc:sldMk cId="4105311989" sldId="2147483094"/>
            <ac:spMk id="20" creationId="{2B9517F0-5796-4195-6246-2C6874E9C2F9}"/>
          </ac:spMkLst>
        </pc:spChg>
        <pc:spChg chg="del mod ord">
          <ac:chgData name="Yudi Zhu" userId="571e1a55-055f-4c28-8b35-fca6dd1c1369" providerId="ADAL" clId="{75A88773-6EE1-484E-AADE-FE631E01463B}" dt="2025-11-21T10:07:02.096" v="448833"/>
          <ac:spMkLst>
            <pc:docMk/>
            <pc:sldMk cId="4105311989" sldId="2147483094"/>
            <ac:spMk id="21" creationId="{F5FD2CA3-DF84-84B1-C246-DDAFEBF51AA1}"/>
          </ac:spMkLst>
        </pc:spChg>
        <pc:spChg chg="del mod ord">
          <ac:chgData name="Yudi Zhu" userId="571e1a55-055f-4c28-8b35-fca6dd1c1369" providerId="ADAL" clId="{75A88773-6EE1-484E-AADE-FE631E01463B}" dt="2025-11-21T10:07:02.143" v="448859"/>
          <ac:spMkLst>
            <pc:docMk/>
            <pc:sldMk cId="4105311989" sldId="2147483094"/>
            <ac:spMk id="24" creationId="{DE7C8047-10AE-DD45-F625-97982F3E7674}"/>
          </ac:spMkLst>
        </pc:spChg>
        <pc:spChg chg="add del mod modVis">
          <ac:chgData name="Yudi Zhu" userId="571e1a55-055f-4c28-8b35-fca6dd1c1369" providerId="ADAL" clId="{75A88773-6EE1-484E-AADE-FE631E01463B}" dt="2025-11-21T10:06:38.393" v="448324"/>
          <ac:spMkLst>
            <pc:docMk/>
            <pc:sldMk cId="4105311989" sldId="2147483094"/>
            <ac:spMk id="25" creationId="{9B2DDF2C-D8D1-0AAA-690D-268F2AC1C8CB}"/>
          </ac:spMkLst>
        </pc:spChg>
        <pc:spChg chg="add del mod modVis">
          <ac:chgData name="Yudi Zhu" userId="571e1a55-055f-4c28-8b35-fca6dd1c1369" providerId="ADAL" clId="{75A88773-6EE1-484E-AADE-FE631E01463B}" dt="2025-11-21T10:07:02.880" v="449229"/>
          <ac:spMkLst>
            <pc:docMk/>
            <pc:sldMk cId="4105311989" sldId="2147483094"/>
            <ac:spMk id="27" creationId="{866682B7-A5D3-DC2C-6161-2F279D56DB98}"/>
          </ac:spMkLst>
        </pc:spChg>
        <pc:spChg chg="add del mod modVis">
          <ac:chgData name="Yudi Zhu" userId="571e1a55-055f-4c28-8b35-fca6dd1c1369" providerId="ADAL" clId="{75A88773-6EE1-484E-AADE-FE631E01463B}" dt="2025-11-21T10:07:07.544" v="450048"/>
          <ac:spMkLst>
            <pc:docMk/>
            <pc:sldMk cId="4105311989" sldId="2147483094"/>
            <ac:spMk id="29" creationId="{78D33E2F-83DE-B7DA-9427-9BA5E2F1CEBD}"/>
          </ac:spMkLst>
        </pc:spChg>
        <pc:spChg chg="add mod ord">
          <ac:chgData name="Yudi Zhu" userId="571e1a55-055f-4c28-8b35-fca6dd1c1369" providerId="ADAL" clId="{75A88773-6EE1-484E-AADE-FE631E01463B}" dt="2025-11-24T04:19:48.910" v="639316"/>
          <ac:spMkLst>
            <pc:docMk/>
            <pc:sldMk cId="4105311989" sldId="2147483094"/>
            <ac:spMk id="30" creationId="{0FC5E0F6-9E2C-5DBA-CA2B-5E0F667B571C}"/>
          </ac:spMkLst>
        </pc:spChg>
        <pc:spChg chg="add mod ord">
          <ac:chgData name="Yudi Zhu" userId="571e1a55-055f-4c28-8b35-fca6dd1c1369" providerId="ADAL" clId="{75A88773-6EE1-484E-AADE-FE631E01463B}" dt="2025-11-24T04:19:48.910" v="639314"/>
          <ac:spMkLst>
            <pc:docMk/>
            <pc:sldMk cId="4105311989" sldId="2147483094"/>
            <ac:spMk id="31" creationId="{204AF282-C47D-6391-4560-5D62A704C050}"/>
          </ac:spMkLst>
        </pc:spChg>
        <pc:spChg chg="add mod ord">
          <ac:chgData name="Yudi Zhu" userId="571e1a55-055f-4c28-8b35-fca6dd1c1369" providerId="ADAL" clId="{75A88773-6EE1-484E-AADE-FE631E01463B}" dt="2025-11-24T04:19:48.908" v="639309"/>
          <ac:spMkLst>
            <pc:docMk/>
            <pc:sldMk cId="4105311989" sldId="2147483094"/>
            <ac:spMk id="32" creationId="{22D19125-95C2-A125-52B5-2E88C1E99002}"/>
          </ac:spMkLst>
        </pc:spChg>
        <pc:spChg chg="add mod ord">
          <ac:chgData name="Yudi Zhu" userId="571e1a55-055f-4c28-8b35-fca6dd1c1369" providerId="ADAL" clId="{75A88773-6EE1-484E-AADE-FE631E01463B}" dt="2025-11-24T04:19:48.909" v="639312"/>
          <ac:spMkLst>
            <pc:docMk/>
            <pc:sldMk cId="4105311989" sldId="2147483094"/>
            <ac:spMk id="37" creationId="{3C99CE43-58D3-BBFA-A90E-C3CFD3E8FF52}"/>
          </ac:spMkLst>
        </pc:spChg>
        <pc:spChg chg="add mod ord">
          <ac:chgData name="Yudi Zhu" userId="571e1a55-055f-4c28-8b35-fca6dd1c1369" providerId="ADAL" clId="{75A88773-6EE1-484E-AADE-FE631E01463B}" dt="2025-11-24T04:19:48.907" v="639307"/>
          <ac:spMkLst>
            <pc:docMk/>
            <pc:sldMk cId="4105311989" sldId="2147483094"/>
            <ac:spMk id="38" creationId="{8F26368F-8CE6-44EC-5962-FB8710C71358}"/>
          </ac:spMkLst>
        </pc:spChg>
        <pc:spChg chg="del mod ord">
          <ac:chgData name="Yudi Zhu" userId="571e1a55-055f-4c28-8b35-fca6dd1c1369" providerId="ADAL" clId="{75A88773-6EE1-484E-AADE-FE631E01463B}" dt="2025-11-21T10:07:02.191" v="448874"/>
          <ac:spMkLst>
            <pc:docMk/>
            <pc:sldMk cId="4105311989" sldId="2147483094"/>
            <ac:spMk id="41" creationId="{F22B3FB4-69EE-BF2A-DFF6-27E9308F011B}"/>
          </ac:spMkLst>
        </pc:spChg>
        <pc:spChg chg="add del mod modVis">
          <ac:chgData name="Yudi Zhu" userId="571e1a55-055f-4c28-8b35-fca6dd1c1369" providerId="ADAL" clId="{75A88773-6EE1-484E-AADE-FE631E01463B}" dt="2025-11-21T10:07:16.809" v="450522"/>
          <ac:spMkLst>
            <pc:docMk/>
            <pc:sldMk cId="4105311989" sldId="2147483094"/>
            <ac:spMk id="43" creationId="{11502BF2-CC9E-B175-E461-46B3F9FF2B16}"/>
          </ac:spMkLst>
        </pc:spChg>
        <pc:spChg chg="add del mod modVis">
          <ac:chgData name="Yudi Zhu" userId="571e1a55-055f-4c28-8b35-fca6dd1c1369" providerId="ADAL" clId="{75A88773-6EE1-484E-AADE-FE631E01463B}" dt="2025-11-21T10:07:44.844" v="451147"/>
          <ac:spMkLst>
            <pc:docMk/>
            <pc:sldMk cId="4105311989" sldId="2147483094"/>
            <ac:spMk id="45" creationId="{CA1C9002-4E73-1C10-F792-030FF336368D}"/>
          </ac:spMkLst>
        </pc:spChg>
        <pc:spChg chg="add del mod modVis">
          <ac:chgData name="Yudi Zhu" userId="571e1a55-055f-4c28-8b35-fca6dd1c1369" providerId="ADAL" clId="{75A88773-6EE1-484E-AADE-FE631E01463B}" dt="2025-11-21T10:08:34.584" v="451715"/>
          <ac:spMkLst>
            <pc:docMk/>
            <pc:sldMk cId="4105311989" sldId="2147483094"/>
            <ac:spMk id="47" creationId="{9C6085E8-E2A7-A9B5-DE6C-1812F11940EB}"/>
          </ac:spMkLst>
        </pc:spChg>
        <pc:spChg chg="mod ord">
          <ac:chgData name="Yudi Zhu" userId="571e1a55-055f-4c28-8b35-fca6dd1c1369" providerId="ADAL" clId="{75A88773-6EE1-484E-AADE-FE631E01463B}" dt="2025-11-24T04:19:48.973" v="639452"/>
          <ac:spMkLst>
            <pc:docMk/>
            <pc:sldMk cId="4105311989" sldId="2147483094"/>
            <ac:spMk id="50" creationId="{02F6331E-5D73-6E69-0D56-C4DE5D68572C}"/>
          </ac:spMkLst>
        </pc:spChg>
        <pc:spChg chg="mod ord">
          <ac:chgData name="Yudi Zhu" userId="571e1a55-055f-4c28-8b35-fca6dd1c1369" providerId="ADAL" clId="{75A88773-6EE1-484E-AADE-FE631E01463B}" dt="2025-11-24T04:19:48.978" v="639462"/>
          <ac:spMkLst>
            <pc:docMk/>
            <pc:sldMk cId="4105311989" sldId="2147483094"/>
            <ac:spMk id="51" creationId="{9C0C7DC5-9B73-37CA-1B50-CC7A6362A4E2}"/>
          </ac:spMkLst>
        </pc:spChg>
        <pc:spChg chg="mod ord">
          <ac:chgData name="Yudi Zhu" userId="571e1a55-055f-4c28-8b35-fca6dd1c1369" providerId="ADAL" clId="{75A88773-6EE1-484E-AADE-FE631E01463B}" dt="2025-11-24T04:19:48.982" v="639468"/>
          <ac:spMkLst>
            <pc:docMk/>
            <pc:sldMk cId="4105311989" sldId="2147483094"/>
            <ac:spMk id="52" creationId="{0D711176-2CAE-6464-7127-84B92BFA5A0A}"/>
          </ac:spMkLst>
        </pc:spChg>
        <pc:spChg chg="mod ord">
          <ac:chgData name="Yudi Zhu" userId="571e1a55-055f-4c28-8b35-fca6dd1c1369" providerId="ADAL" clId="{75A88773-6EE1-484E-AADE-FE631E01463B}" dt="2025-11-24T04:19:48.984" v="639473"/>
          <ac:spMkLst>
            <pc:docMk/>
            <pc:sldMk cId="4105311989" sldId="2147483094"/>
            <ac:spMk id="53" creationId="{D416A439-F437-CB7D-5D8F-C9C806308A88}"/>
          </ac:spMkLst>
        </pc:spChg>
        <pc:spChg chg="mod ord">
          <ac:chgData name="Yudi Zhu" userId="571e1a55-055f-4c28-8b35-fca6dd1c1369" providerId="ADAL" clId="{75A88773-6EE1-484E-AADE-FE631E01463B}" dt="2025-11-24T04:19:48.983" v="639470"/>
          <ac:spMkLst>
            <pc:docMk/>
            <pc:sldMk cId="4105311989" sldId="2147483094"/>
            <ac:spMk id="54" creationId="{77D4B05C-BCC1-6709-C059-13F84D9F7770}"/>
          </ac:spMkLst>
        </pc:spChg>
        <pc:spChg chg="mod ord">
          <ac:chgData name="Yudi Zhu" userId="571e1a55-055f-4c28-8b35-fca6dd1c1369" providerId="ADAL" clId="{75A88773-6EE1-484E-AADE-FE631E01463B}" dt="2025-11-24T04:19:48.972" v="639450"/>
          <ac:spMkLst>
            <pc:docMk/>
            <pc:sldMk cId="4105311989" sldId="2147483094"/>
            <ac:spMk id="55" creationId="{7EDBB2B4-EF67-25C3-C8B0-FB513D9A3CD3}"/>
          </ac:spMkLst>
        </pc:spChg>
        <pc:spChg chg="mod ord">
          <ac:chgData name="Yudi Zhu" userId="571e1a55-055f-4c28-8b35-fca6dd1c1369" providerId="ADAL" clId="{75A88773-6EE1-484E-AADE-FE631E01463B}" dt="2025-11-24T04:19:48.975" v="639455"/>
          <ac:spMkLst>
            <pc:docMk/>
            <pc:sldMk cId="4105311989" sldId="2147483094"/>
            <ac:spMk id="56" creationId="{D0AD0539-7B6F-111C-ED13-D1B443ABA2B3}"/>
          </ac:spMkLst>
        </pc:spChg>
        <pc:spChg chg="mod">
          <ac:chgData name="Yudi Zhu" userId="571e1a55-055f-4c28-8b35-fca6dd1c1369" providerId="ADAL" clId="{75A88773-6EE1-484E-AADE-FE631E01463B}" dt="2025-11-24T04:19:48.933" v="639364"/>
          <ac:spMkLst>
            <pc:docMk/>
            <pc:sldMk cId="4105311989" sldId="2147483094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4T04:19:48.933" v="639365"/>
          <ac:spMkLst>
            <pc:docMk/>
            <pc:sldMk cId="4105311989" sldId="2147483094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4T04:19:48.934" v="639366"/>
          <ac:spMkLst>
            <pc:docMk/>
            <pc:sldMk cId="4105311989" sldId="2147483094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4T04:19:48.935" v="639367"/>
          <ac:spMkLst>
            <pc:docMk/>
            <pc:sldMk cId="4105311989" sldId="2147483094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4T04:19:48.935" v="639368"/>
          <ac:spMkLst>
            <pc:docMk/>
            <pc:sldMk cId="4105311989" sldId="2147483094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4T04:19:48.936" v="639369"/>
          <ac:spMkLst>
            <pc:docMk/>
            <pc:sldMk cId="4105311989" sldId="2147483094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4T04:19:48.936" v="639370"/>
          <ac:spMkLst>
            <pc:docMk/>
            <pc:sldMk cId="4105311989" sldId="2147483094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4T04:19:48.937" v="639371"/>
          <ac:spMkLst>
            <pc:docMk/>
            <pc:sldMk cId="4105311989" sldId="2147483094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4T04:19:48.937" v="639372"/>
          <ac:spMkLst>
            <pc:docMk/>
            <pc:sldMk cId="4105311989" sldId="2147483094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4T04:19:48.938" v="639373"/>
          <ac:spMkLst>
            <pc:docMk/>
            <pc:sldMk cId="4105311989" sldId="2147483094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4T04:19:48.939" v="639374"/>
          <ac:spMkLst>
            <pc:docMk/>
            <pc:sldMk cId="4105311989" sldId="2147483094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4T04:19:48.939" v="639375"/>
          <ac:spMkLst>
            <pc:docMk/>
            <pc:sldMk cId="4105311989" sldId="2147483094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4T04:19:48.940" v="639376"/>
          <ac:spMkLst>
            <pc:docMk/>
            <pc:sldMk cId="4105311989" sldId="2147483094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4T04:19:48.940" v="639377"/>
          <ac:spMkLst>
            <pc:docMk/>
            <pc:sldMk cId="4105311989" sldId="2147483094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4T04:19:48.940" v="639378"/>
          <ac:spMkLst>
            <pc:docMk/>
            <pc:sldMk cId="4105311989" sldId="2147483094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4T04:19:48.940" v="639379"/>
          <ac:spMkLst>
            <pc:docMk/>
            <pc:sldMk cId="4105311989" sldId="2147483094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4T04:19:48.940" v="639380"/>
          <ac:spMkLst>
            <pc:docMk/>
            <pc:sldMk cId="4105311989" sldId="2147483094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4T04:19:48.940" v="639381"/>
          <ac:spMkLst>
            <pc:docMk/>
            <pc:sldMk cId="4105311989" sldId="2147483094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4T04:19:48.940" v="639382"/>
          <ac:spMkLst>
            <pc:docMk/>
            <pc:sldMk cId="4105311989" sldId="2147483094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4T04:19:48.940" v="639383"/>
          <ac:spMkLst>
            <pc:docMk/>
            <pc:sldMk cId="4105311989" sldId="2147483094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4T04:19:48.940" v="639384"/>
          <ac:spMkLst>
            <pc:docMk/>
            <pc:sldMk cId="4105311989" sldId="2147483094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4T04:19:48.940" v="639388"/>
          <ac:spMkLst>
            <pc:docMk/>
            <pc:sldMk cId="4105311989" sldId="2147483094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4T04:19:48.940" v="639385"/>
          <ac:spMkLst>
            <pc:docMk/>
            <pc:sldMk cId="4105311989" sldId="2147483094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4T04:19:48.940" v="639386"/>
          <ac:spMkLst>
            <pc:docMk/>
            <pc:sldMk cId="4105311989" sldId="2147483094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4T04:19:48.940" v="639387"/>
          <ac:spMkLst>
            <pc:docMk/>
            <pc:sldMk cId="4105311989" sldId="2147483094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4T04:19:48.940" v="639390"/>
          <ac:spMkLst>
            <pc:docMk/>
            <pc:sldMk cId="4105311989" sldId="2147483094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4T04:19:48.940" v="639391"/>
          <ac:spMkLst>
            <pc:docMk/>
            <pc:sldMk cId="4105311989" sldId="2147483094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4T04:19:48.931" v="639361"/>
          <ac:spMkLst>
            <pc:docMk/>
            <pc:sldMk cId="4105311989" sldId="2147483094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4T04:19:48.931" v="639362"/>
          <ac:spMkLst>
            <pc:docMk/>
            <pc:sldMk cId="4105311989" sldId="2147483094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4T04:19:48.932" v="639363"/>
          <ac:spMkLst>
            <pc:docMk/>
            <pc:sldMk cId="4105311989" sldId="2147483094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4T04:19:48.940" v="639392"/>
          <ac:spMkLst>
            <pc:docMk/>
            <pc:sldMk cId="4105311989" sldId="2147483094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4T04:19:48.940" v="639393"/>
          <ac:spMkLst>
            <pc:docMk/>
            <pc:sldMk cId="4105311989" sldId="2147483094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4T04:19:48.940" v="639396"/>
          <ac:spMkLst>
            <pc:docMk/>
            <pc:sldMk cId="4105311989" sldId="2147483094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4T04:19:48.940" v="639397"/>
          <ac:spMkLst>
            <pc:docMk/>
            <pc:sldMk cId="4105311989" sldId="2147483094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4T04:19:48.940" v="639398"/>
          <ac:spMkLst>
            <pc:docMk/>
            <pc:sldMk cId="4105311989" sldId="2147483094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4T04:19:48.956" v="639403"/>
          <ac:spMkLst>
            <pc:docMk/>
            <pc:sldMk cId="4105311989" sldId="2147483094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4T04:19:48.956" v="639404"/>
          <ac:spMkLst>
            <pc:docMk/>
            <pc:sldMk cId="4105311989" sldId="2147483094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4T04:19:48.940" v="639400"/>
          <ac:spMkLst>
            <pc:docMk/>
            <pc:sldMk cId="4105311989" sldId="2147483094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4T04:19:48.940" v="639402"/>
          <ac:spMkLst>
            <pc:docMk/>
            <pc:sldMk cId="4105311989" sldId="2147483094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4T04:19:48.913" v="639322"/>
          <ac:spMkLst>
            <pc:docMk/>
            <pc:sldMk cId="4105311989" sldId="2147483094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4T04:19:48.919" v="639337"/>
          <ac:spMkLst>
            <pc:docMk/>
            <pc:sldMk cId="4105311989" sldId="2147483094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4T04:19:48.920" v="639338"/>
          <ac:spMkLst>
            <pc:docMk/>
            <pc:sldMk cId="4105311989" sldId="2147483094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4T04:19:48.920" v="639339"/>
          <ac:spMkLst>
            <pc:docMk/>
            <pc:sldMk cId="4105311989" sldId="2147483094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4T04:19:48.921" v="639340"/>
          <ac:spMkLst>
            <pc:docMk/>
            <pc:sldMk cId="4105311989" sldId="2147483094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4T04:19:48.923" v="639342"/>
          <ac:spMkLst>
            <pc:docMk/>
            <pc:sldMk cId="4105311989" sldId="2147483094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4T04:19:48.924" v="639343"/>
          <ac:spMkLst>
            <pc:docMk/>
            <pc:sldMk cId="4105311989" sldId="2147483094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4T04:19:48.925" v="639345"/>
          <ac:spMkLst>
            <pc:docMk/>
            <pc:sldMk cId="4105311989" sldId="2147483094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4T04:19:48.925" v="639347"/>
          <ac:spMkLst>
            <pc:docMk/>
            <pc:sldMk cId="4105311989" sldId="2147483094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4T04:19:48.926" v="639349"/>
          <ac:spMkLst>
            <pc:docMk/>
            <pc:sldMk cId="4105311989" sldId="2147483094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4T04:19:48.927" v="639351"/>
          <ac:spMkLst>
            <pc:docMk/>
            <pc:sldMk cId="4105311989" sldId="2147483094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4T04:19:48.927" v="639353"/>
          <ac:spMkLst>
            <pc:docMk/>
            <pc:sldMk cId="4105311989" sldId="2147483094"/>
            <ac:spMk id="1205" creationId="{6816614C-2261-21F9-4CD7-430B5A7828DB}"/>
          </ac:spMkLst>
        </pc:spChg>
        <pc:spChg chg="mod">
          <ac:chgData name="Yudi Zhu" userId="571e1a55-055f-4c28-8b35-fca6dd1c1369" providerId="ADAL" clId="{75A88773-6EE1-484E-AADE-FE631E01463B}" dt="2025-11-24T04:19:48.911" v="639317"/>
          <ac:spMkLst>
            <pc:docMk/>
            <pc:sldMk cId="4105311989" sldId="2147483094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4T04:19:48.912" v="639319"/>
          <ac:spMkLst>
            <pc:docMk/>
            <pc:sldMk cId="4105311989" sldId="2147483094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4T04:19:48.913" v="639321"/>
          <ac:spMkLst>
            <pc:docMk/>
            <pc:sldMk cId="4105311989" sldId="2147483094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4T04:19:48.928" v="639355"/>
          <ac:spMkLst>
            <pc:docMk/>
            <pc:sldMk cId="4105311989" sldId="2147483094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4T04:19:48.914" v="639324"/>
          <ac:spMkLst>
            <pc:docMk/>
            <pc:sldMk cId="4105311989" sldId="2147483094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4T04:19:48.915" v="639326"/>
          <ac:spMkLst>
            <pc:docMk/>
            <pc:sldMk cId="4105311989" sldId="2147483094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4T04:19:48.915" v="639327"/>
          <ac:spMkLst>
            <pc:docMk/>
            <pc:sldMk cId="4105311989" sldId="2147483094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4T04:19:48.916" v="639329"/>
          <ac:spMkLst>
            <pc:docMk/>
            <pc:sldMk cId="4105311989" sldId="2147483094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4T04:19:48.916" v="639331"/>
          <ac:spMkLst>
            <pc:docMk/>
            <pc:sldMk cId="4105311989" sldId="2147483094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4T04:19:48.917" v="639333"/>
          <ac:spMkLst>
            <pc:docMk/>
            <pc:sldMk cId="4105311989" sldId="2147483094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4T04:19:48.918" v="639335"/>
          <ac:spMkLst>
            <pc:docMk/>
            <pc:sldMk cId="4105311989" sldId="2147483094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4T04:19:48.990" v="639484"/>
          <ac:spMkLst>
            <pc:docMk/>
            <pc:sldMk cId="4105311989" sldId="2147483094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4T04:19:48.991" v="639485"/>
          <ac:spMkLst>
            <pc:docMk/>
            <pc:sldMk cId="4105311989" sldId="2147483094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4T04:19:48.992" v="639486"/>
          <ac:spMkLst>
            <pc:docMk/>
            <pc:sldMk cId="4105311989" sldId="2147483094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4T04:19:48.956" v="639448"/>
          <ac:spMkLst>
            <pc:docMk/>
            <pc:sldMk cId="4105311989" sldId="2147483094"/>
            <ac:spMk id="1442" creationId="{00445C12-10C4-A371-D4EA-BD360FAE32DA}"/>
          </ac:spMkLst>
        </pc:spChg>
        <pc:spChg chg="mod ord">
          <ac:chgData name="Yudi Zhu" userId="571e1a55-055f-4c28-8b35-fca6dd1c1369" providerId="ADAL" clId="{75A88773-6EE1-484E-AADE-FE631E01463B}" dt="2025-11-24T04:19:48.976" v="639458"/>
          <ac:spMkLst>
            <pc:docMk/>
            <pc:sldMk cId="4105311989" sldId="2147483094"/>
            <ac:spMk id="1449" creationId="{300E10D2-719E-3D82-5CBF-5A612C09A088}"/>
          </ac:spMkLst>
        </pc:spChg>
        <pc:spChg chg="mod ord">
          <ac:chgData name="Yudi Zhu" userId="571e1a55-055f-4c28-8b35-fca6dd1c1369" providerId="ADAL" clId="{75A88773-6EE1-484E-AADE-FE631E01463B}" dt="2025-11-24T04:19:48.985" v="639475"/>
          <ac:spMkLst>
            <pc:docMk/>
            <pc:sldMk cId="4105311989" sldId="2147483094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4T04:19:48.918" v="639334"/>
          <ac:spMkLst>
            <pc:docMk/>
            <pc:sldMk cId="4105311989" sldId="2147483094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4T04:19:48.896" v="639281"/>
          <ac:spMkLst>
            <pc:docMk/>
            <pc:sldMk cId="4105311989" sldId="2147483094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4T04:19:48.979" v="639463"/>
          <ac:spMkLst>
            <pc:docMk/>
            <pc:sldMk cId="4105311989" sldId="2147483094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4T04:19:48.975" v="639456"/>
          <ac:spMkLst>
            <pc:docMk/>
            <pc:sldMk cId="4105311989" sldId="2147483094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4T04:19:48.977" v="639459"/>
          <ac:spMkLst>
            <pc:docMk/>
            <pc:sldMk cId="4105311989" sldId="2147483094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4T04:19:48.980" v="639464"/>
          <ac:spMkLst>
            <pc:docMk/>
            <pc:sldMk cId="4105311989" sldId="2147483094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4T04:19:48.981" v="639466"/>
          <ac:spMkLst>
            <pc:docMk/>
            <pc:sldMk cId="4105311989" sldId="2147483094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4T04:19:48.983" v="639471"/>
          <ac:spMkLst>
            <pc:docMk/>
            <pc:sldMk cId="4105311989" sldId="2147483094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4T04:19:48.986" v="639476"/>
          <ac:spMkLst>
            <pc:docMk/>
            <pc:sldMk cId="4105311989" sldId="2147483094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4T04:19:48.974" v="639453"/>
          <ac:spMkLst>
            <pc:docMk/>
            <pc:sldMk cId="4105311989" sldId="2147483094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4T04:19:48.977" v="639460"/>
          <ac:spMkLst>
            <pc:docMk/>
            <pc:sldMk cId="4105311989" sldId="2147483094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4T04:19:48.981" v="639465"/>
          <ac:spMkLst>
            <pc:docMk/>
            <pc:sldMk cId="4105311989" sldId="2147483094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4T04:19:48.986" v="639477"/>
          <ac:spMkLst>
            <pc:docMk/>
            <pc:sldMk cId="4105311989" sldId="2147483094"/>
            <ac:spMk id="1691" creationId="{C50F3DAA-EFE1-8572-5206-F1A4416A7C6F}"/>
          </ac:spMkLst>
        </pc:spChg>
        <pc:spChg chg="mod">
          <ac:chgData name="Yudi Zhu" userId="571e1a55-055f-4c28-8b35-fca6dd1c1369" providerId="ADAL" clId="{75A88773-6EE1-484E-AADE-FE631E01463B}" dt="2025-11-24T04:19:48.995" v="639493"/>
          <ac:spMkLst>
            <pc:docMk/>
            <pc:sldMk cId="4105311989" sldId="2147483094"/>
            <ac:spMk id="1723" creationId="{4500BE63-029C-8CC6-1A95-233F327A1EC8}"/>
          </ac:spMkLst>
        </pc:spChg>
        <pc:spChg chg="del mod">
          <ac:chgData name="Yudi Zhu" userId="571e1a55-055f-4c28-8b35-fca6dd1c1369" providerId="ADAL" clId="{75A88773-6EE1-484E-AADE-FE631E01463B}" dt="2025-11-24T04:13:48.698" v="622614"/>
          <ac:spMkLst>
            <pc:docMk/>
            <pc:sldMk cId="4105311989" sldId="2147483094"/>
            <ac:spMk id="1790" creationId="{097625FA-5686-DCF5-B817-A29F9D4727EA}"/>
          </ac:spMkLst>
        </pc:spChg>
        <pc:spChg chg="del mod">
          <ac:chgData name="Yudi Zhu" userId="571e1a55-055f-4c28-8b35-fca6dd1c1369" providerId="ADAL" clId="{75A88773-6EE1-484E-AADE-FE631E01463B}" dt="2025-11-24T04:13:48.700" v="622615"/>
          <ac:spMkLst>
            <pc:docMk/>
            <pc:sldMk cId="4105311989" sldId="2147483094"/>
            <ac:spMk id="1791" creationId="{DEF9D83D-D4C4-4027-4A1D-F5596539654C}"/>
          </ac:spMkLst>
        </pc:spChg>
        <pc:spChg chg="del mod">
          <ac:chgData name="Yudi Zhu" userId="571e1a55-055f-4c28-8b35-fca6dd1c1369" providerId="ADAL" clId="{75A88773-6EE1-484E-AADE-FE631E01463B}" dt="2025-11-24T04:13:48.704" v="622622"/>
          <ac:spMkLst>
            <pc:docMk/>
            <pc:sldMk cId="4105311989" sldId="2147483094"/>
            <ac:spMk id="1792" creationId="{457AA552-7E43-4131-3939-67AF0903A526}"/>
          </ac:spMkLst>
        </pc:spChg>
        <pc:spChg chg="del mod ord">
          <ac:chgData name="Yudi Zhu" userId="571e1a55-055f-4c28-8b35-fca6dd1c1369" providerId="ADAL" clId="{75A88773-6EE1-484E-AADE-FE631E01463B}" dt="2025-11-24T04:13:48.702" v="622619"/>
          <ac:spMkLst>
            <pc:docMk/>
            <pc:sldMk cId="4105311989" sldId="2147483094"/>
            <ac:spMk id="1793" creationId="{49B7EED3-55F2-EC31-271D-C5C5BE26DD37}"/>
          </ac:spMkLst>
        </pc:spChg>
        <pc:spChg chg="del mod">
          <ac:chgData name="Yudi Zhu" userId="571e1a55-055f-4c28-8b35-fca6dd1c1369" providerId="ADAL" clId="{75A88773-6EE1-484E-AADE-FE631E01463B}" dt="2025-11-24T04:13:48.705" v="622623"/>
          <ac:spMkLst>
            <pc:docMk/>
            <pc:sldMk cId="4105311989" sldId="2147483094"/>
            <ac:spMk id="1794" creationId="{C46898E2-09A3-DE10-6BB4-419D080C0C97}"/>
          </ac:spMkLst>
        </pc:spChg>
        <pc:spChg chg="del mod ord">
          <ac:chgData name="Yudi Zhu" userId="571e1a55-055f-4c28-8b35-fca6dd1c1369" providerId="ADAL" clId="{75A88773-6EE1-484E-AADE-FE631E01463B}" dt="2025-11-24T04:13:48.705" v="622624"/>
          <ac:spMkLst>
            <pc:docMk/>
            <pc:sldMk cId="4105311989" sldId="2147483094"/>
            <ac:spMk id="1795" creationId="{56231662-B4A5-BFA4-F972-D6312D2A7DFA}"/>
          </ac:spMkLst>
        </pc:spChg>
        <pc:spChg chg="del mod">
          <ac:chgData name="Yudi Zhu" userId="571e1a55-055f-4c28-8b35-fca6dd1c1369" providerId="ADAL" clId="{75A88773-6EE1-484E-AADE-FE631E01463B}" dt="2025-11-24T04:13:48.702" v="622618"/>
          <ac:spMkLst>
            <pc:docMk/>
            <pc:sldMk cId="4105311989" sldId="2147483094"/>
            <ac:spMk id="1796" creationId="{B96FE47B-79DC-89A5-2C60-01F5168C6F48}"/>
          </ac:spMkLst>
        </pc:spChg>
        <pc:spChg chg="del mod ord">
          <ac:chgData name="Yudi Zhu" userId="571e1a55-055f-4c28-8b35-fca6dd1c1369" providerId="ADAL" clId="{75A88773-6EE1-484E-AADE-FE631E01463B}" dt="2025-11-24T04:13:48.701" v="622617"/>
          <ac:spMkLst>
            <pc:docMk/>
            <pc:sldMk cId="4105311989" sldId="2147483094"/>
            <ac:spMk id="1797" creationId="{0B25F4BA-5FF3-F040-8305-7A2E2C6277DC}"/>
          </ac:spMkLst>
        </pc:spChg>
        <pc:spChg chg="del mod ord">
          <ac:chgData name="Yudi Zhu" userId="571e1a55-055f-4c28-8b35-fca6dd1c1369" providerId="ADAL" clId="{75A88773-6EE1-484E-AADE-FE631E01463B}" dt="2025-11-24T04:13:48.706" v="622625"/>
          <ac:spMkLst>
            <pc:docMk/>
            <pc:sldMk cId="4105311989" sldId="2147483094"/>
            <ac:spMk id="1798" creationId="{BAF78A19-A084-6BDB-AF15-EEDDA69BD191}"/>
          </ac:spMkLst>
        </pc:spChg>
        <pc:spChg chg="del mod ord">
          <ac:chgData name="Yudi Zhu" userId="571e1a55-055f-4c28-8b35-fca6dd1c1369" providerId="ADAL" clId="{75A88773-6EE1-484E-AADE-FE631E01463B}" dt="2025-11-24T04:13:48.706" v="622626"/>
          <ac:spMkLst>
            <pc:docMk/>
            <pc:sldMk cId="4105311989" sldId="2147483094"/>
            <ac:spMk id="1799" creationId="{B9719039-1DC2-ED72-5DB7-C91F2F087453}"/>
          </ac:spMkLst>
        </pc:spChg>
        <pc:spChg chg="del mod ord">
          <ac:chgData name="Yudi Zhu" userId="571e1a55-055f-4c28-8b35-fca6dd1c1369" providerId="ADAL" clId="{75A88773-6EE1-484E-AADE-FE631E01463B}" dt="2025-11-24T04:13:48.703" v="622621"/>
          <ac:spMkLst>
            <pc:docMk/>
            <pc:sldMk cId="4105311989" sldId="2147483094"/>
            <ac:spMk id="1800" creationId="{75FE1217-CF43-2C19-09C9-A9FAED99A004}"/>
          </ac:spMkLst>
        </pc:spChg>
        <pc:spChg chg="del mod">
          <ac:chgData name="Yudi Zhu" userId="571e1a55-055f-4c28-8b35-fca6dd1c1369" providerId="ADAL" clId="{75A88773-6EE1-484E-AADE-FE631E01463B}" dt="2025-11-24T04:13:48.707" v="622627"/>
          <ac:spMkLst>
            <pc:docMk/>
            <pc:sldMk cId="4105311989" sldId="2147483094"/>
            <ac:spMk id="1801" creationId="{E8C41538-DD19-A841-9118-B8BC74499792}"/>
          </ac:spMkLst>
        </pc:spChg>
        <pc:spChg chg="mod">
          <ac:chgData name="Yudi Zhu" userId="571e1a55-055f-4c28-8b35-fca6dd1c1369" providerId="ADAL" clId="{75A88773-6EE1-484E-AADE-FE631E01463B}" dt="2025-11-24T04:19:48.956" v="639446"/>
          <ac:spMkLst>
            <pc:docMk/>
            <pc:sldMk cId="4105311989" sldId="2147483094"/>
            <ac:spMk id="1851" creationId="{55435E9D-DD6B-12E6-3E01-6C50EF33F500}"/>
          </ac:spMkLst>
        </pc:spChg>
        <pc:spChg chg="add del mod modVis">
          <ac:chgData name="Yudi Zhu" userId="571e1a55-055f-4c28-8b35-fca6dd1c1369" providerId="ADAL" clId="{75A88773-6EE1-484E-AADE-FE631E01463B}" dt="2025-11-21T10:12:09.488" v="459400"/>
          <ac:spMkLst>
            <pc:docMk/>
            <pc:sldMk cId="4105311989" sldId="2147483094"/>
            <ac:spMk id="1864" creationId="{ABF6E848-E25B-63A3-A349-C59129715AC3}"/>
          </ac:spMkLst>
        </pc:spChg>
        <pc:spChg chg="add del mod">
          <ac:chgData name="Yudi Zhu" userId="571e1a55-055f-4c28-8b35-fca6dd1c1369" providerId="ADAL" clId="{75A88773-6EE1-484E-AADE-FE631E01463B}" dt="2025-11-21T10:13:11.831" v="462940"/>
          <ac:spMkLst>
            <pc:docMk/>
            <pc:sldMk cId="4105311989" sldId="2147483094"/>
            <ac:spMk id="1866" creationId="{CAB8B37A-484B-2621-A093-7BB262C0E28A}"/>
          </ac:spMkLst>
        </pc:spChg>
        <pc:spChg chg="add del mod modVis">
          <ac:chgData name="Yudi Zhu" userId="571e1a55-055f-4c28-8b35-fca6dd1c1369" providerId="ADAL" clId="{75A88773-6EE1-484E-AADE-FE631E01463B}" dt="2025-11-21T10:13:08.636" v="462936"/>
          <ac:spMkLst>
            <pc:docMk/>
            <pc:sldMk cId="4105311989" sldId="2147483094"/>
            <ac:spMk id="1867" creationId="{1C8B00EE-6366-8508-D627-A8F87A44C3E0}"/>
          </ac:spMkLst>
        </pc:spChg>
        <pc:spChg chg="add del mod">
          <ac:chgData name="Yudi Zhu" userId="571e1a55-055f-4c28-8b35-fca6dd1c1369" providerId="ADAL" clId="{75A88773-6EE1-484E-AADE-FE631E01463B}" dt="2025-11-21T10:13:11.830" v="462939"/>
          <ac:spMkLst>
            <pc:docMk/>
            <pc:sldMk cId="4105311989" sldId="2147483094"/>
            <ac:spMk id="1868" creationId="{139FE40C-147C-2859-12AB-FA7F2ADB6A9C}"/>
          </ac:spMkLst>
        </pc:spChg>
        <pc:spChg chg="add del mod modVis">
          <ac:chgData name="Yudi Zhu" userId="571e1a55-055f-4c28-8b35-fca6dd1c1369" providerId="ADAL" clId="{75A88773-6EE1-484E-AADE-FE631E01463B}" dt="2025-11-21T10:14:08.921" v="465659"/>
          <ac:spMkLst>
            <pc:docMk/>
            <pc:sldMk cId="4105311989" sldId="2147483094"/>
            <ac:spMk id="1876" creationId="{A58A2640-0AC9-B8D0-7B2C-FC1E0E844575}"/>
          </ac:spMkLst>
        </pc:spChg>
        <pc:spChg chg="add del mod modVis">
          <ac:chgData name="Yudi Zhu" userId="571e1a55-055f-4c28-8b35-fca6dd1c1369" providerId="ADAL" clId="{75A88773-6EE1-484E-AADE-FE631E01463B}" dt="2025-11-21T10:14:09.764" v="465931"/>
          <ac:spMkLst>
            <pc:docMk/>
            <pc:sldMk cId="4105311989" sldId="2147483094"/>
            <ac:spMk id="1878" creationId="{019592B1-5EA8-9585-98B1-25FDC661A2E2}"/>
          </ac:spMkLst>
        </pc:spChg>
        <pc:grpChg chg="mod ord">
          <ac:chgData name="Yudi Zhu" userId="571e1a55-055f-4c28-8b35-fca6dd1c1369" providerId="ADAL" clId="{75A88773-6EE1-484E-AADE-FE631E01463B}" dt="2025-11-24T04:19:48.992" v="639488"/>
          <ac:grpSpMkLst>
            <pc:docMk/>
            <pc:sldMk cId="4105311989" sldId="2147483094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4T04:19:48.993" v="639490"/>
          <ac:grpSpMkLst>
            <pc:docMk/>
            <pc:sldMk cId="4105311989" sldId="2147483094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4T04:19:48.994" v="639492"/>
          <ac:grpSpMkLst>
            <pc:docMk/>
            <pc:sldMk cId="4105311989" sldId="2147483094"/>
            <ac:grpSpMk id="1604" creationId="{CAC77667-D6BB-F83B-AA16-FAE5D5B780AA}"/>
          </ac:grpSpMkLst>
        </pc:grpChg>
        <pc:graphicFrameChg chg="add del mod">
          <ac:chgData name="Yudi Zhu" userId="571e1a55-055f-4c28-8b35-fca6dd1c1369" providerId="ADAL" clId="{75A88773-6EE1-484E-AADE-FE631E01463B}" dt="2025-11-24T04:13:48.941" v="622746"/>
          <ac:graphicFrameMkLst>
            <pc:docMk/>
            <pc:sldMk cId="4105311989" sldId="2147483094"/>
            <ac:graphicFrameMk id="5" creationId="{3EEACBA2-E2F8-2FCF-8A15-A8B127DD394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09:59:17.819" v="430376"/>
          <ac:graphicFrameMkLst>
            <pc:docMk/>
            <pc:sldMk cId="4105311989" sldId="2147483094"/>
            <ac:graphicFrameMk id="7" creationId="{FB82B541-BF14-55A4-86BF-97B2084804E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48.850" v="639264"/>
          <ac:graphicFrameMkLst>
            <pc:docMk/>
            <pc:sldMk cId="4105311989" sldId="2147483094"/>
            <ac:graphicFrameMk id="8" creationId="{D0A5E111-9C03-EA82-FBF8-9EA7B480B448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48.908" v="639310"/>
          <ac:graphicFrameMkLst>
            <pc:docMk/>
            <pc:sldMk cId="4105311989" sldId="2147483094"/>
            <ac:graphicFrameMk id="10" creationId="{5973B21D-0BEC-6ADA-9112-646C2FB641A4}"/>
          </ac:graphicFrameMkLst>
        </pc:graphicFrameChg>
        <pc:graphicFrameChg chg="mod">
          <ac:chgData name="Yudi Zhu" userId="571e1a55-055f-4c28-8b35-fca6dd1c1369" providerId="ADAL" clId="{75A88773-6EE1-484E-AADE-FE631E01463B}" dt="2025-11-24T04:19:48.996" v="639495"/>
          <ac:graphicFrameMkLst>
            <pc:docMk/>
            <pc:sldMk cId="4105311989" sldId="2147483094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6:38.223" v="448078"/>
          <ac:graphicFrameMkLst>
            <pc:docMk/>
            <pc:sldMk cId="4105311989" sldId="2147483094"/>
            <ac:graphicFrameMk id="15" creationId="{0EC93252-B309-E2BC-5D37-63D0C996474B}"/>
          </ac:graphicFrameMkLst>
        </pc:graphicFrameChg>
        <pc:graphicFrameChg chg="add mod">
          <ac:chgData name="Yudi Zhu" userId="571e1a55-055f-4c28-8b35-fca6dd1c1369" providerId="ADAL" clId="{75A88773-6EE1-484E-AADE-FE631E01463B}" dt="2025-11-21T10:04:02.631" v="442961"/>
          <ac:graphicFrameMkLst>
            <pc:docMk/>
            <pc:sldMk cId="4105311989" sldId="2147483094"/>
            <ac:graphicFrameMk id="17" creationId="{76024A8C-6AFD-FE32-5491-43FFCA9CC48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7.908" v="439201" actId="1076"/>
          <ac:graphicFrameMkLst>
            <pc:docMk/>
            <pc:sldMk cId="4105311989" sldId="2147483094"/>
            <ac:graphicFrameMk id="19" creationId="{A44132AA-FB0B-28D4-7F7C-C472B447BA4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3:37.708" v="439101" actId="1076"/>
          <ac:graphicFrameMkLst>
            <pc:docMk/>
            <pc:sldMk cId="4105311989" sldId="2147483094"/>
            <ac:graphicFrameMk id="22" creationId="{03BFF2A5-728D-BFE0-3407-053489CC50C9}"/>
          </ac:graphicFrameMkLst>
        </pc:graphicFrameChg>
        <pc:graphicFrameChg chg="add mod">
          <ac:chgData name="Yudi Zhu" userId="571e1a55-055f-4c28-8b35-fca6dd1c1369" providerId="ADAL" clId="{75A88773-6EE1-484E-AADE-FE631E01463B}" dt="2025-11-21T10:03:37.688" v="439020" actId="1076"/>
          <ac:graphicFrameMkLst>
            <pc:docMk/>
            <pc:sldMk cId="4105311989" sldId="2147483094"/>
            <ac:graphicFrameMk id="23" creationId="{ED36D55E-BE88-B145-8736-520F36F232E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2:09.290" v="459173"/>
          <ac:graphicFrameMkLst>
            <pc:docMk/>
            <pc:sldMk cId="4105311989" sldId="2147483094"/>
            <ac:graphicFrameMk id="26" creationId="{D4069496-5FF6-0CFB-9374-97A75F548D89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7:07.145" v="449806"/>
          <ac:graphicFrameMkLst>
            <pc:docMk/>
            <pc:sldMk cId="4105311989" sldId="2147483094"/>
            <ac:graphicFrameMk id="28" creationId="{2BF71F67-4826-1338-6863-B5FFEEBB220B}"/>
          </ac:graphicFrameMkLst>
        </pc:graphicFrameChg>
        <pc:graphicFrameChg chg="del">
          <ac:chgData name="Yudi Zhu" userId="571e1a55-055f-4c28-8b35-fca6dd1c1369" providerId="ADAL" clId="{75A88773-6EE1-484E-AADE-FE631E01463B}" dt="2025-11-21T09:58:56.852" v="429885"/>
          <ac:graphicFrameMkLst>
            <pc:docMk/>
            <pc:sldMk cId="4105311989" sldId="2147483094"/>
            <ac:graphicFrameMk id="39" creationId="{75FED75E-28F0-55FB-10F8-8F488FD664C8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7:16.343" v="450279"/>
          <ac:graphicFrameMkLst>
            <pc:docMk/>
            <pc:sldMk cId="4105311989" sldId="2147483094"/>
            <ac:graphicFrameMk id="40" creationId="{3BCD42C1-A70B-CC0E-C0BB-3B6497DCB91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08.710" v="465428"/>
          <ac:graphicFrameMkLst>
            <pc:docMk/>
            <pc:sldMk cId="4105311989" sldId="2147483094"/>
            <ac:graphicFrameMk id="44" creationId="{B87EA52E-41AE-A99A-BF64-28BC6A4F439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8:34.417" v="451441"/>
          <ac:graphicFrameMkLst>
            <pc:docMk/>
            <pc:sldMk cId="4105311989" sldId="2147483094"/>
            <ac:graphicFrameMk id="46" creationId="{3080B641-FD2B-87F5-92B9-48A1D62C19A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07:02.450" v="448992"/>
          <ac:graphicFrameMkLst>
            <pc:docMk/>
            <pc:sldMk cId="4105311989" sldId="2147483094"/>
            <ac:graphicFrameMk id="48" creationId="{0D300DB0-7F3C-E685-3C95-6A0D14B55935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48.956" v="639405"/>
          <ac:graphicFrameMkLst>
            <pc:docMk/>
            <pc:sldMk cId="4105311989" sldId="2147483094"/>
            <ac:graphicFrameMk id="49" creationId="{64266B2A-5334-FCF8-1153-E935B9738C83}"/>
          </ac:graphicFrameMkLst>
        </pc:graphicFrameChg>
        <pc:graphicFrameChg chg="del mod">
          <ac:chgData name="Yudi Zhu" userId="571e1a55-055f-4c28-8b35-fca6dd1c1369" providerId="ADAL" clId="{75A88773-6EE1-484E-AADE-FE631E01463B}" dt="2025-11-21T10:07:44.729" v="450912"/>
          <ac:graphicFrameMkLst>
            <pc:docMk/>
            <pc:sldMk cId="4105311989" sldId="2147483094"/>
            <ac:graphicFrameMk id="1862" creationId="{C66378B5-CB60-87C2-FA10-33822186BFAE}"/>
          </ac:graphicFrameMkLst>
        </pc:graphicFrameChg>
        <pc:graphicFrameChg chg="add mod">
          <ac:chgData name="Yudi Zhu" userId="571e1a55-055f-4c28-8b35-fca6dd1c1369" providerId="ADAL" clId="{75A88773-6EE1-484E-AADE-FE631E01463B}" dt="2025-11-21T10:11:42.357" v="456963"/>
          <ac:graphicFrameMkLst>
            <pc:docMk/>
            <pc:sldMk cId="4105311989" sldId="2147483094"/>
            <ac:graphicFrameMk id="1863" creationId="{9F96593A-6F39-62E5-CD1C-6D27E49FB730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08.468" v="462686"/>
          <ac:graphicFrameMkLst>
            <pc:docMk/>
            <pc:sldMk cId="4105311989" sldId="2147483094"/>
            <ac:graphicFrameMk id="1865" creationId="{D2369A31-548A-FF79-ACF3-CC519AC9959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11.857" v="462942"/>
          <ac:graphicFrameMkLst>
            <pc:docMk/>
            <pc:sldMk cId="4105311989" sldId="2147483094"/>
            <ac:graphicFrameMk id="1871" creationId="{A87194F4-7735-2F5E-2A44-F773447CD12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15.588" v="463183"/>
          <ac:graphicFrameMkLst>
            <pc:docMk/>
            <pc:sldMk cId="4105311989" sldId="2147483094"/>
            <ac:graphicFrameMk id="1872" creationId="{220D8D51-06CF-CB39-C0CC-5368C03C0B3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19.390" v="463430"/>
          <ac:graphicFrameMkLst>
            <pc:docMk/>
            <pc:sldMk cId="4105311989" sldId="2147483094"/>
            <ac:graphicFrameMk id="1873" creationId="{47044630-5E4A-F0C4-6852-FE3C3842D421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3:21.474" v="463663"/>
          <ac:graphicFrameMkLst>
            <pc:docMk/>
            <pc:sldMk cId="4105311989" sldId="2147483094"/>
            <ac:graphicFrameMk id="1874" creationId="{4A5E048D-9DB4-89FE-DF09-6D2901E84A6C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48.928" v="639356"/>
          <ac:graphicFrameMkLst>
            <pc:docMk/>
            <pc:sldMk cId="4105311989" sldId="2147483094"/>
            <ac:graphicFrameMk id="1875" creationId="{341021BE-B01F-AA75-6325-0BB8230B1947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09.579" v="465700"/>
          <ac:graphicFrameMkLst>
            <pc:docMk/>
            <pc:sldMk cId="4105311989" sldId="2147483094"/>
            <ac:graphicFrameMk id="1877" creationId="{8D0564D0-EB70-5F52-4A42-E16E842F703F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10.869" v="465943"/>
          <ac:graphicFrameMkLst>
            <pc:docMk/>
            <pc:sldMk cId="4105311989" sldId="2147483094"/>
            <ac:graphicFrameMk id="1879" creationId="{1B8A74E2-6A93-2090-3122-7BD8FB3ACAE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1:56:58.766" v="477193"/>
          <ac:graphicFrameMkLst>
            <pc:docMk/>
            <pc:sldMk cId="4105311989" sldId="2147483094"/>
            <ac:graphicFrameMk id="1880" creationId="{A90D3EE3-FFD9-49DD-903D-CA95358B4551}"/>
          </ac:graphicFrameMkLst>
        </pc:graphicFrameChg>
        <pc:cxnChg chg="add mod ord">
          <ac:chgData name="Yudi Zhu" userId="571e1a55-055f-4c28-8b35-fca6dd1c1369" providerId="ADAL" clId="{75A88773-6EE1-484E-AADE-FE631E01463B}" dt="2025-11-24T04:19:48.905" v="639303"/>
          <ac:cxnSpMkLst>
            <pc:docMk/>
            <pc:sldMk cId="4105311989" sldId="2147483094"/>
            <ac:cxnSpMk id="4" creationId="{27CC8B34-F037-0622-8E10-5ED5F4526146}"/>
          </ac:cxnSpMkLst>
        </pc:cxnChg>
        <pc:cxnChg chg="del">
          <ac:chgData name="Yudi Zhu" userId="571e1a55-055f-4c28-8b35-fca6dd1c1369" providerId="ADAL" clId="{75A88773-6EE1-484E-AADE-FE631E01463B}" dt="2025-11-21T09:58:56.783" v="429835"/>
          <ac:cxnSpMkLst>
            <pc:docMk/>
            <pc:sldMk cId="4105311989" sldId="2147483094"/>
            <ac:cxnSpMk id="4" creationId="{99B0713B-9E8D-0C65-E6A8-DC898B3FF396}"/>
          </ac:cxnSpMkLst>
        </pc:cxnChg>
        <pc:cxnChg chg="del">
          <ac:chgData name="Yudi Zhu" userId="571e1a55-055f-4c28-8b35-fca6dd1c1369" providerId="ADAL" clId="{75A88773-6EE1-484E-AADE-FE631E01463B}" dt="2025-11-21T09:58:56.784" v="429837"/>
          <ac:cxnSpMkLst>
            <pc:docMk/>
            <pc:sldMk cId="4105311989" sldId="2147483094"/>
            <ac:cxnSpMk id="5" creationId="{4852D6DB-6CD8-4A91-F25B-60352E200BF4}"/>
          </ac:cxnSpMkLst>
        </pc:cxnChg>
        <pc:cxnChg chg="del">
          <ac:chgData name="Yudi Zhu" userId="571e1a55-055f-4c28-8b35-fca6dd1c1369" providerId="ADAL" clId="{75A88773-6EE1-484E-AADE-FE631E01463B}" dt="2025-11-21T09:58:56.788" v="429839"/>
          <ac:cxnSpMkLst>
            <pc:docMk/>
            <pc:sldMk cId="4105311989" sldId="2147483094"/>
            <ac:cxnSpMk id="8" creationId="{6241BD07-0BE6-BE0C-2589-7A86ED934237}"/>
          </ac:cxnSpMkLst>
        </pc:cxnChg>
        <pc:cxnChg chg="del">
          <ac:chgData name="Yudi Zhu" userId="571e1a55-055f-4c28-8b35-fca6dd1c1369" providerId="ADAL" clId="{75A88773-6EE1-484E-AADE-FE631E01463B}" dt="2025-11-21T09:58:56.790" v="429841"/>
          <ac:cxnSpMkLst>
            <pc:docMk/>
            <pc:sldMk cId="4105311989" sldId="2147483094"/>
            <ac:cxnSpMk id="9" creationId="{3CBE1CF3-9CFD-4A81-CF45-CEF69E783730}"/>
          </ac:cxnSpMkLst>
        </pc:cxnChg>
        <pc:cxnChg chg="add mod ord">
          <ac:chgData name="Yudi Zhu" userId="571e1a55-055f-4c28-8b35-fca6dd1c1369" providerId="ADAL" clId="{75A88773-6EE1-484E-AADE-FE631E01463B}" dt="2025-11-24T04:19:48.906" v="639305"/>
          <ac:cxnSpMkLst>
            <pc:docMk/>
            <pc:sldMk cId="4105311989" sldId="2147483094"/>
            <ac:cxnSpMk id="9" creationId="{A66B5243-9998-A2A8-9D09-94AA457AD0B4}"/>
          </ac:cxnSpMkLst>
        </pc:cxnChg>
        <pc:cxnChg chg="del">
          <ac:chgData name="Yudi Zhu" userId="571e1a55-055f-4c28-8b35-fca6dd1c1369" providerId="ADAL" clId="{75A88773-6EE1-484E-AADE-FE631E01463B}" dt="2025-11-21T09:58:56.792" v="429843"/>
          <ac:cxnSpMkLst>
            <pc:docMk/>
            <pc:sldMk cId="4105311989" sldId="2147483094"/>
            <ac:cxnSpMk id="10" creationId="{D5B32C6B-D770-1FD6-01F8-9E50F0954633}"/>
          </ac:cxnSpMkLst>
        </pc:cxnChg>
        <pc:cxnChg chg="del">
          <ac:chgData name="Yudi Zhu" userId="571e1a55-055f-4c28-8b35-fca6dd1c1369" providerId="ADAL" clId="{75A88773-6EE1-484E-AADE-FE631E01463B}" dt="2025-11-21T09:58:56.795" v="429845"/>
          <ac:cxnSpMkLst>
            <pc:docMk/>
            <pc:sldMk cId="4105311989" sldId="2147483094"/>
            <ac:cxnSpMk id="12" creationId="{4357DB57-C36A-F36D-1B2F-1C4C24501A58}"/>
          </ac:cxnSpMkLst>
        </pc:cxnChg>
        <pc:cxnChg chg="del">
          <ac:chgData name="Yudi Zhu" userId="571e1a55-055f-4c28-8b35-fca6dd1c1369" providerId="ADAL" clId="{75A88773-6EE1-484E-AADE-FE631E01463B}" dt="2025-11-21T09:58:56.797" v="429847"/>
          <ac:cxnSpMkLst>
            <pc:docMk/>
            <pc:sldMk cId="4105311989" sldId="2147483094"/>
            <ac:cxnSpMk id="13" creationId="{5623D238-BB73-68B9-7EE8-35A69B575749}"/>
          </ac:cxnSpMkLst>
        </pc:cxnChg>
        <pc:cxnChg chg="del mod ord">
          <ac:chgData name="Yudi Zhu" userId="571e1a55-055f-4c28-8b35-fca6dd1c1369" providerId="ADAL" clId="{75A88773-6EE1-484E-AADE-FE631E01463B}" dt="2025-11-21T09:59:17.810" v="430356"/>
          <ac:cxnSpMkLst>
            <pc:docMk/>
            <pc:sldMk cId="4105311989" sldId="2147483094"/>
            <ac:cxnSpMk id="33" creationId="{7AAA0163-D737-220F-7DEE-BF3C596482FB}"/>
          </ac:cxnSpMkLst>
        </pc:cxnChg>
        <pc:cxnChg chg="del mod ord">
          <ac:chgData name="Yudi Zhu" userId="571e1a55-055f-4c28-8b35-fca6dd1c1369" providerId="ADAL" clId="{75A88773-6EE1-484E-AADE-FE631E01463B}" dt="2025-11-21T09:59:17.810" v="430358"/>
          <ac:cxnSpMkLst>
            <pc:docMk/>
            <pc:sldMk cId="4105311989" sldId="2147483094"/>
            <ac:cxnSpMk id="34" creationId="{BC1CD5DF-7D8C-D66B-3E9C-53A27C768BAE}"/>
          </ac:cxnSpMkLst>
        </pc:cxnChg>
        <pc:cxnChg chg="mod ord">
          <ac:chgData name="Yudi Zhu" userId="571e1a55-055f-4c28-8b35-fca6dd1c1369" providerId="ADAL" clId="{75A88773-6EE1-484E-AADE-FE631E01463B}" dt="2025-11-24T04:19:48.902" v="639295"/>
          <ac:cxnSpMkLst>
            <pc:docMk/>
            <pc:sldMk cId="4105311989" sldId="2147483094"/>
            <ac:cxnSpMk id="35" creationId="{E6530368-09A5-8CD9-EC3E-C6B7643D79D6}"/>
          </ac:cxnSpMkLst>
        </pc:cxnChg>
        <pc:cxnChg chg="del mod ord">
          <ac:chgData name="Yudi Zhu" userId="571e1a55-055f-4c28-8b35-fca6dd1c1369" providerId="ADAL" clId="{75A88773-6EE1-484E-AADE-FE631E01463B}" dt="2025-11-21T09:59:17.810" v="430360"/>
          <ac:cxnSpMkLst>
            <pc:docMk/>
            <pc:sldMk cId="4105311989" sldId="2147483094"/>
            <ac:cxnSpMk id="36" creationId="{7D0727A7-F83D-726E-C6F0-3BA3C71AF9E0}"/>
          </ac:cxnSpMkLst>
        </pc:cxnChg>
        <pc:cxnChg chg="mod ord">
          <ac:chgData name="Yudi Zhu" userId="571e1a55-055f-4c28-8b35-fca6dd1c1369" providerId="ADAL" clId="{75A88773-6EE1-484E-AADE-FE631E01463B}" dt="2025-11-24T04:19:48.901" v="639293"/>
          <ac:cxnSpMkLst>
            <pc:docMk/>
            <pc:sldMk cId="4105311989" sldId="2147483094"/>
            <ac:cxnSpMk id="42" creationId="{958A415F-AB97-A16D-12FC-3245B7857B55}"/>
          </ac:cxnSpMkLst>
        </pc:cxnChg>
        <pc:cxnChg chg="mod ord">
          <ac:chgData name="Yudi Zhu" userId="571e1a55-055f-4c28-8b35-fca6dd1c1369" providerId="ADAL" clId="{75A88773-6EE1-484E-AADE-FE631E01463B}" dt="2025-11-24T04:19:48.956" v="639419"/>
          <ac:cxnSpMkLst>
            <pc:docMk/>
            <pc:sldMk cId="4105311989" sldId="2147483094"/>
            <ac:cxnSpMk id="57" creationId="{B8A70BC4-880F-79F8-BF39-DEB7ECF3AAAF}"/>
          </ac:cxnSpMkLst>
        </pc:cxnChg>
        <pc:cxnChg chg="mod ord">
          <ac:chgData name="Yudi Zhu" userId="571e1a55-055f-4c28-8b35-fca6dd1c1369" providerId="ADAL" clId="{75A88773-6EE1-484E-AADE-FE631E01463B}" dt="2025-11-24T04:19:48.956" v="639423"/>
          <ac:cxnSpMkLst>
            <pc:docMk/>
            <pc:sldMk cId="4105311989" sldId="2147483094"/>
            <ac:cxnSpMk id="58" creationId="{544E8E06-7A8F-3954-A4AA-EE20FECFFF3B}"/>
          </ac:cxnSpMkLst>
        </pc:cxnChg>
        <pc:cxnChg chg="mod ord">
          <ac:chgData name="Yudi Zhu" userId="571e1a55-055f-4c28-8b35-fca6dd1c1369" providerId="ADAL" clId="{75A88773-6EE1-484E-AADE-FE631E01463B}" dt="2025-11-24T04:19:48.956" v="639417"/>
          <ac:cxnSpMkLst>
            <pc:docMk/>
            <pc:sldMk cId="4105311989" sldId="2147483094"/>
            <ac:cxnSpMk id="59" creationId="{F626354A-02F7-D8D1-C43E-6F2AA2506D97}"/>
          </ac:cxnSpMkLst>
        </pc:cxnChg>
        <pc:cxnChg chg="mod ord">
          <ac:chgData name="Yudi Zhu" userId="571e1a55-055f-4c28-8b35-fca6dd1c1369" providerId="ADAL" clId="{75A88773-6EE1-484E-AADE-FE631E01463B}" dt="2025-11-24T04:19:48.956" v="639415"/>
          <ac:cxnSpMkLst>
            <pc:docMk/>
            <pc:sldMk cId="4105311989" sldId="2147483094"/>
            <ac:cxnSpMk id="60" creationId="{920FA605-E38D-0766-1BEA-D0809D4F30B1}"/>
          </ac:cxnSpMkLst>
        </pc:cxnChg>
        <pc:cxnChg chg="del mod ord">
          <ac:chgData name="Yudi Zhu" userId="571e1a55-055f-4c28-8b35-fca6dd1c1369" providerId="ADAL" clId="{75A88773-6EE1-484E-AADE-FE631E01463B}" dt="2025-11-21T10:08:34.385" v="451343"/>
          <ac:cxnSpMkLst>
            <pc:docMk/>
            <pc:sldMk cId="4105311989" sldId="2147483094"/>
            <ac:cxnSpMk id="61" creationId="{5460B9C1-B478-B2EA-64C1-1F3A3ED7DB5F}"/>
          </ac:cxnSpMkLst>
        </pc:cxnChg>
        <pc:cxnChg chg="mod ord">
          <ac:chgData name="Yudi Zhu" userId="571e1a55-055f-4c28-8b35-fca6dd1c1369" providerId="ADAL" clId="{75A88773-6EE1-484E-AADE-FE631E01463B}" dt="2025-11-24T04:19:48.956" v="639429"/>
          <ac:cxnSpMkLst>
            <pc:docMk/>
            <pc:sldMk cId="4105311989" sldId="2147483094"/>
            <ac:cxnSpMk id="62" creationId="{D3FC26B7-159F-8978-6453-5F5B3488596A}"/>
          </ac:cxnSpMkLst>
        </pc:cxnChg>
        <pc:cxnChg chg="mod ord">
          <ac:chgData name="Yudi Zhu" userId="571e1a55-055f-4c28-8b35-fca6dd1c1369" providerId="ADAL" clId="{75A88773-6EE1-484E-AADE-FE631E01463B}" dt="2025-11-24T04:19:48.956" v="639421"/>
          <ac:cxnSpMkLst>
            <pc:docMk/>
            <pc:sldMk cId="4105311989" sldId="2147483094"/>
            <ac:cxnSpMk id="63" creationId="{036720A8-6C47-441D-7C79-B2E3C0977058}"/>
          </ac:cxnSpMkLst>
        </pc:cxnChg>
        <pc:cxnChg chg="mod ord">
          <ac:chgData name="Yudi Zhu" userId="571e1a55-055f-4c28-8b35-fca6dd1c1369" providerId="ADAL" clId="{75A88773-6EE1-484E-AADE-FE631E01463B}" dt="2025-11-24T04:19:48.897" v="639285"/>
          <ac:cxnSpMkLst>
            <pc:docMk/>
            <pc:sldMk cId="4105311989" sldId="2147483094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4T04:19:48.940" v="639395"/>
          <ac:cxnSpMkLst>
            <pc:docMk/>
            <pc:sldMk cId="4105311989" sldId="2147483094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4T04:19:48.898" v="639287"/>
          <ac:cxnSpMkLst>
            <pc:docMk/>
            <pc:sldMk cId="4105311989" sldId="2147483094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4T04:19:48.904" v="639301"/>
          <ac:cxnSpMkLst>
            <pc:docMk/>
            <pc:sldMk cId="4105311989" sldId="2147483094"/>
            <ac:cxnSpMk id="431" creationId="{5AA105B7-A2E6-B910-AAFB-0A129E5A83EE}"/>
          </ac:cxnSpMkLst>
        </pc:cxnChg>
        <pc:cxnChg chg="mod ord">
          <ac:chgData name="Yudi Zhu" userId="571e1a55-055f-4c28-8b35-fca6dd1c1369" providerId="ADAL" clId="{75A88773-6EE1-484E-AADE-FE631E01463B}" dt="2025-11-24T04:19:48.900" v="639291"/>
          <ac:cxnSpMkLst>
            <pc:docMk/>
            <pc:sldMk cId="4105311989" sldId="2147483094"/>
            <ac:cxnSpMk id="488" creationId="{D28D1E49-68EF-4D63-E72E-25882683E109}"/>
          </ac:cxnSpMkLst>
        </pc:cxnChg>
        <pc:cxnChg chg="mod ord">
          <ac:chgData name="Yudi Zhu" userId="571e1a55-055f-4c28-8b35-fca6dd1c1369" providerId="ADAL" clId="{75A88773-6EE1-484E-AADE-FE631E01463B}" dt="2025-11-24T04:19:48.903" v="639297"/>
          <ac:cxnSpMkLst>
            <pc:docMk/>
            <pc:sldMk cId="4105311989" sldId="2147483094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4T04:19:48.899" v="639289"/>
          <ac:cxnSpMkLst>
            <pc:docMk/>
            <pc:sldMk cId="4105311989" sldId="2147483094"/>
            <ac:cxnSpMk id="501" creationId="{31BBDF1D-384A-CA1B-E5CC-8D290EBDEE93}"/>
          </ac:cxnSpMkLst>
        </pc:cxnChg>
        <pc:cxnChg chg="del mod ord">
          <ac:chgData name="Yudi Zhu" userId="571e1a55-055f-4c28-8b35-fca6dd1c1369" providerId="ADAL" clId="{75A88773-6EE1-484E-AADE-FE631E01463B}" dt="2025-11-21T09:59:17.804" v="430354"/>
          <ac:cxnSpMkLst>
            <pc:docMk/>
            <pc:sldMk cId="4105311989" sldId="2147483094"/>
            <ac:cxnSpMk id="550" creationId="{6CD00907-2A9C-1E33-80B9-E0465A3BC831}"/>
          </ac:cxnSpMkLst>
        </pc:cxnChg>
        <pc:cxnChg chg="add del mod ord">
          <ac:chgData name="Yudi Zhu" userId="571e1a55-055f-4c28-8b35-fca6dd1c1369" providerId="ADAL" clId="{75A88773-6EE1-484E-AADE-FE631E01463B}" dt="2025-11-21T10:12:08.743" v="458916"/>
          <ac:cxnSpMkLst>
            <pc:docMk/>
            <pc:sldMk cId="4105311989" sldId="2147483094"/>
            <ac:cxnSpMk id="555" creationId="{C85D946B-2BB8-5E01-0A36-2EDD703FB15B}"/>
          </ac:cxnSpMkLst>
        </pc:cxnChg>
        <pc:cxnChg chg="mod ord">
          <ac:chgData name="Yudi Zhu" userId="571e1a55-055f-4c28-8b35-fca6dd1c1369" providerId="ADAL" clId="{75A88773-6EE1-484E-AADE-FE631E01463B}" dt="2025-11-24T04:19:48.904" v="639299"/>
          <ac:cxnSpMkLst>
            <pc:docMk/>
            <pc:sldMk cId="4105311989" sldId="2147483094"/>
            <ac:cxnSpMk id="1221" creationId="{C051EBC2-367F-7868-4767-FF881D2E6AF4}"/>
          </ac:cxnSpMkLst>
        </pc:cxnChg>
        <pc:cxnChg chg="mod ord">
          <ac:chgData name="Yudi Zhu" userId="571e1a55-055f-4c28-8b35-fca6dd1c1369" providerId="ADAL" clId="{75A88773-6EE1-484E-AADE-FE631E01463B}" dt="2025-11-24T04:19:48.987" v="639479"/>
          <ac:cxnSpMkLst>
            <pc:docMk/>
            <pc:sldMk cId="4105311989" sldId="2147483094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4T04:19:48.988" v="639481"/>
          <ac:cxnSpMkLst>
            <pc:docMk/>
            <pc:sldMk cId="4105311989" sldId="2147483094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4T04:19:48.989" v="639483"/>
          <ac:cxnSpMkLst>
            <pc:docMk/>
            <pc:sldMk cId="4105311989" sldId="2147483094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4T04:19:48.956" v="639407"/>
          <ac:cxnSpMkLst>
            <pc:docMk/>
            <pc:sldMk cId="4105311989" sldId="2147483094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4T04:19:48.956" v="639413"/>
          <ac:cxnSpMkLst>
            <pc:docMk/>
            <pc:sldMk cId="4105311989" sldId="2147483094"/>
            <ac:cxnSpMk id="1427" creationId="{8CD1BFBD-29D4-7EFA-3730-7685282ECB0D}"/>
          </ac:cxnSpMkLst>
        </pc:cxnChg>
        <pc:cxnChg chg="del mod ord">
          <ac:chgData name="Yudi Zhu" userId="571e1a55-055f-4c28-8b35-fca6dd1c1369" providerId="ADAL" clId="{75A88773-6EE1-484E-AADE-FE631E01463B}" dt="2025-11-21T10:08:34.385" v="451345"/>
          <ac:cxnSpMkLst>
            <pc:docMk/>
            <pc:sldMk cId="4105311989" sldId="2147483094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4T04:19:48.956" v="639427"/>
          <ac:cxnSpMkLst>
            <pc:docMk/>
            <pc:sldMk cId="4105311989" sldId="2147483094"/>
            <ac:cxnSpMk id="1462" creationId="{B25EED74-3BE6-1A25-FFAA-ED5F7EF0AB47}"/>
          </ac:cxnSpMkLst>
        </pc:cxnChg>
        <pc:cxnChg chg="mod ord">
          <ac:chgData name="Yudi Zhu" userId="571e1a55-055f-4c28-8b35-fca6dd1c1369" providerId="ADAL" clId="{75A88773-6EE1-484E-AADE-FE631E01463B}" dt="2025-11-24T04:19:48.956" v="639437"/>
          <ac:cxnSpMkLst>
            <pc:docMk/>
            <pc:sldMk cId="4105311989" sldId="2147483094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4T04:19:48.956" v="639439"/>
          <ac:cxnSpMkLst>
            <pc:docMk/>
            <pc:sldMk cId="4105311989" sldId="2147483094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4T04:19:48.956" v="639425"/>
          <ac:cxnSpMkLst>
            <pc:docMk/>
            <pc:sldMk cId="4105311989" sldId="2147483094"/>
            <ac:cxnSpMk id="1468" creationId="{DB3DA2FD-3F9C-7D07-1499-92AEE88BBABE}"/>
          </ac:cxnSpMkLst>
        </pc:cxnChg>
        <pc:cxnChg chg="del mod ord">
          <ac:chgData name="Yudi Zhu" userId="571e1a55-055f-4c28-8b35-fca6dd1c1369" providerId="ADAL" clId="{75A88773-6EE1-484E-AADE-FE631E01463B}" dt="2025-11-21T10:08:34.417" v="451415"/>
          <ac:cxnSpMkLst>
            <pc:docMk/>
            <pc:sldMk cId="4105311989" sldId="2147483094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4T04:19:48.956" v="639411"/>
          <ac:cxnSpMkLst>
            <pc:docMk/>
            <pc:sldMk cId="4105311989" sldId="2147483094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4T04:19:48.956" v="639443"/>
          <ac:cxnSpMkLst>
            <pc:docMk/>
            <pc:sldMk cId="4105311989" sldId="2147483094"/>
            <ac:cxnSpMk id="1819" creationId="{89A23327-5608-B9B1-48B6-09A5B94BD12A}"/>
          </ac:cxnSpMkLst>
        </pc:cxnChg>
        <pc:cxnChg chg="mod ord">
          <ac:chgData name="Yudi Zhu" userId="571e1a55-055f-4c28-8b35-fca6dd1c1369" providerId="ADAL" clId="{75A88773-6EE1-484E-AADE-FE631E01463B}" dt="2025-11-24T04:19:48.956" v="639431"/>
          <ac:cxnSpMkLst>
            <pc:docMk/>
            <pc:sldMk cId="4105311989" sldId="2147483094"/>
            <ac:cxnSpMk id="1856" creationId="{D1BA9907-3658-82E5-F2ED-A6180F1B2854}"/>
          </ac:cxnSpMkLst>
        </pc:cxnChg>
        <pc:cxnChg chg="mod ord">
          <ac:chgData name="Yudi Zhu" userId="571e1a55-055f-4c28-8b35-fca6dd1c1369" providerId="ADAL" clId="{75A88773-6EE1-484E-AADE-FE631E01463B}" dt="2025-11-24T04:19:48.956" v="639433"/>
          <ac:cxnSpMkLst>
            <pc:docMk/>
            <pc:sldMk cId="4105311989" sldId="2147483094"/>
            <ac:cxnSpMk id="1857" creationId="{CF12010B-7B22-DD94-C36D-C11F4ECD2C5D}"/>
          </ac:cxnSpMkLst>
        </pc:cxnChg>
        <pc:cxnChg chg="mod ord">
          <ac:chgData name="Yudi Zhu" userId="571e1a55-055f-4c28-8b35-fca6dd1c1369" providerId="ADAL" clId="{75A88773-6EE1-484E-AADE-FE631E01463B}" dt="2025-11-24T04:19:48.956" v="639435"/>
          <ac:cxnSpMkLst>
            <pc:docMk/>
            <pc:sldMk cId="4105311989" sldId="2147483094"/>
            <ac:cxnSpMk id="1858" creationId="{0D4B99E3-DB56-6849-EF97-337EA1B0324A}"/>
          </ac:cxnSpMkLst>
        </pc:cxnChg>
        <pc:cxnChg chg="mod ord">
          <ac:chgData name="Yudi Zhu" userId="571e1a55-055f-4c28-8b35-fca6dd1c1369" providerId="ADAL" clId="{75A88773-6EE1-484E-AADE-FE631E01463B}" dt="2025-11-24T04:19:48.956" v="639441"/>
          <ac:cxnSpMkLst>
            <pc:docMk/>
            <pc:sldMk cId="4105311989" sldId="2147483094"/>
            <ac:cxnSpMk id="1859" creationId="{FD8FF0CA-37CF-D887-74DE-07CF29094DE7}"/>
          </ac:cxnSpMkLst>
        </pc:cxnChg>
        <pc:cxnChg chg="mod ord">
          <ac:chgData name="Yudi Zhu" userId="571e1a55-055f-4c28-8b35-fca6dd1c1369" providerId="ADAL" clId="{75A88773-6EE1-484E-AADE-FE631E01463B}" dt="2025-11-24T04:19:48.956" v="639445"/>
          <ac:cxnSpMkLst>
            <pc:docMk/>
            <pc:sldMk cId="4105311989" sldId="2147483094"/>
            <ac:cxnSpMk id="1860" creationId="{1A93DD93-BD90-4150-D381-32F900E769FB}"/>
          </ac:cxnSpMkLst>
        </pc:cxnChg>
        <pc:cxnChg chg="mod ord">
          <ac:chgData name="Yudi Zhu" userId="571e1a55-055f-4c28-8b35-fca6dd1c1369" providerId="ADAL" clId="{75A88773-6EE1-484E-AADE-FE631E01463B}" dt="2025-11-24T04:19:48.956" v="639409"/>
          <ac:cxnSpMkLst>
            <pc:docMk/>
            <pc:sldMk cId="4105311989" sldId="2147483094"/>
            <ac:cxnSpMk id="1861" creationId="{15660DEE-4916-933D-E2C2-A4D09FBA11D1}"/>
          </ac:cxnSpMkLst>
        </pc:cxnChg>
        <pc:cxnChg chg="add mod ord">
          <ac:chgData name="Yudi Zhu" userId="571e1a55-055f-4c28-8b35-fca6dd1c1369" providerId="ADAL" clId="{75A88773-6EE1-484E-AADE-FE631E01463B}" dt="2025-11-24T04:19:48.929" v="639358"/>
          <ac:cxnSpMkLst>
            <pc:docMk/>
            <pc:sldMk cId="4105311989" sldId="2147483094"/>
            <ac:cxnSpMk id="1869" creationId="{73951D2D-E559-D66D-7BBE-80DF0608041C}"/>
          </ac:cxnSpMkLst>
        </pc:cxnChg>
        <pc:cxnChg chg="add mod ord">
          <ac:chgData name="Yudi Zhu" userId="571e1a55-055f-4c28-8b35-fca6dd1c1369" providerId="ADAL" clId="{75A88773-6EE1-484E-AADE-FE631E01463B}" dt="2025-11-24T04:19:48.930" v="639360"/>
          <ac:cxnSpMkLst>
            <pc:docMk/>
            <pc:sldMk cId="4105311989" sldId="2147483094"/>
            <ac:cxnSpMk id="1870" creationId="{CBD0A932-0B6F-3614-5A43-BBF65D02E9C6}"/>
          </ac:cxnSpMkLst>
        </pc:cxnChg>
      </pc:sldChg>
      <pc:sldChg chg="add del">
        <pc:chgData name="Yudi Zhu" userId="571e1a55-055f-4c28-8b35-fca6dd1c1369" providerId="ADAL" clId="{75A88773-6EE1-484E-AADE-FE631E01463B}" dt="2025-11-21T10:13:37.104" v="463895" actId="47"/>
        <pc:sldMkLst>
          <pc:docMk/>
          <pc:sldMk cId="2476883074" sldId="2147483095"/>
        </pc:sldMkLst>
      </pc:sldChg>
      <pc:sldChg chg="addSp delSp modSp add del mod modShow">
        <pc:chgData name="Yudi Zhu" userId="571e1a55-055f-4c28-8b35-fca6dd1c1369" providerId="ADAL" clId="{75A88773-6EE1-484E-AADE-FE631E01463B}" dt="2025-11-25T11:14:51.222" v="690930" actId="47"/>
        <pc:sldMkLst>
          <pc:docMk/>
          <pc:sldMk cId="3512959142" sldId="2147483095"/>
        </pc:sldMkLst>
        <pc:spChg chg="mod ord">
          <ac:chgData name="Yudi Zhu" userId="571e1a55-055f-4c28-8b35-fca6dd1c1369" providerId="ADAL" clId="{75A88773-6EE1-484E-AADE-FE631E01463B}" dt="2025-11-24T04:19:54.818" v="639778"/>
          <ac:spMkLst>
            <pc:docMk/>
            <pc:sldMk cId="3512959142" sldId="2147483095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4T01:57:36.014" v="478448"/>
          <ac:spMkLst>
            <pc:docMk/>
            <pc:sldMk cId="3512959142" sldId="2147483095"/>
            <ac:spMk id="3" creationId="{138D7269-341C-A78B-DCC2-B800F3690B47}"/>
          </ac:spMkLst>
        </pc:spChg>
        <pc:spChg chg="add del mod modVis">
          <ac:chgData name="Yudi Zhu" userId="571e1a55-055f-4c28-8b35-fca6dd1c1369" providerId="ADAL" clId="{75A88773-6EE1-484E-AADE-FE631E01463B}" dt="2025-11-21T10:13:44.302" v="463954"/>
          <ac:spMkLst>
            <pc:docMk/>
            <pc:sldMk cId="3512959142" sldId="2147483095"/>
            <ac:spMk id="3" creationId="{34375490-3BC7-5A70-6CA3-53A66752FE24}"/>
          </ac:spMkLst>
        </pc:spChg>
        <pc:spChg chg="add del mod modVis">
          <ac:chgData name="Yudi Zhu" userId="571e1a55-055f-4c28-8b35-fca6dd1c1369" providerId="ADAL" clId="{75A88773-6EE1-484E-AADE-FE631E01463B}" dt="2025-11-21T10:14:30.455" v="467583"/>
          <ac:spMkLst>
            <pc:docMk/>
            <pc:sldMk cId="3512959142" sldId="2147483095"/>
            <ac:spMk id="4" creationId="{A9F5775E-D46A-9801-65CD-E0D021304D31}"/>
          </ac:spMkLst>
        </pc:spChg>
        <pc:spChg chg="add del mod modVis">
          <ac:chgData name="Yudi Zhu" userId="571e1a55-055f-4c28-8b35-fca6dd1c1369" providerId="ADAL" clId="{75A88773-6EE1-484E-AADE-FE631E01463B}" dt="2025-11-21T10:14:31.382" v="467848"/>
          <ac:spMkLst>
            <pc:docMk/>
            <pc:sldMk cId="3512959142" sldId="2147483095"/>
            <ac:spMk id="6" creationId="{AA0CA1C7-2D09-7359-8539-3CFDA880420C}"/>
          </ac:spMkLst>
        </pc:spChg>
        <pc:spChg chg="add del mod modVis">
          <ac:chgData name="Yudi Zhu" userId="571e1a55-055f-4c28-8b35-fca6dd1c1369" providerId="ADAL" clId="{75A88773-6EE1-484E-AADE-FE631E01463B}" dt="2025-11-21T10:14:48.365" v="468705"/>
          <ac:spMkLst>
            <pc:docMk/>
            <pc:sldMk cId="3512959142" sldId="2147483095"/>
            <ac:spMk id="9" creationId="{25FB917C-3DF3-8274-C923-B13094C48C5E}"/>
          </ac:spMkLst>
        </pc:spChg>
        <pc:spChg chg="add del mod modVis">
          <ac:chgData name="Yudi Zhu" userId="571e1a55-055f-4c28-8b35-fca6dd1c1369" providerId="ADAL" clId="{75A88773-6EE1-484E-AADE-FE631E01463B}" dt="2025-11-21T10:14:55.243" v="469175"/>
          <ac:spMkLst>
            <pc:docMk/>
            <pc:sldMk cId="3512959142" sldId="2147483095"/>
            <ac:spMk id="12" creationId="{FB119490-17D7-FF1F-A41E-9DF8B3822F34}"/>
          </ac:spMkLst>
        </pc:spChg>
        <pc:spChg chg="add del mod modVis">
          <ac:chgData name="Yudi Zhu" userId="571e1a55-055f-4c28-8b35-fca6dd1c1369" providerId="ADAL" clId="{75A88773-6EE1-484E-AADE-FE631E01463B}" dt="2025-11-21T10:14:59.649" v="469649"/>
          <ac:spMkLst>
            <pc:docMk/>
            <pc:sldMk cId="3512959142" sldId="2147483095"/>
            <ac:spMk id="14" creationId="{D4B698E8-FB05-71DC-57DD-ADC9722BF433}"/>
          </ac:spMkLst>
        </pc:spChg>
        <pc:spChg chg="add del mod modVis">
          <ac:chgData name="Yudi Zhu" userId="571e1a55-055f-4c28-8b35-fca6dd1c1369" providerId="ADAL" clId="{75A88773-6EE1-484E-AADE-FE631E01463B}" dt="2025-11-21T10:15:26.377" v="470566"/>
          <ac:spMkLst>
            <pc:docMk/>
            <pc:sldMk cId="3512959142" sldId="2147483095"/>
            <ac:spMk id="16" creationId="{7C4655F1-6DD1-91CD-2E12-0589B6725170}"/>
          </ac:spMkLst>
        </pc:spChg>
        <pc:spChg chg="add del mod ord">
          <ac:chgData name="Yudi Zhu" userId="571e1a55-055f-4c28-8b35-fca6dd1c1369" providerId="ADAL" clId="{75A88773-6EE1-484E-AADE-FE631E01463B}" dt="2025-11-21T10:16:02.075" v="473213"/>
          <ac:spMkLst>
            <pc:docMk/>
            <pc:sldMk cId="3512959142" sldId="2147483095"/>
            <ac:spMk id="17" creationId="{6E26B259-3BD5-118E-2020-56EEFE3E1D0B}"/>
          </ac:spMkLst>
        </pc:spChg>
        <pc:spChg chg="add del mod modVis">
          <ac:chgData name="Yudi Zhu" userId="571e1a55-055f-4c28-8b35-fca6dd1c1369" providerId="ADAL" clId="{75A88773-6EE1-484E-AADE-FE631E01463B}" dt="2025-11-21T10:15:32.034" v="471400"/>
          <ac:spMkLst>
            <pc:docMk/>
            <pc:sldMk cId="3512959142" sldId="2147483095"/>
            <ac:spMk id="19" creationId="{9BA73283-9F5B-B889-A1FA-A571376DA5C9}"/>
          </ac:spMkLst>
        </pc:spChg>
        <pc:spChg chg="add del mod modVis">
          <ac:chgData name="Yudi Zhu" userId="571e1a55-055f-4c28-8b35-fca6dd1c1369" providerId="ADAL" clId="{75A88773-6EE1-484E-AADE-FE631E01463B}" dt="2025-11-21T10:15:36.584" v="471877"/>
          <ac:spMkLst>
            <pc:docMk/>
            <pc:sldMk cId="3512959142" sldId="2147483095"/>
            <ac:spMk id="21" creationId="{A628B05E-6B6C-02FE-9C46-38750259FDA9}"/>
          </ac:spMkLst>
        </pc:spChg>
        <pc:spChg chg="add del mod modVis">
          <ac:chgData name="Yudi Zhu" userId="571e1a55-055f-4c28-8b35-fca6dd1c1369" providerId="ADAL" clId="{75A88773-6EE1-484E-AADE-FE631E01463B}" dt="2025-11-21T10:15:56.715" v="472699"/>
          <ac:spMkLst>
            <pc:docMk/>
            <pc:sldMk cId="3512959142" sldId="2147483095"/>
            <ac:spMk id="23" creationId="{700C82A1-D5F7-1F12-8541-CAB6C57F0432}"/>
          </ac:spMkLst>
        </pc:spChg>
        <pc:spChg chg="add del mod">
          <ac:chgData name="Yudi Zhu" userId="571e1a55-055f-4c28-8b35-fca6dd1c1369" providerId="ADAL" clId="{75A88773-6EE1-484E-AADE-FE631E01463B}" dt="2025-11-21T10:16:01.417" v="472738"/>
          <ac:spMkLst>
            <pc:docMk/>
            <pc:sldMk cId="3512959142" sldId="2147483095"/>
            <ac:spMk id="24" creationId="{530A73E2-0FF0-746E-2260-9C96C9599AE0}"/>
          </ac:spMkLst>
        </pc:spChg>
        <pc:spChg chg="add del mod">
          <ac:chgData name="Yudi Zhu" userId="571e1a55-055f-4c28-8b35-fca6dd1c1369" providerId="ADAL" clId="{75A88773-6EE1-484E-AADE-FE631E01463B}" dt="2025-11-21T10:16:01.417" v="472737"/>
          <ac:spMkLst>
            <pc:docMk/>
            <pc:sldMk cId="3512959142" sldId="2147483095"/>
            <ac:spMk id="25" creationId="{E2EB8050-2BE1-8E99-B002-A5392DEF2438}"/>
          </ac:spMkLst>
        </pc:spChg>
        <pc:spChg chg="add del mod">
          <ac:chgData name="Yudi Zhu" userId="571e1a55-055f-4c28-8b35-fca6dd1c1369" providerId="ADAL" clId="{75A88773-6EE1-484E-AADE-FE631E01463B}" dt="2025-11-21T10:16:07.461" v="473550"/>
          <ac:spMkLst>
            <pc:docMk/>
            <pc:sldMk cId="3512959142" sldId="2147483095"/>
            <ac:spMk id="26" creationId="{128E52C7-AF74-ABDE-4BF0-12230DEE1B6D}"/>
          </ac:spMkLst>
        </pc:spChg>
        <pc:spChg chg="add del mod">
          <ac:chgData name="Yudi Zhu" userId="571e1a55-055f-4c28-8b35-fca6dd1c1369" providerId="ADAL" clId="{75A88773-6EE1-484E-AADE-FE631E01463B}" dt="2025-11-21T10:16:01.416" v="472736"/>
          <ac:spMkLst>
            <pc:docMk/>
            <pc:sldMk cId="3512959142" sldId="2147483095"/>
            <ac:spMk id="27" creationId="{D2C69BAC-FB6D-D47A-40E9-02A43BD6271A}"/>
          </ac:spMkLst>
        </pc:spChg>
        <pc:spChg chg="add del mod">
          <ac:chgData name="Yudi Zhu" userId="571e1a55-055f-4c28-8b35-fca6dd1c1369" providerId="ADAL" clId="{75A88773-6EE1-484E-AADE-FE631E01463B}" dt="2025-11-21T10:16:01.415" v="472735"/>
          <ac:spMkLst>
            <pc:docMk/>
            <pc:sldMk cId="3512959142" sldId="2147483095"/>
            <ac:spMk id="28" creationId="{EB8C5FF9-CF5A-9284-4151-AE5B02C28095}"/>
          </ac:spMkLst>
        </pc:spChg>
        <pc:spChg chg="add del mod">
          <ac:chgData name="Yudi Zhu" userId="571e1a55-055f-4c28-8b35-fca6dd1c1369" providerId="ADAL" clId="{75A88773-6EE1-484E-AADE-FE631E01463B}" dt="2025-11-21T10:16:01.414" v="472734"/>
          <ac:spMkLst>
            <pc:docMk/>
            <pc:sldMk cId="3512959142" sldId="2147483095"/>
            <ac:spMk id="29" creationId="{FA16B01B-6F75-F6B7-E19D-E386C929772C}"/>
          </ac:spMkLst>
        </pc:spChg>
        <pc:spChg chg="add del mod modVis">
          <ac:chgData name="Yudi Zhu" userId="571e1a55-055f-4c28-8b35-fca6dd1c1369" providerId="ADAL" clId="{75A88773-6EE1-484E-AADE-FE631E01463B}" dt="2025-11-21T10:16:02.269" v="473544"/>
          <ac:spMkLst>
            <pc:docMk/>
            <pc:sldMk cId="3512959142" sldId="2147483095"/>
            <ac:spMk id="31" creationId="{F13CDDD3-8A12-4EF8-5860-AB65105CBA94}"/>
          </ac:spMkLst>
        </pc:spChg>
        <pc:spChg chg="add del mod">
          <ac:chgData name="Yudi Zhu" userId="571e1a55-055f-4c28-8b35-fca6dd1c1369" providerId="ADAL" clId="{75A88773-6EE1-484E-AADE-FE631E01463B}" dt="2025-11-21T10:16:07.461" v="473553"/>
          <ac:spMkLst>
            <pc:docMk/>
            <pc:sldMk cId="3512959142" sldId="2147483095"/>
            <ac:spMk id="32" creationId="{B383B755-EB4A-6E8F-D1DC-2B7ECCD96D0B}"/>
          </ac:spMkLst>
        </pc:spChg>
        <pc:spChg chg="add del mod">
          <ac:chgData name="Yudi Zhu" userId="571e1a55-055f-4c28-8b35-fca6dd1c1369" providerId="ADAL" clId="{75A88773-6EE1-484E-AADE-FE631E01463B}" dt="2025-11-21T10:16:07.461" v="473552"/>
          <ac:spMkLst>
            <pc:docMk/>
            <pc:sldMk cId="3512959142" sldId="2147483095"/>
            <ac:spMk id="33" creationId="{10F7727E-5C46-4831-16DA-A97E46BB8157}"/>
          </ac:spMkLst>
        </pc:spChg>
        <pc:spChg chg="add del mod">
          <ac:chgData name="Yudi Zhu" userId="571e1a55-055f-4c28-8b35-fca6dd1c1369" providerId="ADAL" clId="{75A88773-6EE1-484E-AADE-FE631E01463B}" dt="2025-11-21T10:16:07.461" v="473551"/>
          <ac:spMkLst>
            <pc:docMk/>
            <pc:sldMk cId="3512959142" sldId="2147483095"/>
            <ac:spMk id="34" creationId="{248DF46C-BCED-8654-07DA-8A4C6C642F41}"/>
          </ac:spMkLst>
        </pc:spChg>
        <pc:spChg chg="add del mod">
          <ac:chgData name="Yudi Zhu" userId="571e1a55-055f-4c28-8b35-fca6dd1c1369" providerId="ADAL" clId="{75A88773-6EE1-484E-AADE-FE631E01463B}" dt="2025-11-21T10:16:07.461" v="473549"/>
          <ac:spMkLst>
            <pc:docMk/>
            <pc:sldMk cId="3512959142" sldId="2147483095"/>
            <ac:spMk id="36" creationId="{ACAA7B82-B8E5-87CA-38AC-BA896A779932}"/>
          </ac:spMkLst>
        </pc:spChg>
        <pc:spChg chg="add del mod">
          <ac:chgData name="Yudi Zhu" userId="571e1a55-055f-4c28-8b35-fca6dd1c1369" providerId="ADAL" clId="{75A88773-6EE1-484E-AADE-FE631E01463B}" dt="2025-11-21T10:16:07.461" v="473548"/>
          <ac:spMkLst>
            <pc:docMk/>
            <pc:sldMk cId="3512959142" sldId="2147483095"/>
            <ac:spMk id="37" creationId="{EC00288D-B5A9-15FB-0BE3-F77028808B15}"/>
          </ac:spMkLst>
        </pc:spChg>
        <pc:spChg chg="add del mod">
          <ac:chgData name="Yudi Zhu" userId="571e1a55-055f-4c28-8b35-fca6dd1c1369" providerId="ADAL" clId="{75A88773-6EE1-484E-AADE-FE631E01463B}" dt="2025-11-21T10:16:07.461" v="473547"/>
          <ac:spMkLst>
            <pc:docMk/>
            <pc:sldMk cId="3512959142" sldId="2147483095"/>
            <ac:spMk id="38" creationId="{51D3B0E2-BA5F-2B0C-AE2F-4496EA3B665C}"/>
          </ac:spMkLst>
        </pc:spChg>
        <pc:spChg chg="add del mod modVis">
          <ac:chgData name="Yudi Zhu" userId="571e1a55-055f-4c28-8b35-fca6dd1c1369" providerId="ADAL" clId="{75A88773-6EE1-484E-AADE-FE631E01463B}" dt="2025-11-21T10:16:32.692" v="475053"/>
          <ac:spMkLst>
            <pc:docMk/>
            <pc:sldMk cId="3512959142" sldId="2147483095"/>
            <ac:spMk id="41" creationId="{0F565E12-57D5-8DBD-F28F-6ABAAC1A0A33}"/>
          </ac:spMkLst>
        </pc:spChg>
        <pc:spChg chg="add mod ord">
          <ac:chgData name="Yudi Zhu" userId="571e1a55-055f-4c28-8b35-fca6dd1c1369" providerId="ADAL" clId="{75A88773-6EE1-484E-AADE-FE631E01463B}" dt="2025-11-24T04:19:54.906" v="639955"/>
          <ac:spMkLst>
            <pc:docMk/>
            <pc:sldMk cId="3512959142" sldId="2147483095"/>
            <ac:spMk id="42" creationId="{36D5D81F-AD2E-BD6B-D278-BF039E3597D1}"/>
          </ac:spMkLst>
        </pc:spChg>
        <pc:spChg chg="add mod ord">
          <ac:chgData name="Yudi Zhu" userId="571e1a55-055f-4c28-8b35-fca6dd1c1369" providerId="ADAL" clId="{75A88773-6EE1-484E-AADE-FE631E01463B}" dt="2025-11-24T04:19:54.897" v="639933"/>
          <ac:spMkLst>
            <pc:docMk/>
            <pc:sldMk cId="3512959142" sldId="2147483095"/>
            <ac:spMk id="43" creationId="{3C04AD2C-4051-AA7B-3F6C-2F2FE5B9057D}"/>
          </ac:spMkLst>
        </pc:spChg>
        <pc:spChg chg="add mod ord">
          <ac:chgData name="Yudi Zhu" userId="571e1a55-055f-4c28-8b35-fca6dd1c1369" providerId="ADAL" clId="{75A88773-6EE1-484E-AADE-FE631E01463B}" dt="2025-11-24T04:19:54.899" v="639938"/>
          <ac:spMkLst>
            <pc:docMk/>
            <pc:sldMk cId="3512959142" sldId="2147483095"/>
            <ac:spMk id="44" creationId="{D7ACF37E-030C-4D2E-1A74-EDE87373C9EE}"/>
          </ac:spMkLst>
        </pc:spChg>
        <pc:spChg chg="mod ord">
          <ac:chgData name="Yudi Zhu" userId="571e1a55-055f-4c28-8b35-fca6dd1c1369" providerId="ADAL" clId="{75A88773-6EE1-484E-AADE-FE631E01463B}" dt="2025-11-24T04:19:54.900" v="639940"/>
          <ac:spMkLst>
            <pc:docMk/>
            <pc:sldMk cId="3512959142" sldId="2147483095"/>
            <ac:spMk id="45" creationId="{0317EC29-D5DB-C0F6-4F75-415C7552CCC8}"/>
          </ac:spMkLst>
        </pc:spChg>
        <pc:spChg chg="del mod ord">
          <ac:chgData name="Yudi Zhu" userId="571e1a55-055f-4c28-8b35-fca6dd1c1369" providerId="ADAL" clId="{75A88773-6EE1-484E-AADE-FE631E01463B}" dt="2025-11-21T10:16:31.795" v="474678"/>
          <ac:spMkLst>
            <pc:docMk/>
            <pc:sldMk cId="3512959142" sldId="2147483095"/>
            <ac:spMk id="46" creationId="{8003E3DA-FB27-D2A0-F457-F6D0B80BF175}"/>
          </ac:spMkLst>
        </pc:spChg>
        <pc:spChg chg="mod ord">
          <ac:chgData name="Yudi Zhu" userId="571e1a55-055f-4c28-8b35-fca6dd1c1369" providerId="ADAL" clId="{75A88773-6EE1-484E-AADE-FE631E01463B}" dt="2025-11-24T04:19:54.903" v="639947"/>
          <ac:spMkLst>
            <pc:docMk/>
            <pc:sldMk cId="3512959142" sldId="2147483095"/>
            <ac:spMk id="47" creationId="{0A53E25E-BA46-20AE-4C08-5FD6AAA89F37}"/>
          </ac:spMkLst>
        </pc:spChg>
        <pc:spChg chg="add mod ord">
          <ac:chgData name="Yudi Zhu" userId="571e1a55-055f-4c28-8b35-fca6dd1c1369" providerId="ADAL" clId="{75A88773-6EE1-484E-AADE-FE631E01463B}" dt="2025-11-24T04:19:54.901" v="639943"/>
          <ac:spMkLst>
            <pc:docMk/>
            <pc:sldMk cId="3512959142" sldId="2147483095"/>
            <ac:spMk id="54" creationId="{9DA501E8-944E-180B-8DBE-E0D5FC8C546F}"/>
          </ac:spMkLst>
        </pc:spChg>
        <pc:spChg chg="mod">
          <ac:chgData name="Yudi Zhu" userId="571e1a55-055f-4c28-8b35-fca6dd1c1369" providerId="ADAL" clId="{75A88773-6EE1-484E-AADE-FE631E01463B}" dt="2025-11-24T04:19:54.853" v="639850"/>
          <ac:spMkLst>
            <pc:docMk/>
            <pc:sldMk cId="3512959142" sldId="2147483095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4T04:19:54.854" v="639851"/>
          <ac:spMkLst>
            <pc:docMk/>
            <pc:sldMk cId="3512959142" sldId="2147483095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4T04:19:54.855" v="639852"/>
          <ac:spMkLst>
            <pc:docMk/>
            <pc:sldMk cId="3512959142" sldId="2147483095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4T04:19:54.855" v="639853"/>
          <ac:spMkLst>
            <pc:docMk/>
            <pc:sldMk cId="3512959142" sldId="2147483095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4T04:19:54.856" v="639854"/>
          <ac:spMkLst>
            <pc:docMk/>
            <pc:sldMk cId="3512959142" sldId="2147483095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4T04:19:54.857" v="639855"/>
          <ac:spMkLst>
            <pc:docMk/>
            <pc:sldMk cId="3512959142" sldId="2147483095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4T04:19:54.857" v="639856"/>
          <ac:spMkLst>
            <pc:docMk/>
            <pc:sldMk cId="3512959142" sldId="2147483095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4T04:19:54.858" v="639857"/>
          <ac:spMkLst>
            <pc:docMk/>
            <pc:sldMk cId="3512959142" sldId="2147483095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4T04:19:54.858" v="639858"/>
          <ac:spMkLst>
            <pc:docMk/>
            <pc:sldMk cId="3512959142" sldId="2147483095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4T04:19:54.858" v="639859"/>
          <ac:spMkLst>
            <pc:docMk/>
            <pc:sldMk cId="3512959142" sldId="2147483095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4T04:19:54.858" v="639862"/>
          <ac:spMkLst>
            <pc:docMk/>
            <pc:sldMk cId="3512959142" sldId="2147483095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4T04:19:54.858" v="639861"/>
          <ac:spMkLst>
            <pc:docMk/>
            <pc:sldMk cId="3512959142" sldId="2147483095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4T04:19:54.874" v="639880"/>
          <ac:spMkLst>
            <pc:docMk/>
            <pc:sldMk cId="3512959142" sldId="2147483095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4T04:19:54.858" v="639863"/>
          <ac:spMkLst>
            <pc:docMk/>
            <pc:sldMk cId="3512959142" sldId="2147483095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4T04:19:54.858" v="639864"/>
          <ac:spMkLst>
            <pc:docMk/>
            <pc:sldMk cId="3512959142" sldId="2147483095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4T04:19:54.858" v="639865"/>
          <ac:spMkLst>
            <pc:docMk/>
            <pc:sldMk cId="3512959142" sldId="2147483095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4T04:19:54.858" v="639866"/>
          <ac:spMkLst>
            <pc:docMk/>
            <pc:sldMk cId="3512959142" sldId="2147483095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4T04:19:54.858" v="639867"/>
          <ac:spMkLst>
            <pc:docMk/>
            <pc:sldMk cId="3512959142" sldId="2147483095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4T04:19:54.858" v="639868"/>
          <ac:spMkLst>
            <pc:docMk/>
            <pc:sldMk cId="3512959142" sldId="2147483095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4T04:19:54.858" v="639869"/>
          <ac:spMkLst>
            <pc:docMk/>
            <pc:sldMk cId="3512959142" sldId="2147483095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4T04:19:54.858" v="639870"/>
          <ac:spMkLst>
            <pc:docMk/>
            <pc:sldMk cId="3512959142" sldId="2147483095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4T04:19:54.858" v="639874"/>
          <ac:spMkLst>
            <pc:docMk/>
            <pc:sldMk cId="3512959142" sldId="2147483095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4T04:19:54.858" v="639871"/>
          <ac:spMkLst>
            <pc:docMk/>
            <pc:sldMk cId="3512959142" sldId="2147483095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4T04:19:54.858" v="639872"/>
          <ac:spMkLst>
            <pc:docMk/>
            <pc:sldMk cId="3512959142" sldId="2147483095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4T04:19:54.858" v="639873"/>
          <ac:spMkLst>
            <pc:docMk/>
            <pc:sldMk cId="3512959142" sldId="2147483095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4T04:19:54.858" v="639876"/>
          <ac:spMkLst>
            <pc:docMk/>
            <pc:sldMk cId="3512959142" sldId="2147483095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4T04:19:54.858" v="639860"/>
          <ac:spMkLst>
            <pc:docMk/>
            <pc:sldMk cId="3512959142" sldId="2147483095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4T04:19:54.858" v="639877"/>
          <ac:spMkLst>
            <pc:docMk/>
            <pc:sldMk cId="3512959142" sldId="2147483095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4T04:19:54.872" v="639878"/>
          <ac:spMkLst>
            <pc:docMk/>
            <pc:sldMk cId="3512959142" sldId="2147483095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4T04:19:54.873" v="639879"/>
          <ac:spMkLst>
            <pc:docMk/>
            <pc:sldMk cId="3512959142" sldId="2147483095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4T04:19:54.874" v="639881"/>
          <ac:spMkLst>
            <pc:docMk/>
            <pc:sldMk cId="3512959142" sldId="2147483095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4T04:19:54.875" v="639882"/>
          <ac:spMkLst>
            <pc:docMk/>
            <pc:sldMk cId="3512959142" sldId="2147483095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4T04:19:54.877" v="639885"/>
          <ac:spMkLst>
            <pc:docMk/>
            <pc:sldMk cId="3512959142" sldId="2147483095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4T04:19:54.878" v="639886"/>
          <ac:spMkLst>
            <pc:docMk/>
            <pc:sldMk cId="3512959142" sldId="2147483095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4T04:19:54.878" v="639887"/>
          <ac:spMkLst>
            <pc:docMk/>
            <pc:sldMk cId="3512959142" sldId="2147483095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4T04:19:54.881" v="639892"/>
          <ac:spMkLst>
            <pc:docMk/>
            <pc:sldMk cId="3512959142" sldId="2147483095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4T04:19:54.881" v="639893"/>
          <ac:spMkLst>
            <pc:docMk/>
            <pc:sldMk cId="3512959142" sldId="2147483095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4T04:19:54.879" v="639889"/>
          <ac:spMkLst>
            <pc:docMk/>
            <pc:sldMk cId="3512959142" sldId="2147483095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4T04:19:54.880" v="639891"/>
          <ac:spMkLst>
            <pc:docMk/>
            <pc:sldMk cId="3512959142" sldId="2147483095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4T04:19:54.834" v="639813"/>
          <ac:spMkLst>
            <pc:docMk/>
            <pc:sldMk cId="3512959142" sldId="2147483095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4T04:19:54.840" v="639822"/>
          <ac:spMkLst>
            <pc:docMk/>
            <pc:sldMk cId="3512959142" sldId="2147483095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4T04:19:54.841" v="639823"/>
          <ac:spMkLst>
            <pc:docMk/>
            <pc:sldMk cId="3512959142" sldId="2147483095"/>
            <ac:spMk id="1196" creationId="{C596882D-6FC7-950A-AE47-E000121672A5}"/>
          </ac:spMkLst>
        </pc:spChg>
        <pc:spChg chg="mod ord">
          <ac:chgData name="Yudi Zhu" userId="571e1a55-055f-4c28-8b35-fca6dd1c1369" providerId="ADAL" clId="{75A88773-6EE1-484E-AADE-FE631E01463B}" dt="2025-11-24T04:19:54.842" v="639824"/>
          <ac:spMkLst>
            <pc:docMk/>
            <pc:sldMk cId="3512959142" sldId="2147483095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4T04:19:54.842" v="639825"/>
          <ac:spMkLst>
            <pc:docMk/>
            <pc:sldMk cId="3512959142" sldId="2147483095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4T04:19:54.843" v="639826"/>
          <ac:spMkLst>
            <pc:docMk/>
            <pc:sldMk cId="3512959142" sldId="2147483095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4T04:19:54.844" v="639827"/>
          <ac:spMkLst>
            <pc:docMk/>
            <pc:sldMk cId="3512959142" sldId="2147483095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4T04:19:54.845" v="639829"/>
          <ac:spMkLst>
            <pc:docMk/>
            <pc:sldMk cId="3512959142" sldId="2147483095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4T04:19:54.845" v="639831"/>
          <ac:spMkLst>
            <pc:docMk/>
            <pc:sldMk cId="3512959142" sldId="2147483095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4T04:19:54.846" v="639833"/>
          <ac:spMkLst>
            <pc:docMk/>
            <pc:sldMk cId="3512959142" sldId="2147483095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4T04:19:54.847" v="639835"/>
          <ac:spMkLst>
            <pc:docMk/>
            <pc:sldMk cId="3512959142" sldId="2147483095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4T04:19:54.848" v="639837"/>
          <ac:spMkLst>
            <pc:docMk/>
            <pc:sldMk cId="3512959142" sldId="2147483095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4T04:19:54.830" v="639802"/>
          <ac:spMkLst>
            <pc:docMk/>
            <pc:sldMk cId="3512959142" sldId="2147483095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4T04:19:54.830" v="639804"/>
          <ac:spMkLst>
            <pc:docMk/>
            <pc:sldMk cId="3512959142" sldId="2147483095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4T04:19:54.831" v="639806"/>
          <ac:spMkLst>
            <pc:docMk/>
            <pc:sldMk cId="3512959142" sldId="2147483095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4T04:19:54.832" v="639808"/>
          <ac:spMkLst>
            <pc:docMk/>
            <pc:sldMk cId="3512959142" sldId="2147483095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4T04:19:54.833" v="639810"/>
          <ac:spMkLst>
            <pc:docMk/>
            <pc:sldMk cId="3512959142" sldId="2147483095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4T04:19:54.833" v="639812"/>
          <ac:spMkLst>
            <pc:docMk/>
            <pc:sldMk cId="3512959142" sldId="2147483095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4T04:19:54.848" v="639838"/>
          <ac:spMkLst>
            <pc:docMk/>
            <pc:sldMk cId="3512959142" sldId="2147483095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4T04:19:54.835" v="639815"/>
          <ac:spMkLst>
            <pc:docMk/>
            <pc:sldMk cId="3512959142" sldId="2147483095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4T04:19:54.836" v="639816"/>
          <ac:spMkLst>
            <pc:docMk/>
            <pc:sldMk cId="3512959142" sldId="2147483095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4T04:19:54.836" v="639818"/>
          <ac:spMkLst>
            <pc:docMk/>
            <pc:sldMk cId="3512959142" sldId="2147483095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4T04:19:54.838" v="639820"/>
          <ac:spMkLst>
            <pc:docMk/>
            <pc:sldMk cId="3512959142" sldId="2147483095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4T04:19:54.913" v="639963"/>
          <ac:spMkLst>
            <pc:docMk/>
            <pc:sldMk cId="3512959142" sldId="2147483095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4T04:19:54.913" v="639964"/>
          <ac:spMkLst>
            <pc:docMk/>
            <pc:sldMk cId="3512959142" sldId="2147483095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4T04:19:54.913" v="639965"/>
          <ac:spMkLst>
            <pc:docMk/>
            <pc:sldMk cId="3512959142" sldId="2147483095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4T04:19:54.897" v="639935"/>
          <ac:spMkLst>
            <pc:docMk/>
            <pc:sldMk cId="3512959142" sldId="2147483095"/>
            <ac:spMk id="1442" creationId="{00445C12-10C4-A371-D4EA-BD360FAE32DA}"/>
          </ac:spMkLst>
        </pc:spChg>
        <pc:spChg chg="del mod ord">
          <ac:chgData name="Yudi Zhu" userId="571e1a55-055f-4c28-8b35-fca6dd1c1369" providerId="ADAL" clId="{75A88773-6EE1-484E-AADE-FE631E01463B}" dt="2025-11-21T10:16:31.397" v="474522"/>
          <ac:spMkLst>
            <pc:docMk/>
            <pc:sldMk cId="3512959142" sldId="2147483095"/>
            <ac:spMk id="1444" creationId="{E51A9A38-9D24-173A-E197-E054AC1DE8BD}"/>
          </ac:spMkLst>
        </pc:spChg>
        <pc:spChg chg="del mod ord">
          <ac:chgData name="Yudi Zhu" userId="571e1a55-055f-4c28-8b35-fca6dd1c1369" providerId="ADAL" clId="{75A88773-6EE1-484E-AADE-FE631E01463B}" dt="2025-11-21T10:16:31.443" v="474542"/>
          <ac:spMkLst>
            <pc:docMk/>
            <pc:sldMk cId="3512959142" sldId="2147483095"/>
            <ac:spMk id="1445" creationId="{21FACF64-F525-BF83-8FEC-9303D9B5C1C8}"/>
          </ac:spMkLst>
        </pc:spChg>
        <pc:spChg chg="del mod ord">
          <ac:chgData name="Yudi Zhu" userId="571e1a55-055f-4c28-8b35-fca6dd1c1369" providerId="ADAL" clId="{75A88773-6EE1-484E-AADE-FE631E01463B}" dt="2025-11-21T10:16:31.483" v="474560"/>
          <ac:spMkLst>
            <pc:docMk/>
            <pc:sldMk cId="3512959142" sldId="2147483095"/>
            <ac:spMk id="1446" creationId="{26759265-0ED0-1340-C201-021A91CDFA5D}"/>
          </ac:spMkLst>
        </pc:spChg>
        <pc:spChg chg="del mod ord">
          <ac:chgData name="Yudi Zhu" userId="571e1a55-055f-4c28-8b35-fca6dd1c1369" providerId="ADAL" clId="{75A88773-6EE1-484E-AADE-FE631E01463B}" dt="2025-11-21T10:16:31.562" v="474592"/>
          <ac:spMkLst>
            <pc:docMk/>
            <pc:sldMk cId="3512959142" sldId="2147483095"/>
            <ac:spMk id="1447" creationId="{48D0F9A5-DD32-F4C0-182F-532AF180C2D8}"/>
          </ac:spMkLst>
        </pc:spChg>
        <pc:spChg chg="del mod ord">
          <ac:chgData name="Yudi Zhu" userId="571e1a55-055f-4c28-8b35-fca6dd1c1369" providerId="ADAL" clId="{75A88773-6EE1-484E-AADE-FE631E01463B}" dt="2025-11-21T10:16:31.583" v="474596"/>
          <ac:spMkLst>
            <pc:docMk/>
            <pc:sldMk cId="3512959142" sldId="2147483095"/>
            <ac:spMk id="1448" creationId="{4B5199C3-733A-0C7B-68DE-9506962E69B0}"/>
          </ac:spMkLst>
        </pc:spChg>
        <pc:spChg chg="del mod ord">
          <ac:chgData name="Yudi Zhu" userId="571e1a55-055f-4c28-8b35-fca6dd1c1369" providerId="ADAL" clId="{75A88773-6EE1-484E-AADE-FE631E01463B}" dt="2025-11-21T10:16:31.860" v="474710"/>
          <ac:spMkLst>
            <pc:docMk/>
            <pc:sldMk cId="3512959142" sldId="2147483095"/>
            <ac:spMk id="1450" creationId="{B0EBF798-81F1-1362-0977-73152228C84F}"/>
          </ac:spMkLst>
        </pc:spChg>
        <pc:spChg chg="del mod ord">
          <ac:chgData name="Yudi Zhu" userId="571e1a55-055f-4c28-8b35-fca6dd1c1369" providerId="ADAL" clId="{75A88773-6EE1-484E-AADE-FE631E01463B}" dt="2025-11-21T10:16:31.864" v="474714"/>
          <ac:spMkLst>
            <pc:docMk/>
            <pc:sldMk cId="3512959142" sldId="2147483095"/>
            <ac:spMk id="1451" creationId="{3BED6355-5683-B228-BCF9-0FFDD02D5F63}"/>
          </ac:spMkLst>
        </pc:spChg>
        <pc:spChg chg="mod ord">
          <ac:chgData name="Yudi Zhu" userId="571e1a55-055f-4c28-8b35-fca6dd1c1369" providerId="ADAL" clId="{75A88773-6EE1-484E-AADE-FE631E01463B}" dt="2025-11-24T04:19:54.837" v="639819"/>
          <ac:spMkLst>
            <pc:docMk/>
            <pc:sldMk cId="3512959142" sldId="2147483095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4T04:19:54.817" v="639776"/>
          <ac:spMkLst>
            <pc:docMk/>
            <pc:sldMk cId="3512959142" sldId="2147483095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4T04:19:54.902" v="639944"/>
          <ac:spMkLst>
            <pc:docMk/>
            <pc:sldMk cId="3512959142" sldId="2147483095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4T04:19:54.904" v="639948"/>
          <ac:spMkLst>
            <pc:docMk/>
            <pc:sldMk cId="3512959142" sldId="2147483095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4T04:19:54.905" v="639950"/>
          <ac:spMkLst>
            <pc:docMk/>
            <pc:sldMk cId="3512959142" sldId="2147483095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4T04:19:54.906" v="639951"/>
          <ac:spMkLst>
            <pc:docMk/>
            <pc:sldMk cId="3512959142" sldId="2147483095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4T04:19:54.906" v="639952"/>
          <ac:spMkLst>
            <pc:docMk/>
            <pc:sldMk cId="3512959142" sldId="2147483095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4T04:19:54.906" v="639953"/>
          <ac:spMkLst>
            <pc:docMk/>
            <pc:sldMk cId="3512959142" sldId="2147483095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4T04:19:54.906" v="639956"/>
          <ac:spMkLst>
            <pc:docMk/>
            <pc:sldMk cId="3512959142" sldId="2147483095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4T04:19:54.898" v="639936"/>
          <ac:spMkLst>
            <pc:docMk/>
            <pc:sldMk cId="3512959142" sldId="2147483095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4T04:19:54.900" v="639941"/>
          <ac:spMkLst>
            <pc:docMk/>
            <pc:sldMk cId="3512959142" sldId="2147483095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4T04:19:54.902" v="639945"/>
          <ac:spMkLst>
            <pc:docMk/>
            <pc:sldMk cId="3512959142" sldId="2147483095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4T04:19:54.905" v="639949"/>
          <ac:spMkLst>
            <pc:docMk/>
            <pc:sldMk cId="3512959142" sldId="2147483095"/>
            <ac:spMk id="1691" creationId="{C50F3DAA-EFE1-8572-5206-F1A4416A7C6F}"/>
          </ac:spMkLst>
        </pc:spChg>
        <pc:spChg chg="mod">
          <ac:chgData name="Yudi Zhu" userId="571e1a55-055f-4c28-8b35-fca6dd1c1369" providerId="ADAL" clId="{75A88773-6EE1-484E-AADE-FE631E01463B}" dt="2025-11-24T04:19:54.913" v="639972"/>
          <ac:spMkLst>
            <pc:docMk/>
            <pc:sldMk cId="3512959142" sldId="2147483095"/>
            <ac:spMk id="1723" creationId="{4500BE63-029C-8CC6-1A95-233F327A1EC8}"/>
          </ac:spMkLst>
        </pc:spChg>
        <pc:spChg chg="del mod">
          <ac:chgData name="Yudi Zhu" userId="571e1a55-055f-4c28-8b35-fca6dd1c1369" providerId="ADAL" clId="{75A88773-6EE1-484E-AADE-FE631E01463B}" dt="2025-11-24T04:13:57.501" v="623291"/>
          <ac:spMkLst>
            <pc:docMk/>
            <pc:sldMk cId="3512959142" sldId="2147483095"/>
            <ac:spMk id="1790" creationId="{097625FA-5686-DCF5-B817-A29F9D4727EA}"/>
          </ac:spMkLst>
        </pc:spChg>
        <pc:spChg chg="del mod">
          <ac:chgData name="Yudi Zhu" userId="571e1a55-055f-4c28-8b35-fca6dd1c1369" providerId="ADAL" clId="{75A88773-6EE1-484E-AADE-FE631E01463B}" dt="2025-11-24T04:13:57.502" v="623293"/>
          <ac:spMkLst>
            <pc:docMk/>
            <pc:sldMk cId="3512959142" sldId="2147483095"/>
            <ac:spMk id="1791" creationId="{DEF9D83D-D4C4-4027-4A1D-F5596539654C}"/>
          </ac:spMkLst>
        </pc:spChg>
        <pc:spChg chg="del mod ord">
          <ac:chgData name="Yudi Zhu" userId="571e1a55-055f-4c28-8b35-fca6dd1c1369" providerId="ADAL" clId="{75A88773-6EE1-484E-AADE-FE631E01463B}" dt="2025-11-24T04:13:57.503" v="623294"/>
          <ac:spMkLst>
            <pc:docMk/>
            <pc:sldMk cId="3512959142" sldId="2147483095"/>
            <ac:spMk id="1792" creationId="{457AA552-7E43-4131-3939-67AF0903A526}"/>
          </ac:spMkLst>
        </pc:spChg>
        <pc:spChg chg="del mod ord">
          <ac:chgData name="Yudi Zhu" userId="571e1a55-055f-4c28-8b35-fca6dd1c1369" providerId="ADAL" clId="{75A88773-6EE1-484E-AADE-FE631E01463B}" dt="2025-11-24T04:13:57.504" v="623297"/>
          <ac:spMkLst>
            <pc:docMk/>
            <pc:sldMk cId="3512959142" sldId="2147483095"/>
            <ac:spMk id="1793" creationId="{49B7EED3-55F2-EC31-271D-C5C5BE26DD37}"/>
          </ac:spMkLst>
        </pc:spChg>
        <pc:spChg chg="del mod">
          <ac:chgData name="Yudi Zhu" userId="571e1a55-055f-4c28-8b35-fca6dd1c1369" providerId="ADAL" clId="{75A88773-6EE1-484E-AADE-FE631E01463B}" dt="2025-11-24T04:13:57.503" v="623295"/>
          <ac:spMkLst>
            <pc:docMk/>
            <pc:sldMk cId="3512959142" sldId="2147483095"/>
            <ac:spMk id="1794" creationId="{C46898E2-09A3-DE10-6BB4-419D080C0C97}"/>
          </ac:spMkLst>
        </pc:spChg>
        <pc:spChg chg="del mod">
          <ac:chgData name="Yudi Zhu" userId="571e1a55-055f-4c28-8b35-fca6dd1c1369" providerId="ADAL" clId="{75A88773-6EE1-484E-AADE-FE631E01463B}" dt="2025-11-24T04:13:57.504" v="623298"/>
          <ac:spMkLst>
            <pc:docMk/>
            <pc:sldMk cId="3512959142" sldId="2147483095"/>
            <ac:spMk id="1795" creationId="{56231662-B4A5-BFA4-F972-D6312D2A7DFA}"/>
          </ac:spMkLst>
        </pc:spChg>
        <pc:spChg chg="del mod ord">
          <ac:chgData name="Yudi Zhu" userId="571e1a55-055f-4c28-8b35-fca6dd1c1369" providerId="ADAL" clId="{75A88773-6EE1-484E-AADE-FE631E01463B}" dt="2025-11-24T04:13:57.505" v="623300"/>
          <ac:spMkLst>
            <pc:docMk/>
            <pc:sldMk cId="3512959142" sldId="2147483095"/>
            <ac:spMk id="1796" creationId="{B96FE47B-79DC-89A5-2C60-01F5168C6F48}"/>
          </ac:spMkLst>
        </pc:spChg>
        <pc:spChg chg="del mod">
          <ac:chgData name="Yudi Zhu" userId="571e1a55-055f-4c28-8b35-fca6dd1c1369" providerId="ADAL" clId="{75A88773-6EE1-484E-AADE-FE631E01463B}" dt="2025-11-24T04:13:57.505" v="623301"/>
          <ac:spMkLst>
            <pc:docMk/>
            <pc:sldMk cId="3512959142" sldId="2147483095"/>
            <ac:spMk id="1797" creationId="{0B25F4BA-5FF3-F040-8305-7A2E2C6277DC}"/>
          </ac:spMkLst>
        </pc:spChg>
        <pc:spChg chg="del mod ord">
          <ac:chgData name="Yudi Zhu" userId="571e1a55-055f-4c28-8b35-fca6dd1c1369" providerId="ADAL" clId="{75A88773-6EE1-484E-AADE-FE631E01463B}" dt="2025-11-24T04:13:57.506" v="623303"/>
          <ac:spMkLst>
            <pc:docMk/>
            <pc:sldMk cId="3512959142" sldId="2147483095"/>
            <ac:spMk id="1798" creationId="{BAF78A19-A084-6BDB-AF15-EEDDA69BD191}"/>
          </ac:spMkLst>
        </pc:spChg>
        <pc:spChg chg="del mod ord">
          <ac:chgData name="Yudi Zhu" userId="571e1a55-055f-4c28-8b35-fca6dd1c1369" providerId="ADAL" clId="{75A88773-6EE1-484E-AADE-FE631E01463B}" dt="2025-11-24T04:13:57.502" v="623292"/>
          <ac:spMkLst>
            <pc:docMk/>
            <pc:sldMk cId="3512959142" sldId="2147483095"/>
            <ac:spMk id="1799" creationId="{B9719039-1DC2-ED72-5DB7-C91F2F087453}"/>
          </ac:spMkLst>
        </pc:spChg>
        <pc:spChg chg="del mod ord">
          <ac:chgData name="Yudi Zhu" userId="571e1a55-055f-4c28-8b35-fca6dd1c1369" providerId="ADAL" clId="{75A88773-6EE1-484E-AADE-FE631E01463B}" dt="2025-11-24T04:13:57.500" v="623290"/>
          <ac:spMkLst>
            <pc:docMk/>
            <pc:sldMk cId="3512959142" sldId="2147483095"/>
            <ac:spMk id="1800" creationId="{75FE1217-CF43-2C19-09C9-A9FAED99A004}"/>
          </ac:spMkLst>
        </pc:spChg>
        <pc:spChg chg="del mod">
          <ac:chgData name="Yudi Zhu" userId="571e1a55-055f-4c28-8b35-fca6dd1c1369" providerId="ADAL" clId="{75A88773-6EE1-484E-AADE-FE631E01463B}" dt="2025-11-24T04:13:57.506" v="623304"/>
          <ac:spMkLst>
            <pc:docMk/>
            <pc:sldMk cId="3512959142" sldId="2147483095"/>
            <ac:spMk id="1801" creationId="{E8C41538-DD19-A841-9118-B8BC74499792}"/>
          </ac:spMkLst>
        </pc:spChg>
        <pc:spChg chg="mod">
          <ac:chgData name="Yudi Zhu" userId="571e1a55-055f-4c28-8b35-fca6dd1c1369" providerId="ADAL" clId="{75A88773-6EE1-484E-AADE-FE631E01463B}" dt="2025-11-24T04:19:54.896" v="639931"/>
          <ac:spMkLst>
            <pc:docMk/>
            <pc:sldMk cId="3512959142" sldId="2147483095"/>
            <ac:spMk id="1851" creationId="{55435E9D-DD6B-12E6-3E01-6C50EF33F500}"/>
          </ac:spMkLst>
        </pc:spChg>
        <pc:grpChg chg="mod ord">
          <ac:chgData name="Yudi Zhu" userId="571e1a55-055f-4c28-8b35-fca6dd1c1369" providerId="ADAL" clId="{75A88773-6EE1-484E-AADE-FE631E01463B}" dt="2025-11-24T04:19:54.913" v="639967"/>
          <ac:grpSpMkLst>
            <pc:docMk/>
            <pc:sldMk cId="3512959142" sldId="2147483095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4T04:19:54.913" v="639969"/>
          <ac:grpSpMkLst>
            <pc:docMk/>
            <pc:sldMk cId="3512959142" sldId="2147483095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4T04:19:54.913" v="639971"/>
          <ac:grpSpMkLst>
            <pc:docMk/>
            <pc:sldMk cId="3512959142" sldId="2147483095"/>
            <ac:grpSpMk id="1604" creationId="{CAC77667-D6BB-F83B-AA16-FAE5D5B780AA}"/>
          </ac:grpSpMkLst>
        </pc:grpChg>
        <pc:graphicFrameChg chg="add del mod">
          <ac:chgData name="Yudi Zhu" userId="571e1a55-055f-4c28-8b35-fca6dd1c1369" providerId="ADAL" clId="{75A88773-6EE1-484E-AADE-FE631E01463B}" dt="2025-11-21T10:14:31.231" v="467616"/>
          <ac:graphicFrameMkLst>
            <pc:docMk/>
            <pc:sldMk cId="3512959142" sldId="2147483095"/>
            <ac:graphicFrameMk id="5" creationId="{8D7AA818-7F3F-5379-99A0-EEEF7E7C572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3:57.516" v="623306"/>
          <ac:graphicFrameMkLst>
            <pc:docMk/>
            <pc:sldMk cId="3512959142" sldId="2147483095"/>
            <ac:graphicFrameMk id="5" creationId="{90E38605-832A-9AB1-CF02-B5C9C7013AA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54.757" v="639761"/>
          <ac:graphicFrameMkLst>
            <pc:docMk/>
            <pc:sldMk cId="3512959142" sldId="2147483095"/>
            <ac:graphicFrameMk id="6" creationId="{541F4082-6F29-137D-0902-39F423EAFE93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35.151" v="467852"/>
          <ac:graphicFrameMkLst>
            <pc:docMk/>
            <pc:sldMk cId="3512959142" sldId="2147483095"/>
            <ac:graphicFrameMk id="7" creationId="{BA13A803-54E0-022A-1F3C-817E30E5B467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4.829" v="639801"/>
          <ac:graphicFrameMkLst>
            <pc:docMk/>
            <pc:sldMk cId="3512959142" sldId="2147483095"/>
            <ac:graphicFrameMk id="8" creationId="{064C121A-968E-E475-CC56-950DD0C37FD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5:25.949" v="470317"/>
          <ac:graphicFrameMkLst>
            <pc:docMk/>
            <pc:sldMk cId="3512959142" sldId="2147483095"/>
            <ac:graphicFrameMk id="8" creationId="{ED9F16E2-DD21-6718-F1BC-49A70DB1A5C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54.761" v="468933"/>
          <ac:graphicFrameMkLst>
            <pc:docMk/>
            <pc:sldMk cId="3512959142" sldId="2147483095"/>
            <ac:graphicFrameMk id="10" creationId="{29A9AA81-83C2-6846-B1E6-75CFA2D1C8E4}"/>
          </ac:graphicFrameMkLst>
        </pc:graphicFrameChg>
        <pc:graphicFrameChg chg="mod">
          <ac:chgData name="Yudi Zhu" userId="571e1a55-055f-4c28-8b35-fca6dd1c1369" providerId="ADAL" clId="{75A88773-6EE1-484E-AADE-FE631E01463B}" dt="2025-11-24T04:19:54.913" v="639974"/>
          <ac:graphicFrameMkLst>
            <pc:docMk/>
            <pc:sldMk cId="3512959142" sldId="2147483095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4:59.182" v="469407"/>
          <ac:graphicFrameMkLst>
            <pc:docMk/>
            <pc:sldMk cId="3512959142" sldId="2147483095"/>
            <ac:graphicFrameMk id="13" creationId="{881F988C-2CC4-2A1C-7237-3435BA4E85EE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4.849" v="639839"/>
          <ac:graphicFrameMkLst>
            <pc:docMk/>
            <pc:sldMk cId="3512959142" sldId="2147483095"/>
            <ac:graphicFrameMk id="15" creationId="{CD7B7A13-4936-FE35-B71B-6E65A6199752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5:31.627" v="471154"/>
          <ac:graphicFrameMkLst>
            <pc:docMk/>
            <pc:sldMk cId="3512959142" sldId="2147483095"/>
            <ac:graphicFrameMk id="18" creationId="{43DD2E1F-E8D5-0DCC-3FDF-8BAB75CE67E6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5:36.160" v="471633"/>
          <ac:graphicFrameMkLst>
            <pc:docMk/>
            <pc:sldMk cId="3512959142" sldId="2147483095"/>
            <ac:graphicFrameMk id="20" creationId="{49BFE0BC-73D8-D09E-7A39-F0AF2C037845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5:56.564" v="472455"/>
          <ac:graphicFrameMkLst>
            <pc:docMk/>
            <pc:sldMk cId="3512959142" sldId="2147483095"/>
            <ac:graphicFrameMk id="22" creationId="{54DDECD1-9466-9E8A-A2E4-16D1E1039E34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6:02.124" v="473306"/>
          <ac:graphicFrameMkLst>
            <pc:docMk/>
            <pc:sldMk cId="3512959142" sldId="2147483095"/>
            <ac:graphicFrameMk id="30" creationId="{1359EC3A-245F-2DE2-328A-C2069C245ADE}"/>
          </ac:graphicFrameMkLst>
        </pc:graphicFrameChg>
        <pc:graphicFrameChg chg="add del mod">
          <ac:chgData name="Yudi Zhu" userId="571e1a55-055f-4c28-8b35-fca6dd1c1369" providerId="ADAL" clId="{75A88773-6EE1-484E-AADE-FE631E01463B}" dt="2025-11-21T10:16:07.564" v="473699"/>
          <ac:graphicFrameMkLst>
            <pc:docMk/>
            <pc:sldMk cId="3512959142" sldId="2147483095"/>
            <ac:graphicFrameMk id="39" creationId="{DDDC9365-CF0C-91A5-1DBC-AB969CCC645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1:57:35.888" v="478222"/>
          <ac:graphicFrameMkLst>
            <pc:docMk/>
            <pc:sldMk cId="3512959142" sldId="2147483095"/>
            <ac:graphicFrameMk id="40" creationId="{5A079252-82C8-61F8-8A7F-FBD356525111}"/>
          </ac:graphicFrameMkLst>
        </pc:graphicFrameChg>
        <pc:graphicFrameChg chg="del mod">
          <ac:chgData name="Yudi Zhu" userId="571e1a55-055f-4c28-8b35-fca6dd1c1369" providerId="ADAL" clId="{75A88773-6EE1-484E-AADE-FE631E01463B}" dt="2025-11-21T10:16:31.972" v="474792"/>
          <ac:graphicFrameMkLst>
            <pc:docMk/>
            <pc:sldMk cId="3512959142" sldId="2147483095"/>
            <ac:graphicFrameMk id="53" creationId="{5273AB40-6F3F-7517-EF20-27DB9C5A1055}"/>
          </ac:graphicFrameMkLst>
        </pc:graphicFrameChg>
        <pc:graphicFrameChg chg="add mod">
          <ac:chgData name="Yudi Zhu" userId="571e1a55-055f-4c28-8b35-fca6dd1c1369" providerId="ADAL" clId="{75A88773-6EE1-484E-AADE-FE631E01463B}" dt="2025-11-24T04:19:54.882" v="639894"/>
          <ac:graphicFrameMkLst>
            <pc:docMk/>
            <pc:sldMk cId="3512959142" sldId="2147483095"/>
            <ac:graphicFrameMk id="1856" creationId="{094E2DAA-5488-E05A-63D2-513DA65A2436}"/>
          </ac:graphicFrameMkLst>
        </pc:graphicFrameChg>
        <pc:graphicFrameChg chg="del">
          <ac:chgData name="Yudi Zhu" userId="571e1a55-055f-4c28-8b35-fca6dd1c1369" providerId="ADAL" clId="{75A88773-6EE1-484E-AADE-FE631E01463B}" dt="2025-11-21T10:14:30.317" v="467351"/>
          <ac:graphicFrameMkLst>
            <pc:docMk/>
            <pc:sldMk cId="3512959142" sldId="2147483095"/>
            <ac:graphicFrameMk id="1861" creationId="{EBF5C51D-12D5-023C-0493-14753D72CB2F}"/>
          </ac:graphicFrameMkLst>
        </pc:graphicFrameChg>
        <pc:graphicFrameChg chg="del mod">
          <ac:chgData name="Yudi Zhu" userId="571e1a55-055f-4c28-8b35-fca6dd1c1369" providerId="ADAL" clId="{75A88773-6EE1-484E-AADE-FE631E01463B}" dt="2025-11-21T10:14:47.832" v="468460"/>
          <ac:graphicFrameMkLst>
            <pc:docMk/>
            <pc:sldMk cId="3512959142" sldId="2147483095"/>
            <ac:graphicFrameMk id="1917" creationId="{EC574B99-D104-C565-8A30-147348DEEB58}"/>
          </ac:graphicFrameMkLst>
        </pc:graphicFrameChg>
        <pc:cxnChg chg="add mod ord">
          <ac:chgData name="Yudi Zhu" userId="571e1a55-055f-4c28-8b35-fca6dd1c1369" providerId="ADAL" clId="{75A88773-6EE1-484E-AADE-FE631E01463B}" dt="2025-11-24T04:19:54.828" v="639798"/>
          <ac:cxnSpMkLst>
            <pc:docMk/>
            <pc:sldMk cId="3512959142" sldId="2147483095"/>
            <ac:cxnSpMk id="4" creationId="{3DADEE18-6ABB-AE74-F4C8-1D2332B25C8F}"/>
          </ac:cxnSpMkLst>
        </pc:cxnChg>
        <pc:cxnChg chg="add mod ord">
          <ac:chgData name="Yudi Zhu" userId="571e1a55-055f-4c28-8b35-fca6dd1c1369" providerId="ADAL" clId="{75A88773-6EE1-484E-AADE-FE631E01463B}" dt="2025-11-24T04:19:54.829" v="639800"/>
          <ac:cxnSpMkLst>
            <pc:docMk/>
            <pc:sldMk cId="3512959142" sldId="2147483095"/>
            <ac:cxnSpMk id="7" creationId="{CF7CEDEE-ADC2-5180-9E27-5B74E7D7FC2A}"/>
          </ac:cxnSpMkLst>
        </pc:cxnChg>
        <pc:cxnChg chg="mod ord">
          <ac:chgData name="Yudi Zhu" userId="571e1a55-055f-4c28-8b35-fca6dd1c1369" providerId="ADAL" clId="{75A88773-6EE1-484E-AADE-FE631E01463B}" dt="2025-11-24T04:19:54.824" v="639790"/>
          <ac:cxnSpMkLst>
            <pc:docMk/>
            <pc:sldMk cId="3512959142" sldId="2147483095"/>
            <ac:cxnSpMk id="35" creationId="{E6530368-09A5-8CD9-EC3E-C6B7643D79D6}"/>
          </ac:cxnSpMkLst>
        </pc:cxnChg>
        <pc:cxnChg chg="del mod ord">
          <ac:chgData name="Yudi Zhu" userId="571e1a55-055f-4c28-8b35-fca6dd1c1369" providerId="ADAL" clId="{75A88773-6EE1-484E-AADE-FE631E01463B}" dt="2025-11-21T10:16:31.396" v="474512"/>
          <ac:cxnSpMkLst>
            <pc:docMk/>
            <pc:sldMk cId="3512959142" sldId="2147483095"/>
            <ac:cxnSpMk id="48" creationId="{C8CA7B26-570F-3709-C902-123F4223968C}"/>
          </ac:cxnSpMkLst>
        </pc:cxnChg>
        <pc:cxnChg chg="mod ord">
          <ac:chgData name="Yudi Zhu" userId="571e1a55-055f-4c28-8b35-fca6dd1c1369" providerId="ADAL" clId="{75A88773-6EE1-484E-AADE-FE631E01463B}" dt="2025-11-24T04:19:54.888" v="639910"/>
          <ac:cxnSpMkLst>
            <pc:docMk/>
            <pc:sldMk cId="3512959142" sldId="2147483095"/>
            <ac:cxnSpMk id="49" creationId="{4DF9D507-D1AA-9EEC-6529-2F1036B69073}"/>
          </ac:cxnSpMkLst>
        </pc:cxnChg>
        <pc:cxnChg chg="del mod ord">
          <ac:chgData name="Yudi Zhu" userId="571e1a55-055f-4c28-8b35-fca6dd1c1369" providerId="ADAL" clId="{75A88773-6EE1-484E-AADE-FE631E01463B}" dt="2025-11-21T10:16:31.746" v="474648"/>
          <ac:cxnSpMkLst>
            <pc:docMk/>
            <pc:sldMk cId="3512959142" sldId="2147483095"/>
            <ac:cxnSpMk id="50" creationId="{2D12A43E-872D-DFC0-CFF5-51E24E653010}"/>
          </ac:cxnSpMkLst>
        </pc:cxnChg>
        <pc:cxnChg chg="mod ord">
          <ac:chgData name="Yudi Zhu" userId="571e1a55-055f-4c28-8b35-fca6dd1c1369" providerId="ADAL" clId="{75A88773-6EE1-484E-AADE-FE631E01463B}" dt="2025-11-24T04:19:54.883" v="639898"/>
          <ac:cxnSpMkLst>
            <pc:docMk/>
            <pc:sldMk cId="3512959142" sldId="2147483095"/>
            <ac:cxnSpMk id="51" creationId="{388B36E9-A0A7-ECCC-A852-F9948A9A5E2B}"/>
          </ac:cxnSpMkLst>
        </pc:cxnChg>
        <pc:cxnChg chg="mod ord">
          <ac:chgData name="Yudi Zhu" userId="571e1a55-055f-4c28-8b35-fca6dd1c1369" providerId="ADAL" clId="{75A88773-6EE1-484E-AADE-FE631E01463B}" dt="2025-11-24T04:19:54.884" v="639900"/>
          <ac:cxnSpMkLst>
            <pc:docMk/>
            <pc:sldMk cId="3512959142" sldId="2147483095"/>
            <ac:cxnSpMk id="52" creationId="{E4A8CF0A-7486-69C0-D848-A96636103C4F}"/>
          </ac:cxnSpMkLst>
        </pc:cxnChg>
        <pc:cxnChg chg="add mod ord">
          <ac:chgData name="Yudi Zhu" userId="571e1a55-055f-4c28-8b35-fca6dd1c1369" providerId="ADAL" clId="{75A88773-6EE1-484E-AADE-FE631E01463B}" dt="2025-11-24T04:19:54.890" v="639916"/>
          <ac:cxnSpMkLst>
            <pc:docMk/>
            <pc:sldMk cId="3512959142" sldId="2147483095"/>
            <ac:cxnSpMk id="55" creationId="{3AFBB688-9A24-F998-8168-2BE1B58469CA}"/>
          </ac:cxnSpMkLst>
        </pc:cxnChg>
        <pc:cxnChg chg="add mod ord">
          <ac:chgData name="Yudi Zhu" userId="571e1a55-055f-4c28-8b35-fca6dd1c1369" providerId="ADAL" clId="{75A88773-6EE1-484E-AADE-FE631E01463B}" dt="2025-11-24T04:19:54.892" v="639920"/>
          <ac:cxnSpMkLst>
            <pc:docMk/>
            <pc:sldMk cId="3512959142" sldId="2147483095"/>
            <ac:cxnSpMk id="56" creationId="{A5020F62-EB59-A5FE-59E2-BC2F271E6192}"/>
          </ac:cxnSpMkLst>
        </pc:cxnChg>
        <pc:cxnChg chg="add mod ord">
          <ac:chgData name="Yudi Zhu" userId="571e1a55-055f-4c28-8b35-fca6dd1c1369" providerId="ADAL" clId="{75A88773-6EE1-484E-AADE-FE631E01463B}" dt="2025-11-24T04:19:54.886" v="639906"/>
          <ac:cxnSpMkLst>
            <pc:docMk/>
            <pc:sldMk cId="3512959142" sldId="2147483095"/>
            <ac:cxnSpMk id="57" creationId="{5642A47F-D68E-954E-3A3D-5E936340516C}"/>
          </ac:cxnSpMkLst>
        </pc:cxnChg>
        <pc:cxnChg chg="add mod ord">
          <ac:chgData name="Yudi Zhu" userId="571e1a55-055f-4c28-8b35-fca6dd1c1369" providerId="ADAL" clId="{75A88773-6EE1-484E-AADE-FE631E01463B}" dt="2025-11-24T04:19:54.887" v="639908"/>
          <ac:cxnSpMkLst>
            <pc:docMk/>
            <pc:sldMk cId="3512959142" sldId="2147483095"/>
            <ac:cxnSpMk id="58" creationId="{B075F77A-D140-912F-F612-685C4480FA9E}"/>
          </ac:cxnSpMkLst>
        </pc:cxnChg>
        <pc:cxnChg chg="add mod ord">
          <ac:chgData name="Yudi Zhu" userId="571e1a55-055f-4c28-8b35-fca6dd1c1369" providerId="ADAL" clId="{75A88773-6EE1-484E-AADE-FE631E01463B}" dt="2025-11-24T04:19:54.893" v="639922"/>
          <ac:cxnSpMkLst>
            <pc:docMk/>
            <pc:sldMk cId="3512959142" sldId="2147483095"/>
            <ac:cxnSpMk id="59" creationId="{3708F271-303B-51AC-95FD-D077EC57AA44}"/>
          </ac:cxnSpMkLst>
        </pc:cxnChg>
        <pc:cxnChg chg="add mod ord">
          <ac:chgData name="Yudi Zhu" userId="571e1a55-055f-4c28-8b35-fca6dd1c1369" providerId="ADAL" clId="{75A88773-6EE1-484E-AADE-FE631E01463B}" dt="2025-11-24T04:19:54.889" v="639912"/>
          <ac:cxnSpMkLst>
            <pc:docMk/>
            <pc:sldMk cId="3512959142" sldId="2147483095"/>
            <ac:cxnSpMk id="60" creationId="{C7AE4219-0B5A-6F39-D200-26565B0B880C}"/>
          </ac:cxnSpMkLst>
        </pc:cxnChg>
        <pc:cxnChg chg="add mod ord">
          <ac:chgData name="Yudi Zhu" userId="571e1a55-055f-4c28-8b35-fca6dd1c1369" providerId="ADAL" clId="{75A88773-6EE1-484E-AADE-FE631E01463B}" dt="2025-11-24T04:19:54.893" v="639924"/>
          <ac:cxnSpMkLst>
            <pc:docMk/>
            <pc:sldMk cId="3512959142" sldId="2147483095"/>
            <ac:cxnSpMk id="61" creationId="{81FE2C39-EC92-02CF-6C50-BA58E8EDAB26}"/>
          </ac:cxnSpMkLst>
        </pc:cxnChg>
        <pc:cxnChg chg="add mod ord">
          <ac:chgData name="Yudi Zhu" userId="571e1a55-055f-4c28-8b35-fca6dd1c1369" providerId="ADAL" clId="{75A88773-6EE1-484E-AADE-FE631E01463B}" dt="2025-11-24T04:19:54.894" v="639926"/>
          <ac:cxnSpMkLst>
            <pc:docMk/>
            <pc:sldMk cId="3512959142" sldId="2147483095"/>
            <ac:cxnSpMk id="62" creationId="{59D9726D-5DAF-4DFC-E22D-0F43A9993437}"/>
          </ac:cxnSpMkLst>
        </pc:cxnChg>
        <pc:cxnChg chg="add mod ord">
          <ac:chgData name="Yudi Zhu" userId="571e1a55-055f-4c28-8b35-fca6dd1c1369" providerId="ADAL" clId="{75A88773-6EE1-484E-AADE-FE631E01463B}" dt="2025-11-24T04:19:54.895" v="639928"/>
          <ac:cxnSpMkLst>
            <pc:docMk/>
            <pc:sldMk cId="3512959142" sldId="2147483095"/>
            <ac:cxnSpMk id="63" creationId="{A20D3890-BF61-4550-ABDF-95E7017EF0FC}"/>
          </ac:cxnSpMkLst>
        </pc:cxnChg>
        <pc:cxnChg chg="mod ord">
          <ac:chgData name="Yudi Zhu" userId="571e1a55-055f-4c28-8b35-fca6dd1c1369" providerId="ADAL" clId="{75A88773-6EE1-484E-AADE-FE631E01463B}" dt="2025-11-24T04:19:54.819" v="639780"/>
          <ac:cxnSpMkLst>
            <pc:docMk/>
            <pc:sldMk cId="3512959142" sldId="2147483095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4T04:19:54.876" v="639884"/>
          <ac:cxnSpMkLst>
            <pc:docMk/>
            <pc:sldMk cId="3512959142" sldId="2147483095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4T04:19:54.820" v="639782"/>
          <ac:cxnSpMkLst>
            <pc:docMk/>
            <pc:sldMk cId="3512959142" sldId="2147483095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4T04:19:54.827" v="639796"/>
          <ac:cxnSpMkLst>
            <pc:docMk/>
            <pc:sldMk cId="3512959142" sldId="2147483095"/>
            <ac:cxnSpMk id="431" creationId="{5AA105B7-A2E6-B910-AAFB-0A129E5A83EE}"/>
          </ac:cxnSpMkLst>
        </pc:cxnChg>
        <pc:cxnChg chg="mod ord">
          <ac:chgData name="Yudi Zhu" userId="571e1a55-055f-4c28-8b35-fca6dd1c1369" providerId="ADAL" clId="{75A88773-6EE1-484E-AADE-FE631E01463B}" dt="2025-11-24T04:19:54.821" v="639786"/>
          <ac:cxnSpMkLst>
            <pc:docMk/>
            <pc:sldMk cId="3512959142" sldId="2147483095"/>
            <ac:cxnSpMk id="488" creationId="{D28D1E49-68EF-4D63-E72E-25882683E109}"/>
          </ac:cxnSpMkLst>
        </pc:cxnChg>
        <pc:cxnChg chg="mod ord">
          <ac:chgData name="Yudi Zhu" userId="571e1a55-055f-4c28-8b35-fca6dd1c1369" providerId="ADAL" clId="{75A88773-6EE1-484E-AADE-FE631E01463B}" dt="2025-11-24T04:19:54.825" v="639792"/>
          <ac:cxnSpMkLst>
            <pc:docMk/>
            <pc:sldMk cId="3512959142" sldId="2147483095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4T04:19:54.820" v="639784"/>
          <ac:cxnSpMkLst>
            <pc:docMk/>
            <pc:sldMk cId="3512959142" sldId="2147483095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4T04:19:54.823" v="639788"/>
          <ac:cxnSpMkLst>
            <pc:docMk/>
            <pc:sldMk cId="3512959142" sldId="2147483095"/>
            <ac:cxnSpMk id="1220" creationId="{414B61A7-9B67-9450-135B-E84FE46F6ABE}"/>
          </ac:cxnSpMkLst>
        </pc:cxnChg>
        <pc:cxnChg chg="mod ord">
          <ac:chgData name="Yudi Zhu" userId="571e1a55-055f-4c28-8b35-fca6dd1c1369" providerId="ADAL" clId="{75A88773-6EE1-484E-AADE-FE631E01463B}" dt="2025-11-24T04:19:54.826" v="639794"/>
          <ac:cxnSpMkLst>
            <pc:docMk/>
            <pc:sldMk cId="3512959142" sldId="2147483095"/>
            <ac:cxnSpMk id="1221" creationId="{C051EBC2-367F-7868-4767-FF881D2E6AF4}"/>
          </ac:cxnSpMkLst>
        </pc:cxnChg>
        <pc:cxnChg chg="mod ord">
          <ac:chgData name="Yudi Zhu" userId="571e1a55-055f-4c28-8b35-fca6dd1c1369" providerId="ADAL" clId="{75A88773-6EE1-484E-AADE-FE631E01463B}" dt="2025-11-24T04:19:54.906" v="639958"/>
          <ac:cxnSpMkLst>
            <pc:docMk/>
            <pc:sldMk cId="3512959142" sldId="2147483095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4T04:19:54.906" v="639960"/>
          <ac:cxnSpMkLst>
            <pc:docMk/>
            <pc:sldMk cId="3512959142" sldId="2147483095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4T04:19:54.906" v="639962"/>
          <ac:cxnSpMkLst>
            <pc:docMk/>
            <pc:sldMk cId="3512959142" sldId="2147483095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4T04:19:54.883" v="639896"/>
          <ac:cxnSpMkLst>
            <pc:docMk/>
            <pc:sldMk cId="3512959142" sldId="2147483095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4T04:19:54.885" v="639904"/>
          <ac:cxnSpMkLst>
            <pc:docMk/>
            <pc:sldMk cId="3512959142" sldId="2147483095"/>
            <ac:cxnSpMk id="1427" creationId="{8CD1BFBD-29D4-7EFA-3730-7685282ECB0D}"/>
          </ac:cxnSpMkLst>
        </pc:cxnChg>
        <pc:cxnChg chg="mod ord">
          <ac:chgData name="Yudi Zhu" userId="571e1a55-055f-4c28-8b35-fca6dd1c1369" providerId="ADAL" clId="{75A88773-6EE1-484E-AADE-FE631E01463B}" dt="2025-11-24T04:19:54.890" v="639914"/>
          <ac:cxnSpMkLst>
            <pc:docMk/>
            <pc:sldMk cId="3512959142" sldId="2147483095"/>
            <ac:cxnSpMk id="1455" creationId="{7DF33E7B-CAA0-6353-13B4-76A8E48B02D6}"/>
          </ac:cxnSpMkLst>
        </pc:cxnChg>
        <pc:cxnChg chg="del mod ord">
          <ac:chgData name="Yudi Zhu" userId="571e1a55-055f-4c28-8b35-fca6dd1c1369" providerId="ADAL" clId="{75A88773-6EE1-484E-AADE-FE631E01463B}" dt="2025-11-21T10:16:31.443" v="474544"/>
          <ac:cxnSpMkLst>
            <pc:docMk/>
            <pc:sldMk cId="3512959142" sldId="2147483095"/>
            <ac:cxnSpMk id="1456" creationId="{3FDAA0F8-29A1-AA7E-5A7C-A2B636BE75F3}"/>
          </ac:cxnSpMkLst>
        </pc:cxnChg>
        <pc:cxnChg chg="del mod ord">
          <ac:chgData name="Yudi Zhu" userId="571e1a55-055f-4c28-8b35-fca6dd1c1369" providerId="ADAL" clId="{75A88773-6EE1-484E-AADE-FE631E01463B}" dt="2025-11-21T10:16:31.491" v="474562"/>
          <ac:cxnSpMkLst>
            <pc:docMk/>
            <pc:sldMk cId="3512959142" sldId="2147483095"/>
            <ac:cxnSpMk id="1457" creationId="{8A58C40D-72F6-5A46-1D4E-6E17FD7ECEA7}"/>
          </ac:cxnSpMkLst>
        </pc:cxnChg>
        <pc:cxnChg chg="del mod ord">
          <ac:chgData name="Yudi Zhu" userId="571e1a55-055f-4c28-8b35-fca6dd1c1369" providerId="ADAL" clId="{75A88773-6EE1-484E-AADE-FE631E01463B}" dt="2025-11-21T10:16:31.578" v="474594"/>
          <ac:cxnSpMkLst>
            <pc:docMk/>
            <pc:sldMk cId="3512959142" sldId="2147483095"/>
            <ac:cxnSpMk id="1458" creationId="{644B05D6-18A1-FFCB-778E-957F2CD30EA6}"/>
          </ac:cxnSpMkLst>
        </pc:cxnChg>
        <pc:cxnChg chg="del mod ord">
          <ac:chgData name="Yudi Zhu" userId="571e1a55-055f-4c28-8b35-fca6dd1c1369" providerId="ADAL" clId="{75A88773-6EE1-484E-AADE-FE631E01463B}" dt="2025-11-21T10:16:31.583" v="474598"/>
          <ac:cxnSpMkLst>
            <pc:docMk/>
            <pc:sldMk cId="3512959142" sldId="2147483095"/>
            <ac:cxnSpMk id="1459" creationId="{16AAA7D6-7B2F-3A99-2825-6C1703FEC375}"/>
          </ac:cxnSpMkLst>
        </pc:cxnChg>
        <pc:cxnChg chg="del mod ord">
          <ac:chgData name="Yudi Zhu" userId="571e1a55-055f-4c28-8b35-fca6dd1c1369" providerId="ADAL" clId="{75A88773-6EE1-484E-AADE-FE631E01463B}" dt="2025-11-21T10:16:31.641" v="474614"/>
          <ac:cxnSpMkLst>
            <pc:docMk/>
            <pc:sldMk cId="3512959142" sldId="2147483095"/>
            <ac:cxnSpMk id="1460" creationId="{A666E717-6FE4-0BC0-50E0-4F8E82044624}"/>
          </ac:cxnSpMkLst>
        </pc:cxnChg>
        <pc:cxnChg chg="mod ord">
          <ac:chgData name="Yudi Zhu" userId="571e1a55-055f-4c28-8b35-fca6dd1c1369" providerId="ADAL" clId="{75A88773-6EE1-484E-AADE-FE631E01463B}" dt="2025-11-24T04:19:54.891" v="639918"/>
          <ac:cxnSpMkLst>
            <pc:docMk/>
            <pc:sldMk cId="3512959142" sldId="2147483095"/>
            <ac:cxnSpMk id="1462" creationId="{B25EED74-3BE6-1A25-FFAA-ED5F7EF0AB47}"/>
          </ac:cxnSpMkLst>
        </pc:cxnChg>
        <pc:cxnChg chg="del mod ord">
          <ac:chgData name="Yudi Zhu" userId="571e1a55-055f-4c28-8b35-fca6dd1c1369" providerId="ADAL" clId="{75A88773-6EE1-484E-AADE-FE631E01463B}" dt="2025-11-21T10:16:31.795" v="474680"/>
          <ac:cxnSpMkLst>
            <pc:docMk/>
            <pc:sldMk cId="3512959142" sldId="2147483095"/>
            <ac:cxnSpMk id="1464" creationId="{92007F0A-B7EA-5A8E-1784-4FB8BFEEA8DA}"/>
          </ac:cxnSpMkLst>
        </pc:cxnChg>
        <pc:cxnChg chg="del mod ord">
          <ac:chgData name="Yudi Zhu" userId="571e1a55-055f-4c28-8b35-fca6dd1c1369" providerId="ADAL" clId="{75A88773-6EE1-484E-AADE-FE631E01463B}" dt="2025-11-21T10:16:31.858" v="474708"/>
          <ac:cxnSpMkLst>
            <pc:docMk/>
            <pc:sldMk cId="3512959142" sldId="2147483095"/>
            <ac:cxnSpMk id="1466" creationId="{D3EC2432-4617-5266-2DF0-2F8BEF10B77E}"/>
          </ac:cxnSpMkLst>
        </pc:cxnChg>
        <pc:cxnChg chg="del mod ord">
          <ac:chgData name="Yudi Zhu" userId="571e1a55-055f-4c28-8b35-fca6dd1c1369" providerId="ADAL" clId="{75A88773-6EE1-484E-AADE-FE631E01463B}" dt="2025-11-21T10:16:31.862" v="474712"/>
          <ac:cxnSpMkLst>
            <pc:docMk/>
            <pc:sldMk cId="3512959142" sldId="2147483095"/>
            <ac:cxnSpMk id="1467" creationId="{B04EF4F2-7F38-9EBF-D340-CFB75FC1FB25}"/>
          </ac:cxnSpMkLst>
        </pc:cxnChg>
        <pc:cxnChg chg="del mod ord">
          <ac:chgData name="Yudi Zhu" userId="571e1a55-055f-4c28-8b35-fca6dd1c1369" providerId="ADAL" clId="{75A88773-6EE1-484E-AADE-FE631E01463B}" dt="2025-11-21T10:16:31.867" v="474716"/>
          <ac:cxnSpMkLst>
            <pc:docMk/>
            <pc:sldMk cId="3512959142" sldId="2147483095"/>
            <ac:cxnSpMk id="1468" creationId="{DB3DA2FD-3F9C-7D07-1499-92AEE88BBABE}"/>
          </ac:cxnSpMkLst>
        </pc:cxnChg>
        <pc:cxnChg chg="del mod ord">
          <ac:chgData name="Yudi Zhu" userId="571e1a55-055f-4c28-8b35-fca6dd1c1369" providerId="ADAL" clId="{75A88773-6EE1-484E-AADE-FE631E01463B}" dt="2025-11-21T10:16:31.913" v="474746"/>
          <ac:cxnSpMkLst>
            <pc:docMk/>
            <pc:sldMk cId="3512959142" sldId="2147483095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4T04:19:54.885" v="639902"/>
          <ac:cxnSpMkLst>
            <pc:docMk/>
            <pc:sldMk cId="3512959142" sldId="2147483095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4T04:19:54.895" v="639930"/>
          <ac:cxnSpMkLst>
            <pc:docMk/>
            <pc:sldMk cId="3512959142" sldId="2147483095"/>
            <ac:cxnSpMk id="1819" creationId="{89A23327-5608-B9B1-48B6-09A5B94BD12A}"/>
          </ac:cxnSpMkLst>
        </pc:cxnChg>
        <pc:cxnChg chg="mod ord">
          <ac:chgData name="Yudi Zhu" userId="571e1a55-055f-4c28-8b35-fca6dd1c1369" providerId="ADAL" clId="{75A88773-6EE1-484E-AADE-FE631E01463B}" dt="2025-11-24T04:19:54.850" v="639841"/>
          <ac:cxnSpMkLst>
            <pc:docMk/>
            <pc:sldMk cId="3512959142" sldId="2147483095"/>
            <ac:cxnSpMk id="1905" creationId="{3EF73878-4A6F-6991-BFA3-01DA7445D6B4}"/>
          </ac:cxnSpMkLst>
        </pc:cxnChg>
        <pc:cxnChg chg="mod ord">
          <ac:chgData name="Yudi Zhu" userId="571e1a55-055f-4c28-8b35-fca6dd1c1369" providerId="ADAL" clId="{75A88773-6EE1-484E-AADE-FE631E01463B}" dt="2025-11-24T04:19:54.852" v="639849"/>
          <ac:cxnSpMkLst>
            <pc:docMk/>
            <pc:sldMk cId="3512959142" sldId="2147483095"/>
            <ac:cxnSpMk id="1906" creationId="{A6CF85EC-E022-CBB3-26D5-DA69546B5B09}"/>
          </ac:cxnSpMkLst>
        </pc:cxnChg>
        <pc:cxnChg chg="mod ord">
          <ac:chgData name="Yudi Zhu" userId="571e1a55-055f-4c28-8b35-fca6dd1c1369" providerId="ADAL" clId="{75A88773-6EE1-484E-AADE-FE631E01463B}" dt="2025-11-24T04:19:54.850" v="639843"/>
          <ac:cxnSpMkLst>
            <pc:docMk/>
            <pc:sldMk cId="3512959142" sldId="2147483095"/>
            <ac:cxnSpMk id="1911" creationId="{6BB19183-84DA-1D0B-E333-8B33819A9767}"/>
          </ac:cxnSpMkLst>
        </pc:cxnChg>
        <pc:cxnChg chg="mod ord">
          <ac:chgData name="Yudi Zhu" userId="571e1a55-055f-4c28-8b35-fca6dd1c1369" providerId="ADAL" clId="{75A88773-6EE1-484E-AADE-FE631E01463B}" dt="2025-11-24T04:19:54.851" v="639845"/>
          <ac:cxnSpMkLst>
            <pc:docMk/>
            <pc:sldMk cId="3512959142" sldId="2147483095"/>
            <ac:cxnSpMk id="1912" creationId="{D3EDF2EC-737C-6343-C835-BA6ABB2FB9A2}"/>
          </ac:cxnSpMkLst>
        </pc:cxnChg>
        <pc:cxnChg chg="mod ord">
          <ac:chgData name="Yudi Zhu" userId="571e1a55-055f-4c28-8b35-fca6dd1c1369" providerId="ADAL" clId="{75A88773-6EE1-484E-AADE-FE631E01463B}" dt="2025-11-24T04:19:54.852" v="639847"/>
          <ac:cxnSpMkLst>
            <pc:docMk/>
            <pc:sldMk cId="3512959142" sldId="2147483095"/>
            <ac:cxnSpMk id="1913" creationId="{B855A9F9-1744-B00F-68B0-04895CD64E58}"/>
          </ac:cxnSpMkLst>
        </pc:cxnChg>
        <pc:cxnChg chg="del mod ord">
          <ac:chgData name="Yudi Zhu" userId="571e1a55-055f-4c28-8b35-fca6dd1c1369" providerId="ADAL" clId="{75A88773-6EE1-484E-AADE-FE631E01463B}" dt="2025-11-21T10:14:47.809" v="468440"/>
          <ac:cxnSpMkLst>
            <pc:docMk/>
            <pc:sldMk cId="3512959142" sldId="2147483095"/>
            <ac:cxnSpMk id="1914" creationId="{B392C00A-50E2-53BC-3B29-94BCBCDBD094}"/>
          </ac:cxnSpMkLst>
        </pc:cxnChg>
        <pc:cxnChg chg="del mod ord">
          <ac:chgData name="Yudi Zhu" userId="571e1a55-055f-4c28-8b35-fca6dd1c1369" providerId="ADAL" clId="{75A88773-6EE1-484E-AADE-FE631E01463B}" dt="2025-11-21T10:14:47.809" v="468442"/>
          <ac:cxnSpMkLst>
            <pc:docMk/>
            <pc:sldMk cId="3512959142" sldId="2147483095"/>
            <ac:cxnSpMk id="1915" creationId="{9D0073C7-4C42-2F06-99DD-958FD0F16AB5}"/>
          </ac:cxnSpMkLst>
        </pc:cxnChg>
      </pc:sldChg>
      <pc:sldChg chg="addSp delSp modSp add del mod">
        <pc:chgData name="Yudi Zhu" userId="571e1a55-055f-4c28-8b35-fca6dd1c1369" providerId="ADAL" clId="{75A88773-6EE1-484E-AADE-FE631E01463B}" dt="2025-11-24T03:54:57.465" v="605857" actId="47"/>
        <pc:sldMkLst>
          <pc:docMk/>
          <pc:sldMk cId="3160210200" sldId="2147483096"/>
        </pc:sldMkLst>
        <pc:spChg chg="mod ord">
          <ac:chgData name="Yudi Zhu" userId="571e1a55-055f-4c28-8b35-fca6dd1c1369" providerId="ADAL" clId="{75A88773-6EE1-484E-AADE-FE631E01463B}" dt="2025-11-24T02:52:08.013" v="484354" actId="948"/>
          <ac:spMkLst>
            <pc:docMk/>
            <pc:sldMk cId="3160210200" sldId="2147483096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4T02:49:13.570" v="481094"/>
          <ac:spMkLst>
            <pc:docMk/>
            <pc:sldMk cId="3160210200" sldId="2147483096"/>
            <ac:spMk id="3" creationId="{4780BA4E-97CA-6694-BF9F-58E997C5EA47}"/>
          </ac:spMkLst>
        </pc:spChg>
        <pc:spChg chg="add mod ord">
          <ac:chgData name="Yudi Zhu" userId="571e1a55-055f-4c28-8b35-fca6dd1c1369" providerId="ADAL" clId="{75A88773-6EE1-484E-AADE-FE631E01463B}" dt="2025-11-24T02:51:23.333" v="484084"/>
          <ac:spMkLst>
            <pc:docMk/>
            <pc:sldMk cId="3160210200" sldId="2147483096"/>
            <ac:spMk id="4" creationId="{B36A5C9A-8F6B-AF85-9D9D-83FF2FF199A8}"/>
          </ac:spMkLst>
        </pc:spChg>
        <pc:spChg chg="add mod ord">
          <ac:chgData name="Yudi Zhu" userId="571e1a55-055f-4c28-8b35-fca6dd1c1369" providerId="ADAL" clId="{75A88773-6EE1-484E-AADE-FE631E01463B}" dt="2025-11-24T02:51:23.333" v="484082"/>
          <ac:spMkLst>
            <pc:docMk/>
            <pc:sldMk cId="3160210200" sldId="2147483096"/>
            <ac:spMk id="5" creationId="{EE30A96E-C7BE-7F45-0459-2E85C754A360}"/>
          </ac:spMkLst>
        </pc:spChg>
        <pc:spChg chg="add del mod modVis">
          <ac:chgData name="Yudi Zhu" userId="571e1a55-055f-4c28-8b35-fca6dd1c1369" providerId="ADAL" clId="{75A88773-6EE1-484E-AADE-FE631E01463B}" dt="2025-11-24T02:49:16.320" v="481527"/>
          <ac:spMkLst>
            <pc:docMk/>
            <pc:sldMk cId="3160210200" sldId="2147483096"/>
            <ac:spMk id="9" creationId="{AA2E1C19-0AB9-7CD0-1989-6D9A457BBA01}"/>
          </ac:spMkLst>
        </pc:spChg>
        <pc:spChg chg="add del mod modVis">
          <ac:chgData name="Yudi Zhu" userId="571e1a55-055f-4c28-8b35-fca6dd1c1369" providerId="ADAL" clId="{75A88773-6EE1-484E-AADE-FE631E01463B}" dt="2025-11-24T02:49:26.339" v="482032"/>
          <ac:spMkLst>
            <pc:docMk/>
            <pc:sldMk cId="3160210200" sldId="2147483096"/>
            <ac:spMk id="12" creationId="{196AC90F-5822-9F6D-04D5-791C05CD6D09}"/>
          </ac:spMkLst>
        </pc:spChg>
        <pc:spChg chg="add del mod modVis">
          <ac:chgData name="Yudi Zhu" userId="571e1a55-055f-4c28-8b35-fca6dd1c1369" providerId="ADAL" clId="{75A88773-6EE1-484E-AADE-FE631E01463B}" dt="2025-11-24T02:50:52.139" v="482325"/>
          <ac:spMkLst>
            <pc:docMk/>
            <pc:sldMk cId="3160210200" sldId="2147483096"/>
            <ac:spMk id="15" creationId="{4F2C9A52-5CF1-B862-07DF-0B7CE2FA5CEE}"/>
          </ac:spMkLst>
        </pc:spChg>
        <pc:spChg chg="add del mod modVis">
          <ac:chgData name="Yudi Zhu" userId="571e1a55-055f-4c28-8b35-fca6dd1c1369" providerId="ADAL" clId="{75A88773-6EE1-484E-AADE-FE631E01463B}" dt="2025-11-24T02:51:07.431" v="482608"/>
          <ac:spMkLst>
            <pc:docMk/>
            <pc:sldMk cId="3160210200" sldId="2147483096"/>
            <ac:spMk id="17" creationId="{C494B6E6-5BE5-CE8D-6ED2-EAF18CFB061D}"/>
          </ac:spMkLst>
        </pc:spChg>
        <pc:spChg chg="add del mod modVis">
          <ac:chgData name="Yudi Zhu" userId="571e1a55-055f-4c28-8b35-fca6dd1c1369" providerId="ADAL" clId="{75A88773-6EE1-484E-AADE-FE631E01463B}" dt="2025-11-24T02:51:23.430" v="484285"/>
          <ac:spMkLst>
            <pc:docMk/>
            <pc:sldMk cId="3160210200" sldId="2147483096"/>
            <ac:spMk id="20" creationId="{B408B904-AFCC-5840-1E97-77348C8A6388}"/>
          </ac:spMkLst>
        </pc:spChg>
        <pc:spChg chg="mod ord">
          <ac:chgData name="Yudi Zhu" userId="571e1a55-055f-4c28-8b35-fca6dd1c1369" providerId="ADAL" clId="{75A88773-6EE1-484E-AADE-FE631E01463B}" dt="2025-11-24T02:51:23.333" v="484086"/>
          <ac:spMkLst>
            <pc:docMk/>
            <pc:sldMk cId="3160210200" sldId="2147483096"/>
            <ac:spMk id="21" creationId="{F5FD2CA3-DF84-84B1-C246-DDAFEBF51AA1}"/>
          </ac:spMkLst>
        </pc:spChg>
        <pc:spChg chg="del">
          <ac:chgData name="Yudi Zhu" userId="571e1a55-055f-4c28-8b35-fca6dd1c1369" providerId="ADAL" clId="{75A88773-6EE1-484E-AADE-FE631E01463B}" dt="2025-11-24T02:49:13.289" v="480697"/>
          <ac:spMkLst>
            <pc:docMk/>
            <pc:sldMk cId="3160210200" sldId="2147483096"/>
            <ac:spMk id="24" creationId="{DE7C8047-10AE-DD45-F625-97982F3E7674}"/>
          </ac:spMkLst>
        </pc:spChg>
        <pc:spChg chg="mod ord">
          <ac:chgData name="Yudi Zhu" userId="571e1a55-055f-4c28-8b35-fca6dd1c1369" providerId="ADAL" clId="{75A88773-6EE1-484E-AADE-FE631E01463B}" dt="2025-11-24T02:51:23.333" v="484080"/>
          <ac:spMkLst>
            <pc:docMk/>
            <pc:sldMk cId="3160210200" sldId="2147483096"/>
            <ac:spMk id="41" creationId="{F22B3FB4-69EE-BF2A-DFF6-27E9308F011B}"/>
          </ac:spMkLst>
        </pc:spChg>
        <pc:spChg chg="mod ord">
          <ac:chgData name="Yudi Zhu" userId="571e1a55-055f-4c28-8b35-fca6dd1c1369" providerId="ADAL" clId="{75A88773-6EE1-484E-AADE-FE631E01463B}" dt="2025-11-24T02:51:23.412" v="484241"/>
          <ac:spMkLst>
            <pc:docMk/>
            <pc:sldMk cId="3160210200" sldId="2147483096"/>
            <ac:spMk id="50" creationId="{02F6331E-5D73-6E69-0D56-C4DE5D68572C}"/>
          </ac:spMkLst>
        </pc:spChg>
        <pc:spChg chg="mod ord">
          <ac:chgData name="Yudi Zhu" userId="571e1a55-055f-4c28-8b35-fca6dd1c1369" providerId="ADAL" clId="{75A88773-6EE1-484E-AADE-FE631E01463B}" dt="2025-11-24T02:51:23.412" v="484251"/>
          <ac:spMkLst>
            <pc:docMk/>
            <pc:sldMk cId="3160210200" sldId="2147483096"/>
            <ac:spMk id="51" creationId="{9C0C7DC5-9B73-37CA-1B50-CC7A6362A4E2}"/>
          </ac:spMkLst>
        </pc:spChg>
        <pc:spChg chg="mod ord">
          <ac:chgData name="Yudi Zhu" userId="571e1a55-055f-4c28-8b35-fca6dd1c1369" providerId="ADAL" clId="{75A88773-6EE1-484E-AADE-FE631E01463B}" dt="2025-11-24T02:51:23.412" v="484257"/>
          <ac:spMkLst>
            <pc:docMk/>
            <pc:sldMk cId="3160210200" sldId="2147483096"/>
            <ac:spMk id="52" creationId="{0D711176-2CAE-6464-7127-84B92BFA5A0A}"/>
          </ac:spMkLst>
        </pc:spChg>
        <pc:spChg chg="mod ord">
          <ac:chgData name="Yudi Zhu" userId="571e1a55-055f-4c28-8b35-fca6dd1c1369" providerId="ADAL" clId="{75A88773-6EE1-484E-AADE-FE631E01463B}" dt="2025-11-24T02:51:23.412" v="484262"/>
          <ac:spMkLst>
            <pc:docMk/>
            <pc:sldMk cId="3160210200" sldId="2147483096"/>
            <ac:spMk id="53" creationId="{D416A439-F437-CB7D-5D8F-C9C806308A88}"/>
          </ac:spMkLst>
        </pc:spChg>
        <pc:spChg chg="mod ord">
          <ac:chgData name="Yudi Zhu" userId="571e1a55-055f-4c28-8b35-fca6dd1c1369" providerId="ADAL" clId="{75A88773-6EE1-484E-AADE-FE631E01463B}" dt="2025-11-24T02:51:23.412" v="484260"/>
          <ac:spMkLst>
            <pc:docMk/>
            <pc:sldMk cId="3160210200" sldId="2147483096"/>
            <ac:spMk id="54" creationId="{77D4B05C-BCC1-6709-C059-13F84D9F7770}"/>
          </ac:spMkLst>
        </pc:spChg>
        <pc:spChg chg="mod ord">
          <ac:chgData name="Yudi Zhu" userId="571e1a55-055f-4c28-8b35-fca6dd1c1369" providerId="ADAL" clId="{75A88773-6EE1-484E-AADE-FE631E01463B}" dt="2025-11-24T02:51:23.412" v="484239"/>
          <ac:spMkLst>
            <pc:docMk/>
            <pc:sldMk cId="3160210200" sldId="2147483096"/>
            <ac:spMk id="55" creationId="{7EDBB2B4-EF67-25C3-C8B0-FB513D9A3CD3}"/>
          </ac:spMkLst>
        </pc:spChg>
        <pc:spChg chg="mod ord">
          <ac:chgData name="Yudi Zhu" userId="571e1a55-055f-4c28-8b35-fca6dd1c1369" providerId="ADAL" clId="{75A88773-6EE1-484E-AADE-FE631E01463B}" dt="2025-11-24T02:51:23.412" v="484244"/>
          <ac:spMkLst>
            <pc:docMk/>
            <pc:sldMk cId="3160210200" sldId="2147483096"/>
            <ac:spMk id="56" creationId="{D0AD0539-7B6F-111C-ED13-D1B443ABA2B3}"/>
          </ac:spMkLst>
        </pc:spChg>
        <pc:spChg chg="mod">
          <ac:chgData name="Yudi Zhu" userId="571e1a55-055f-4c28-8b35-fca6dd1c1369" providerId="ADAL" clId="{75A88773-6EE1-484E-AADE-FE631E01463B}" dt="2025-11-24T02:51:23.365" v="484147"/>
          <ac:spMkLst>
            <pc:docMk/>
            <pc:sldMk cId="3160210200" sldId="2147483096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4T02:51:23.365" v="484148"/>
          <ac:spMkLst>
            <pc:docMk/>
            <pc:sldMk cId="3160210200" sldId="2147483096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4T02:51:23.365" v="484149"/>
          <ac:spMkLst>
            <pc:docMk/>
            <pc:sldMk cId="3160210200" sldId="2147483096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4T02:51:23.365" v="484150"/>
          <ac:spMkLst>
            <pc:docMk/>
            <pc:sldMk cId="3160210200" sldId="2147483096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4T02:51:23.365" v="484151"/>
          <ac:spMkLst>
            <pc:docMk/>
            <pc:sldMk cId="3160210200" sldId="2147483096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4T02:51:23.365" v="484152"/>
          <ac:spMkLst>
            <pc:docMk/>
            <pc:sldMk cId="3160210200" sldId="2147483096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4T02:51:23.365" v="484153"/>
          <ac:spMkLst>
            <pc:docMk/>
            <pc:sldMk cId="3160210200" sldId="2147483096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4T02:51:23.365" v="484154"/>
          <ac:spMkLst>
            <pc:docMk/>
            <pc:sldMk cId="3160210200" sldId="2147483096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4T02:51:23.365" v="484155"/>
          <ac:spMkLst>
            <pc:docMk/>
            <pc:sldMk cId="3160210200" sldId="2147483096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4T02:51:23.380" v="484156"/>
          <ac:spMkLst>
            <pc:docMk/>
            <pc:sldMk cId="3160210200" sldId="2147483096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4T02:51:23.381" v="484158"/>
          <ac:spMkLst>
            <pc:docMk/>
            <pc:sldMk cId="3160210200" sldId="2147483096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4T02:51:23.383" v="484159"/>
          <ac:spMkLst>
            <pc:docMk/>
            <pc:sldMk cId="3160210200" sldId="2147483096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4T02:51:23.383" v="484160"/>
          <ac:spMkLst>
            <pc:docMk/>
            <pc:sldMk cId="3160210200" sldId="2147483096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4T02:51:23.383" v="484161"/>
          <ac:spMkLst>
            <pc:docMk/>
            <pc:sldMk cId="3160210200" sldId="2147483096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4T02:51:23.385" v="484162"/>
          <ac:spMkLst>
            <pc:docMk/>
            <pc:sldMk cId="3160210200" sldId="2147483096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4T02:51:23.385" v="484163"/>
          <ac:spMkLst>
            <pc:docMk/>
            <pc:sldMk cId="3160210200" sldId="2147483096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4T02:51:23.385" v="484164"/>
          <ac:spMkLst>
            <pc:docMk/>
            <pc:sldMk cId="3160210200" sldId="2147483096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4T02:51:23.385" v="484165"/>
          <ac:spMkLst>
            <pc:docMk/>
            <pc:sldMk cId="3160210200" sldId="2147483096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4T02:51:23.385" v="484166"/>
          <ac:spMkLst>
            <pc:docMk/>
            <pc:sldMk cId="3160210200" sldId="2147483096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4T02:51:23.385" v="484167"/>
          <ac:spMkLst>
            <pc:docMk/>
            <pc:sldMk cId="3160210200" sldId="2147483096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4T02:51:23.385" v="484168"/>
          <ac:spMkLst>
            <pc:docMk/>
            <pc:sldMk cId="3160210200" sldId="2147483096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4T02:51:23.385" v="484172"/>
          <ac:spMkLst>
            <pc:docMk/>
            <pc:sldMk cId="3160210200" sldId="2147483096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4T02:51:23.385" v="484169"/>
          <ac:spMkLst>
            <pc:docMk/>
            <pc:sldMk cId="3160210200" sldId="2147483096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4T02:51:23.385" v="484170"/>
          <ac:spMkLst>
            <pc:docMk/>
            <pc:sldMk cId="3160210200" sldId="2147483096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4T02:51:23.385" v="484171"/>
          <ac:spMkLst>
            <pc:docMk/>
            <pc:sldMk cId="3160210200" sldId="2147483096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4T02:51:23.385" v="484174"/>
          <ac:spMkLst>
            <pc:docMk/>
            <pc:sldMk cId="3160210200" sldId="2147483096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4T02:51:23.385" v="484175"/>
          <ac:spMkLst>
            <pc:docMk/>
            <pc:sldMk cId="3160210200" sldId="2147483096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4T02:51:23.365" v="484144"/>
          <ac:spMkLst>
            <pc:docMk/>
            <pc:sldMk cId="3160210200" sldId="2147483096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4T02:51:23.365" v="484145"/>
          <ac:spMkLst>
            <pc:docMk/>
            <pc:sldMk cId="3160210200" sldId="2147483096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4T02:51:23.365" v="484146"/>
          <ac:spMkLst>
            <pc:docMk/>
            <pc:sldMk cId="3160210200" sldId="2147483096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4T02:51:23.385" v="484176"/>
          <ac:spMkLst>
            <pc:docMk/>
            <pc:sldMk cId="3160210200" sldId="2147483096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4T02:51:23.385" v="484177"/>
          <ac:spMkLst>
            <pc:docMk/>
            <pc:sldMk cId="3160210200" sldId="2147483096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4T02:51:23.385" v="484180"/>
          <ac:spMkLst>
            <pc:docMk/>
            <pc:sldMk cId="3160210200" sldId="2147483096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4T02:51:23.385" v="484181"/>
          <ac:spMkLst>
            <pc:docMk/>
            <pc:sldMk cId="3160210200" sldId="2147483096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4T02:51:23.396" v="484182"/>
          <ac:spMkLst>
            <pc:docMk/>
            <pc:sldMk cId="3160210200" sldId="2147483096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4T02:51:23.397" v="484187"/>
          <ac:spMkLst>
            <pc:docMk/>
            <pc:sldMk cId="3160210200" sldId="2147483096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4T02:51:23.397" v="484188"/>
          <ac:spMkLst>
            <pc:docMk/>
            <pc:sldMk cId="3160210200" sldId="2147483096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4T02:51:23.397" v="484184"/>
          <ac:spMkLst>
            <pc:docMk/>
            <pc:sldMk cId="3160210200" sldId="2147483096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4T02:51:23.397" v="484186"/>
          <ac:spMkLst>
            <pc:docMk/>
            <pc:sldMk cId="3160210200" sldId="2147483096"/>
            <ac:spMk id="995" creationId="{32DA3477-12F9-F65F-2D29-8DD22FC19F08}"/>
          </ac:spMkLst>
        </pc:spChg>
        <pc:spChg chg="del mod">
          <ac:chgData name="Yudi Zhu" userId="571e1a55-055f-4c28-8b35-fca6dd1c1369" providerId="ADAL" clId="{75A88773-6EE1-484E-AADE-FE631E01463B}" dt="2025-11-24T02:49:15.957" v="481098"/>
          <ac:spMkLst>
            <pc:docMk/>
            <pc:sldMk cId="3160210200" sldId="2147483096"/>
            <ac:spMk id="1194" creationId="{BBCCF612-1129-BBB4-5844-0BA70960BFD5}"/>
          </ac:spMkLst>
        </pc:spChg>
        <pc:spChg chg="del mod ord">
          <ac:chgData name="Yudi Zhu" userId="571e1a55-055f-4c28-8b35-fca6dd1c1369" providerId="ADAL" clId="{75A88773-6EE1-484E-AADE-FE631E01463B}" dt="2025-11-24T02:49:15.973" v="481111"/>
          <ac:spMkLst>
            <pc:docMk/>
            <pc:sldMk cId="3160210200" sldId="2147483096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4T02:51:23.350" v="484107"/>
          <ac:spMkLst>
            <pc:docMk/>
            <pc:sldMk cId="3160210200" sldId="2147483096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4T02:51:23.350" v="484108"/>
          <ac:spMkLst>
            <pc:docMk/>
            <pc:sldMk cId="3160210200" sldId="2147483096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4T02:51:23.350" v="484109"/>
          <ac:spMkLst>
            <pc:docMk/>
            <pc:sldMk cId="3160210200" sldId="2147483096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4T02:51:23.350" v="484111"/>
          <ac:spMkLst>
            <pc:docMk/>
            <pc:sldMk cId="3160210200" sldId="2147483096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4T02:51:23.350" v="484112"/>
          <ac:spMkLst>
            <pc:docMk/>
            <pc:sldMk cId="3160210200" sldId="2147483096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4T02:51:23.350" v="484106"/>
          <ac:spMkLst>
            <pc:docMk/>
            <pc:sldMk cId="3160210200" sldId="2147483096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4T02:51:23.350" v="484116"/>
          <ac:spMkLst>
            <pc:docMk/>
            <pc:sldMk cId="3160210200" sldId="2147483096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4T02:51:23.350" v="484118"/>
          <ac:spMkLst>
            <pc:docMk/>
            <pc:sldMk cId="3160210200" sldId="2147483096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4T02:51:23.350" v="484124"/>
          <ac:spMkLst>
            <pc:docMk/>
            <pc:sldMk cId="3160210200" sldId="2147483096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4T02:51:23.365" v="484135"/>
          <ac:spMkLst>
            <pc:docMk/>
            <pc:sldMk cId="3160210200" sldId="2147483096"/>
            <ac:spMk id="1205" creationId="{6816614C-2261-21F9-4CD7-430B5A7828DB}"/>
          </ac:spMkLst>
        </pc:spChg>
        <pc:spChg chg="mod">
          <ac:chgData name="Yudi Zhu" userId="571e1a55-055f-4c28-8b35-fca6dd1c1369" providerId="ADAL" clId="{75A88773-6EE1-484E-AADE-FE631E01463B}" dt="2025-11-24T02:51:23.365" v="484136"/>
          <ac:spMkLst>
            <pc:docMk/>
            <pc:sldMk cId="3160210200" sldId="2147483096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4T02:51:23.365" v="484137"/>
          <ac:spMkLst>
            <pc:docMk/>
            <pc:sldMk cId="3160210200" sldId="2147483096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4T02:51:23.350" v="484090"/>
          <ac:spMkLst>
            <pc:docMk/>
            <pc:sldMk cId="3160210200" sldId="2147483096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4T02:51:23.350" v="484092"/>
          <ac:spMkLst>
            <pc:docMk/>
            <pc:sldMk cId="3160210200" sldId="2147483096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4T02:51:23.350" v="484094"/>
          <ac:spMkLst>
            <pc:docMk/>
            <pc:sldMk cId="3160210200" sldId="2147483096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4T02:51:23.350" v="484096"/>
          <ac:spMkLst>
            <pc:docMk/>
            <pc:sldMk cId="3160210200" sldId="2147483096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4T02:51:23.350" v="484098"/>
          <ac:spMkLst>
            <pc:docMk/>
            <pc:sldMk cId="3160210200" sldId="2147483096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4T02:51:23.350" v="484114"/>
          <ac:spMkLst>
            <pc:docMk/>
            <pc:sldMk cId="3160210200" sldId="2147483096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4T02:51:23.350" v="484100"/>
          <ac:spMkLst>
            <pc:docMk/>
            <pc:sldMk cId="3160210200" sldId="2147483096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4T02:51:23.350" v="484102"/>
          <ac:spMkLst>
            <pc:docMk/>
            <pc:sldMk cId="3160210200" sldId="2147483096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4T02:51:23.350" v="484104"/>
          <ac:spMkLst>
            <pc:docMk/>
            <pc:sldMk cId="3160210200" sldId="2147483096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4T02:51:23.428" v="484274"/>
          <ac:spMkLst>
            <pc:docMk/>
            <pc:sldMk cId="3160210200" sldId="2147483096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4T02:51:23.428" v="484275"/>
          <ac:spMkLst>
            <pc:docMk/>
            <pc:sldMk cId="3160210200" sldId="2147483096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4T02:51:23.430" v="484276"/>
          <ac:spMkLst>
            <pc:docMk/>
            <pc:sldMk cId="3160210200" sldId="2147483096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4T02:51:23.412" v="484237"/>
          <ac:spMkLst>
            <pc:docMk/>
            <pc:sldMk cId="3160210200" sldId="2147483096"/>
            <ac:spMk id="1442" creationId="{00445C12-10C4-A371-D4EA-BD360FAE32DA}"/>
          </ac:spMkLst>
        </pc:spChg>
        <pc:spChg chg="mod ord">
          <ac:chgData name="Yudi Zhu" userId="571e1a55-055f-4c28-8b35-fca6dd1c1369" providerId="ADAL" clId="{75A88773-6EE1-484E-AADE-FE631E01463B}" dt="2025-11-24T02:51:23.412" v="484247"/>
          <ac:spMkLst>
            <pc:docMk/>
            <pc:sldMk cId="3160210200" sldId="2147483096"/>
            <ac:spMk id="1449" creationId="{300E10D2-719E-3D82-5CBF-5A612C09A088}"/>
          </ac:spMkLst>
        </pc:spChg>
        <pc:spChg chg="mod ord">
          <ac:chgData name="Yudi Zhu" userId="571e1a55-055f-4c28-8b35-fca6dd1c1369" providerId="ADAL" clId="{75A88773-6EE1-484E-AADE-FE631E01463B}" dt="2025-11-24T02:51:23.412" v="484264"/>
          <ac:spMkLst>
            <pc:docMk/>
            <pc:sldMk cId="3160210200" sldId="2147483096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4T02:51:23.350" v="484103"/>
          <ac:spMkLst>
            <pc:docMk/>
            <pc:sldMk cId="3160210200" sldId="2147483096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4T02:51:23.333" v="484055"/>
          <ac:spMkLst>
            <pc:docMk/>
            <pc:sldMk cId="3160210200" sldId="2147483096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4T02:51:23.330" v="484033"/>
          <ac:spMkLst>
            <pc:docMk/>
            <pc:sldMk cId="3160210200" sldId="2147483096"/>
            <ac:spMk id="1578" creationId="{7900D605-FFA7-E8F5-8494-4FDDE17D3C2B}"/>
          </ac:spMkLst>
        </pc:spChg>
        <pc:spChg chg="mod">
          <ac:chgData name="Yudi Zhu" userId="571e1a55-055f-4c28-8b35-fca6dd1c1369" providerId="ADAL" clId="{75A88773-6EE1-484E-AADE-FE631E01463B}" dt="2025-11-24T02:51:23.333" v="484041"/>
          <ac:spMkLst>
            <pc:docMk/>
            <pc:sldMk cId="3160210200" sldId="2147483096"/>
            <ac:spMk id="1589" creationId="{08F3CF51-65F2-8F3A-1522-C930B9FC8F63}"/>
          </ac:spMkLst>
        </pc:spChg>
        <pc:spChg chg="mod">
          <ac:chgData name="Yudi Zhu" userId="571e1a55-055f-4c28-8b35-fca6dd1c1369" providerId="ADAL" clId="{75A88773-6EE1-484E-AADE-FE631E01463B}" dt="2025-11-24T02:51:23.333" v="484049"/>
          <ac:spMkLst>
            <pc:docMk/>
            <pc:sldMk cId="3160210200" sldId="2147483096"/>
            <ac:spMk id="1605" creationId="{3E8A6A9C-8A93-C9A9-290D-B8600D71C480}"/>
          </ac:spMkLst>
        </pc:spChg>
        <pc:spChg chg="mod">
          <ac:chgData name="Yudi Zhu" userId="571e1a55-055f-4c28-8b35-fca6dd1c1369" providerId="ADAL" clId="{75A88773-6EE1-484E-AADE-FE631E01463B}" dt="2025-11-24T02:51:23.412" v="484252"/>
          <ac:spMkLst>
            <pc:docMk/>
            <pc:sldMk cId="3160210200" sldId="2147483096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4T02:51:23.412" v="484245"/>
          <ac:spMkLst>
            <pc:docMk/>
            <pc:sldMk cId="3160210200" sldId="2147483096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4T02:51:23.412" v="484248"/>
          <ac:spMkLst>
            <pc:docMk/>
            <pc:sldMk cId="3160210200" sldId="2147483096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4T02:51:23.412" v="484253"/>
          <ac:spMkLst>
            <pc:docMk/>
            <pc:sldMk cId="3160210200" sldId="2147483096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4T02:51:23.412" v="484255"/>
          <ac:spMkLst>
            <pc:docMk/>
            <pc:sldMk cId="3160210200" sldId="2147483096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4T02:51:23.412" v="484258"/>
          <ac:spMkLst>
            <pc:docMk/>
            <pc:sldMk cId="3160210200" sldId="2147483096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4T02:51:23.412" v="484265"/>
          <ac:spMkLst>
            <pc:docMk/>
            <pc:sldMk cId="3160210200" sldId="2147483096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4T02:51:23.412" v="484242"/>
          <ac:spMkLst>
            <pc:docMk/>
            <pc:sldMk cId="3160210200" sldId="2147483096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4T02:51:23.412" v="484249"/>
          <ac:spMkLst>
            <pc:docMk/>
            <pc:sldMk cId="3160210200" sldId="2147483096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4T02:51:23.412" v="484254"/>
          <ac:spMkLst>
            <pc:docMk/>
            <pc:sldMk cId="3160210200" sldId="2147483096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4T02:51:23.412" v="484267"/>
          <ac:spMkLst>
            <pc:docMk/>
            <pc:sldMk cId="3160210200" sldId="2147483096"/>
            <ac:spMk id="1691" creationId="{C50F3DAA-EFE1-8572-5206-F1A4416A7C6F}"/>
          </ac:spMkLst>
        </pc:spChg>
        <pc:spChg chg="mod">
          <ac:chgData name="Yudi Zhu" userId="571e1a55-055f-4c28-8b35-fca6dd1c1369" providerId="ADAL" clId="{75A88773-6EE1-484E-AADE-FE631E01463B}" dt="2025-11-24T02:51:23.430" v="484283"/>
          <ac:spMkLst>
            <pc:docMk/>
            <pc:sldMk cId="3160210200" sldId="2147483096"/>
            <ac:spMk id="1723" creationId="{4500BE63-029C-8CC6-1A95-233F327A1EC8}"/>
          </ac:spMkLst>
        </pc:spChg>
        <pc:spChg chg="mod">
          <ac:chgData name="Yudi Zhu" userId="571e1a55-055f-4c28-8b35-fca6dd1c1369" providerId="ADAL" clId="{75A88773-6EE1-484E-AADE-FE631E01463B}" dt="2025-11-24T02:51:23.350" v="484119"/>
          <ac:spMkLst>
            <pc:docMk/>
            <pc:sldMk cId="3160210200" sldId="2147483096"/>
            <ac:spMk id="1790" creationId="{097625FA-5686-DCF5-B817-A29F9D4727EA}"/>
          </ac:spMkLst>
        </pc:spChg>
        <pc:spChg chg="mod">
          <ac:chgData name="Yudi Zhu" userId="571e1a55-055f-4c28-8b35-fca6dd1c1369" providerId="ADAL" clId="{75A88773-6EE1-484E-AADE-FE631E01463B}" dt="2025-11-24T02:51:23.350" v="484120"/>
          <ac:spMkLst>
            <pc:docMk/>
            <pc:sldMk cId="3160210200" sldId="2147483096"/>
            <ac:spMk id="1791" creationId="{DEF9D83D-D4C4-4027-4A1D-F5596539654C}"/>
          </ac:spMkLst>
        </pc:spChg>
        <pc:spChg chg="mod ord">
          <ac:chgData name="Yudi Zhu" userId="571e1a55-055f-4c28-8b35-fca6dd1c1369" providerId="ADAL" clId="{75A88773-6EE1-484E-AADE-FE631E01463B}" dt="2025-11-24T02:51:23.350" v="484122"/>
          <ac:spMkLst>
            <pc:docMk/>
            <pc:sldMk cId="3160210200" sldId="2147483096"/>
            <ac:spMk id="1792" creationId="{457AA552-7E43-4131-3939-67AF0903A526}"/>
          </ac:spMkLst>
        </pc:spChg>
        <pc:spChg chg="mod">
          <ac:chgData name="Yudi Zhu" userId="571e1a55-055f-4c28-8b35-fca6dd1c1369" providerId="ADAL" clId="{75A88773-6EE1-484E-AADE-FE631E01463B}" dt="2025-11-24T02:51:23.365" v="484131"/>
          <ac:spMkLst>
            <pc:docMk/>
            <pc:sldMk cId="3160210200" sldId="2147483096"/>
            <ac:spMk id="1793" creationId="{49B7EED3-55F2-EC31-271D-C5C5BE26DD37}"/>
          </ac:spMkLst>
        </pc:spChg>
        <pc:spChg chg="mod">
          <ac:chgData name="Yudi Zhu" userId="571e1a55-055f-4c28-8b35-fca6dd1c1369" providerId="ADAL" clId="{75A88773-6EE1-484E-AADE-FE631E01463B}" dt="2025-11-24T02:51:23.350" v="484125"/>
          <ac:spMkLst>
            <pc:docMk/>
            <pc:sldMk cId="3160210200" sldId="2147483096"/>
            <ac:spMk id="1794" creationId="{C46898E2-09A3-DE10-6BB4-419D080C0C97}"/>
          </ac:spMkLst>
        </pc:spChg>
        <pc:spChg chg="mod">
          <ac:chgData name="Yudi Zhu" userId="571e1a55-055f-4c28-8b35-fca6dd1c1369" providerId="ADAL" clId="{75A88773-6EE1-484E-AADE-FE631E01463B}" dt="2025-11-24T02:51:23.350" v="484126"/>
          <ac:spMkLst>
            <pc:docMk/>
            <pc:sldMk cId="3160210200" sldId="2147483096"/>
            <ac:spMk id="1795" creationId="{56231662-B4A5-BFA4-F972-D6312D2A7DFA}"/>
          </ac:spMkLst>
        </pc:spChg>
        <pc:spChg chg="mod">
          <ac:chgData name="Yudi Zhu" userId="571e1a55-055f-4c28-8b35-fca6dd1c1369" providerId="ADAL" clId="{75A88773-6EE1-484E-AADE-FE631E01463B}" dt="2025-11-24T02:51:23.365" v="484127"/>
          <ac:spMkLst>
            <pc:docMk/>
            <pc:sldMk cId="3160210200" sldId="2147483096"/>
            <ac:spMk id="1796" creationId="{B96FE47B-79DC-89A5-2C60-01F5168C6F48}"/>
          </ac:spMkLst>
        </pc:spChg>
        <pc:spChg chg="mod">
          <ac:chgData name="Yudi Zhu" userId="571e1a55-055f-4c28-8b35-fca6dd1c1369" providerId="ADAL" clId="{75A88773-6EE1-484E-AADE-FE631E01463B}" dt="2025-11-24T02:51:23.365" v="484128"/>
          <ac:spMkLst>
            <pc:docMk/>
            <pc:sldMk cId="3160210200" sldId="2147483096"/>
            <ac:spMk id="1797" creationId="{0B25F4BA-5FF3-F040-8305-7A2E2C6277DC}"/>
          </ac:spMkLst>
        </pc:spChg>
        <pc:spChg chg="mod ord">
          <ac:chgData name="Yudi Zhu" userId="571e1a55-055f-4c28-8b35-fca6dd1c1369" providerId="ADAL" clId="{75A88773-6EE1-484E-AADE-FE631E01463B}" dt="2025-11-24T02:51:23.365" v="484130"/>
          <ac:spMkLst>
            <pc:docMk/>
            <pc:sldMk cId="3160210200" sldId="2147483096"/>
            <ac:spMk id="1798" creationId="{BAF78A19-A084-6BDB-AF15-EEDDA69BD191}"/>
          </ac:spMkLst>
        </pc:spChg>
        <pc:spChg chg="mod">
          <ac:chgData name="Yudi Zhu" userId="571e1a55-055f-4c28-8b35-fca6dd1c1369" providerId="ADAL" clId="{75A88773-6EE1-484E-AADE-FE631E01463B}" dt="2025-11-24T02:51:23.365" v="484138"/>
          <ac:spMkLst>
            <pc:docMk/>
            <pc:sldMk cId="3160210200" sldId="2147483096"/>
            <ac:spMk id="1799" creationId="{B9719039-1DC2-ED72-5DB7-C91F2F087453}"/>
          </ac:spMkLst>
        </pc:spChg>
        <pc:spChg chg="mod">
          <ac:chgData name="Yudi Zhu" userId="571e1a55-055f-4c28-8b35-fca6dd1c1369" providerId="ADAL" clId="{75A88773-6EE1-484E-AADE-FE631E01463B}" dt="2025-11-24T02:51:23.365" v="484132"/>
          <ac:spMkLst>
            <pc:docMk/>
            <pc:sldMk cId="3160210200" sldId="2147483096"/>
            <ac:spMk id="1800" creationId="{75FE1217-CF43-2C19-09C9-A9FAED99A004}"/>
          </ac:spMkLst>
        </pc:spChg>
        <pc:spChg chg="mod">
          <ac:chgData name="Yudi Zhu" userId="571e1a55-055f-4c28-8b35-fca6dd1c1369" providerId="ADAL" clId="{75A88773-6EE1-484E-AADE-FE631E01463B}" dt="2025-11-24T02:51:23.365" v="484133"/>
          <ac:spMkLst>
            <pc:docMk/>
            <pc:sldMk cId="3160210200" sldId="2147483096"/>
            <ac:spMk id="1801" creationId="{E8C41538-DD19-A841-9118-B8BC74499792}"/>
          </ac:spMkLst>
        </pc:spChg>
        <pc:spChg chg="mod">
          <ac:chgData name="Yudi Zhu" userId="571e1a55-055f-4c28-8b35-fca6dd1c1369" providerId="ADAL" clId="{75A88773-6EE1-484E-AADE-FE631E01463B}" dt="2025-11-24T02:51:23.412" v="484266"/>
          <ac:spMkLst>
            <pc:docMk/>
            <pc:sldMk cId="3160210200" sldId="2147483096"/>
            <ac:spMk id="1851" creationId="{55435E9D-DD6B-12E6-3E01-6C50EF33F500}"/>
          </ac:spMkLst>
        </pc:spChg>
        <pc:grpChg chg="mod ord">
          <ac:chgData name="Yudi Zhu" userId="571e1a55-055f-4c28-8b35-fca6dd1c1369" providerId="ADAL" clId="{75A88773-6EE1-484E-AADE-FE631E01463B}" dt="2025-11-24T02:51:23.430" v="484278"/>
          <ac:grpSpMkLst>
            <pc:docMk/>
            <pc:sldMk cId="3160210200" sldId="2147483096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4T02:51:23.430" v="484280"/>
          <ac:grpSpMkLst>
            <pc:docMk/>
            <pc:sldMk cId="3160210200" sldId="2147483096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4T02:51:23.430" v="484282"/>
          <ac:grpSpMkLst>
            <pc:docMk/>
            <pc:sldMk cId="3160210200" sldId="2147483096"/>
            <ac:grpSpMk id="1604" creationId="{CAC77667-D6BB-F83B-AA16-FAE5D5B780AA}"/>
          </ac:grpSpMkLst>
        </pc:grpChg>
        <pc:graphicFrameChg chg="del">
          <ac:chgData name="Yudi Zhu" userId="571e1a55-055f-4c28-8b35-fca6dd1c1369" providerId="ADAL" clId="{75A88773-6EE1-484E-AADE-FE631E01463B}" dt="2025-11-24T02:49:13.416" v="480856"/>
          <ac:graphicFrameMkLst>
            <pc:docMk/>
            <pc:sldMk cId="3160210200" sldId="2147483096"/>
            <ac:graphicFrameMk id="7" creationId="{41C09F51-A2C9-BD4A-AC45-1812EA6C029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49:16.136" v="481296"/>
          <ac:graphicFrameMkLst>
            <pc:docMk/>
            <pc:sldMk cId="3160210200" sldId="2147483096"/>
            <ac:graphicFrameMk id="8" creationId="{DF59A0D2-F0C9-3086-3E8F-B501BBC1902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49:26.136" v="481787"/>
          <ac:graphicFrameMkLst>
            <pc:docMk/>
            <pc:sldMk cId="3160210200" sldId="2147483096"/>
            <ac:graphicFrameMk id="10" creationId="{23400BFF-42A4-3BD7-B1A5-E1F9E67F1DEA}"/>
          </ac:graphicFrameMkLst>
        </pc:graphicFrameChg>
        <pc:graphicFrameChg chg="mod">
          <ac:chgData name="Yudi Zhu" userId="571e1a55-055f-4c28-8b35-fca6dd1c1369" providerId="ADAL" clId="{75A88773-6EE1-484E-AADE-FE631E01463B}" dt="2025-11-24T02:52:08.019" v="484356"/>
          <ac:graphicFrameMkLst>
            <pc:docMk/>
            <pc:sldMk cId="3160210200" sldId="2147483096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0:51.897" v="482068"/>
          <ac:graphicFrameMkLst>
            <pc:docMk/>
            <pc:sldMk cId="3160210200" sldId="2147483096"/>
            <ac:graphicFrameMk id="14" creationId="{D7DC43DA-7D55-E791-6498-B0C08D8E8BF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1:07.265" v="482361"/>
          <ac:graphicFrameMkLst>
            <pc:docMk/>
            <pc:sldMk cId="3160210200" sldId="2147483096"/>
            <ac:graphicFrameMk id="16" creationId="{F6001952-1DA9-298C-2A1A-6A364B5DDC8E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2:51:22.361" v="482940"/>
          <ac:graphicFrameMkLst>
            <pc:docMk/>
            <pc:sldMk cId="3160210200" sldId="2147483096"/>
            <ac:graphicFrameMk id="18" creationId="{9CA36178-F4B3-7E7F-A505-0E046F60BB8F}"/>
          </ac:graphicFrameMkLst>
        </pc:graphicFrameChg>
        <pc:graphicFrameChg chg="add mod">
          <ac:chgData name="Yudi Zhu" userId="571e1a55-055f-4c28-8b35-fca6dd1c1369" providerId="ADAL" clId="{75A88773-6EE1-484E-AADE-FE631E01463B}" dt="2025-11-24T02:51:23.333" v="484078"/>
          <ac:graphicFrameMkLst>
            <pc:docMk/>
            <pc:sldMk cId="3160210200" sldId="2147483096"/>
            <ac:graphicFrameMk id="19" creationId="{AE378E7C-555C-93C0-F7CA-0ED04BBA8836}"/>
          </ac:graphicFrameMkLst>
        </pc:graphicFrameChg>
        <pc:graphicFrameChg chg="add mod">
          <ac:chgData name="Yudi Zhu" userId="571e1a55-055f-4c28-8b35-fca6dd1c1369" providerId="ADAL" clId="{75A88773-6EE1-484E-AADE-FE631E01463B}" dt="2025-11-24T02:51:23.365" v="484139"/>
          <ac:graphicFrameMkLst>
            <pc:docMk/>
            <pc:sldMk cId="3160210200" sldId="2147483096"/>
            <ac:graphicFrameMk id="22" creationId="{B9C97F22-6D32-CE2E-24E5-355443163F06}"/>
          </ac:graphicFrameMkLst>
        </pc:graphicFrameChg>
        <pc:graphicFrameChg chg="add mod">
          <ac:chgData name="Yudi Zhu" userId="571e1a55-055f-4c28-8b35-fca6dd1c1369" providerId="ADAL" clId="{75A88773-6EE1-484E-AADE-FE631E01463B}" dt="2025-11-24T02:51:23.397" v="484189"/>
          <ac:graphicFrameMkLst>
            <pc:docMk/>
            <pc:sldMk cId="3160210200" sldId="2147483096"/>
            <ac:graphicFrameMk id="23" creationId="{0D289D5D-8B86-3471-4C33-998568381FD9}"/>
          </ac:graphicFrameMkLst>
        </pc:graphicFrameChg>
        <pc:graphicFrameChg chg="del mod">
          <ac:chgData name="Yudi Zhu" userId="571e1a55-055f-4c28-8b35-fca6dd1c1369" providerId="ADAL" clId="{75A88773-6EE1-484E-AADE-FE631E01463B}" dt="2025-11-24T02:51:23.244" v="483939"/>
          <ac:graphicFrameMkLst>
            <pc:docMk/>
            <pc:sldMk cId="3160210200" sldId="2147483096"/>
            <ac:graphicFrameMk id="1862" creationId="{C66378B5-CB60-87C2-FA10-33822186BFAE}"/>
          </ac:graphicFrameMkLst>
        </pc:graphicFrameChg>
        <pc:graphicFrameChg chg="del mod">
          <ac:chgData name="Yudi Zhu" userId="571e1a55-055f-4c28-8b35-fca6dd1c1369" providerId="ADAL" clId="{75A88773-6EE1-484E-AADE-FE631E01463B}" dt="2025-11-24T02:51:22.759" v="483313"/>
          <ac:graphicFrameMkLst>
            <pc:docMk/>
            <pc:sldMk cId="3160210200" sldId="2147483096"/>
            <ac:graphicFrameMk id="1919" creationId="{679052DD-CF71-D946-1EF0-65274069EA77}"/>
          </ac:graphicFrameMkLst>
        </pc:graphicFrameChg>
        <pc:cxnChg chg="mod ord">
          <ac:chgData name="Yudi Zhu" userId="571e1a55-055f-4c28-8b35-fca6dd1c1369" providerId="ADAL" clId="{75A88773-6EE1-484E-AADE-FE631E01463B}" dt="2025-11-24T02:51:23.333" v="484077"/>
          <ac:cxnSpMkLst>
            <pc:docMk/>
            <pc:sldMk cId="3160210200" sldId="2147483096"/>
            <ac:cxnSpMk id="6" creationId="{C0EBEEFF-DFF0-98FB-410A-A37D6AD1E466}"/>
          </ac:cxnSpMkLst>
        </pc:cxnChg>
        <pc:cxnChg chg="add mod ord">
          <ac:chgData name="Yudi Zhu" userId="571e1a55-055f-4c28-8b35-fca6dd1c1369" providerId="ADAL" clId="{75A88773-6EE1-484E-AADE-FE631E01463B}" dt="2025-11-24T02:51:23.349" v="484088"/>
          <ac:cxnSpMkLst>
            <pc:docMk/>
            <pc:sldMk cId="3160210200" sldId="2147483096"/>
            <ac:cxnSpMk id="13" creationId="{9481D9AC-BE81-26C3-20B8-0C06BFE059A9}"/>
          </ac:cxnSpMkLst>
        </pc:cxnChg>
        <pc:cxnChg chg="mod ord">
          <ac:chgData name="Yudi Zhu" userId="571e1a55-055f-4c28-8b35-fca6dd1c1369" providerId="ADAL" clId="{75A88773-6EE1-484E-AADE-FE631E01463B}" dt="2025-11-24T02:51:23.333" v="484071"/>
          <ac:cxnSpMkLst>
            <pc:docMk/>
            <pc:sldMk cId="3160210200" sldId="2147483096"/>
            <ac:cxnSpMk id="35" creationId="{E6530368-09A5-8CD9-EC3E-C6B7643D79D6}"/>
          </ac:cxnSpMkLst>
        </pc:cxnChg>
        <pc:cxnChg chg="mod ord">
          <ac:chgData name="Yudi Zhu" userId="571e1a55-055f-4c28-8b35-fca6dd1c1369" providerId="ADAL" clId="{75A88773-6EE1-484E-AADE-FE631E01463B}" dt="2025-11-24T02:51:23.333" v="484069"/>
          <ac:cxnSpMkLst>
            <pc:docMk/>
            <pc:sldMk cId="3160210200" sldId="2147483096"/>
            <ac:cxnSpMk id="42" creationId="{958A415F-AB97-A16D-12FC-3245B7857B55}"/>
          </ac:cxnSpMkLst>
        </pc:cxnChg>
        <pc:cxnChg chg="mod ord">
          <ac:chgData name="Yudi Zhu" userId="571e1a55-055f-4c28-8b35-fca6dd1c1369" providerId="ADAL" clId="{75A88773-6EE1-484E-AADE-FE631E01463B}" dt="2025-11-24T02:51:23.397" v="484203"/>
          <ac:cxnSpMkLst>
            <pc:docMk/>
            <pc:sldMk cId="3160210200" sldId="2147483096"/>
            <ac:cxnSpMk id="57" creationId="{B8A70BC4-880F-79F8-BF39-DEB7ECF3AAAF}"/>
          </ac:cxnSpMkLst>
        </pc:cxnChg>
        <pc:cxnChg chg="mod ord">
          <ac:chgData name="Yudi Zhu" userId="571e1a55-055f-4c28-8b35-fca6dd1c1369" providerId="ADAL" clId="{75A88773-6EE1-484E-AADE-FE631E01463B}" dt="2025-11-24T02:51:23.397" v="484207"/>
          <ac:cxnSpMkLst>
            <pc:docMk/>
            <pc:sldMk cId="3160210200" sldId="2147483096"/>
            <ac:cxnSpMk id="58" creationId="{544E8E06-7A8F-3954-A4AA-EE20FECFFF3B}"/>
          </ac:cxnSpMkLst>
        </pc:cxnChg>
        <pc:cxnChg chg="mod ord">
          <ac:chgData name="Yudi Zhu" userId="571e1a55-055f-4c28-8b35-fca6dd1c1369" providerId="ADAL" clId="{75A88773-6EE1-484E-AADE-FE631E01463B}" dt="2025-11-24T02:51:23.397" v="484215"/>
          <ac:cxnSpMkLst>
            <pc:docMk/>
            <pc:sldMk cId="3160210200" sldId="2147483096"/>
            <ac:cxnSpMk id="59" creationId="{F626354A-02F7-D8D1-C43E-6F2AA2506D97}"/>
          </ac:cxnSpMkLst>
        </pc:cxnChg>
        <pc:cxnChg chg="mod ord">
          <ac:chgData name="Yudi Zhu" userId="571e1a55-055f-4c28-8b35-fca6dd1c1369" providerId="ADAL" clId="{75A88773-6EE1-484E-AADE-FE631E01463B}" dt="2025-11-24T02:51:23.397" v="484199"/>
          <ac:cxnSpMkLst>
            <pc:docMk/>
            <pc:sldMk cId="3160210200" sldId="2147483096"/>
            <ac:cxnSpMk id="60" creationId="{920FA605-E38D-0766-1BEA-D0809D4F30B1}"/>
          </ac:cxnSpMkLst>
        </pc:cxnChg>
        <pc:cxnChg chg="mod ord">
          <ac:chgData name="Yudi Zhu" userId="571e1a55-055f-4c28-8b35-fca6dd1c1369" providerId="ADAL" clId="{75A88773-6EE1-484E-AADE-FE631E01463B}" dt="2025-11-24T02:51:23.397" v="484211"/>
          <ac:cxnSpMkLst>
            <pc:docMk/>
            <pc:sldMk cId="3160210200" sldId="2147483096"/>
            <ac:cxnSpMk id="61" creationId="{5460B9C1-B478-B2EA-64C1-1F3A3ED7DB5F}"/>
          </ac:cxnSpMkLst>
        </pc:cxnChg>
        <pc:cxnChg chg="mod ord">
          <ac:chgData name="Yudi Zhu" userId="571e1a55-055f-4c28-8b35-fca6dd1c1369" providerId="ADAL" clId="{75A88773-6EE1-484E-AADE-FE631E01463B}" dt="2025-11-24T02:51:23.397" v="484205"/>
          <ac:cxnSpMkLst>
            <pc:docMk/>
            <pc:sldMk cId="3160210200" sldId="2147483096"/>
            <ac:cxnSpMk id="62" creationId="{D3FC26B7-159F-8978-6453-5F5B3488596A}"/>
          </ac:cxnSpMkLst>
        </pc:cxnChg>
        <pc:cxnChg chg="mod ord">
          <ac:chgData name="Yudi Zhu" userId="571e1a55-055f-4c28-8b35-fca6dd1c1369" providerId="ADAL" clId="{75A88773-6EE1-484E-AADE-FE631E01463B}" dt="2025-11-24T02:51:23.397" v="484217"/>
          <ac:cxnSpMkLst>
            <pc:docMk/>
            <pc:sldMk cId="3160210200" sldId="2147483096"/>
            <ac:cxnSpMk id="63" creationId="{036720A8-6C47-441D-7C79-B2E3C0977058}"/>
          </ac:cxnSpMkLst>
        </pc:cxnChg>
        <pc:cxnChg chg="mod ord">
          <ac:chgData name="Yudi Zhu" userId="571e1a55-055f-4c28-8b35-fca6dd1c1369" providerId="ADAL" clId="{75A88773-6EE1-484E-AADE-FE631E01463B}" dt="2025-11-24T02:51:23.333" v="484059"/>
          <ac:cxnSpMkLst>
            <pc:docMk/>
            <pc:sldMk cId="3160210200" sldId="2147483096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4T02:51:23.385" v="484179"/>
          <ac:cxnSpMkLst>
            <pc:docMk/>
            <pc:sldMk cId="3160210200" sldId="2147483096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4T02:51:23.333" v="484063"/>
          <ac:cxnSpMkLst>
            <pc:docMk/>
            <pc:sldMk cId="3160210200" sldId="2147483096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4T02:51:23.333" v="484075"/>
          <ac:cxnSpMkLst>
            <pc:docMk/>
            <pc:sldMk cId="3160210200" sldId="2147483096"/>
            <ac:cxnSpMk id="431" creationId="{5AA105B7-A2E6-B910-AAFB-0A129E5A83EE}"/>
          </ac:cxnSpMkLst>
        </pc:cxnChg>
        <pc:cxnChg chg="mod ord">
          <ac:chgData name="Yudi Zhu" userId="571e1a55-055f-4c28-8b35-fca6dd1c1369" providerId="ADAL" clId="{75A88773-6EE1-484E-AADE-FE631E01463B}" dt="2025-11-24T02:51:23.333" v="484067"/>
          <ac:cxnSpMkLst>
            <pc:docMk/>
            <pc:sldMk cId="3160210200" sldId="2147483096"/>
            <ac:cxnSpMk id="488" creationId="{D28D1E49-68EF-4D63-E72E-25882683E109}"/>
          </ac:cxnSpMkLst>
        </pc:cxnChg>
        <pc:cxnChg chg="mod ord">
          <ac:chgData name="Yudi Zhu" userId="571e1a55-055f-4c28-8b35-fca6dd1c1369" providerId="ADAL" clId="{75A88773-6EE1-484E-AADE-FE631E01463B}" dt="2025-11-24T02:51:23.333" v="484073"/>
          <ac:cxnSpMkLst>
            <pc:docMk/>
            <pc:sldMk cId="3160210200" sldId="2147483096"/>
            <ac:cxnSpMk id="489" creationId="{96F7872F-3B91-CD89-8DC7-8A94729A70A5}"/>
          </ac:cxnSpMkLst>
        </pc:cxnChg>
        <pc:cxnChg chg="mod ord">
          <ac:chgData name="Yudi Zhu" userId="571e1a55-055f-4c28-8b35-fca6dd1c1369" providerId="ADAL" clId="{75A88773-6EE1-484E-AADE-FE631E01463B}" dt="2025-11-24T02:51:23.333" v="484065"/>
          <ac:cxnSpMkLst>
            <pc:docMk/>
            <pc:sldMk cId="3160210200" sldId="2147483096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4T02:51:23.333" v="484061"/>
          <ac:cxnSpMkLst>
            <pc:docMk/>
            <pc:sldMk cId="3160210200" sldId="2147483096"/>
            <ac:cxnSpMk id="1221" creationId="{C051EBC2-367F-7868-4767-FF881D2E6AF4}"/>
          </ac:cxnSpMkLst>
        </pc:cxnChg>
        <pc:cxnChg chg="mod ord">
          <ac:chgData name="Yudi Zhu" userId="571e1a55-055f-4c28-8b35-fca6dd1c1369" providerId="ADAL" clId="{75A88773-6EE1-484E-AADE-FE631E01463B}" dt="2025-11-24T02:51:23.412" v="484269"/>
          <ac:cxnSpMkLst>
            <pc:docMk/>
            <pc:sldMk cId="3160210200" sldId="2147483096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4T02:51:23.428" v="484271"/>
          <ac:cxnSpMkLst>
            <pc:docMk/>
            <pc:sldMk cId="3160210200" sldId="2147483096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4T02:51:23.428" v="484273"/>
          <ac:cxnSpMkLst>
            <pc:docMk/>
            <pc:sldMk cId="3160210200" sldId="2147483096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4T02:51:23.397" v="484191"/>
          <ac:cxnSpMkLst>
            <pc:docMk/>
            <pc:sldMk cId="3160210200" sldId="2147483096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4T02:51:23.397" v="484197"/>
          <ac:cxnSpMkLst>
            <pc:docMk/>
            <pc:sldMk cId="3160210200" sldId="2147483096"/>
            <ac:cxnSpMk id="1427" creationId="{8CD1BFBD-29D4-7EFA-3730-7685282ECB0D}"/>
          </ac:cxnSpMkLst>
        </pc:cxnChg>
        <pc:cxnChg chg="mod ord">
          <ac:chgData name="Yudi Zhu" userId="571e1a55-055f-4c28-8b35-fca6dd1c1369" providerId="ADAL" clId="{75A88773-6EE1-484E-AADE-FE631E01463B}" dt="2025-11-24T02:51:23.397" v="484213"/>
          <ac:cxnSpMkLst>
            <pc:docMk/>
            <pc:sldMk cId="3160210200" sldId="2147483096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4T02:51:23.397" v="484201"/>
          <ac:cxnSpMkLst>
            <pc:docMk/>
            <pc:sldMk cId="3160210200" sldId="2147483096"/>
            <ac:cxnSpMk id="1462" creationId="{B25EED74-3BE6-1A25-FFAA-ED5F7EF0AB47}"/>
          </ac:cxnSpMkLst>
        </pc:cxnChg>
        <pc:cxnChg chg="mod ord">
          <ac:chgData name="Yudi Zhu" userId="571e1a55-055f-4c28-8b35-fca6dd1c1369" providerId="ADAL" clId="{75A88773-6EE1-484E-AADE-FE631E01463B}" dt="2025-11-24T02:51:23.397" v="484225"/>
          <ac:cxnSpMkLst>
            <pc:docMk/>
            <pc:sldMk cId="3160210200" sldId="2147483096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4T02:51:23.397" v="484227"/>
          <ac:cxnSpMkLst>
            <pc:docMk/>
            <pc:sldMk cId="3160210200" sldId="2147483096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4T02:51:23.397" v="484229"/>
          <ac:cxnSpMkLst>
            <pc:docMk/>
            <pc:sldMk cId="3160210200" sldId="2147483096"/>
            <ac:cxnSpMk id="1468" creationId="{DB3DA2FD-3F9C-7D07-1499-92AEE88BBABE}"/>
          </ac:cxnSpMkLst>
        </pc:cxnChg>
        <pc:cxnChg chg="mod ord">
          <ac:chgData name="Yudi Zhu" userId="571e1a55-055f-4c28-8b35-fca6dd1c1369" providerId="ADAL" clId="{75A88773-6EE1-484E-AADE-FE631E01463B}" dt="2025-11-24T02:51:23.397" v="484231"/>
          <ac:cxnSpMkLst>
            <pc:docMk/>
            <pc:sldMk cId="3160210200" sldId="2147483096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4T02:51:23.397" v="484195"/>
          <ac:cxnSpMkLst>
            <pc:docMk/>
            <pc:sldMk cId="3160210200" sldId="2147483096"/>
            <ac:cxnSpMk id="1474" creationId="{967E8F84-C6F1-30BA-DDED-462B5D7B17E2}"/>
          </ac:cxnSpMkLst>
        </pc:cxnChg>
        <pc:cxnChg chg="mod">
          <ac:chgData name="Yudi Zhu" userId="571e1a55-055f-4c28-8b35-fca6dd1c1369" providerId="ADAL" clId="{75A88773-6EE1-484E-AADE-FE631E01463B}" dt="2025-11-24T02:51:23.330" v="484033"/>
          <ac:cxnSpMkLst>
            <pc:docMk/>
            <pc:sldMk cId="3160210200" sldId="2147483096"/>
            <ac:cxnSpMk id="1579" creationId="{97807D47-458E-EBD7-1500-294BE7EF625F}"/>
          </ac:cxnSpMkLst>
        </pc:cxnChg>
        <pc:cxnChg chg="mod">
          <ac:chgData name="Yudi Zhu" userId="571e1a55-055f-4c28-8b35-fca6dd1c1369" providerId="ADAL" clId="{75A88773-6EE1-484E-AADE-FE631E01463B}" dt="2025-11-24T02:51:23.333" v="484041"/>
          <ac:cxnSpMkLst>
            <pc:docMk/>
            <pc:sldMk cId="3160210200" sldId="2147483096"/>
            <ac:cxnSpMk id="1590" creationId="{E8A92D77-90DA-282B-972A-2A483D87E1CF}"/>
          </ac:cxnSpMkLst>
        </pc:cxnChg>
        <pc:cxnChg chg="mod">
          <ac:chgData name="Yudi Zhu" userId="571e1a55-055f-4c28-8b35-fca6dd1c1369" providerId="ADAL" clId="{75A88773-6EE1-484E-AADE-FE631E01463B}" dt="2025-11-24T02:51:23.333" v="484049"/>
          <ac:cxnSpMkLst>
            <pc:docMk/>
            <pc:sldMk cId="3160210200" sldId="2147483096"/>
            <ac:cxnSpMk id="1606" creationId="{B2AA8A47-5191-DC77-8B5E-80903A146812}"/>
          </ac:cxnSpMkLst>
        </pc:cxnChg>
        <pc:cxnChg chg="mod ord">
          <ac:chgData name="Yudi Zhu" userId="571e1a55-055f-4c28-8b35-fca6dd1c1369" providerId="ADAL" clId="{75A88773-6EE1-484E-AADE-FE631E01463B}" dt="2025-11-24T02:51:23.397" v="484233"/>
          <ac:cxnSpMkLst>
            <pc:docMk/>
            <pc:sldMk cId="3160210200" sldId="2147483096"/>
            <ac:cxnSpMk id="1819" creationId="{89A23327-5608-B9B1-48B6-09A5B94BD12A}"/>
          </ac:cxnSpMkLst>
        </pc:cxnChg>
        <pc:cxnChg chg="mod ord">
          <ac:chgData name="Yudi Zhu" userId="571e1a55-055f-4c28-8b35-fca6dd1c1369" providerId="ADAL" clId="{75A88773-6EE1-484E-AADE-FE631E01463B}" dt="2025-11-24T02:51:23.397" v="484219"/>
          <ac:cxnSpMkLst>
            <pc:docMk/>
            <pc:sldMk cId="3160210200" sldId="2147483096"/>
            <ac:cxnSpMk id="1856" creationId="{D1BA9907-3658-82E5-F2ED-A6180F1B2854}"/>
          </ac:cxnSpMkLst>
        </pc:cxnChg>
        <pc:cxnChg chg="mod ord">
          <ac:chgData name="Yudi Zhu" userId="571e1a55-055f-4c28-8b35-fca6dd1c1369" providerId="ADAL" clId="{75A88773-6EE1-484E-AADE-FE631E01463B}" dt="2025-11-24T02:51:23.397" v="484221"/>
          <ac:cxnSpMkLst>
            <pc:docMk/>
            <pc:sldMk cId="3160210200" sldId="2147483096"/>
            <ac:cxnSpMk id="1857" creationId="{CF12010B-7B22-DD94-C36D-C11F4ECD2C5D}"/>
          </ac:cxnSpMkLst>
        </pc:cxnChg>
        <pc:cxnChg chg="mod ord">
          <ac:chgData name="Yudi Zhu" userId="571e1a55-055f-4c28-8b35-fca6dd1c1369" providerId="ADAL" clId="{75A88773-6EE1-484E-AADE-FE631E01463B}" dt="2025-11-24T02:51:23.397" v="484223"/>
          <ac:cxnSpMkLst>
            <pc:docMk/>
            <pc:sldMk cId="3160210200" sldId="2147483096"/>
            <ac:cxnSpMk id="1858" creationId="{0D4B99E3-DB56-6849-EF97-337EA1B0324A}"/>
          </ac:cxnSpMkLst>
        </pc:cxnChg>
        <pc:cxnChg chg="mod ord">
          <ac:chgData name="Yudi Zhu" userId="571e1a55-055f-4c28-8b35-fca6dd1c1369" providerId="ADAL" clId="{75A88773-6EE1-484E-AADE-FE631E01463B}" dt="2025-11-24T02:51:23.397" v="484209"/>
          <ac:cxnSpMkLst>
            <pc:docMk/>
            <pc:sldMk cId="3160210200" sldId="2147483096"/>
            <ac:cxnSpMk id="1859" creationId="{FD8FF0CA-37CF-D887-74DE-07CF29094DE7}"/>
          </ac:cxnSpMkLst>
        </pc:cxnChg>
        <pc:cxnChg chg="mod ord">
          <ac:chgData name="Yudi Zhu" userId="571e1a55-055f-4c28-8b35-fca6dd1c1369" providerId="ADAL" clId="{75A88773-6EE1-484E-AADE-FE631E01463B}" dt="2025-11-24T02:51:23.412" v="484235"/>
          <ac:cxnSpMkLst>
            <pc:docMk/>
            <pc:sldMk cId="3160210200" sldId="2147483096"/>
            <ac:cxnSpMk id="1860" creationId="{1A93DD93-BD90-4150-D381-32F900E769FB}"/>
          </ac:cxnSpMkLst>
        </pc:cxnChg>
        <pc:cxnChg chg="mod ord">
          <ac:chgData name="Yudi Zhu" userId="571e1a55-055f-4c28-8b35-fca6dd1c1369" providerId="ADAL" clId="{75A88773-6EE1-484E-AADE-FE631E01463B}" dt="2025-11-24T02:51:23.397" v="484193"/>
          <ac:cxnSpMkLst>
            <pc:docMk/>
            <pc:sldMk cId="3160210200" sldId="2147483096"/>
            <ac:cxnSpMk id="1861" creationId="{15660DEE-4916-933D-E2C2-A4D09FBA11D1}"/>
          </ac:cxnSpMkLst>
        </pc:cxnChg>
        <pc:cxnChg chg="mod ord">
          <ac:chgData name="Yudi Zhu" userId="571e1a55-055f-4c28-8b35-fca6dd1c1369" providerId="ADAL" clId="{75A88773-6EE1-484E-AADE-FE631E01463B}" dt="2025-11-24T02:51:23.365" v="484141"/>
          <ac:cxnSpMkLst>
            <pc:docMk/>
            <pc:sldMk cId="3160210200" sldId="2147483096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4T02:51:23.365" v="484143"/>
          <ac:cxnSpMkLst>
            <pc:docMk/>
            <pc:sldMk cId="3160210200" sldId="2147483096"/>
            <ac:cxnSpMk id="1916" creationId="{7945F6A2-9F38-277D-F5AE-EF96B3C11E5E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3:59:28.991" v="754468"/>
        <pc:sldMkLst>
          <pc:docMk/>
          <pc:sldMk cId="2945841504" sldId="2147483097"/>
        </pc:sldMkLst>
        <pc:spChg chg="mod ord">
          <ac:chgData name="Yudi Zhu" userId="571e1a55-055f-4c28-8b35-fca6dd1c1369" providerId="ADAL" clId="{75A88773-6EE1-484E-AADE-FE631E01463B}" dt="2025-11-26T03:59:28.807" v="754085"/>
          <ac:spMkLst>
            <pc:docMk/>
            <pc:sldMk cId="2945841504" sldId="2147483097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5T10:19:42.624" v="658820"/>
          <ac:spMkLst>
            <pc:docMk/>
            <pc:sldMk cId="2945841504" sldId="2147483097"/>
            <ac:spMk id="3" creationId="{28AB72E8-3FC6-9C6E-5C86-91B9051C9AE1}"/>
          </ac:spMkLst>
        </pc:spChg>
        <pc:spChg chg="add del mod modVis">
          <ac:chgData name="Yudi Zhu" userId="571e1a55-055f-4c28-8b35-fca6dd1c1369" providerId="ADAL" clId="{75A88773-6EE1-484E-AADE-FE631E01463B}" dt="2025-11-26T03:24:06.822" v="691059"/>
          <ac:spMkLst>
            <pc:docMk/>
            <pc:sldMk cId="2945841504" sldId="2147483097"/>
            <ac:spMk id="3" creationId="{96FDB080-FF29-AB81-1E1E-8FFDFC6B72D5}"/>
          </ac:spMkLst>
        </pc:spChg>
        <pc:spChg chg="add del mod modVis">
          <ac:chgData name="Yudi Zhu" userId="571e1a55-055f-4c28-8b35-fca6dd1c1369" providerId="ADAL" clId="{75A88773-6EE1-484E-AADE-FE631E01463B}" dt="2025-11-24T03:57:48.893" v="606443"/>
          <ac:spMkLst>
            <pc:docMk/>
            <pc:sldMk cId="2945841504" sldId="2147483097"/>
            <ac:spMk id="3" creationId="{E38E8A48-808F-E77E-FC09-61E5E8976C99}"/>
          </ac:spMkLst>
        </pc:spChg>
        <pc:spChg chg="add mod ord">
          <ac:chgData name="Yudi Zhu" userId="571e1a55-055f-4c28-8b35-fca6dd1c1369" providerId="ADAL" clId="{75A88773-6EE1-484E-AADE-FE631E01463B}" dt="2025-11-26T03:59:28.871" v="754229"/>
          <ac:spMkLst>
            <pc:docMk/>
            <pc:sldMk cId="2945841504" sldId="2147483097"/>
            <ac:spMk id="4" creationId="{ABF05F1C-33DD-11FD-0425-CA8E1F53B05D}"/>
          </ac:spMkLst>
        </pc:spChg>
        <pc:spChg chg="add mod ord">
          <ac:chgData name="Yudi Zhu" userId="571e1a55-055f-4c28-8b35-fca6dd1c1369" providerId="ADAL" clId="{75A88773-6EE1-484E-AADE-FE631E01463B}" dt="2025-11-26T03:59:28.871" v="754231"/>
          <ac:spMkLst>
            <pc:docMk/>
            <pc:sldMk cId="2945841504" sldId="2147483097"/>
            <ac:spMk id="5" creationId="{B23C1F1A-3BC3-0799-840F-2C298F88B503}"/>
          </ac:spMkLst>
        </pc:spChg>
        <pc:spChg chg="add mod">
          <ac:chgData name="Yudi Zhu" userId="571e1a55-055f-4c28-8b35-fca6dd1c1369" providerId="ADAL" clId="{75A88773-6EE1-484E-AADE-FE631E01463B}" dt="2025-11-26T03:59:28.871" v="754226"/>
          <ac:spMkLst>
            <pc:docMk/>
            <pc:sldMk cId="2945841504" sldId="2147483097"/>
            <ac:spMk id="6" creationId="{2C2C4ED7-102B-7A76-0459-EFFFF9DA3BA3}"/>
          </ac:spMkLst>
        </pc:spChg>
        <pc:spChg chg="add mod ord">
          <ac:chgData name="Yudi Zhu" userId="571e1a55-055f-4c28-8b35-fca6dd1c1369" providerId="ADAL" clId="{75A88773-6EE1-484E-AADE-FE631E01463B}" dt="2025-11-26T03:59:28.871" v="754233"/>
          <ac:spMkLst>
            <pc:docMk/>
            <pc:sldMk cId="2945841504" sldId="2147483097"/>
            <ac:spMk id="7" creationId="{4297C3C8-DAFC-C3E7-B6A2-6544A4C7CC5D}"/>
          </ac:spMkLst>
        </pc:spChg>
        <pc:spChg chg="add mod ord">
          <ac:chgData name="Yudi Zhu" userId="571e1a55-055f-4c28-8b35-fca6dd1c1369" providerId="ADAL" clId="{75A88773-6EE1-484E-AADE-FE631E01463B}" dt="2025-11-26T03:59:28.871" v="754235"/>
          <ac:spMkLst>
            <pc:docMk/>
            <pc:sldMk cId="2945841504" sldId="2147483097"/>
            <ac:spMk id="8" creationId="{BD021103-5F81-10F4-C4B4-1850B5EE2255}"/>
          </ac:spMkLst>
        </pc:spChg>
        <pc:spChg chg="add mod">
          <ac:chgData name="Yudi Zhu" userId="571e1a55-055f-4c28-8b35-fca6dd1c1369" providerId="ADAL" clId="{75A88773-6EE1-484E-AADE-FE631E01463B}" dt="2025-11-26T03:59:28.871" v="754227"/>
          <ac:spMkLst>
            <pc:docMk/>
            <pc:sldMk cId="2945841504" sldId="2147483097"/>
            <ac:spMk id="9" creationId="{016566AD-0B56-AD0F-0663-30E06A491A07}"/>
          </ac:spMkLst>
        </pc:spChg>
        <pc:spChg chg="add del mod modVis">
          <ac:chgData name="Yudi Zhu" userId="571e1a55-055f-4c28-8b35-fca6dd1c1369" providerId="ADAL" clId="{75A88773-6EE1-484E-AADE-FE631E01463B}" dt="2025-11-24T03:57:52.776" v="606824"/>
          <ac:spMkLst>
            <pc:docMk/>
            <pc:sldMk cId="2945841504" sldId="2147483097"/>
            <ac:spMk id="12" creationId="{60E9B500-4EF2-4634-C6D5-881BCC9DE2F8}"/>
          </ac:spMkLst>
        </pc:spChg>
        <pc:spChg chg="add del mod modVis">
          <ac:chgData name="Yudi Zhu" userId="571e1a55-055f-4c28-8b35-fca6dd1c1369" providerId="ADAL" clId="{75A88773-6EE1-484E-AADE-FE631E01463B}" dt="2025-11-25T10:19:45.161" v="659166"/>
          <ac:spMkLst>
            <pc:docMk/>
            <pc:sldMk cId="2945841504" sldId="2147483097"/>
            <ac:spMk id="12" creationId="{A345F976-8961-6EE5-AE14-4E884F6B137D}"/>
          </ac:spMkLst>
        </pc:spChg>
        <pc:spChg chg="add del mod modVis">
          <ac:chgData name="Yudi Zhu" userId="571e1a55-055f-4c28-8b35-fca6dd1c1369" providerId="ADAL" clId="{75A88773-6EE1-484E-AADE-FE631E01463B}" dt="2025-11-24T03:58:07.459" v="607938"/>
          <ac:spMkLst>
            <pc:docMk/>
            <pc:sldMk cId="2945841504" sldId="2147483097"/>
            <ac:spMk id="14" creationId="{A61CC83B-BB8A-407F-C66B-E839B791D1EA}"/>
          </ac:spMkLst>
        </pc:spChg>
        <pc:spChg chg="add del mod ord">
          <ac:chgData name="Yudi Zhu" userId="571e1a55-055f-4c28-8b35-fca6dd1c1369" providerId="ADAL" clId="{75A88773-6EE1-484E-AADE-FE631E01463B}" dt="2025-11-24T03:58:12.343" v="608476"/>
          <ac:spMkLst>
            <pc:docMk/>
            <pc:sldMk cId="2945841504" sldId="2147483097"/>
            <ac:spMk id="16" creationId="{F52E071E-B6C3-C0A5-3EDD-9CD677C8FCB3}"/>
          </ac:spMkLst>
        </pc:spChg>
        <pc:spChg chg="add del mod ord">
          <ac:chgData name="Yudi Zhu" userId="571e1a55-055f-4c28-8b35-fca6dd1c1369" providerId="ADAL" clId="{75A88773-6EE1-484E-AADE-FE631E01463B}" dt="2025-11-24T03:58:12.374" v="608514"/>
          <ac:spMkLst>
            <pc:docMk/>
            <pc:sldMk cId="2945841504" sldId="2147483097"/>
            <ac:spMk id="17" creationId="{1EA8FEFC-28E1-502E-C664-D7BBC37ABD27}"/>
          </ac:spMkLst>
        </pc:spChg>
        <pc:spChg chg="add del mod ord">
          <ac:chgData name="Yudi Zhu" userId="571e1a55-055f-4c28-8b35-fca6dd1c1369" providerId="ADAL" clId="{75A88773-6EE1-484E-AADE-FE631E01463B}" dt="2025-11-24T03:58:12.422" v="608554"/>
          <ac:spMkLst>
            <pc:docMk/>
            <pc:sldMk cId="2945841504" sldId="2147483097"/>
            <ac:spMk id="19" creationId="{CCAE81B6-2169-D09F-75C9-0C766D5EDC47}"/>
          </ac:spMkLst>
        </pc:spChg>
        <pc:spChg chg="add del mod modVis">
          <ac:chgData name="Yudi Zhu" userId="571e1a55-055f-4c28-8b35-fca6dd1c1369" providerId="ADAL" clId="{75A88773-6EE1-484E-AADE-FE631E01463B}" dt="2025-11-24T03:58:12.646" v="608924"/>
          <ac:spMkLst>
            <pc:docMk/>
            <pc:sldMk cId="2945841504" sldId="2147483097"/>
            <ac:spMk id="22" creationId="{125A041D-4F70-6E3C-7E5D-AA0BBBB4CC2A}"/>
          </ac:spMkLst>
        </pc:spChg>
        <pc:spChg chg="add del mod modVis">
          <ac:chgData name="Yudi Zhu" userId="571e1a55-055f-4c28-8b35-fca6dd1c1369" providerId="ADAL" clId="{75A88773-6EE1-484E-AADE-FE631E01463B}" dt="2025-11-24T03:58:26.604" v="609650"/>
          <ac:spMkLst>
            <pc:docMk/>
            <pc:sldMk cId="2945841504" sldId="2147483097"/>
            <ac:spMk id="27" creationId="{0E061839-BC9B-E44C-84DD-B1A1CC917AEC}"/>
          </ac:spMkLst>
        </pc:spChg>
        <pc:spChg chg="add del mod ord">
          <ac:chgData name="Yudi Zhu" userId="571e1a55-055f-4c28-8b35-fca6dd1c1369" providerId="ADAL" clId="{75A88773-6EE1-484E-AADE-FE631E01463B}" dt="2025-11-26T03:37:47.495" v="706515"/>
          <ac:spMkLst>
            <pc:docMk/>
            <pc:sldMk cId="2945841504" sldId="2147483097"/>
            <ac:spMk id="32" creationId="{05B8B704-BDCC-E550-FE25-B4F0AE1BBE23}"/>
          </ac:spMkLst>
        </pc:spChg>
        <pc:spChg chg="add del mod modVis">
          <ac:chgData name="Yudi Zhu" userId="571e1a55-055f-4c28-8b35-fca6dd1c1369" providerId="ADAL" clId="{75A88773-6EE1-484E-AADE-FE631E01463B}" dt="2025-11-24T03:58:44.442" v="610061"/>
          <ac:spMkLst>
            <pc:docMk/>
            <pc:sldMk cId="2945841504" sldId="2147483097"/>
            <ac:spMk id="38" creationId="{90D81FF6-CCB4-0270-44BC-533863E66685}"/>
          </ac:spMkLst>
        </pc:spChg>
        <pc:spChg chg="add del mod modVis">
          <ac:chgData name="Yudi Zhu" userId="571e1a55-055f-4c28-8b35-fca6dd1c1369" providerId="ADAL" clId="{75A88773-6EE1-484E-AADE-FE631E01463B}" dt="2025-11-24T03:59:03.855" v="610439"/>
          <ac:spMkLst>
            <pc:docMk/>
            <pc:sldMk cId="2945841504" sldId="2147483097"/>
            <ac:spMk id="40" creationId="{84DC4B33-8111-9271-9896-A0D48AEB94BB}"/>
          </ac:spMkLst>
        </pc:spChg>
        <pc:spChg chg="add del mod ord">
          <ac:chgData name="Yudi Zhu" userId="571e1a55-055f-4c28-8b35-fca6dd1c1369" providerId="ADAL" clId="{75A88773-6EE1-484E-AADE-FE631E01463B}" dt="2025-11-24T03:59:12.907" v="610797"/>
          <ac:spMkLst>
            <pc:docMk/>
            <pc:sldMk cId="2945841504" sldId="2147483097"/>
            <ac:spMk id="42" creationId="{73EBE404-8BFE-45BC-4035-33A8BDF95B5D}"/>
          </ac:spMkLst>
        </pc:spChg>
        <pc:spChg chg="add del mod ord">
          <ac:chgData name="Yudi Zhu" userId="571e1a55-055f-4c28-8b35-fca6dd1c1369" providerId="ADAL" clId="{75A88773-6EE1-484E-AADE-FE631E01463B}" dt="2025-11-26T03:31:57.208" v="697375"/>
          <ac:spMkLst>
            <pc:docMk/>
            <pc:sldMk cId="2945841504" sldId="2147483097"/>
            <ac:spMk id="42" creationId="{F2656BA6-AFEE-AF25-CFA1-86BDB54F39C5}"/>
          </ac:spMkLst>
        </pc:spChg>
        <pc:spChg chg="add del mod">
          <ac:chgData name="Yudi Zhu" userId="571e1a55-055f-4c28-8b35-fca6dd1c1369" providerId="ADAL" clId="{75A88773-6EE1-484E-AADE-FE631E01463B}" dt="2025-11-24T04:00:38.554" v="612530" actId="478"/>
          <ac:spMkLst>
            <pc:docMk/>
            <pc:sldMk cId="2945841504" sldId="2147483097"/>
            <ac:spMk id="49" creationId="{7411B9FB-13C6-1B1A-8E62-1DE4869573E4}"/>
          </ac:spMkLst>
        </pc:spChg>
        <pc:spChg chg="del mod ord">
          <ac:chgData name="Yudi Zhu" userId="571e1a55-055f-4c28-8b35-fca6dd1c1369" providerId="ADAL" clId="{75A88773-6EE1-484E-AADE-FE631E01463B}" dt="2025-11-26T03:24:06.538" v="691002"/>
          <ac:spMkLst>
            <pc:docMk/>
            <pc:sldMk cId="2945841504" sldId="2147483097"/>
            <ac:spMk id="50" creationId="{02F6331E-5D73-6E69-0D56-C4DE5D68572C}"/>
          </ac:spMkLst>
        </pc:spChg>
        <pc:spChg chg="del mod ord">
          <ac:chgData name="Yudi Zhu" userId="571e1a55-055f-4c28-8b35-fca6dd1c1369" providerId="ADAL" clId="{75A88773-6EE1-484E-AADE-FE631E01463B}" dt="2025-11-26T03:24:06.538" v="690993"/>
          <ac:spMkLst>
            <pc:docMk/>
            <pc:sldMk cId="2945841504" sldId="2147483097"/>
            <ac:spMk id="51" creationId="{9C0C7DC5-9B73-37CA-1B50-CC7A6362A4E2}"/>
          </ac:spMkLst>
        </pc:spChg>
        <pc:spChg chg="del mod ord">
          <ac:chgData name="Yudi Zhu" userId="571e1a55-055f-4c28-8b35-fca6dd1c1369" providerId="ADAL" clId="{75A88773-6EE1-484E-AADE-FE631E01463B}" dt="2025-11-26T03:24:06.538" v="690983"/>
          <ac:spMkLst>
            <pc:docMk/>
            <pc:sldMk cId="2945841504" sldId="2147483097"/>
            <ac:spMk id="52" creationId="{0D711176-2CAE-6464-7127-84B92BFA5A0A}"/>
          </ac:spMkLst>
        </pc:spChg>
        <pc:spChg chg="del mod ord">
          <ac:chgData name="Yudi Zhu" userId="571e1a55-055f-4c28-8b35-fca6dd1c1369" providerId="ADAL" clId="{75A88773-6EE1-484E-AADE-FE631E01463B}" dt="2025-11-26T03:24:06.538" v="690978"/>
          <ac:spMkLst>
            <pc:docMk/>
            <pc:sldMk cId="2945841504" sldId="2147483097"/>
            <ac:spMk id="53" creationId="{D416A439-F437-CB7D-5D8F-C9C806308A88}"/>
          </ac:spMkLst>
        </pc:spChg>
        <pc:spChg chg="del mod ord">
          <ac:chgData name="Yudi Zhu" userId="571e1a55-055f-4c28-8b35-fca6dd1c1369" providerId="ADAL" clId="{75A88773-6EE1-484E-AADE-FE631E01463B}" dt="2025-11-26T03:24:06.534" v="690969"/>
          <ac:spMkLst>
            <pc:docMk/>
            <pc:sldMk cId="2945841504" sldId="2147483097"/>
            <ac:spMk id="54" creationId="{77D4B05C-BCC1-6709-C059-13F84D9F7770}"/>
          </ac:spMkLst>
        </pc:spChg>
        <pc:spChg chg="del mod ord">
          <ac:chgData name="Yudi Zhu" userId="571e1a55-055f-4c28-8b35-fca6dd1c1369" providerId="ADAL" clId="{75A88773-6EE1-484E-AADE-FE631E01463B}" dt="2025-11-26T03:24:06.518" v="690965"/>
          <ac:spMkLst>
            <pc:docMk/>
            <pc:sldMk cId="2945841504" sldId="2147483097"/>
            <ac:spMk id="55" creationId="{7EDBB2B4-EF67-25C3-C8B0-FB513D9A3CD3}"/>
          </ac:spMkLst>
        </pc:spChg>
        <pc:spChg chg="del mod ord">
          <ac:chgData name="Yudi Zhu" userId="571e1a55-055f-4c28-8b35-fca6dd1c1369" providerId="ADAL" clId="{75A88773-6EE1-484E-AADE-FE631E01463B}" dt="2025-11-26T03:24:06.518" v="690960"/>
          <ac:spMkLst>
            <pc:docMk/>
            <pc:sldMk cId="2945841504" sldId="2147483097"/>
            <ac:spMk id="56" creationId="{D0AD0539-7B6F-111C-ED13-D1B443ABA2B3}"/>
          </ac:spMkLst>
        </pc:spChg>
        <pc:spChg chg="add mod ord">
          <ac:chgData name="Yudi Zhu" userId="571e1a55-055f-4c28-8b35-fca6dd1c1369" providerId="ADAL" clId="{75A88773-6EE1-484E-AADE-FE631E01463B}" dt="2025-11-26T03:59:28.962" v="754424"/>
          <ac:spMkLst>
            <pc:docMk/>
            <pc:sldMk cId="2945841504" sldId="2147483097"/>
            <ac:spMk id="128" creationId="{406C4F68-E406-2910-B1EB-71C7C57EF1DD}"/>
          </ac:spMkLst>
        </pc:spChg>
        <pc:spChg chg="add mod">
          <ac:chgData name="Yudi Zhu" userId="571e1a55-055f-4c28-8b35-fca6dd1c1369" providerId="ADAL" clId="{75A88773-6EE1-484E-AADE-FE631E01463B}" dt="2025-11-26T03:59:28.959" v="754421"/>
          <ac:spMkLst>
            <pc:docMk/>
            <pc:sldMk cId="2945841504" sldId="2147483097"/>
            <ac:spMk id="129" creationId="{B0C8AEF4-39AF-183D-83E0-75D4AEF3F2B2}"/>
          </ac:spMkLst>
        </pc:spChg>
        <pc:spChg chg="add del mod modVis">
          <ac:chgData name="Yudi Zhu" userId="571e1a55-055f-4c28-8b35-fca6dd1c1369" providerId="ADAL" clId="{75A88773-6EE1-484E-AADE-FE631E01463B}" dt="2025-11-26T03:31:57.052" v="697204"/>
          <ac:spMkLst>
            <pc:docMk/>
            <pc:sldMk cId="2945841504" sldId="2147483097"/>
            <ac:spMk id="130" creationId="{EB68C6B6-991F-4689-EBF5-2D7A85AE0C5C}"/>
          </ac:spMkLst>
        </pc:spChg>
        <pc:spChg chg="add mod ord">
          <ac:chgData name="Yudi Zhu" userId="571e1a55-055f-4c28-8b35-fca6dd1c1369" providerId="ADAL" clId="{75A88773-6EE1-484E-AADE-FE631E01463B}" dt="2025-11-26T03:59:28.909" v="754301"/>
          <ac:spMkLst>
            <pc:docMk/>
            <pc:sldMk cId="2945841504" sldId="2147483097"/>
            <ac:spMk id="147" creationId="{8AC93658-285F-9E93-75E9-096FA300096A}"/>
          </ac:spMkLst>
        </pc:spChg>
        <pc:spChg chg="add mod ord">
          <ac:chgData name="Yudi Zhu" userId="571e1a55-055f-4c28-8b35-fca6dd1c1369" providerId="ADAL" clId="{75A88773-6EE1-484E-AADE-FE631E01463B}" dt="2025-11-26T03:59:28.909" v="754299"/>
          <ac:spMkLst>
            <pc:docMk/>
            <pc:sldMk cId="2945841504" sldId="2147483097"/>
            <ac:spMk id="148" creationId="{5F499E19-41E8-DB26-3E42-E587A115979D}"/>
          </ac:spMkLst>
        </pc:spChg>
        <pc:spChg chg="add mod ord">
          <ac:chgData name="Yudi Zhu" userId="571e1a55-055f-4c28-8b35-fca6dd1c1369" providerId="ADAL" clId="{75A88773-6EE1-484E-AADE-FE631E01463B}" dt="2025-11-26T03:59:28.908" v="754297"/>
          <ac:spMkLst>
            <pc:docMk/>
            <pc:sldMk cId="2945841504" sldId="2147483097"/>
            <ac:spMk id="149" creationId="{13FB7897-25D1-76AE-1F95-0A7BEA1C3C06}"/>
          </ac:spMkLst>
        </pc:spChg>
        <pc:spChg chg="add mod ord">
          <ac:chgData name="Yudi Zhu" userId="571e1a55-055f-4c28-8b35-fca6dd1c1369" providerId="ADAL" clId="{75A88773-6EE1-484E-AADE-FE631E01463B}" dt="2025-11-26T03:59:28.907" v="754295"/>
          <ac:spMkLst>
            <pc:docMk/>
            <pc:sldMk cId="2945841504" sldId="2147483097"/>
            <ac:spMk id="150" creationId="{B313F119-5079-3C27-29BE-A89A580929FA}"/>
          </ac:spMkLst>
        </pc:spChg>
        <pc:spChg chg="add mod">
          <ac:chgData name="Yudi Zhu" userId="571e1a55-055f-4c28-8b35-fca6dd1c1369" providerId="ADAL" clId="{75A88773-6EE1-484E-AADE-FE631E01463B}" dt="2025-11-26T03:59:28.962" v="754433"/>
          <ac:spMkLst>
            <pc:docMk/>
            <pc:sldMk cId="2945841504" sldId="2147483097"/>
            <ac:spMk id="154" creationId="{CBDB35F6-6B9A-BF4E-E283-0B21641E0117}"/>
          </ac:spMkLst>
        </pc:spChg>
        <pc:spChg chg="add mod ord">
          <ac:chgData name="Yudi Zhu" userId="571e1a55-055f-4c28-8b35-fca6dd1c1369" providerId="ADAL" clId="{75A88773-6EE1-484E-AADE-FE631E01463B}" dt="2025-11-26T03:59:28.962" v="754432"/>
          <ac:spMkLst>
            <pc:docMk/>
            <pc:sldMk cId="2945841504" sldId="2147483097"/>
            <ac:spMk id="155" creationId="{702CA7B5-A535-FAC0-8440-4BC4CF141BB7}"/>
          </ac:spMkLst>
        </pc:spChg>
        <pc:spChg chg="add mod">
          <ac:chgData name="Yudi Zhu" userId="571e1a55-055f-4c28-8b35-fca6dd1c1369" providerId="ADAL" clId="{75A88773-6EE1-484E-AADE-FE631E01463B}" dt="2025-11-26T03:59:28.962" v="754430"/>
          <ac:spMkLst>
            <pc:docMk/>
            <pc:sldMk cId="2945841504" sldId="2147483097"/>
            <ac:spMk id="156" creationId="{78057A8B-CABE-ABE5-3079-1741B1A8B335}"/>
          </ac:spMkLst>
        </pc:spChg>
        <pc:spChg chg="add del mod modVis">
          <ac:chgData name="Yudi Zhu" userId="571e1a55-055f-4c28-8b35-fca6dd1c1369" providerId="ADAL" clId="{75A88773-6EE1-484E-AADE-FE631E01463B}" dt="2025-11-26T03:32:04.494" v="698565"/>
          <ac:spMkLst>
            <pc:docMk/>
            <pc:sldMk cId="2945841504" sldId="2147483097"/>
            <ac:spMk id="157" creationId="{76C89ECA-6949-6369-3142-36949B7BADB6}"/>
          </ac:spMkLst>
        </pc:spChg>
        <pc:spChg chg="add del mod modVis">
          <ac:chgData name="Yudi Zhu" userId="571e1a55-055f-4c28-8b35-fca6dd1c1369" providerId="ADAL" clId="{75A88773-6EE1-484E-AADE-FE631E01463B}" dt="2025-11-26T03:33:30.809" v="702258"/>
          <ac:spMkLst>
            <pc:docMk/>
            <pc:sldMk cId="2945841504" sldId="2147483097"/>
            <ac:spMk id="167" creationId="{B2A1AFD0-8B82-796D-1EBE-9313C0ADA5D5}"/>
          </ac:spMkLst>
        </pc:spChg>
        <pc:spChg chg="add del mod modVis">
          <ac:chgData name="Yudi Zhu" userId="571e1a55-055f-4c28-8b35-fca6dd1c1369" providerId="ADAL" clId="{75A88773-6EE1-484E-AADE-FE631E01463B}" dt="2025-11-26T03:33:33.273" v="702723"/>
          <ac:spMkLst>
            <pc:docMk/>
            <pc:sldMk cId="2945841504" sldId="2147483097"/>
            <ac:spMk id="169" creationId="{D8C5B9A9-62BD-BA78-D752-F8D8FE3BC4DE}"/>
          </ac:spMkLst>
        </pc:spChg>
        <pc:spChg chg="add del mod modVis">
          <ac:chgData name="Yudi Zhu" userId="571e1a55-055f-4c28-8b35-fca6dd1c1369" providerId="ADAL" clId="{75A88773-6EE1-484E-AADE-FE631E01463B}" dt="2025-11-26T03:33:36.910" v="703188"/>
          <ac:spMkLst>
            <pc:docMk/>
            <pc:sldMk cId="2945841504" sldId="2147483097"/>
            <ac:spMk id="171" creationId="{C1ADEFDF-89C4-71DB-9FB9-86970143893A}"/>
          </ac:spMkLst>
        </pc:spChg>
        <pc:spChg chg="add del mod modVis">
          <ac:chgData name="Yudi Zhu" userId="571e1a55-055f-4c28-8b35-fca6dd1c1369" providerId="ADAL" clId="{75A88773-6EE1-484E-AADE-FE631E01463B}" dt="2025-11-26T03:33:38.862" v="703653"/>
          <ac:spMkLst>
            <pc:docMk/>
            <pc:sldMk cId="2945841504" sldId="2147483097"/>
            <ac:spMk id="173" creationId="{2313CE05-1768-BE01-C0A9-92116FB2D335}"/>
          </ac:spMkLst>
        </pc:spChg>
        <pc:spChg chg="add del mod modVis">
          <ac:chgData name="Yudi Zhu" userId="571e1a55-055f-4c28-8b35-fca6dd1c1369" providerId="ADAL" clId="{75A88773-6EE1-484E-AADE-FE631E01463B}" dt="2025-11-26T03:33:49.948" v="704118"/>
          <ac:spMkLst>
            <pc:docMk/>
            <pc:sldMk cId="2945841504" sldId="2147483097"/>
            <ac:spMk id="175" creationId="{4A4C4A49-DDC4-FD58-AC08-FE8873946741}"/>
          </ac:spMkLst>
        </pc:spChg>
        <pc:spChg chg="add del mod modVis">
          <ac:chgData name="Yudi Zhu" userId="571e1a55-055f-4c28-8b35-fca6dd1c1369" providerId="ADAL" clId="{75A88773-6EE1-484E-AADE-FE631E01463B}" dt="2025-11-26T03:34:35.661" v="704583"/>
          <ac:spMkLst>
            <pc:docMk/>
            <pc:sldMk cId="2945841504" sldId="2147483097"/>
            <ac:spMk id="177" creationId="{14E713AA-7235-E625-F235-823F88EE1823}"/>
          </ac:spMkLst>
        </pc:spChg>
        <pc:spChg chg="add del mod modVis">
          <ac:chgData name="Yudi Zhu" userId="571e1a55-055f-4c28-8b35-fca6dd1c1369" providerId="ADAL" clId="{75A88773-6EE1-484E-AADE-FE631E01463B}" dt="2025-11-26T03:34:40.274" v="705076"/>
          <ac:spMkLst>
            <pc:docMk/>
            <pc:sldMk cId="2945841504" sldId="2147483097"/>
            <ac:spMk id="179" creationId="{D2C893EE-16FC-812E-66E7-664CD5813628}"/>
          </ac:spMkLst>
        </pc:spChg>
        <pc:spChg chg="add del mod modVis">
          <ac:chgData name="Yudi Zhu" userId="571e1a55-055f-4c28-8b35-fca6dd1c1369" providerId="ADAL" clId="{75A88773-6EE1-484E-AADE-FE631E01463B}" dt="2025-11-26T03:37:37.921" v="706185"/>
          <ac:spMkLst>
            <pc:docMk/>
            <pc:sldMk cId="2945841504" sldId="2147483097"/>
            <ac:spMk id="181" creationId="{877F357D-7D49-ABA2-53EC-35E7F742B2CB}"/>
          </ac:spMkLst>
        </pc:spChg>
        <pc:spChg chg="add mod">
          <ac:chgData name="Yudi Zhu" userId="571e1a55-055f-4c28-8b35-fca6dd1c1369" providerId="ADAL" clId="{75A88773-6EE1-484E-AADE-FE631E01463B}" dt="2025-11-26T03:59:28.978" v="754450"/>
          <ac:spMkLst>
            <pc:docMk/>
            <pc:sldMk cId="2945841504" sldId="2147483097"/>
            <ac:spMk id="182" creationId="{1018C9FC-2E0F-03E8-DD80-2216768A8CC7}"/>
          </ac:spMkLst>
        </pc:spChg>
        <pc:spChg chg="add del mod modVis">
          <ac:chgData name="Yudi Zhu" userId="571e1a55-055f-4c28-8b35-fca6dd1c1369" providerId="ADAL" clId="{75A88773-6EE1-484E-AADE-FE631E01463B}" dt="2025-11-26T03:37:47.759" v="706991"/>
          <ac:spMkLst>
            <pc:docMk/>
            <pc:sldMk cId="2945841504" sldId="2147483097"/>
            <ac:spMk id="184" creationId="{0A44471C-95F0-C970-8533-931A228BC476}"/>
          </ac:spMkLst>
        </pc:spChg>
        <pc:spChg chg="add mod">
          <ac:chgData name="Yudi Zhu" userId="571e1a55-055f-4c28-8b35-fca6dd1c1369" providerId="ADAL" clId="{75A88773-6EE1-484E-AADE-FE631E01463B}" dt="2025-11-26T03:59:28.838" v="754161"/>
          <ac:spMkLst>
            <pc:docMk/>
            <pc:sldMk cId="2945841504" sldId="2147483097"/>
            <ac:spMk id="185" creationId="{CB21D502-9241-3FA4-E504-AA9F1B448F9B}"/>
          </ac:spMkLst>
        </pc:spChg>
        <pc:spChg chg="add mod ord">
          <ac:chgData name="Yudi Zhu" userId="571e1a55-055f-4c28-8b35-fca6dd1c1369" providerId="ADAL" clId="{75A88773-6EE1-484E-AADE-FE631E01463B}" dt="2025-11-26T03:59:28.822" v="754112"/>
          <ac:spMkLst>
            <pc:docMk/>
            <pc:sldMk cId="2945841504" sldId="2147483097"/>
            <ac:spMk id="186" creationId="{33ED4FAF-31BF-1539-5341-2EDEF95869F9}"/>
          </ac:spMkLst>
        </pc:spChg>
        <pc:spChg chg="add mod ord">
          <ac:chgData name="Yudi Zhu" userId="571e1a55-055f-4c28-8b35-fca6dd1c1369" providerId="ADAL" clId="{75A88773-6EE1-484E-AADE-FE631E01463B}" dt="2025-11-26T03:59:28.807" v="754110"/>
          <ac:spMkLst>
            <pc:docMk/>
            <pc:sldMk cId="2945841504" sldId="2147483097"/>
            <ac:spMk id="187" creationId="{60C05FFC-31AE-FF35-5341-5B840258A5B1}"/>
          </ac:spMkLst>
        </pc:spChg>
        <pc:spChg chg="add mod ord">
          <ac:chgData name="Yudi Zhu" userId="571e1a55-055f-4c28-8b35-fca6dd1c1369" providerId="ADAL" clId="{75A88773-6EE1-484E-AADE-FE631E01463B}" dt="2025-11-26T03:59:28.807" v="754108"/>
          <ac:spMkLst>
            <pc:docMk/>
            <pc:sldMk cId="2945841504" sldId="2147483097"/>
            <ac:spMk id="188" creationId="{C965EC32-EE33-323D-65C7-1C5BED4C1599}"/>
          </ac:spMkLst>
        </pc:spChg>
        <pc:spChg chg="add del mod modVis">
          <ac:chgData name="Yudi Zhu" userId="571e1a55-055f-4c28-8b35-fca6dd1c1369" providerId="ADAL" clId="{75A88773-6EE1-484E-AADE-FE631E01463B}" dt="2025-11-26T03:48:38.434" v="719298"/>
          <ac:spMkLst>
            <pc:docMk/>
            <pc:sldMk cId="2945841504" sldId="2147483097"/>
            <ac:spMk id="260" creationId="{852E97C8-1FD2-3BA9-420A-CF58F96A2257}"/>
          </ac:spMkLst>
        </pc:spChg>
        <pc:spChg chg="add del mod modVis">
          <ac:chgData name="Yudi Zhu" userId="571e1a55-055f-4c28-8b35-fca6dd1c1369" providerId="ADAL" clId="{75A88773-6EE1-484E-AADE-FE631E01463B}" dt="2025-11-26T03:49:02.051" v="720797"/>
          <ac:spMkLst>
            <pc:docMk/>
            <pc:sldMk cId="2945841504" sldId="2147483097"/>
            <ac:spMk id="265" creationId="{728FAD0C-121E-0024-7EAD-D37E2D979BE6}"/>
          </ac:spMkLst>
        </pc:spChg>
        <pc:spChg chg="add del mod modVis">
          <ac:chgData name="Yudi Zhu" userId="571e1a55-055f-4c28-8b35-fca6dd1c1369" providerId="ADAL" clId="{75A88773-6EE1-484E-AADE-FE631E01463B}" dt="2025-11-26T03:49:13.726" v="722453"/>
          <ac:spMkLst>
            <pc:docMk/>
            <pc:sldMk cId="2945841504" sldId="2147483097"/>
            <ac:spMk id="266" creationId="{8BEB847C-FCCB-E632-983F-EB4CE12B83F9}"/>
          </ac:spMkLst>
        </pc:spChg>
        <pc:spChg chg="add del mod modVis">
          <ac:chgData name="Yudi Zhu" userId="571e1a55-055f-4c28-8b35-fca6dd1c1369" providerId="ADAL" clId="{75A88773-6EE1-484E-AADE-FE631E01463B}" dt="2025-11-26T03:49:20.558" v="722997"/>
          <ac:spMkLst>
            <pc:docMk/>
            <pc:sldMk cId="2945841504" sldId="2147483097"/>
            <ac:spMk id="269" creationId="{916A3A64-3C6E-BBDD-14C8-38DBFE0298D5}"/>
          </ac:spMkLst>
        </pc:spChg>
        <pc:spChg chg="add del mod modVis">
          <ac:chgData name="Yudi Zhu" userId="571e1a55-055f-4c28-8b35-fca6dd1c1369" providerId="ADAL" clId="{75A88773-6EE1-484E-AADE-FE631E01463B}" dt="2025-11-26T03:55:20.088" v="740544"/>
          <ac:spMkLst>
            <pc:docMk/>
            <pc:sldMk cId="2945841504" sldId="2147483097"/>
            <ac:spMk id="274" creationId="{40C14A09-3AC0-16D6-BF5C-D69961200519}"/>
          </ac:spMkLst>
        </pc:spChg>
        <pc:spChg chg="add del mod modVis">
          <ac:chgData name="Yudi Zhu" userId="571e1a55-055f-4c28-8b35-fca6dd1c1369" providerId="ADAL" clId="{75A88773-6EE1-484E-AADE-FE631E01463B}" dt="2025-11-26T03:55:27.182" v="741524"/>
          <ac:spMkLst>
            <pc:docMk/>
            <pc:sldMk cId="2945841504" sldId="2147483097"/>
            <ac:spMk id="277" creationId="{372CFEDF-E183-5937-2374-402F4609C601}"/>
          </ac:spMkLst>
        </pc:spChg>
        <pc:spChg chg="add mod">
          <ac:chgData name="Yudi Zhu" userId="571e1a55-055f-4c28-8b35-fca6dd1c1369" providerId="ADAL" clId="{75A88773-6EE1-484E-AADE-FE631E01463B}" dt="2025-11-26T03:59:20.010" v="753190"/>
          <ac:spMkLst>
            <pc:docMk/>
            <pc:sldMk cId="2945841504" sldId="2147483097"/>
            <ac:spMk id="281" creationId="{2EF4704F-E251-4606-C6AE-64079F3C79ED}"/>
          </ac:spMkLst>
        </pc:spChg>
        <pc:spChg chg="add del mod modVis">
          <ac:chgData name="Yudi Zhu" userId="571e1a55-055f-4c28-8b35-fca6dd1c1369" providerId="ADAL" clId="{75A88773-6EE1-484E-AADE-FE631E01463B}" dt="2025-11-26T03:59:20.010" v="753190"/>
          <ac:spMkLst>
            <pc:docMk/>
            <pc:sldMk cId="2945841504" sldId="2147483097"/>
            <ac:spMk id="282" creationId="{269BA9A8-ED47-2ED0-3323-AA4898F53E60}"/>
          </ac:spMkLst>
        </pc:spChg>
        <pc:spChg chg="add mod ord">
          <ac:chgData name="Yudi Zhu" userId="571e1a55-055f-4c28-8b35-fca6dd1c1369" providerId="ADAL" clId="{75A88773-6EE1-484E-AADE-FE631E01463B}" dt="2025-11-26T03:59:20.010" v="753190"/>
          <ac:spMkLst>
            <pc:docMk/>
            <pc:sldMk cId="2945841504" sldId="2147483097"/>
            <ac:spMk id="284" creationId="{4FECE217-ADC4-76A6-11C6-01C945729491}"/>
          </ac:spMkLst>
        </pc:spChg>
        <pc:spChg chg="add del mod modVis">
          <ac:chgData name="Yudi Zhu" userId="571e1a55-055f-4c28-8b35-fca6dd1c1369" providerId="ADAL" clId="{75A88773-6EE1-484E-AADE-FE631E01463B}" dt="2025-11-26T03:59:17.488" v="752997"/>
          <ac:spMkLst>
            <pc:docMk/>
            <pc:sldMk cId="2945841504" sldId="2147483097"/>
            <ac:spMk id="285" creationId="{DA81F9A8-946C-5023-39A6-9831B1D18868}"/>
          </ac:spMkLst>
        </pc:spChg>
        <pc:spChg chg="add del mod modVis">
          <ac:chgData name="Yudi Zhu" userId="571e1a55-055f-4c28-8b35-fca6dd1c1369" providerId="ADAL" clId="{75A88773-6EE1-484E-AADE-FE631E01463B}" dt="2025-11-26T03:59:27.241" v="753678"/>
          <ac:spMkLst>
            <pc:docMk/>
            <pc:sldMk cId="2945841504" sldId="2147483097"/>
            <ac:spMk id="287" creationId="{27181693-D430-05E5-99DB-38E8F883EFD3}"/>
          </ac:spMkLst>
        </pc:spChg>
        <pc:spChg chg="mod">
          <ac:chgData name="Yudi Zhu" userId="571e1a55-055f-4c28-8b35-fca6dd1c1369" providerId="ADAL" clId="{75A88773-6EE1-484E-AADE-FE631E01463B}" dt="2025-11-26T03:59:28.838" v="754171"/>
          <ac:spMkLst>
            <pc:docMk/>
            <pc:sldMk cId="2945841504" sldId="2147483097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6T03:59:28.838" v="754172"/>
          <ac:spMkLst>
            <pc:docMk/>
            <pc:sldMk cId="2945841504" sldId="2147483097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6T03:59:28.838" v="754173"/>
          <ac:spMkLst>
            <pc:docMk/>
            <pc:sldMk cId="2945841504" sldId="2147483097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6T03:59:28.838" v="754174"/>
          <ac:spMkLst>
            <pc:docMk/>
            <pc:sldMk cId="2945841504" sldId="2147483097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6T03:59:28.854" v="754175"/>
          <ac:spMkLst>
            <pc:docMk/>
            <pc:sldMk cId="2945841504" sldId="2147483097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6T03:59:28.854" v="754176"/>
          <ac:spMkLst>
            <pc:docMk/>
            <pc:sldMk cId="2945841504" sldId="2147483097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6T03:59:28.854" v="754177"/>
          <ac:spMkLst>
            <pc:docMk/>
            <pc:sldMk cId="2945841504" sldId="2147483097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6T03:59:28.854" v="754178"/>
          <ac:spMkLst>
            <pc:docMk/>
            <pc:sldMk cId="2945841504" sldId="2147483097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6T03:59:28.854" v="754179"/>
          <ac:spMkLst>
            <pc:docMk/>
            <pc:sldMk cId="2945841504" sldId="2147483097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6T03:59:28.854" v="754180"/>
          <ac:spMkLst>
            <pc:docMk/>
            <pc:sldMk cId="2945841504" sldId="2147483097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6T03:59:28.854" v="754182"/>
          <ac:spMkLst>
            <pc:docMk/>
            <pc:sldMk cId="2945841504" sldId="2147483097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6T03:59:28.854" v="754183"/>
          <ac:spMkLst>
            <pc:docMk/>
            <pc:sldMk cId="2945841504" sldId="2147483097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6T03:59:28.854" v="754184"/>
          <ac:spMkLst>
            <pc:docMk/>
            <pc:sldMk cId="2945841504" sldId="2147483097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6T03:59:28.854" v="754185"/>
          <ac:spMkLst>
            <pc:docMk/>
            <pc:sldMk cId="2945841504" sldId="2147483097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6T03:59:28.854" v="754186"/>
          <ac:spMkLst>
            <pc:docMk/>
            <pc:sldMk cId="2945841504" sldId="2147483097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6T03:59:28.854" v="754187"/>
          <ac:spMkLst>
            <pc:docMk/>
            <pc:sldMk cId="2945841504" sldId="2147483097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6T03:59:28.862" v="754188"/>
          <ac:spMkLst>
            <pc:docMk/>
            <pc:sldMk cId="2945841504" sldId="2147483097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6T03:59:28.862" v="754189"/>
          <ac:spMkLst>
            <pc:docMk/>
            <pc:sldMk cId="2945841504" sldId="2147483097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6T03:59:28.862" v="754190"/>
          <ac:spMkLst>
            <pc:docMk/>
            <pc:sldMk cId="2945841504" sldId="2147483097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6T03:59:28.862" v="754191"/>
          <ac:spMkLst>
            <pc:docMk/>
            <pc:sldMk cId="2945841504" sldId="2147483097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6T03:59:28.862" v="754192"/>
          <ac:spMkLst>
            <pc:docMk/>
            <pc:sldMk cId="2945841504" sldId="2147483097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6T03:59:28.862" v="754196"/>
          <ac:spMkLst>
            <pc:docMk/>
            <pc:sldMk cId="2945841504" sldId="2147483097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6T03:59:28.862" v="754193"/>
          <ac:spMkLst>
            <pc:docMk/>
            <pc:sldMk cId="2945841504" sldId="2147483097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6T03:59:28.862" v="754194"/>
          <ac:spMkLst>
            <pc:docMk/>
            <pc:sldMk cId="2945841504" sldId="2147483097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6T03:59:28.862" v="754195"/>
          <ac:spMkLst>
            <pc:docMk/>
            <pc:sldMk cId="2945841504" sldId="2147483097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6T03:59:28.862" v="754198"/>
          <ac:spMkLst>
            <pc:docMk/>
            <pc:sldMk cId="2945841504" sldId="2147483097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6T03:59:28.862" v="754199"/>
          <ac:spMkLst>
            <pc:docMk/>
            <pc:sldMk cId="2945841504" sldId="2147483097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6T03:59:28.838" v="754168"/>
          <ac:spMkLst>
            <pc:docMk/>
            <pc:sldMk cId="2945841504" sldId="2147483097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6T03:59:28.838" v="754169"/>
          <ac:spMkLst>
            <pc:docMk/>
            <pc:sldMk cId="2945841504" sldId="2147483097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6T03:59:28.838" v="754170"/>
          <ac:spMkLst>
            <pc:docMk/>
            <pc:sldMk cId="2945841504" sldId="2147483097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6T03:59:28.862" v="754200"/>
          <ac:spMkLst>
            <pc:docMk/>
            <pc:sldMk cId="2945841504" sldId="2147483097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6T03:59:28.870" v="754201"/>
          <ac:spMkLst>
            <pc:docMk/>
            <pc:sldMk cId="2945841504" sldId="2147483097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6T03:59:28.871" v="754204"/>
          <ac:spMkLst>
            <pc:docMk/>
            <pc:sldMk cId="2945841504" sldId="2147483097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6T03:59:28.871" v="754205"/>
          <ac:spMkLst>
            <pc:docMk/>
            <pc:sldMk cId="2945841504" sldId="2147483097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6T03:59:28.871" v="754206"/>
          <ac:spMkLst>
            <pc:docMk/>
            <pc:sldMk cId="2945841504" sldId="2147483097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6T03:59:28.871" v="754211"/>
          <ac:spMkLst>
            <pc:docMk/>
            <pc:sldMk cId="2945841504" sldId="2147483097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6T03:59:28.871" v="754212"/>
          <ac:spMkLst>
            <pc:docMk/>
            <pc:sldMk cId="2945841504" sldId="2147483097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6T03:59:28.871" v="754208"/>
          <ac:spMkLst>
            <pc:docMk/>
            <pc:sldMk cId="2945841504" sldId="2147483097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6T03:59:28.871" v="754210"/>
          <ac:spMkLst>
            <pc:docMk/>
            <pc:sldMk cId="2945841504" sldId="2147483097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6T03:59:28.886" v="754246"/>
          <ac:spMkLst>
            <pc:docMk/>
            <pc:sldMk cId="2945841504" sldId="2147483097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6T03:59:28.886" v="754248"/>
          <ac:spMkLst>
            <pc:docMk/>
            <pc:sldMk cId="2945841504" sldId="2147483097"/>
            <ac:spMk id="1003" creationId="{383A4D55-87AC-E7AD-D775-159B8AA91BD4}"/>
          </ac:spMkLst>
        </pc:spChg>
        <pc:spChg chg="mod">
          <ac:chgData name="Yudi Zhu" userId="571e1a55-055f-4c28-8b35-fca6dd1c1369" providerId="ADAL" clId="{75A88773-6EE1-484E-AADE-FE631E01463B}" dt="2025-11-26T03:59:28.886" v="754245"/>
          <ac:spMkLst>
            <pc:docMk/>
            <pc:sldMk cId="2945841504" sldId="2147483097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6T03:59:28.886" v="754247"/>
          <ac:spMkLst>
            <pc:docMk/>
            <pc:sldMk cId="2945841504" sldId="2147483097"/>
            <ac:spMk id="1166" creationId="{C21E8AFD-DF88-3440-816B-93B8FDB6B328}"/>
          </ac:spMkLst>
        </pc:spChg>
        <pc:spChg chg="del mod">
          <ac:chgData name="Yudi Zhu" userId="571e1a55-055f-4c28-8b35-fca6dd1c1369" providerId="ADAL" clId="{75A88773-6EE1-484E-AADE-FE631E01463B}" dt="2025-11-26T03:37:47.129" v="706188"/>
          <ac:spMkLst>
            <pc:docMk/>
            <pc:sldMk cId="2945841504" sldId="2147483097"/>
            <ac:spMk id="1194" creationId="{BBCCF612-1129-BBB4-5844-0BA70960BFD5}"/>
          </ac:spMkLst>
        </pc:spChg>
        <pc:spChg chg="del mod ord">
          <ac:chgData name="Yudi Zhu" userId="571e1a55-055f-4c28-8b35-fca6dd1c1369" providerId="ADAL" clId="{75A88773-6EE1-484E-AADE-FE631E01463B}" dt="2025-11-26T03:37:47.129" v="706190"/>
          <ac:spMkLst>
            <pc:docMk/>
            <pc:sldMk cId="2945841504" sldId="2147483097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6T03:59:28.838" v="754162"/>
          <ac:spMkLst>
            <pc:docMk/>
            <pc:sldMk cId="2945841504" sldId="2147483097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6T03:59:28.822" v="754134"/>
          <ac:spMkLst>
            <pc:docMk/>
            <pc:sldMk cId="2945841504" sldId="2147483097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6T03:59:28.822" v="754140"/>
          <ac:spMkLst>
            <pc:docMk/>
            <pc:sldMk cId="2945841504" sldId="2147483097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6T03:59:28.822" v="754142"/>
          <ac:spMkLst>
            <pc:docMk/>
            <pc:sldMk cId="2945841504" sldId="2147483097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6T03:59:28.838" v="754147"/>
          <ac:spMkLst>
            <pc:docMk/>
            <pc:sldMk cId="2945841504" sldId="2147483097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6T03:59:28.838" v="754148"/>
          <ac:spMkLst>
            <pc:docMk/>
            <pc:sldMk cId="2945841504" sldId="2147483097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6T03:59:28.838" v="754149"/>
          <ac:spMkLst>
            <pc:docMk/>
            <pc:sldMk cId="2945841504" sldId="2147483097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6T03:59:28.838" v="754151"/>
          <ac:spMkLst>
            <pc:docMk/>
            <pc:sldMk cId="2945841504" sldId="2147483097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6T03:59:28.838" v="754152"/>
          <ac:spMkLst>
            <pc:docMk/>
            <pc:sldMk cId="2945841504" sldId="2147483097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6T03:59:28.838" v="754154"/>
          <ac:spMkLst>
            <pc:docMk/>
            <pc:sldMk cId="2945841504" sldId="2147483097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6T03:59:28.838" v="754156"/>
          <ac:spMkLst>
            <pc:docMk/>
            <pc:sldMk cId="2945841504" sldId="2147483097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6T03:59:28.838" v="754157"/>
          <ac:spMkLst>
            <pc:docMk/>
            <pc:sldMk cId="2945841504" sldId="2147483097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6T03:59:28.838" v="754159"/>
          <ac:spMkLst>
            <pc:docMk/>
            <pc:sldMk cId="2945841504" sldId="2147483097"/>
            <ac:spMk id="1208" creationId="{5D29CDBC-FB63-4B98-A1DE-CEF57F320EAD}"/>
          </ac:spMkLst>
        </pc:spChg>
        <pc:spChg chg="mod">
          <ac:chgData name="Yudi Zhu" userId="571e1a55-055f-4c28-8b35-fca6dd1c1369" providerId="ADAL" clId="{75A88773-6EE1-484E-AADE-FE631E01463B}" dt="2025-11-26T03:59:28.838" v="754160"/>
          <ac:spMkLst>
            <pc:docMk/>
            <pc:sldMk cId="2945841504" sldId="2147483097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6T03:59:28.822" v="754133"/>
          <ac:spMkLst>
            <pc:docMk/>
            <pc:sldMk cId="2945841504" sldId="2147483097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6T03:59:28.822" v="754136"/>
          <ac:spMkLst>
            <pc:docMk/>
            <pc:sldMk cId="2945841504" sldId="2147483097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6T03:59:28.822" v="754138"/>
          <ac:spMkLst>
            <pc:docMk/>
            <pc:sldMk cId="2945841504" sldId="2147483097"/>
            <ac:spMk id="1212" creationId="{25E61F6C-7940-2C7A-BB7D-7ED850FA6A75}"/>
          </ac:spMkLst>
        </pc:spChg>
        <pc:spChg chg="mod">
          <ac:chgData name="Yudi Zhu" userId="571e1a55-055f-4c28-8b35-fca6dd1c1369" providerId="ADAL" clId="{75A88773-6EE1-484E-AADE-FE631E01463B}" dt="2025-11-26T03:59:28.822" v="754139"/>
          <ac:spMkLst>
            <pc:docMk/>
            <pc:sldMk cId="2945841504" sldId="2147483097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6T03:59:28.822" v="754141"/>
          <ac:spMkLst>
            <pc:docMk/>
            <pc:sldMk cId="2945841504" sldId="2147483097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6T03:59:28.838" v="754144"/>
          <ac:spMkLst>
            <pc:docMk/>
            <pc:sldMk cId="2945841504" sldId="2147483097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6T03:59:28.838" v="754146"/>
          <ac:spMkLst>
            <pc:docMk/>
            <pc:sldMk cId="2945841504" sldId="2147483097"/>
            <ac:spMk id="1217" creationId="{25C57DA6-7F82-0F4F-AD77-F75FE99D7A67}"/>
          </ac:spMkLst>
        </pc:spChg>
        <pc:spChg chg="del mod">
          <ac:chgData name="Yudi Zhu" userId="571e1a55-055f-4c28-8b35-fca6dd1c1369" providerId="ADAL" clId="{75A88773-6EE1-484E-AADE-FE631E01463B}" dt="2025-11-26T03:24:06.550" v="691016"/>
          <ac:spMkLst>
            <pc:docMk/>
            <pc:sldMk cId="2945841504" sldId="2147483097"/>
            <ac:spMk id="1376" creationId="{2B4EDBBB-72E6-B151-182E-B189521C5BAC}"/>
          </ac:spMkLst>
        </pc:spChg>
        <pc:spChg chg="del mod">
          <ac:chgData name="Yudi Zhu" userId="571e1a55-055f-4c28-8b35-fca6dd1c1369" providerId="ADAL" clId="{75A88773-6EE1-484E-AADE-FE631E01463B}" dt="2025-11-26T03:24:06.550" v="691013"/>
          <ac:spMkLst>
            <pc:docMk/>
            <pc:sldMk cId="2945841504" sldId="2147483097"/>
            <ac:spMk id="1378" creationId="{BD933162-8B62-1004-8AE5-8CA06E5D7DE9}"/>
          </ac:spMkLst>
        </pc:spChg>
        <pc:spChg chg="del mod">
          <ac:chgData name="Yudi Zhu" userId="571e1a55-055f-4c28-8b35-fca6dd1c1369" providerId="ADAL" clId="{75A88773-6EE1-484E-AADE-FE631E01463B}" dt="2025-11-26T03:24:06.550" v="691010"/>
          <ac:spMkLst>
            <pc:docMk/>
            <pc:sldMk cId="2945841504" sldId="2147483097"/>
            <ac:spMk id="1379" creationId="{9ECFB1DA-48A2-EF26-C44B-C3EC1ABE4988}"/>
          </ac:spMkLst>
        </pc:spChg>
        <pc:spChg chg="del mod ord">
          <ac:chgData name="Yudi Zhu" userId="571e1a55-055f-4c28-8b35-fca6dd1c1369" providerId="ADAL" clId="{75A88773-6EE1-484E-AADE-FE631E01463B}" dt="2025-11-26T03:24:06.550" v="691006"/>
          <ac:spMkLst>
            <pc:docMk/>
            <pc:sldMk cId="2945841504" sldId="2147483097"/>
            <ac:spMk id="1442" creationId="{00445C12-10C4-A371-D4EA-BD360FAE32DA}"/>
          </ac:spMkLst>
        </pc:spChg>
        <pc:spChg chg="mod">
          <ac:chgData name="Yudi Zhu" userId="571e1a55-055f-4c28-8b35-fca6dd1c1369" providerId="ADAL" clId="{75A88773-6EE1-484E-AADE-FE631E01463B}" dt="2025-11-26T03:59:28.886" v="754244"/>
          <ac:spMkLst>
            <pc:docMk/>
            <pc:sldMk cId="2945841504" sldId="2147483097"/>
            <ac:spMk id="1446" creationId="{64AF7A77-327B-D09F-2ABB-1BA14094EC19}"/>
          </ac:spMkLst>
        </pc:spChg>
        <pc:spChg chg="del mod ord">
          <ac:chgData name="Yudi Zhu" userId="571e1a55-055f-4c28-8b35-fca6dd1c1369" providerId="ADAL" clId="{75A88773-6EE1-484E-AADE-FE631E01463B}" dt="2025-11-26T03:24:06.518" v="690956"/>
          <ac:spMkLst>
            <pc:docMk/>
            <pc:sldMk cId="2945841504" sldId="2147483097"/>
            <ac:spMk id="1449" creationId="{300E10D2-719E-3D82-5CBF-5A612C09A088}"/>
          </ac:spMkLst>
        </pc:spChg>
        <pc:spChg chg="mod">
          <ac:chgData name="Yudi Zhu" userId="571e1a55-055f-4c28-8b35-fca6dd1c1369" providerId="ADAL" clId="{75A88773-6EE1-484E-AADE-FE631E01463B}" dt="2025-11-26T03:59:28.886" v="754251"/>
          <ac:spMkLst>
            <pc:docMk/>
            <pc:sldMk cId="2945841504" sldId="2147483097"/>
            <ac:spMk id="1452" creationId="{62BA64F5-B2CE-CEB8-BB9B-25B44F9A2E19}"/>
          </ac:spMkLst>
        </pc:spChg>
        <pc:spChg chg="del mod ord">
          <ac:chgData name="Yudi Zhu" userId="571e1a55-055f-4c28-8b35-fca6dd1c1369" providerId="ADAL" clId="{75A88773-6EE1-484E-AADE-FE631E01463B}" dt="2025-11-26T03:24:06.538" v="690974"/>
          <ac:spMkLst>
            <pc:docMk/>
            <pc:sldMk cId="2945841504" sldId="2147483097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6T03:59:28.838" v="754145"/>
          <ac:spMkLst>
            <pc:docMk/>
            <pc:sldMk cId="2945841504" sldId="2147483097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6T03:59:28.807" v="754083"/>
          <ac:spMkLst>
            <pc:docMk/>
            <pc:sldMk cId="2945841504" sldId="2147483097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6T03:24:58.096" v="691142" actId="1076"/>
          <ac:spMkLst>
            <pc:docMk/>
            <pc:sldMk cId="2945841504" sldId="2147483097"/>
            <ac:spMk id="1605" creationId="{3E8A6A9C-8A93-C9A9-290D-B8600D71C480}"/>
          </ac:spMkLst>
        </pc:spChg>
        <pc:spChg chg="mod ord">
          <ac:chgData name="Yudi Zhu" userId="571e1a55-055f-4c28-8b35-fca6dd1c1369" providerId="ADAL" clId="{75A88773-6EE1-484E-AADE-FE631E01463B}" dt="2025-11-26T03:59:28.886" v="754243"/>
          <ac:spMkLst>
            <pc:docMk/>
            <pc:sldMk cId="2945841504" sldId="2147483097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6T03:59:28.886" v="754250"/>
          <ac:spMkLst>
            <pc:docMk/>
            <pc:sldMk cId="2945841504" sldId="2147483097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6T03:59:28.886" v="754253"/>
          <ac:spMkLst>
            <pc:docMk/>
            <pc:sldMk cId="2945841504" sldId="2147483097"/>
            <ac:spMk id="1630" creationId="{E05CDD48-0DEC-9132-BDFB-46D714F23D3B}"/>
          </ac:spMkLst>
        </pc:spChg>
        <pc:spChg chg="del mod">
          <ac:chgData name="Yudi Zhu" userId="571e1a55-055f-4c28-8b35-fca6dd1c1369" providerId="ADAL" clId="{75A88773-6EE1-484E-AADE-FE631E01463B}" dt="2025-11-26T03:24:06.550" v="691007"/>
          <ac:spMkLst>
            <pc:docMk/>
            <pc:sldMk cId="2945841504" sldId="2147483097"/>
            <ac:spMk id="1681" creationId="{AD047B8F-920B-5600-6840-3C274E6980C6}"/>
          </ac:spMkLst>
        </pc:spChg>
        <pc:spChg chg="del mod">
          <ac:chgData name="Yudi Zhu" userId="571e1a55-055f-4c28-8b35-fca6dd1c1369" providerId="ADAL" clId="{75A88773-6EE1-484E-AADE-FE631E01463B}" dt="2025-11-26T03:24:06.538" v="690998"/>
          <ac:spMkLst>
            <pc:docMk/>
            <pc:sldMk cId="2945841504" sldId="2147483097"/>
            <ac:spMk id="1682" creationId="{6DC21B57-A2D3-D89A-22E6-3EBF752375C8}"/>
          </ac:spMkLst>
        </pc:spChg>
        <pc:spChg chg="del mod">
          <ac:chgData name="Yudi Zhu" userId="571e1a55-055f-4c28-8b35-fca6dd1c1369" providerId="ADAL" clId="{75A88773-6EE1-484E-AADE-FE631E01463B}" dt="2025-11-26T03:24:06.538" v="690997"/>
          <ac:spMkLst>
            <pc:docMk/>
            <pc:sldMk cId="2945841504" sldId="2147483097"/>
            <ac:spMk id="1683" creationId="{3EDE77E4-6C85-3185-A84F-4AA13F641CDB}"/>
          </ac:spMkLst>
        </pc:spChg>
        <pc:spChg chg="del mod">
          <ac:chgData name="Yudi Zhu" userId="571e1a55-055f-4c28-8b35-fca6dd1c1369" providerId="ADAL" clId="{75A88773-6EE1-484E-AADE-FE631E01463B}" dt="2025-11-26T03:24:06.538" v="690996"/>
          <ac:spMkLst>
            <pc:docMk/>
            <pc:sldMk cId="2945841504" sldId="2147483097"/>
            <ac:spMk id="1684" creationId="{BF771EE0-A3E5-68C6-1A6D-0EFEE0E2CFC9}"/>
          </ac:spMkLst>
        </pc:spChg>
        <pc:spChg chg="del mod">
          <ac:chgData name="Yudi Zhu" userId="571e1a55-055f-4c28-8b35-fca6dd1c1369" providerId="ADAL" clId="{75A88773-6EE1-484E-AADE-FE631E01463B}" dt="2025-11-26T03:24:06.538" v="690989"/>
          <ac:spMkLst>
            <pc:docMk/>
            <pc:sldMk cId="2945841504" sldId="2147483097"/>
            <ac:spMk id="1685" creationId="{AB1D084B-48F0-C954-DD65-F56B3845EBA5}"/>
          </ac:spMkLst>
        </pc:spChg>
        <pc:spChg chg="del mod">
          <ac:chgData name="Yudi Zhu" userId="571e1a55-055f-4c28-8b35-fca6dd1c1369" providerId="ADAL" clId="{75A88773-6EE1-484E-AADE-FE631E01463B}" dt="2025-11-26T03:24:06.538" v="690984"/>
          <ac:spMkLst>
            <pc:docMk/>
            <pc:sldMk cId="2945841504" sldId="2147483097"/>
            <ac:spMk id="1686" creationId="{2C544DAD-0BC2-0C32-FDFD-31AC14873EF1}"/>
          </ac:spMkLst>
        </pc:spChg>
        <pc:spChg chg="del mod">
          <ac:chgData name="Yudi Zhu" userId="571e1a55-055f-4c28-8b35-fca6dd1c1369" providerId="ADAL" clId="{75A88773-6EE1-484E-AADE-FE631E01463B}" dt="2025-11-26T03:24:06.538" v="690979"/>
          <ac:spMkLst>
            <pc:docMk/>
            <pc:sldMk cId="2945841504" sldId="2147483097"/>
            <ac:spMk id="1687" creationId="{807F5679-15B8-4C76-DCA3-2ED29ECFCF51}"/>
          </ac:spMkLst>
        </pc:spChg>
        <pc:spChg chg="del mod">
          <ac:chgData name="Yudi Zhu" userId="571e1a55-055f-4c28-8b35-fca6dd1c1369" providerId="ADAL" clId="{75A88773-6EE1-484E-AADE-FE631E01463B}" dt="2025-11-26T03:24:06.534" v="690970"/>
          <ac:spMkLst>
            <pc:docMk/>
            <pc:sldMk cId="2945841504" sldId="2147483097"/>
            <ac:spMk id="1688" creationId="{03480C23-7FC1-2FF7-BC97-25519BB18339}"/>
          </ac:spMkLst>
        </pc:spChg>
        <pc:spChg chg="del mod">
          <ac:chgData name="Yudi Zhu" userId="571e1a55-055f-4c28-8b35-fca6dd1c1369" providerId="ADAL" clId="{75A88773-6EE1-484E-AADE-FE631E01463B}" dt="2025-11-26T03:24:06.518" v="690961"/>
          <ac:spMkLst>
            <pc:docMk/>
            <pc:sldMk cId="2945841504" sldId="2147483097"/>
            <ac:spMk id="1689" creationId="{C5C70E6E-BFEB-1045-1E13-15AAB372D0B9}"/>
          </ac:spMkLst>
        </pc:spChg>
        <pc:spChg chg="del mod">
          <ac:chgData name="Yudi Zhu" userId="571e1a55-055f-4c28-8b35-fca6dd1c1369" providerId="ADAL" clId="{75A88773-6EE1-484E-AADE-FE631E01463B}" dt="2025-11-26T03:24:06.518" v="690952"/>
          <ac:spMkLst>
            <pc:docMk/>
            <pc:sldMk cId="2945841504" sldId="2147483097"/>
            <ac:spMk id="1690" creationId="{91F5A5A7-2825-7668-8E0A-E582189F05C5}"/>
          </ac:spMkLst>
        </pc:spChg>
        <pc:spChg chg="del mod">
          <ac:chgData name="Yudi Zhu" userId="571e1a55-055f-4c28-8b35-fca6dd1c1369" providerId="ADAL" clId="{75A88773-6EE1-484E-AADE-FE631E01463B}" dt="2025-11-26T03:24:06.518" v="690945"/>
          <ac:spMkLst>
            <pc:docMk/>
            <pc:sldMk cId="2945841504" sldId="2147483097"/>
            <ac:spMk id="1691" creationId="{C50F3DAA-EFE1-8572-5206-F1A4416A7C6F}"/>
          </ac:spMkLst>
        </pc:spChg>
        <pc:spChg chg="del mod">
          <ac:chgData name="Yudi Zhu" userId="571e1a55-055f-4c28-8b35-fca6dd1c1369" providerId="ADAL" clId="{75A88773-6EE1-484E-AADE-FE631E01463B}" dt="2025-11-24T04:18:13.475" v="633886"/>
          <ac:spMkLst>
            <pc:docMk/>
            <pc:sldMk cId="2945841504" sldId="2147483097"/>
            <ac:spMk id="1714" creationId="{3EADAD8B-994C-A1A7-E96B-43327F90020B}"/>
          </ac:spMkLst>
        </pc:spChg>
        <pc:spChg chg="del mod">
          <ac:chgData name="Yudi Zhu" userId="571e1a55-055f-4c28-8b35-fca6dd1c1369" providerId="ADAL" clId="{75A88773-6EE1-484E-AADE-FE631E01463B}" dt="2025-11-24T04:18:13.475" v="633887"/>
          <ac:spMkLst>
            <pc:docMk/>
            <pc:sldMk cId="2945841504" sldId="2147483097"/>
            <ac:spMk id="1716" creationId="{ABEEB608-D02B-FC17-C2F9-973E35A634FC}"/>
          </ac:spMkLst>
        </pc:spChg>
        <pc:spChg chg="del mod">
          <ac:chgData name="Yudi Zhu" userId="571e1a55-055f-4c28-8b35-fca6dd1c1369" providerId="ADAL" clId="{75A88773-6EE1-484E-AADE-FE631E01463B}" dt="2025-11-24T04:18:13.475" v="633885"/>
          <ac:spMkLst>
            <pc:docMk/>
            <pc:sldMk cId="2945841504" sldId="2147483097"/>
            <ac:spMk id="1717" creationId="{052FFC67-4560-6F9B-8794-75D78491BD22}"/>
          </ac:spMkLst>
        </pc:spChg>
        <pc:spChg chg="del mod">
          <ac:chgData name="Yudi Zhu" userId="571e1a55-055f-4c28-8b35-fca6dd1c1369" providerId="ADAL" clId="{75A88773-6EE1-484E-AADE-FE631E01463B}" dt="2025-11-24T04:15:23.678" v="627308" actId="478"/>
          <ac:spMkLst>
            <pc:docMk/>
            <pc:sldMk cId="2945841504" sldId="2147483097"/>
            <ac:spMk id="1723" creationId="{4500BE63-029C-8CC6-1A95-233F327A1EC8}"/>
          </ac:spMkLst>
        </pc:spChg>
        <pc:spChg chg="del mod">
          <ac:chgData name="Yudi Zhu" userId="571e1a55-055f-4c28-8b35-fca6dd1c1369" providerId="ADAL" clId="{75A88773-6EE1-484E-AADE-FE631E01463B}" dt="2025-11-24T04:15:25.945" v="627311"/>
          <ac:spMkLst>
            <pc:docMk/>
            <pc:sldMk cId="2945841504" sldId="2147483097"/>
            <ac:spMk id="1790" creationId="{097625FA-5686-DCF5-B817-A29F9D4727EA}"/>
          </ac:spMkLst>
        </pc:spChg>
        <pc:spChg chg="del mod">
          <ac:chgData name="Yudi Zhu" userId="571e1a55-055f-4c28-8b35-fca6dd1c1369" providerId="ADAL" clId="{75A88773-6EE1-484E-AADE-FE631E01463B}" dt="2025-11-24T04:15:25.945" v="627309"/>
          <ac:spMkLst>
            <pc:docMk/>
            <pc:sldMk cId="2945841504" sldId="2147483097"/>
            <ac:spMk id="1791" creationId="{DEF9D83D-D4C4-4027-4A1D-F5596539654C}"/>
          </ac:spMkLst>
        </pc:spChg>
        <pc:spChg chg="del mod">
          <ac:chgData name="Yudi Zhu" userId="571e1a55-055f-4c28-8b35-fca6dd1c1369" providerId="ADAL" clId="{75A88773-6EE1-484E-AADE-FE631E01463B}" dt="2025-11-24T04:15:25.945" v="627312"/>
          <ac:spMkLst>
            <pc:docMk/>
            <pc:sldMk cId="2945841504" sldId="2147483097"/>
            <ac:spMk id="1792" creationId="{457AA552-7E43-4131-3939-67AF0903A526}"/>
          </ac:spMkLst>
        </pc:spChg>
        <pc:spChg chg="del mod">
          <ac:chgData name="Yudi Zhu" userId="571e1a55-055f-4c28-8b35-fca6dd1c1369" providerId="ADAL" clId="{75A88773-6EE1-484E-AADE-FE631E01463B}" dt="2025-11-24T04:15:25.945" v="627315"/>
          <ac:spMkLst>
            <pc:docMk/>
            <pc:sldMk cId="2945841504" sldId="2147483097"/>
            <ac:spMk id="1793" creationId="{49B7EED3-55F2-EC31-271D-C5C5BE26DD37}"/>
          </ac:spMkLst>
        </pc:spChg>
        <pc:spChg chg="del mod">
          <ac:chgData name="Yudi Zhu" userId="571e1a55-055f-4c28-8b35-fca6dd1c1369" providerId="ADAL" clId="{75A88773-6EE1-484E-AADE-FE631E01463B}" dt="2025-11-24T04:15:25.945" v="627313"/>
          <ac:spMkLst>
            <pc:docMk/>
            <pc:sldMk cId="2945841504" sldId="2147483097"/>
            <ac:spMk id="1794" creationId="{C46898E2-09A3-DE10-6BB4-419D080C0C97}"/>
          </ac:spMkLst>
        </pc:spChg>
        <pc:spChg chg="del mod">
          <ac:chgData name="Yudi Zhu" userId="571e1a55-055f-4c28-8b35-fca6dd1c1369" providerId="ADAL" clId="{75A88773-6EE1-484E-AADE-FE631E01463B}" dt="2025-11-24T04:15:25.945" v="627316"/>
          <ac:spMkLst>
            <pc:docMk/>
            <pc:sldMk cId="2945841504" sldId="2147483097"/>
            <ac:spMk id="1795" creationId="{56231662-B4A5-BFA4-F972-D6312D2A7DFA}"/>
          </ac:spMkLst>
        </pc:spChg>
        <pc:spChg chg="del mod ord">
          <ac:chgData name="Yudi Zhu" userId="571e1a55-055f-4c28-8b35-fca6dd1c1369" providerId="ADAL" clId="{75A88773-6EE1-484E-AADE-FE631E01463B}" dt="2025-11-24T04:15:25.945" v="627314"/>
          <ac:spMkLst>
            <pc:docMk/>
            <pc:sldMk cId="2945841504" sldId="2147483097"/>
            <ac:spMk id="1796" creationId="{B96FE47B-79DC-89A5-2C60-01F5168C6F48}"/>
          </ac:spMkLst>
        </pc:spChg>
        <pc:spChg chg="del mod">
          <ac:chgData name="Yudi Zhu" userId="571e1a55-055f-4c28-8b35-fca6dd1c1369" providerId="ADAL" clId="{75A88773-6EE1-484E-AADE-FE631E01463B}" dt="2025-11-24T04:15:25.945" v="627310"/>
          <ac:spMkLst>
            <pc:docMk/>
            <pc:sldMk cId="2945841504" sldId="2147483097"/>
            <ac:spMk id="1797" creationId="{0B25F4BA-5FF3-F040-8305-7A2E2C6277DC}"/>
          </ac:spMkLst>
        </pc:spChg>
        <pc:spChg chg="del mod">
          <ac:chgData name="Yudi Zhu" userId="571e1a55-055f-4c28-8b35-fca6dd1c1369" providerId="ADAL" clId="{75A88773-6EE1-484E-AADE-FE631E01463B}" dt="2025-11-24T04:15:25.945" v="627317"/>
          <ac:spMkLst>
            <pc:docMk/>
            <pc:sldMk cId="2945841504" sldId="2147483097"/>
            <ac:spMk id="1798" creationId="{BAF78A19-A084-6BDB-AF15-EEDDA69BD191}"/>
          </ac:spMkLst>
        </pc:spChg>
        <pc:spChg chg="del mod">
          <ac:chgData name="Yudi Zhu" userId="571e1a55-055f-4c28-8b35-fca6dd1c1369" providerId="ADAL" clId="{75A88773-6EE1-484E-AADE-FE631E01463B}" dt="2025-11-24T04:15:25.945" v="627318"/>
          <ac:spMkLst>
            <pc:docMk/>
            <pc:sldMk cId="2945841504" sldId="2147483097"/>
            <ac:spMk id="1799" creationId="{B9719039-1DC2-ED72-5DB7-C91F2F087453}"/>
          </ac:spMkLst>
        </pc:spChg>
        <pc:spChg chg="del mod">
          <ac:chgData name="Yudi Zhu" userId="571e1a55-055f-4c28-8b35-fca6dd1c1369" providerId="ADAL" clId="{75A88773-6EE1-484E-AADE-FE631E01463B}" dt="2025-11-24T04:15:25.945" v="627319"/>
          <ac:spMkLst>
            <pc:docMk/>
            <pc:sldMk cId="2945841504" sldId="2147483097"/>
            <ac:spMk id="1800" creationId="{75FE1217-CF43-2C19-09C9-A9FAED99A004}"/>
          </ac:spMkLst>
        </pc:spChg>
        <pc:spChg chg="del mod">
          <ac:chgData name="Yudi Zhu" userId="571e1a55-055f-4c28-8b35-fca6dd1c1369" providerId="ADAL" clId="{75A88773-6EE1-484E-AADE-FE631E01463B}" dt="2025-11-24T04:15:25.961" v="627320"/>
          <ac:spMkLst>
            <pc:docMk/>
            <pc:sldMk cId="2945841504" sldId="2147483097"/>
            <ac:spMk id="1801" creationId="{E8C41538-DD19-A841-9118-B8BC74499792}"/>
          </ac:spMkLst>
        </pc:spChg>
        <pc:spChg chg="del mod ord">
          <ac:chgData name="Yudi Zhu" userId="571e1a55-055f-4c28-8b35-fca6dd1c1369" providerId="ADAL" clId="{75A88773-6EE1-484E-AADE-FE631E01463B}" dt="2025-11-24T03:59:10.700" v="610467"/>
          <ac:spMkLst>
            <pc:docMk/>
            <pc:sldMk cId="2945841504" sldId="2147483097"/>
            <ac:spMk id="1820" creationId="{B6D15CE4-D8E1-C9EE-1076-53DEEB71111D}"/>
          </ac:spMkLst>
        </pc:spChg>
        <pc:spChg chg="del mod">
          <ac:chgData name="Yudi Zhu" userId="571e1a55-055f-4c28-8b35-fca6dd1c1369" providerId="ADAL" clId="{75A88773-6EE1-484E-AADE-FE631E01463B}" dt="2025-11-26T03:24:06.550" v="691017"/>
          <ac:spMkLst>
            <pc:docMk/>
            <pc:sldMk cId="2945841504" sldId="2147483097"/>
            <ac:spMk id="1851" creationId="{55435E9D-DD6B-12E6-3E01-6C50EF33F500}"/>
          </ac:spMkLst>
        </pc:spChg>
        <pc:spChg chg="mod ord">
          <ac:chgData name="Yudi Zhu" userId="571e1a55-055f-4c28-8b35-fca6dd1c1369" providerId="ADAL" clId="{75A88773-6EE1-484E-AADE-FE631E01463B}" dt="2025-11-26T03:59:28.897" v="754262"/>
          <ac:spMkLst>
            <pc:docMk/>
            <pc:sldMk cId="2945841504" sldId="2147483097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6T03:59:28.898" v="754265"/>
          <ac:spMkLst>
            <pc:docMk/>
            <pc:sldMk cId="2945841504" sldId="2147483097"/>
            <ac:spMk id="1854" creationId="{4E1BFB1E-6485-A062-B5BB-5B285C6BD15C}"/>
          </ac:spMkLst>
        </pc:spChg>
        <pc:spChg chg="mod ord">
          <ac:chgData name="Yudi Zhu" userId="571e1a55-055f-4c28-8b35-fca6dd1c1369" providerId="ADAL" clId="{75A88773-6EE1-484E-AADE-FE631E01463B}" dt="2025-11-26T03:59:28.899" v="754267"/>
          <ac:spMkLst>
            <pc:docMk/>
            <pc:sldMk cId="2945841504" sldId="2147483097"/>
            <ac:spMk id="1855" creationId="{1BE56B6A-3C30-4B59-A6C7-170064E01044}"/>
          </ac:spMkLst>
        </pc:spChg>
        <pc:spChg chg="add mod">
          <ac:chgData name="Yudi Zhu" userId="571e1a55-055f-4c28-8b35-fca6dd1c1369" providerId="ADAL" clId="{75A88773-6EE1-484E-AADE-FE631E01463B}" dt="2025-11-26T03:59:28.943" v="754407"/>
          <ac:spMkLst>
            <pc:docMk/>
            <pc:sldMk cId="2945841504" sldId="2147483097"/>
            <ac:spMk id="1868" creationId="{D517B235-34AE-0C88-574E-EE674E6E106A}"/>
          </ac:spMkLst>
        </pc:spChg>
        <pc:spChg chg="add del mod modVis">
          <ac:chgData name="Yudi Zhu" userId="571e1a55-055f-4c28-8b35-fca6dd1c1369" providerId="ADAL" clId="{75A88773-6EE1-484E-AADE-FE631E01463B}" dt="2025-11-24T04:13:04.739" v="622005"/>
          <ac:spMkLst>
            <pc:docMk/>
            <pc:sldMk cId="2945841504" sldId="2147483097"/>
            <ac:spMk id="1869" creationId="{4CEB51ED-4C57-54AD-08C3-005C70C4CD47}"/>
          </ac:spMkLst>
        </pc:spChg>
        <pc:spChg chg="add del mod ord">
          <ac:chgData name="Yudi Zhu" userId="571e1a55-055f-4c28-8b35-fca6dd1c1369" providerId="ADAL" clId="{75A88773-6EE1-484E-AADE-FE631E01463B}" dt="2025-11-26T03:31:57.081" v="697211"/>
          <ac:spMkLst>
            <pc:docMk/>
            <pc:sldMk cId="2945841504" sldId="2147483097"/>
            <ac:spMk id="1869" creationId="{CE878F7E-39E8-D20F-E522-AEDB84DF2B77}"/>
          </ac:spMkLst>
        </pc:spChg>
        <pc:spChg chg="add mod">
          <ac:chgData name="Yudi Zhu" userId="571e1a55-055f-4c28-8b35-fca6dd1c1369" providerId="ADAL" clId="{75A88773-6EE1-484E-AADE-FE631E01463B}" dt="2025-11-26T03:59:28.943" v="754416"/>
          <ac:spMkLst>
            <pc:docMk/>
            <pc:sldMk cId="2945841504" sldId="2147483097"/>
            <ac:spMk id="1870" creationId="{C6E07732-9031-9168-BFB0-CEF03BD54EC3}"/>
          </ac:spMkLst>
        </pc:spChg>
        <pc:spChg chg="add mod ord">
          <ac:chgData name="Yudi Zhu" userId="571e1a55-055f-4c28-8b35-fca6dd1c1369" providerId="ADAL" clId="{75A88773-6EE1-484E-AADE-FE631E01463B}" dt="2025-11-26T03:59:28.943" v="754403"/>
          <ac:spMkLst>
            <pc:docMk/>
            <pc:sldMk cId="2945841504" sldId="2147483097"/>
            <ac:spMk id="1871" creationId="{88E6662D-0776-7053-4A00-AC49E629CB98}"/>
          </ac:spMkLst>
        </pc:spChg>
        <pc:spChg chg="add mod ord">
          <ac:chgData name="Yudi Zhu" userId="571e1a55-055f-4c28-8b35-fca6dd1c1369" providerId="ADAL" clId="{75A88773-6EE1-484E-AADE-FE631E01463B}" dt="2025-11-26T03:59:28.959" v="754418"/>
          <ac:spMkLst>
            <pc:docMk/>
            <pc:sldMk cId="2945841504" sldId="2147483097"/>
            <ac:spMk id="1872" creationId="{09AB5DCE-0365-9D0D-3880-236DD3DFA061}"/>
          </ac:spMkLst>
        </pc:spChg>
        <pc:spChg chg="add mod ord">
          <ac:chgData name="Yudi Zhu" userId="571e1a55-055f-4c28-8b35-fca6dd1c1369" providerId="ADAL" clId="{75A88773-6EE1-484E-AADE-FE631E01463B}" dt="2025-11-26T03:59:28.928" v="754385"/>
          <ac:spMkLst>
            <pc:docMk/>
            <pc:sldMk cId="2945841504" sldId="2147483097"/>
            <ac:spMk id="1873" creationId="{05407D80-E416-6E11-84C7-DD78FC13A95D}"/>
          </ac:spMkLst>
        </pc:spChg>
        <pc:spChg chg="add mod">
          <ac:chgData name="Yudi Zhu" userId="571e1a55-055f-4c28-8b35-fca6dd1c1369" providerId="ADAL" clId="{75A88773-6EE1-484E-AADE-FE631E01463B}" dt="2025-11-26T03:59:28.962" v="754427"/>
          <ac:spMkLst>
            <pc:docMk/>
            <pc:sldMk cId="2945841504" sldId="2147483097"/>
            <ac:spMk id="1874" creationId="{C78E0AD3-36D9-095B-2798-4F5FE0BC4885}"/>
          </ac:spMkLst>
        </pc:spChg>
        <pc:spChg chg="add mod">
          <ac:chgData name="Yudi Zhu" userId="571e1a55-055f-4c28-8b35-fca6dd1c1369" providerId="ADAL" clId="{75A88773-6EE1-484E-AADE-FE631E01463B}" dt="2025-11-26T03:59:28.962" v="754428"/>
          <ac:spMkLst>
            <pc:docMk/>
            <pc:sldMk cId="2945841504" sldId="2147483097"/>
            <ac:spMk id="1875" creationId="{0CCFA2B6-0C72-5E6F-55EA-74947500111E}"/>
          </ac:spMkLst>
        </pc:spChg>
        <pc:spChg chg="add mod">
          <ac:chgData name="Yudi Zhu" userId="571e1a55-055f-4c28-8b35-fca6dd1c1369" providerId="ADAL" clId="{75A88773-6EE1-484E-AADE-FE631E01463B}" dt="2025-11-24T04:15:36.802" v="628412"/>
          <ac:spMkLst>
            <pc:docMk/>
            <pc:sldMk cId="2945841504" sldId="2147483097"/>
            <ac:spMk id="1875" creationId="{A95933DF-FAAF-683C-FA96-1343A6F7B66E}"/>
          </ac:spMkLst>
        </pc:spChg>
        <pc:spChg chg="add del mod modVis">
          <ac:chgData name="Yudi Zhu" userId="571e1a55-055f-4c28-8b35-fca6dd1c1369" providerId="ADAL" clId="{75A88773-6EE1-484E-AADE-FE631E01463B}" dt="2025-11-24T04:15:36.802" v="628412"/>
          <ac:spMkLst>
            <pc:docMk/>
            <pc:sldMk cId="2945841504" sldId="2147483097"/>
            <ac:spMk id="1876" creationId="{246A123D-701C-9DA3-2DCD-D681E27CB13A}"/>
          </ac:spMkLst>
        </pc:spChg>
        <pc:spChg chg="add mod ord">
          <ac:chgData name="Yudi Zhu" userId="571e1a55-055f-4c28-8b35-fca6dd1c1369" providerId="ADAL" clId="{75A88773-6EE1-484E-AADE-FE631E01463B}" dt="2025-11-26T03:59:28.928" v="754391"/>
          <ac:spMkLst>
            <pc:docMk/>
            <pc:sldMk cId="2945841504" sldId="2147483097"/>
            <ac:spMk id="1876" creationId="{30D492D9-5BDD-171C-A10A-02BDAD3A9C9A}"/>
          </ac:spMkLst>
        </pc:spChg>
        <pc:spChg chg="add mod ord">
          <ac:chgData name="Yudi Zhu" userId="571e1a55-055f-4c28-8b35-fca6dd1c1369" providerId="ADAL" clId="{75A88773-6EE1-484E-AADE-FE631E01463B}" dt="2025-11-26T03:59:28.943" v="754397"/>
          <ac:spMkLst>
            <pc:docMk/>
            <pc:sldMk cId="2945841504" sldId="2147483097"/>
            <ac:spMk id="1877" creationId="{EF6689EC-B591-6AF1-C4EC-3227A6F667A9}"/>
          </ac:spMkLst>
        </pc:spChg>
        <pc:spChg chg="add mod">
          <ac:chgData name="Yudi Zhu" userId="571e1a55-055f-4c28-8b35-fca6dd1c1369" providerId="ADAL" clId="{75A88773-6EE1-484E-AADE-FE631E01463B}" dt="2025-11-26T03:59:28.943" v="754398"/>
          <ac:spMkLst>
            <pc:docMk/>
            <pc:sldMk cId="2945841504" sldId="2147483097"/>
            <ac:spMk id="1878" creationId="{8365F0EE-90DC-3C07-287A-94B206AADA28}"/>
          </ac:spMkLst>
        </pc:spChg>
        <pc:spChg chg="add del mod modVis">
          <ac:chgData name="Yudi Zhu" userId="571e1a55-055f-4c28-8b35-fca6dd1c1369" providerId="ADAL" clId="{75A88773-6EE1-484E-AADE-FE631E01463B}" dt="2025-11-24T04:18:13.724" v="634235"/>
          <ac:spMkLst>
            <pc:docMk/>
            <pc:sldMk cId="2945841504" sldId="2147483097"/>
            <ac:spMk id="1878" creationId="{DD4D0EC0-521A-7154-012B-D187E7A3AF87}"/>
          </ac:spMkLst>
        </pc:spChg>
        <pc:spChg chg="add mod">
          <ac:chgData name="Yudi Zhu" userId="571e1a55-055f-4c28-8b35-fca6dd1c1369" providerId="ADAL" clId="{75A88773-6EE1-484E-AADE-FE631E01463B}" dt="2025-11-26T03:59:28.943" v="754402"/>
          <ac:spMkLst>
            <pc:docMk/>
            <pc:sldMk cId="2945841504" sldId="2147483097"/>
            <ac:spMk id="1879" creationId="{8FADCA6A-0D3C-3458-0D6D-4974113153D6}"/>
          </ac:spMkLst>
        </pc:spChg>
        <pc:spChg chg="add mod">
          <ac:chgData name="Yudi Zhu" userId="571e1a55-055f-4c28-8b35-fca6dd1c1369" providerId="ADAL" clId="{75A88773-6EE1-484E-AADE-FE631E01463B}" dt="2025-11-26T03:59:28.896" v="754261"/>
          <ac:spMkLst>
            <pc:docMk/>
            <pc:sldMk cId="2945841504" sldId="2147483097"/>
            <ac:spMk id="1880" creationId="{4B9753A8-D625-4D4F-29EB-DB60BCAC028E}"/>
          </ac:spMkLst>
        </pc:spChg>
        <pc:spChg chg="add mod">
          <ac:chgData name="Yudi Zhu" userId="571e1a55-055f-4c28-8b35-fca6dd1c1369" providerId="ADAL" clId="{75A88773-6EE1-484E-AADE-FE631E01463B}" dt="2025-11-26T03:59:28.928" v="754392"/>
          <ac:spMkLst>
            <pc:docMk/>
            <pc:sldMk cId="2945841504" sldId="2147483097"/>
            <ac:spMk id="1881" creationId="{08716696-DF0E-ED84-2AFA-2C9F7E84F462}"/>
          </ac:spMkLst>
        </pc:spChg>
        <pc:spChg chg="add del mod modVis">
          <ac:chgData name="Yudi Zhu" userId="571e1a55-055f-4c28-8b35-fca6dd1c1369" providerId="ADAL" clId="{75A88773-6EE1-484E-AADE-FE631E01463B}" dt="2025-11-24T04:18:16.094" v="634778"/>
          <ac:spMkLst>
            <pc:docMk/>
            <pc:sldMk cId="2945841504" sldId="2147483097"/>
            <ac:spMk id="1881" creationId="{73BAA1F6-E150-3856-4C26-90A630E93720}"/>
          </ac:spMkLst>
        </pc:spChg>
        <pc:spChg chg="add mod">
          <ac:chgData name="Yudi Zhu" userId="571e1a55-055f-4c28-8b35-fca6dd1c1369" providerId="ADAL" clId="{75A88773-6EE1-484E-AADE-FE631E01463B}" dt="2025-11-26T03:59:28.897" v="754263"/>
          <ac:spMkLst>
            <pc:docMk/>
            <pc:sldMk cId="2945841504" sldId="2147483097"/>
            <ac:spMk id="1882" creationId="{226A4E37-E112-9678-9034-CF8BCA141FDE}"/>
          </ac:spMkLst>
        </pc:spChg>
        <pc:spChg chg="add mod">
          <ac:chgData name="Yudi Zhu" userId="571e1a55-055f-4c28-8b35-fca6dd1c1369" providerId="ADAL" clId="{75A88773-6EE1-484E-AADE-FE631E01463B}" dt="2025-11-26T03:59:28.899" v="754266"/>
          <ac:spMkLst>
            <pc:docMk/>
            <pc:sldMk cId="2945841504" sldId="2147483097"/>
            <ac:spMk id="1883" creationId="{929925F6-0E93-EC22-B300-E21F72946F4C}"/>
          </ac:spMkLst>
        </pc:spChg>
        <pc:spChg chg="add mod">
          <ac:chgData name="Yudi Zhu" userId="571e1a55-055f-4c28-8b35-fca6dd1c1369" providerId="ADAL" clId="{75A88773-6EE1-484E-AADE-FE631E01463B}" dt="2025-11-26T03:59:28.900" v="754268"/>
          <ac:spMkLst>
            <pc:docMk/>
            <pc:sldMk cId="2945841504" sldId="2147483097"/>
            <ac:spMk id="1884" creationId="{7D8DCB6C-4AAA-0195-9FB6-084C41ED8B42}"/>
          </ac:spMkLst>
        </pc:spChg>
        <pc:spChg chg="add mod ord">
          <ac:chgData name="Yudi Zhu" userId="571e1a55-055f-4c28-8b35-fca6dd1c1369" providerId="ADAL" clId="{75A88773-6EE1-484E-AADE-FE631E01463B}" dt="2025-11-26T03:59:28.943" v="754404"/>
          <ac:spMkLst>
            <pc:docMk/>
            <pc:sldMk cId="2945841504" sldId="2147483097"/>
            <ac:spMk id="1885" creationId="{E7F286C7-2CCE-DF57-5848-56017BDA4A58}"/>
          </ac:spMkLst>
        </pc:spChg>
        <pc:spChg chg="add del mod modVis">
          <ac:chgData name="Yudi Zhu" userId="571e1a55-055f-4c28-8b35-fca6dd1c1369" providerId="ADAL" clId="{75A88773-6EE1-484E-AADE-FE631E01463B}" dt="2025-11-24T04:18:23.512" v="635147"/>
          <ac:spMkLst>
            <pc:docMk/>
            <pc:sldMk cId="2945841504" sldId="2147483097"/>
            <ac:spMk id="1886" creationId="{32E7C1F1-53F2-71A4-7092-53BC06983D71}"/>
          </ac:spMkLst>
        </pc:spChg>
        <pc:spChg chg="add mod">
          <ac:chgData name="Yudi Zhu" userId="571e1a55-055f-4c28-8b35-fca6dd1c1369" providerId="ADAL" clId="{75A88773-6EE1-484E-AADE-FE631E01463B}" dt="2025-11-26T03:59:28.975" v="754445"/>
          <ac:spMkLst>
            <pc:docMk/>
            <pc:sldMk cId="2945841504" sldId="2147483097"/>
            <ac:spMk id="1886" creationId="{956B8C20-51FE-937D-8B3F-ED50A9704246}"/>
          </ac:spMkLst>
        </pc:spChg>
        <pc:spChg chg="add mod ord">
          <ac:chgData name="Yudi Zhu" userId="571e1a55-055f-4c28-8b35-fca6dd1c1369" providerId="ADAL" clId="{75A88773-6EE1-484E-AADE-FE631E01463B}" dt="2025-11-26T03:59:28.975" v="754444"/>
          <ac:spMkLst>
            <pc:docMk/>
            <pc:sldMk cId="2945841504" sldId="2147483097"/>
            <ac:spMk id="1887" creationId="{3505B40A-A35F-45C7-8F2D-FD3AF84F0164}"/>
          </ac:spMkLst>
        </pc:spChg>
        <pc:spChg chg="add del mod modVis">
          <ac:chgData name="Yudi Zhu" userId="571e1a55-055f-4c28-8b35-fca6dd1c1369" providerId="ADAL" clId="{75A88773-6EE1-484E-AADE-FE631E01463B}" dt="2025-11-24T04:19:43.111" v="639237"/>
          <ac:spMkLst>
            <pc:docMk/>
            <pc:sldMk cId="2945841504" sldId="2147483097"/>
            <ac:spMk id="1889" creationId="{54B258DC-2B59-F368-2D03-0C82B77D6125}"/>
          </ac:spMkLst>
        </pc:spChg>
        <pc:spChg chg="add mod ord">
          <ac:chgData name="Yudi Zhu" userId="571e1a55-055f-4c28-8b35-fca6dd1c1369" providerId="ADAL" clId="{75A88773-6EE1-484E-AADE-FE631E01463B}" dt="2025-11-26T03:59:28.962" v="754439"/>
          <ac:spMkLst>
            <pc:docMk/>
            <pc:sldMk cId="2945841504" sldId="2147483097"/>
            <ac:spMk id="1889" creationId="{5C1A9586-BBAB-1982-558D-BDE434FF3DE0}"/>
          </ac:spMkLst>
        </pc:spChg>
        <pc:spChg chg="add mod ord">
          <ac:chgData name="Yudi Zhu" userId="571e1a55-055f-4c28-8b35-fca6dd1c1369" providerId="ADAL" clId="{75A88773-6EE1-484E-AADE-FE631E01463B}" dt="2025-11-26T03:59:28.943" v="754412"/>
          <ac:spMkLst>
            <pc:docMk/>
            <pc:sldMk cId="2945841504" sldId="2147483097"/>
            <ac:spMk id="1890" creationId="{A0D250D8-7915-2211-F695-A7C95122C779}"/>
          </ac:spMkLst>
        </pc:spChg>
        <pc:spChg chg="add mod">
          <ac:chgData name="Yudi Zhu" userId="571e1a55-055f-4c28-8b35-fca6dd1c1369" providerId="ADAL" clId="{75A88773-6EE1-484E-AADE-FE631E01463B}" dt="2025-11-26T03:59:28.962" v="754438"/>
          <ac:spMkLst>
            <pc:docMk/>
            <pc:sldMk cId="2945841504" sldId="2147483097"/>
            <ac:spMk id="1891" creationId="{DDB59E46-B3D0-DBF1-3D2D-D4343AC8894F}"/>
          </ac:spMkLst>
        </pc:spChg>
        <pc:spChg chg="add mod ord">
          <ac:chgData name="Yudi Zhu" userId="571e1a55-055f-4c28-8b35-fca6dd1c1369" providerId="ADAL" clId="{75A88773-6EE1-484E-AADE-FE631E01463B}" dt="2025-11-26T03:59:28.962" v="754434"/>
          <ac:spMkLst>
            <pc:docMk/>
            <pc:sldMk cId="2945841504" sldId="2147483097"/>
            <ac:spMk id="1892" creationId="{C37B7ED7-4EBB-6773-ED9A-6A67640B094A}"/>
          </ac:spMkLst>
        </pc:spChg>
        <pc:spChg chg="add mod">
          <ac:chgData name="Yudi Zhu" userId="571e1a55-055f-4c28-8b35-fca6dd1c1369" providerId="ADAL" clId="{75A88773-6EE1-484E-AADE-FE631E01463B}" dt="2025-11-26T03:59:28.943" v="754408"/>
          <ac:spMkLst>
            <pc:docMk/>
            <pc:sldMk cId="2945841504" sldId="2147483097"/>
            <ac:spMk id="1893" creationId="{E0E6EB9C-DE28-14B6-3D4A-624AC9CC823B}"/>
          </ac:spMkLst>
        </pc:spChg>
        <pc:spChg chg="add mod">
          <ac:chgData name="Yudi Zhu" userId="571e1a55-055f-4c28-8b35-fca6dd1c1369" providerId="ADAL" clId="{75A88773-6EE1-484E-AADE-FE631E01463B}" dt="2025-11-26T03:59:28.943" v="754406"/>
          <ac:spMkLst>
            <pc:docMk/>
            <pc:sldMk cId="2945841504" sldId="2147483097"/>
            <ac:spMk id="1894" creationId="{8077CC67-114E-440D-72A2-735F5CE7AAD4}"/>
          </ac:spMkLst>
        </pc:spChg>
        <pc:spChg chg="add del mod">
          <ac:chgData name="Yudi Zhu" userId="571e1a55-055f-4c28-8b35-fca6dd1c1369" providerId="ADAL" clId="{75A88773-6EE1-484E-AADE-FE631E01463B}" dt="2025-11-26T03:31:57.081" v="697208"/>
          <ac:spMkLst>
            <pc:docMk/>
            <pc:sldMk cId="2945841504" sldId="2147483097"/>
            <ac:spMk id="1895" creationId="{A7419253-2298-817F-52EF-56E18AF4F1C4}"/>
          </ac:spMkLst>
        </pc:spChg>
        <pc:spChg chg="add mod ord">
          <ac:chgData name="Yudi Zhu" userId="571e1a55-055f-4c28-8b35-fca6dd1c1369" providerId="ADAL" clId="{75A88773-6EE1-484E-AADE-FE631E01463B}" dt="2025-11-26T03:59:28.943" v="754405"/>
          <ac:spMkLst>
            <pc:docMk/>
            <pc:sldMk cId="2945841504" sldId="2147483097"/>
            <ac:spMk id="1896" creationId="{A0DF08CB-77C3-AF09-DD50-ECBA6C70CD31}"/>
          </ac:spMkLst>
        </pc:spChg>
        <pc:spChg chg="add mod ord">
          <ac:chgData name="Yudi Zhu" userId="571e1a55-055f-4c28-8b35-fca6dd1c1369" providerId="ADAL" clId="{75A88773-6EE1-484E-AADE-FE631E01463B}" dt="2025-11-26T03:59:28.978" v="754453"/>
          <ac:spMkLst>
            <pc:docMk/>
            <pc:sldMk cId="2945841504" sldId="2147483097"/>
            <ac:spMk id="1897" creationId="{7E61645E-D4DE-1737-7C85-F151A4F78B3A}"/>
          </ac:spMkLst>
        </pc:spChg>
        <pc:spChg chg="add mod ord">
          <ac:chgData name="Yudi Zhu" userId="571e1a55-055f-4c28-8b35-fca6dd1c1369" providerId="ADAL" clId="{75A88773-6EE1-484E-AADE-FE631E01463B}" dt="2025-11-26T03:59:28.978" v="754455"/>
          <ac:spMkLst>
            <pc:docMk/>
            <pc:sldMk cId="2945841504" sldId="2147483097"/>
            <ac:spMk id="1898" creationId="{50793C40-3217-B638-6CF8-06766F96E06F}"/>
          </ac:spMkLst>
        </pc:spChg>
        <pc:spChg chg="add mod">
          <ac:chgData name="Yudi Zhu" userId="571e1a55-055f-4c28-8b35-fca6dd1c1369" providerId="ADAL" clId="{75A88773-6EE1-484E-AADE-FE631E01463B}" dt="2025-11-26T03:59:28.978" v="754462"/>
          <ac:spMkLst>
            <pc:docMk/>
            <pc:sldMk cId="2945841504" sldId="2147483097"/>
            <ac:spMk id="1899" creationId="{35F861E0-E670-1833-A66F-B9FC34A0216A}"/>
          </ac:spMkLst>
        </pc:spChg>
        <pc:spChg chg="add mod">
          <ac:chgData name="Yudi Zhu" userId="571e1a55-055f-4c28-8b35-fca6dd1c1369" providerId="ADAL" clId="{75A88773-6EE1-484E-AADE-FE631E01463B}" dt="2025-11-26T03:59:28.978" v="754463"/>
          <ac:spMkLst>
            <pc:docMk/>
            <pc:sldMk cId="2945841504" sldId="2147483097"/>
            <ac:spMk id="1900" creationId="{66A09093-1895-D3C6-4933-8D3795C3DE61}"/>
          </ac:spMkLst>
        </pc:spChg>
        <pc:spChg chg="add del mod modVis">
          <ac:chgData name="Yudi Zhu" userId="571e1a55-055f-4c28-8b35-fca6dd1c1369" providerId="ADAL" clId="{75A88773-6EE1-484E-AADE-FE631E01463B}" dt="2025-11-26T03:31:21.163" v="692219"/>
          <ac:spMkLst>
            <pc:docMk/>
            <pc:sldMk cId="2945841504" sldId="2147483097"/>
            <ac:spMk id="1901" creationId="{25104355-1B8E-FDFB-2F53-EE0ECA67B892}"/>
          </ac:spMkLst>
        </pc:spChg>
        <pc:spChg chg="add del mod modVis">
          <ac:chgData name="Yudi Zhu" userId="571e1a55-055f-4c28-8b35-fca6dd1c1369" providerId="ADAL" clId="{75A88773-6EE1-484E-AADE-FE631E01463B}" dt="2025-11-26T03:31:41.580" v="692574"/>
          <ac:spMkLst>
            <pc:docMk/>
            <pc:sldMk cId="2945841504" sldId="2147483097"/>
            <ac:spMk id="1903" creationId="{C3F2CFB5-667F-188C-6791-AA0988D6AFBE}"/>
          </ac:spMkLst>
        </pc:spChg>
        <pc:spChg chg="add mod">
          <ac:chgData name="Yudi Zhu" userId="571e1a55-055f-4c28-8b35-fca6dd1c1369" providerId="ADAL" clId="{75A88773-6EE1-484E-AADE-FE631E01463B}" dt="2025-11-26T03:59:28.978" v="754464"/>
          <ac:spMkLst>
            <pc:docMk/>
            <pc:sldMk cId="2945841504" sldId="2147483097"/>
            <ac:spMk id="1905" creationId="{4156B008-6D61-B92C-2524-4B32E6E7E8B7}"/>
          </ac:spMkLst>
        </pc:spChg>
        <pc:spChg chg="add mod">
          <ac:chgData name="Yudi Zhu" userId="571e1a55-055f-4c28-8b35-fca6dd1c1369" providerId="ADAL" clId="{75A88773-6EE1-484E-AADE-FE631E01463B}" dt="2025-11-26T03:59:28.978" v="754465"/>
          <ac:spMkLst>
            <pc:docMk/>
            <pc:sldMk cId="2945841504" sldId="2147483097"/>
            <ac:spMk id="1906" creationId="{0E609E70-D654-E093-CABC-E441DF9087D7}"/>
          </ac:spMkLst>
        </pc:spChg>
        <pc:spChg chg="add mod">
          <ac:chgData name="Yudi Zhu" userId="571e1a55-055f-4c28-8b35-fca6dd1c1369" providerId="ADAL" clId="{75A88773-6EE1-484E-AADE-FE631E01463B}" dt="2025-11-26T03:59:28.978" v="754466"/>
          <ac:spMkLst>
            <pc:docMk/>
            <pc:sldMk cId="2945841504" sldId="2147483097"/>
            <ac:spMk id="1907" creationId="{48297C37-4A2A-B186-8641-4658A474097B}"/>
          </ac:spMkLst>
        </pc:spChg>
        <pc:spChg chg="add del mod ord">
          <ac:chgData name="Yudi Zhu" userId="571e1a55-055f-4c28-8b35-fca6dd1c1369" providerId="ADAL" clId="{75A88773-6EE1-484E-AADE-FE631E01463B}" dt="2025-11-26T03:31:55.864" v="695752"/>
          <ac:spMkLst>
            <pc:docMk/>
            <pc:sldMk cId="2945841504" sldId="2147483097"/>
            <ac:spMk id="1908" creationId="{0B0CE1DF-2723-A7D5-3DF4-46961DE9EBCC}"/>
          </ac:spMkLst>
        </pc:spChg>
        <pc:spChg chg="add del mod">
          <ac:chgData name="Yudi Zhu" userId="571e1a55-055f-4c28-8b35-fca6dd1c1369" providerId="ADAL" clId="{75A88773-6EE1-484E-AADE-FE631E01463B}" dt="2025-11-26T03:31:55.864" v="695749"/>
          <ac:spMkLst>
            <pc:docMk/>
            <pc:sldMk cId="2945841504" sldId="2147483097"/>
            <ac:spMk id="1909" creationId="{A71C629B-F627-A2A9-208E-D3F4005C9552}"/>
          </ac:spMkLst>
        </pc:spChg>
        <pc:spChg chg="add del mod">
          <ac:chgData name="Yudi Zhu" userId="571e1a55-055f-4c28-8b35-fca6dd1c1369" providerId="ADAL" clId="{75A88773-6EE1-484E-AADE-FE631E01463B}" dt="2025-11-26T03:31:55.864" v="695745"/>
          <ac:spMkLst>
            <pc:docMk/>
            <pc:sldMk cId="2945841504" sldId="2147483097"/>
            <ac:spMk id="1910" creationId="{EF0AF08F-4CE4-BC94-116E-1A088FCBF377}"/>
          </ac:spMkLst>
        </pc:spChg>
        <pc:spChg chg="add mod ord">
          <ac:chgData name="Yudi Zhu" userId="571e1a55-055f-4c28-8b35-fca6dd1c1369" providerId="ADAL" clId="{75A88773-6EE1-484E-AADE-FE631E01463B}" dt="2025-11-26T03:59:28.928" v="754389"/>
          <ac:spMkLst>
            <pc:docMk/>
            <pc:sldMk cId="2945841504" sldId="2147483097"/>
            <ac:spMk id="1911" creationId="{5B56FCE9-40A0-6DB6-DE94-BB939049C5E6}"/>
          </ac:spMkLst>
        </pc:spChg>
        <pc:spChg chg="add mod">
          <ac:chgData name="Yudi Zhu" userId="571e1a55-055f-4c28-8b35-fca6dd1c1369" providerId="ADAL" clId="{75A88773-6EE1-484E-AADE-FE631E01463B}" dt="2025-11-26T03:59:28.928" v="754387"/>
          <ac:spMkLst>
            <pc:docMk/>
            <pc:sldMk cId="2945841504" sldId="2147483097"/>
            <ac:spMk id="1912" creationId="{4BA3AAFE-425B-0FE9-F37C-6372EE6EF387}"/>
          </ac:spMkLst>
        </pc:spChg>
        <pc:spChg chg="add mod">
          <ac:chgData name="Yudi Zhu" userId="571e1a55-055f-4c28-8b35-fca6dd1c1369" providerId="ADAL" clId="{75A88773-6EE1-484E-AADE-FE631E01463B}" dt="2025-11-26T03:59:28.928" v="754386"/>
          <ac:spMkLst>
            <pc:docMk/>
            <pc:sldMk cId="2945841504" sldId="2147483097"/>
            <ac:spMk id="1913" creationId="{EAFD658F-06C7-F532-5625-5D9375F58080}"/>
          </ac:spMkLst>
        </pc:spChg>
        <pc:spChg chg="add mod">
          <ac:chgData name="Yudi Zhu" userId="571e1a55-055f-4c28-8b35-fca6dd1c1369" providerId="ADAL" clId="{75A88773-6EE1-484E-AADE-FE631E01463B}" dt="2025-11-26T03:59:28.943" v="754395"/>
          <ac:spMkLst>
            <pc:docMk/>
            <pc:sldMk cId="2945841504" sldId="2147483097"/>
            <ac:spMk id="1914" creationId="{BD8D97C7-D102-EA5B-14FE-83D8616F578E}"/>
          </ac:spMkLst>
        </pc:spChg>
        <pc:spChg chg="add mod">
          <ac:chgData name="Yudi Zhu" userId="571e1a55-055f-4c28-8b35-fca6dd1c1369" providerId="ADAL" clId="{75A88773-6EE1-484E-AADE-FE631E01463B}" dt="2025-11-26T03:59:28.928" v="754394"/>
          <ac:spMkLst>
            <pc:docMk/>
            <pc:sldMk cId="2945841504" sldId="2147483097"/>
            <ac:spMk id="1917" creationId="{151EFE26-6235-2295-A10E-FF7300A2E6EA}"/>
          </ac:spMkLst>
        </pc:spChg>
        <pc:spChg chg="add mod">
          <ac:chgData name="Yudi Zhu" userId="571e1a55-055f-4c28-8b35-fca6dd1c1369" providerId="ADAL" clId="{75A88773-6EE1-484E-AADE-FE631E01463B}" dt="2025-11-26T03:59:28.928" v="754393"/>
          <ac:spMkLst>
            <pc:docMk/>
            <pc:sldMk cId="2945841504" sldId="2147483097"/>
            <ac:spMk id="1918" creationId="{F7FFD5AC-6408-3AD4-A244-A3C8BA6B9DA4}"/>
          </ac:spMkLst>
        </pc:spChg>
        <pc:spChg chg="add mod">
          <ac:chgData name="Yudi Zhu" userId="571e1a55-055f-4c28-8b35-fca6dd1c1369" providerId="ADAL" clId="{75A88773-6EE1-484E-AADE-FE631E01463B}" dt="2025-11-26T03:59:28.943" v="754401"/>
          <ac:spMkLst>
            <pc:docMk/>
            <pc:sldMk cId="2945841504" sldId="2147483097"/>
            <ac:spMk id="1920" creationId="{C0C96CC1-849D-C47F-3011-B0A9D1D4E46A}"/>
          </ac:spMkLst>
        </pc:spChg>
        <pc:spChg chg="add mod ord">
          <ac:chgData name="Yudi Zhu" userId="571e1a55-055f-4c28-8b35-fca6dd1c1369" providerId="ADAL" clId="{75A88773-6EE1-484E-AADE-FE631E01463B}" dt="2025-11-26T03:59:28.943" v="754400"/>
          <ac:spMkLst>
            <pc:docMk/>
            <pc:sldMk cId="2945841504" sldId="2147483097"/>
            <ac:spMk id="1921" creationId="{699F3721-4FDE-B4E5-B0C4-A7324B1A6704}"/>
          </ac:spMkLst>
        </pc:spChg>
        <pc:spChg chg="add mod">
          <ac:chgData name="Yudi Zhu" userId="571e1a55-055f-4c28-8b35-fca6dd1c1369" providerId="ADAL" clId="{75A88773-6EE1-484E-AADE-FE631E01463B}" dt="2025-11-26T03:59:28.943" v="754399"/>
          <ac:spMkLst>
            <pc:docMk/>
            <pc:sldMk cId="2945841504" sldId="2147483097"/>
            <ac:spMk id="1922" creationId="{A9B3259F-B65B-1C87-8132-D8E45EDDAC6A}"/>
          </ac:spMkLst>
        </pc:spChg>
        <pc:spChg chg="add mod">
          <ac:chgData name="Yudi Zhu" userId="571e1a55-055f-4c28-8b35-fca6dd1c1369" providerId="ADAL" clId="{75A88773-6EE1-484E-AADE-FE631E01463B}" dt="2025-11-26T03:59:28.978" v="754446"/>
          <ac:spMkLst>
            <pc:docMk/>
            <pc:sldMk cId="2945841504" sldId="2147483097"/>
            <ac:spMk id="1923" creationId="{95028E2A-B9BC-DEC6-9A2E-050FDA19E099}"/>
          </ac:spMkLst>
        </pc:spChg>
        <pc:spChg chg="add mod ord">
          <ac:chgData name="Yudi Zhu" userId="571e1a55-055f-4c28-8b35-fca6dd1c1369" providerId="ADAL" clId="{75A88773-6EE1-484E-AADE-FE631E01463B}" dt="2025-11-26T03:59:28.978" v="754448"/>
          <ac:spMkLst>
            <pc:docMk/>
            <pc:sldMk cId="2945841504" sldId="2147483097"/>
            <ac:spMk id="1924" creationId="{90545DD3-659F-D754-8837-27C997A85952}"/>
          </ac:spMkLst>
        </pc:spChg>
        <pc:spChg chg="add mod ord">
          <ac:chgData name="Yudi Zhu" userId="571e1a55-055f-4c28-8b35-fca6dd1c1369" providerId="ADAL" clId="{75A88773-6EE1-484E-AADE-FE631E01463B}" dt="2025-11-26T03:59:28.978" v="754449"/>
          <ac:spMkLst>
            <pc:docMk/>
            <pc:sldMk cId="2945841504" sldId="2147483097"/>
            <ac:spMk id="1925" creationId="{3485C98C-7F6A-4103-CB05-09FDBE33F85D}"/>
          </ac:spMkLst>
        </pc:spChg>
        <pc:spChg chg="add mod">
          <ac:chgData name="Yudi Zhu" userId="571e1a55-055f-4c28-8b35-fca6dd1c1369" providerId="ADAL" clId="{75A88773-6EE1-484E-AADE-FE631E01463B}" dt="2025-11-26T03:59:28.962" v="754440"/>
          <ac:spMkLst>
            <pc:docMk/>
            <pc:sldMk cId="2945841504" sldId="2147483097"/>
            <ac:spMk id="1926" creationId="{40A97F92-77F9-D634-083D-B75C1A67E2A8}"/>
          </ac:spMkLst>
        </pc:spChg>
        <pc:spChg chg="add mod ord">
          <ac:chgData name="Yudi Zhu" userId="571e1a55-055f-4c28-8b35-fca6dd1c1369" providerId="ADAL" clId="{75A88773-6EE1-484E-AADE-FE631E01463B}" dt="2025-11-26T03:59:28.962" v="754442"/>
          <ac:spMkLst>
            <pc:docMk/>
            <pc:sldMk cId="2945841504" sldId="2147483097"/>
            <ac:spMk id="1927" creationId="{4D8A25B8-F747-13B9-00B1-74E9ECE446A3}"/>
          </ac:spMkLst>
        </pc:spChg>
        <pc:spChg chg="add mod ord">
          <ac:chgData name="Yudi Zhu" userId="571e1a55-055f-4c28-8b35-fca6dd1c1369" providerId="ADAL" clId="{75A88773-6EE1-484E-AADE-FE631E01463B}" dt="2025-11-26T03:59:28.975" v="754443"/>
          <ac:spMkLst>
            <pc:docMk/>
            <pc:sldMk cId="2945841504" sldId="2147483097"/>
            <ac:spMk id="1928" creationId="{ADE6BD44-08A7-C077-246D-6A1B8E33A367}"/>
          </ac:spMkLst>
        </pc:spChg>
        <pc:spChg chg="add mod">
          <ac:chgData name="Yudi Zhu" userId="571e1a55-055f-4c28-8b35-fca6dd1c1369" providerId="ADAL" clId="{75A88773-6EE1-484E-AADE-FE631E01463B}" dt="2025-11-26T03:59:28.959" v="754417"/>
          <ac:spMkLst>
            <pc:docMk/>
            <pc:sldMk cId="2945841504" sldId="2147483097"/>
            <ac:spMk id="1929" creationId="{2BA62A35-183B-B661-2347-DD78A0764786}"/>
          </ac:spMkLst>
        </pc:spChg>
        <pc:spChg chg="add mod ord">
          <ac:chgData name="Yudi Zhu" userId="571e1a55-055f-4c28-8b35-fca6dd1c1369" providerId="ADAL" clId="{75A88773-6EE1-484E-AADE-FE631E01463B}" dt="2025-11-26T03:59:28.962" v="754435"/>
          <ac:spMkLst>
            <pc:docMk/>
            <pc:sldMk cId="2945841504" sldId="2147483097"/>
            <ac:spMk id="1930" creationId="{F2909F36-E45F-A4F3-D879-823A37455F98}"/>
          </ac:spMkLst>
        </pc:spChg>
        <pc:spChg chg="add mod ord">
          <ac:chgData name="Yudi Zhu" userId="571e1a55-055f-4c28-8b35-fca6dd1c1369" providerId="ADAL" clId="{75A88773-6EE1-484E-AADE-FE631E01463B}" dt="2025-11-26T03:59:28.962" v="754437"/>
          <ac:spMkLst>
            <pc:docMk/>
            <pc:sldMk cId="2945841504" sldId="2147483097"/>
            <ac:spMk id="1931" creationId="{85F6D3EE-7D32-B4F2-506D-26DA59EA740A}"/>
          </ac:spMkLst>
        </pc:spChg>
        <pc:spChg chg="add mod">
          <ac:chgData name="Yudi Zhu" userId="571e1a55-055f-4c28-8b35-fca6dd1c1369" providerId="ADAL" clId="{75A88773-6EE1-484E-AADE-FE631E01463B}" dt="2025-11-26T03:59:28.962" v="754426"/>
          <ac:spMkLst>
            <pc:docMk/>
            <pc:sldMk cId="2945841504" sldId="2147483097"/>
            <ac:spMk id="1932" creationId="{870F128C-4204-436C-15CB-2F061BDDC964}"/>
          </ac:spMkLst>
        </pc:spChg>
        <pc:spChg chg="add mod ord">
          <ac:chgData name="Yudi Zhu" userId="571e1a55-055f-4c28-8b35-fca6dd1c1369" providerId="ADAL" clId="{75A88773-6EE1-484E-AADE-FE631E01463B}" dt="2025-11-26T03:59:28.943" v="754415"/>
          <ac:spMkLst>
            <pc:docMk/>
            <pc:sldMk cId="2945841504" sldId="2147483097"/>
            <ac:spMk id="1933" creationId="{DF51D229-C6DB-4285-4680-002C8CD3AEEE}"/>
          </ac:spMkLst>
        </pc:spChg>
        <pc:spChg chg="add mod ord">
          <ac:chgData name="Yudi Zhu" userId="571e1a55-055f-4c28-8b35-fca6dd1c1369" providerId="ADAL" clId="{75A88773-6EE1-484E-AADE-FE631E01463B}" dt="2025-11-26T03:59:28.978" v="754451"/>
          <ac:spMkLst>
            <pc:docMk/>
            <pc:sldMk cId="2945841504" sldId="2147483097"/>
            <ac:spMk id="1934" creationId="{AC51F0AD-1BDA-29CF-4190-73CECF6F9CA3}"/>
          </ac:spMkLst>
        </pc:spChg>
        <pc:spChg chg="add mod">
          <ac:chgData name="Yudi Zhu" userId="571e1a55-055f-4c28-8b35-fca6dd1c1369" providerId="ADAL" clId="{75A88773-6EE1-484E-AADE-FE631E01463B}" dt="2025-11-26T03:59:28.962" v="754429"/>
          <ac:spMkLst>
            <pc:docMk/>
            <pc:sldMk cId="2945841504" sldId="2147483097"/>
            <ac:spMk id="1935" creationId="{F78ED92F-515F-C4BF-58DB-998EDD5BE519}"/>
          </ac:spMkLst>
        </pc:spChg>
        <pc:spChg chg="add mod">
          <ac:chgData name="Yudi Zhu" userId="571e1a55-055f-4c28-8b35-fca6dd1c1369" providerId="ADAL" clId="{75A88773-6EE1-484E-AADE-FE631E01463B}" dt="2025-11-26T03:59:28.962" v="754422"/>
          <ac:spMkLst>
            <pc:docMk/>
            <pc:sldMk cId="2945841504" sldId="2147483097"/>
            <ac:spMk id="1936" creationId="{BD4723EF-B9F8-BE01-6B9B-B7369FFB0132}"/>
          </ac:spMkLst>
        </pc:spChg>
        <pc:spChg chg="add mod ord">
          <ac:chgData name="Yudi Zhu" userId="571e1a55-055f-4c28-8b35-fca6dd1c1369" providerId="ADAL" clId="{75A88773-6EE1-484E-AADE-FE631E01463B}" dt="2025-11-26T03:59:28.959" v="754420"/>
          <ac:spMkLst>
            <pc:docMk/>
            <pc:sldMk cId="2945841504" sldId="2147483097"/>
            <ac:spMk id="1937" creationId="{92E78387-A1A9-4B85-85D5-C376AF73F395}"/>
          </ac:spMkLst>
        </pc:spChg>
        <pc:spChg chg="add mod">
          <ac:chgData name="Yudi Zhu" userId="571e1a55-055f-4c28-8b35-fca6dd1c1369" providerId="ADAL" clId="{75A88773-6EE1-484E-AADE-FE631E01463B}" dt="2025-11-26T03:59:28.943" v="754413"/>
          <ac:spMkLst>
            <pc:docMk/>
            <pc:sldMk cId="2945841504" sldId="2147483097"/>
            <ac:spMk id="1938" creationId="{C4488964-0B6C-771A-98DA-3243D06D7B48}"/>
          </ac:spMkLst>
        </pc:spChg>
        <pc:spChg chg="add mod">
          <ac:chgData name="Yudi Zhu" userId="571e1a55-055f-4c28-8b35-fca6dd1c1369" providerId="ADAL" clId="{75A88773-6EE1-484E-AADE-FE631E01463B}" dt="2025-11-26T03:59:28.943" v="754411"/>
          <ac:spMkLst>
            <pc:docMk/>
            <pc:sldMk cId="2945841504" sldId="2147483097"/>
            <ac:spMk id="1939" creationId="{7B391AF9-8203-6A30-657C-FBFB56AE25F8}"/>
          </ac:spMkLst>
        </pc:spChg>
        <pc:spChg chg="add mod ord">
          <ac:chgData name="Yudi Zhu" userId="571e1a55-055f-4c28-8b35-fca6dd1c1369" providerId="ADAL" clId="{75A88773-6EE1-484E-AADE-FE631E01463B}" dt="2025-11-26T03:59:28.943" v="754410"/>
          <ac:spMkLst>
            <pc:docMk/>
            <pc:sldMk cId="2945841504" sldId="2147483097"/>
            <ac:spMk id="1940" creationId="{5506685F-6CA3-05CA-6610-3EA74C0D2B1B}"/>
          </ac:spMkLst>
        </pc:spChg>
        <pc:spChg chg="add del mod modVis">
          <ac:chgData name="Yudi Zhu" userId="571e1a55-055f-4c28-8b35-fca6dd1c1369" providerId="ADAL" clId="{75A88773-6EE1-484E-AADE-FE631E01463B}" dt="2025-11-26T03:31:54.860" v="695163"/>
          <ac:spMkLst>
            <pc:docMk/>
            <pc:sldMk cId="2945841504" sldId="2147483097"/>
            <ac:spMk id="1941" creationId="{775ACDB6-57F4-5E7B-3808-15256328EE02}"/>
          </ac:spMkLst>
        </pc:spChg>
        <pc:spChg chg="del">
          <ac:chgData name="Yudi Zhu" userId="571e1a55-055f-4c28-8b35-fca6dd1c1369" providerId="ADAL" clId="{75A88773-6EE1-484E-AADE-FE631E01463B}" dt="2025-11-24T03:57:48.274" v="605948"/>
          <ac:spMkLst>
            <pc:docMk/>
            <pc:sldMk cId="2945841504" sldId="2147483097"/>
            <ac:spMk id="1941" creationId="{D18E62C3-9ABD-7BA9-15EF-D17916B40F5A}"/>
          </ac:spMkLst>
        </pc:spChg>
        <pc:spChg chg="del">
          <ac:chgData name="Yudi Zhu" userId="571e1a55-055f-4c28-8b35-fca6dd1c1369" providerId="ADAL" clId="{75A88773-6EE1-484E-AADE-FE631E01463B}" dt="2025-11-24T03:57:48.301" v="605963"/>
          <ac:spMkLst>
            <pc:docMk/>
            <pc:sldMk cId="2945841504" sldId="2147483097"/>
            <ac:spMk id="1942" creationId="{812C8E86-0834-939A-00D8-7CB52769A34C}"/>
          </ac:spMkLst>
        </pc:spChg>
        <pc:spChg chg="del">
          <ac:chgData name="Yudi Zhu" userId="571e1a55-055f-4c28-8b35-fca6dd1c1369" providerId="ADAL" clId="{75A88773-6EE1-484E-AADE-FE631E01463B}" dt="2025-11-24T03:57:48.314" v="605977"/>
          <ac:spMkLst>
            <pc:docMk/>
            <pc:sldMk cId="2945841504" sldId="2147483097"/>
            <ac:spMk id="1943" creationId="{1BA42249-E657-DE31-B0F3-2D6D7CA7B781}"/>
          </ac:spMkLst>
        </pc:spChg>
        <pc:spChg chg="del">
          <ac:chgData name="Yudi Zhu" userId="571e1a55-055f-4c28-8b35-fca6dd1c1369" providerId="ADAL" clId="{75A88773-6EE1-484E-AADE-FE631E01463B}" dt="2025-11-24T03:57:48.326" v="605989"/>
          <ac:spMkLst>
            <pc:docMk/>
            <pc:sldMk cId="2945841504" sldId="2147483097"/>
            <ac:spMk id="1944" creationId="{9222C63F-D2C7-EC93-43DF-8822D7F9FFC8}"/>
          </ac:spMkLst>
        </pc:spChg>
        <pc:spChg chg="del">
          <ac:chgData name="Yudi Zhu" userId="571e1a55-055f-4c28-8b35-fca6dd1c1369" providerId="ADAL" clId="{75A88773-6EE1-484E-AADE-FE631E01463B}" dt="2025-11-24T03:57:48.331" v="606004"/>
          <ac:spMkLst>
            <pc:docMk/>
            <pc:sldMk cId="2945841504" sldId="2147483097"/>
            <ac:spMk id="1945" creationId="{F4EEBA7D-CB15-BD30-EC4D-F2BE36663316}"/>
          </ac:spMkLst>
        </pc:spChg>
        <pc:spChg chg="del">
          <ac:chgData name="Yudi Zhu" userId="571e1a55-055f-4c28-8b35-fca6dd1c1369" providerId="ADAL" clId="{75A88773-6EE1-484E-AADE-FE631E01463B}" dt="2025-11-24T03:57:48.346" v="606018"/>
          <ac:spMkLst>
            <pc:docMk/>
            <pc:sldMk cId="2945841504" sldId="2147483097"/>
            <ac:spMk id="1946" creationId="{D70AC033-E365-2689-B1FD-9D3D5429F46E}"/>
          </ac:spMkLst>
        </pc:spChg>
        <pc:spChg chg="add del mod ord">
          <ac:chgData name="Yudi Zhu" userId="571e1a55-055f-4c28-8b35-fca6dd1c1369" providerId="ADAL" clId="{75A88773-6EE1-484E-AADE-FE631E01463B}" dt="2025-11-26T03:31:56.381" v="696085"/>
          <ac:spMkLst>
            <pc:docMk/>
            <pc:sldMk cId="2945841504" sldId="2147483097"/>
            <ac:spMk id="1953" creationId="{21A986C5-2319-4AAF-05AB-93FB6EB0DCD2}"/>
          </ac:spMkLst>
        </pc:spChg>
        <pc:spChg chg="add del mod ord">
          <ac:chgData name="Yudi Zhu" userId="571e1a55-055f-4c28-8b35-fca6dd1c1369" providerId="ADAL" clId="{75A88773-6EE1-484E-AADE-FE631E01463B}" dt="2025-11-26T03:31:56.412" v="696129"/>
          <ac:spMkLst>
            <pc:docMk/>
            <pc:sldMk cId="2945841504" sldId="2147483097"/>
            <ac:spMk id="1955" creationId="{4DAF8313-5C18-A99C-11B8-22A206A39DA3}"/>
          </ac:spMkLst>
        </pc:spChg>
        <pc:spChg chg="add del mod ord">
          <ac:chgData name="Yudi Zhu" userId="571e1a55-055f-4c28-8b35-fca6dd1c1369" providerId="ADAL" clId="{75A88773-6EE1-484E-AADE-FE631E01463B}" dt="2025-11-26T03:31:56.512" v="696283"/>
          <ac:spMkLst>
            <pc:docMk/>
            <pc:sldMk cId="2945841504" sldId="2147483097"/>
            <ac:spMk id="1964" creationId="{D2007802-341E-B163-317D-81A4BDD6E10F}"/>
          </ac:spMkLst>
        </pc:spChg>
        <pc:spChg chg="add del mod ord">
          <ac:chgData name="Yudi Zhu" userId="571e1a55-055f-4c28-8b35-fca6dd1c1369" providerId="ADAL" clId="{75A88773-6EE1-484E-AADE-FE631E01463B}" dt="2025-11-26T03:31:56.691" v="696564"/>
          <ac:spMkLst>
            <pc:docMk/>
            <pc:sldMk cId="2945841504" sldId="2147483097"/>
            <ac:spMk id="1977" creationId="{AC3FC1DA-2AFF-F8EF-5D27-53FF7C96CBF0}"/>
          </ac:spMkLst>
        </pc:spChg>
        <pc:spChg chg="add mod ord">
          <ac:chgData name="Yudi Zhu" userId="571e1a55-055f-4c28-8b35-fca6dd1c1369" providerId="ADAL" clId="{75A88773-6EE1-484E-AADE-FE631E01463B}" dt="2025-11-26T03:59:28.978" v="754457"/>
          <ac:spMkLst>
            <pc:docMk/>
            <pc:sldMk cId="2945841504" sldId="2147483097"/>
            <ac:spMk id="1980" creationId="{774D4541-7094-3614-1ACD-51F27C222F81}"/>
          </ac:spMkLst>
        </pc:spChg>
        <pc:spChg chg="add mod ord">
          <ac:chgData name="Yudi Zhu" userId="571e1a55-055f-4c28-8b35-fca6dd1c1369" providerId="ADAL" clId="{75A88773-6EE1-484E-AADE-FE631E01463B}" dt="2025-11-26T03:59:28.978" v="754459"/>
          <ac:spMkLst>
            <pc:docMk/>
            <pc:sldMk cId="2945841504" sldId="2147483097"/>
            <ac:spMk id="1981" creationId="{3682E853-CF7F-8E6C-CDC0-01FE31016B72}"/>
          </ac:spMkLst>
        </pc:spChg>
        <pc:spChg chg="add mod ord">
          <ac:chgData name="Yudi Zhu" userId="571e1a55-055f-4c28-8b35-fca6dd1c1369" providerId="ADAL" clId="{75A88773-6EE1-484E-AADE-FE631E01463B}" dt="2025-11-26T03:59:28.978" v="754461"/>
          <ac:spMkLst>
            <pc:docMk/>
            <pc:sldMk cId="2945841504" sldId="2147483097"/>
            <ac:spMk id="1982" creationId="{3D7A7767-D695-A3C3-A43D-F11BD7B18C6C}"/>
          </ac:spMkLst>
        </pc:spChg>
        <pc:spChg chg="add mod">
          <ac:chgData name="Yudi Zhu" userId="571e1a55-055f-4c28-8b35-fca6dd1c1369" providerId="ADAL" clId="{75A88773-6EE1-484E-AADE-FE631E01463B}" dt="2025-11-26T03:59:28.962" v="754425"/>
          <ac:spMkLst>
            <pc:docMk/>
            <pc:sldMk cId="2945841504" sldId="2147483097"/>
            <ac:spMk id="1983" creationId="{125A8E3A-1E53-7643-7C89-103156266D85}"/>
          </ac:spMkLst>
        </pc:spChg>
        <pc:grpChg chg="mod ord">
          <ac:chgData name="Yudi Zhu" userId="571e1a55-055f-4c28-8b35-fca6dd1c1369" providerId="ADAL" clId="{75A88773-6EE1-484E-AADE-FE631E01463B}" dt="2025-11-26T03:59:28.871" v="754214"/>
          <ac:grpSpMkLst>
            <pc:docMk/>
            <pc:sldMk cId="2945841504" sldId="2147483097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6T03:59:28.871" v="754216"/>
          <ac:grpSpMkLst>
            <pc:docMk/>
            <pc:sldMk cId="2945841504" sldId="2147483097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6T03:59:28.871" v="754218"/>
          <ac:grpSpMkLst>
            <pc:docMk/>
            <pc:sldMk cId="2945841504" sldId="2147483097"/>
            <ac:grpSpMk id="1604" creationId="{CAC77667-D6BB-F83B-AA16-FAE5D5B780AA}"/>
          </ac:grpSpMkLst>
        </pc:grpChg>
        <pc:graphicFrameChg chg="add del mod">
          <ac:chgData name="Yudi Zhu" userId="571e1a55-055f-4c28-8b35-fca6dd1c1369" providerId="ADAL" clId="{75A88773-6EE1-484E-AADE-FE631E01463B}" dt="2025-11-24T03:57:52.577" v="606526"/>
          <ac:graphicFrameMkLst>
            <pc:docMk/>
            <pc:sldMk cId="2945841504" sldId="2147483097"/>
            <ac:graphicFrameMk id="10" creationId="{224DEE83-9C76-E687-76A5-1C363509C7F0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19:44.628" v="658856"/>
          <ac:graphicFrameMkLst>
            <pc:docMk/>
            <pc:sldMk cId="2945841504" sldId="2147483097"/>
            <ac:graphicFrameMk id="10" creationId="{EFF57392-AA87-D658-E2B6-4EEB29B6ABDD}"/>
          </ac:graphicFrameMkLst>
        </pc:graphicFrameChg>
        <pc:graphicFrameChg chg="mod">
          <ac:chgData name="Yudi Zhu" userId="571e1a55-055f-4c28-8b35-fca6dd1c1369" providerId="ADAL" clId="{75A88773-6EE1-484E-AADE-FE631E01463B}" dt="2025-11-26T03:59:28.991" v="754468"/>
          <ac:graphicFrameMkLst>
            <pc:docMk/>
            <pc:sldMk cId="2945841504" sldId="2147483097"/>
            <ac:graphicFrameMk id="11" creationId="{06D8B66D-C873-80E6-487B-D6B21C51228A}"/>
          </ac:graphicFrameMkLst>
        </pc:graphicFrameChg>
        <pc:graphicFrameChg chg="add mod">
          <ac:chgData name="Yudi Zhu" userId="571e1a55-055f-4c28-8b35-fca6dd1c1369" providerId="ADAL" clId="{75A88773-6EE1-484E-AADE-FE631E01463B}" dt="2025-11-26T03:59:28.871" v="754225"/>
          <ac:graphicFrameMkLst>
            <pc:docMk/>
            <pc:sldMk cId="2945841504" sldId="2147483097"/>
            <ac:graphicFrameMk id="13" creationId="{F8832ABA-3008-773F-734D-F262687ABB7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7:47.538" v="706589"/>
          <ac:graphicFrameMkLst>
            <pc:docMk/>
            <pc:sldMk cId="2945841504" sldId="2147483097"/>
            <ac:graphicFrameMk id="14" creationId="{FF813DF1-0100-3967-ABF4-8B7F493C8F4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8:12.469" v="608636"/>
          <ac:graphicFrameMkLst>
            <pc:docMk/>
            <pc:sldMk cId="2945841504" sldId="2147483097"/>
            <ac:graphicFrameMk id="21" creationId="{7478B492-0A5A-D065-D0D9-A880663B1C4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8:26.421" v="609342"/>
          <ac:graphicFrameMkLst>
            <pc:docMk/>
            <pc:sldMk cId="2945841504" sldId="2147483097"/>
            <ac:graphicFrameMk id="26" creationId="{2DB46936-C320-7050-18BE-B04C96325EE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9:34.729" v="614047"/>
          <ac:graphicFrameMkLst>
            <pc:docMk/>
            <pc:sldMk cId="2945841504" sldId="2147483097"/>
            <ac:graphicFrameMk id="37" creationId="{AF9188DE-F467-5066-C463-35BC6E8829E7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03.657" v="610141"/>
          <ac:graphicFrameMkLst>
            <pc:docMk/>
            <pc:sldMk cId="2945841504" sldId="2147483097"/>
            <ac:graphicFrameMk id="39" creationId="{64380E09-0ADD-EEC6-A05E-EA25EDC90D9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1:20.993" v="691894"/>
          <ac:graphicFrameMkLst>
            <pc:docMk/>
            <pc:sldMk cId="2945841504" sldId="2147483097"/>
            <ac:graphicFrameMk id="41" creationId="{1200522D-8D90-72D7-279D-194FD2E4C53A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10.711" v="610485"/>
          <ac:graphicFrameMkLst>
            <pc:docMk/>
            <pc:sldMk cId="2945841504" sldId="2147483097"/>
            <ac:graphicFrameMk id="41" creationId="{E407CDCF-D182-6A5F-3AA4-E7D33C1346B9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12.923" v="610817"/>
          <ac:graphicFrameMkLst>
            <pc:docMk/>
            <pc:sldMk cId="2945841504" sldId="2147483097"/>
            <ac:graphicFrameMk id="43" creationId="{C3488370-AEE1-6761-67E2-AEF9B0108B4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19.087" v="611142"/>
          <ac:graphicFrameMkLst>
            <pc:docMk/>
            <pc:sldMk cId="2945841504" sldId="2147483097"/>
            <ac:graphicFrameMk id="44" creationId="{3033377E-671A-DC1B-7735-7AC3E30C60A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23.272" v="611467"/>
          <ac:graphicFrameMkLst>
            <pc:docMk/>
            <pc:sldMk cId="2945841504" sldId="2147483097"/>
            <ac:graphicFrameMk id="45" creationId="{42D67234-0A6E-4464-5519-06C4DD2980B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23.741" v="611792"/>
          <ac:graphicFrameMkLst>
            <pc:docMk/>
            <pc:sldMk cId="2945841504" sldId="2147483097"/>
            <ac:graphicFrameMk id="46" creationId="{A8362561-7E8D-1F6F-7FE9-5FC29E87F1B5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3:59:30.577" v="612091"/>
          <ac:graphicFrameMkLst>
            <pc:docMk/>
            <pc:sldMk cId="2945841504" sldId="2147483097"/>
            <ac:graphicFrameMk id="47" creationId="{8D506B44-50B9-0B31-94DC-E467956B1773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0:34.875" v="615425"/>
          <ac:graphicFrameMkLst>
            <pc:docMk/>
            <pc:sldMk cId="2945841504" sldId="2147483097"/>
            <ac:graphicFrameMk id="48" creationId="{1F43EDA7-DAF0-4A6B-EA27-A839355EFEA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1:57.232" v="697450"/>
          <ac:graphicFrameMkLst>
            <pc:docMk/>
            <pc:sldMk cId="2945841504" sldId="2147483097"/>
            <ac:graphicFrameMk id="146" creationId="{6E0E36E7-85F0-ABD2-B9A5-0ED8692BB7D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04.155" v="698139"/>
          <ac:graphicFrameMkLst>
            <pc:docMk/>
            <pc:sldMk cId="2945841504" sldId="2147483097"/>
            <ac:graphicFrameMk id="152" creationId="{058D6A4B-2F7D-F346-CFFD-3911F961032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17.245" v="698573"/>
          <ac:graphicFrameMkLst>
            <pc:docMk/>
            <pc:sldMk cId="2945841504" sldId="2147483097"/>
            <ac:graphicFrameMk id="161" creationId="{06D5B9DF-C2F4-1CAF-001F-8D8BDFD9CA1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33.178" v="699019"/>
          <ac:graphicFrameMkLst>
            <pc:docMk/>
            <pc:sldMk cId="2945841504" sldId="2147483097"/>
            <ac:graphicFrameMk id="162" creationId="{F200D20A-4E14-E8A6-A98B-004461BDA97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40.496" v="699476"/>
          <ac:graphicFrameMkLst>
            <pc:docMk/>
            <pc:sldMk cId="2945841504" sldId="2147483097"/>
            <ac:graphicFrameMk id="163" creationId="{3D3EA11F-ADE1-3D37-3EBD-529CB732D60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45.094" v="699912"/>
          <ac:graphicFrameMkLst>
            <pc:docMk/>
            <pc:sldMk cId="2945841504" sldId="2147483097"/>
            <ac:graphicFrameMk id="164" creationId="{EC86EB18-2C6E-7B3D-BBC4-0CF18CE8688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2:59.443" v="701100"/>
          <ac:graphicFrameMkLst>
            <pc:docMk/>
            <pc:sldMk cId="2945841504" sldId="2147483097"/>
            <ac:graphicFrameMk id="165" creationId="{638478F4-71C1-31BD-B3EF-483B2D252C1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3:30.536" v="701829"/>
          <ac:graphicFrameMkLst>
            <pc:docMk/>
            <pc:sldMk cId="2945841504" sldId="2147483097"/>
            <ac:graphicFrameMk id="166" creationId="{C833B33F-C152-B5EE-7126-87D110A5AFA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3:32.960" v="702294"/>
          <ac:graphicFrameMkLst>
            <pc:docMk/>
            <pc:sldMk cId="2945841504" sldId="2147483097"/>
            <ac:graphicFrameMk id="168" creationId="{AC11EC82-48A3-8114-1484-953A7692AF4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3:36.512" v="702759"/>
          <ac:graphicFrameMkLst>
            <pc:docMk/>
            <pc:sldMk cId="2945841504" sldId="2147483097"/>
            <ac:graphicFrameMk id="170" creationId="{55FCC47F-D9A8-7A55-AA5F-DB51EABBC25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3:38.580" v="703224"/>
          <ac:graphicFrameMkLst>
            <pc:docMk/>
            <pc:sldMk cId="2945841504" sldId="2147483097"/>
            <ac:graphicFrameMk id="172" creationId="{A9BCB2EA-4E0E-A386-DB79-8C43F691ADE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3:49.739" v="703689"/>
          <ac:graphicFrameMkLst>
            <pc:docMk/>
            <pc:sldMk cId="2945841504" sldId="2147483097"/>
            <ac:graphicFrameMk id="174" creationId="{5EBB6147-9925-FB9A-F358-8D036190BDA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4:35.296" v="704154"/>
          <ac:graphicFrameMkLst>
            <pc:docMk/>
            <pc:sldMk cId="2945841504" sldId="2147483097"/>
            <ac:graphicFrameMk id="176" creationId="{EF193682-0696-6E4C-A131-A62D6309FD4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4:39.992" v="704619"/>
          <ac:graphicFrameMkLst>
            <pc:docMk/>
            <pc:sldMk cId="2945841504" sldId="2147483097"/>
            <ac:graphicFrameMk id="178" creationId="{0468C354-F58B-A2C4-A769-10145B1155C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7:37.720" v="705765"/>
          <ac:graphicFrameMkLst>
            <pc:docMk/>
            <pc:sldMk cId="2945841504" sldId="2147483097"/>
            <ac:graphicFrameMk id="180" creationId="{546EBFE1-884A-C361-E086-F389A5E1684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7:57.305" v="708285"/>
          <ac:graphicFrameMkLst>
            <pc:docMk/>
            <pc:sldMk cId="2945841504" sldId="2147483097"/>
            <ac:graphicFrameMk id="183" creationId="{9C58825D-9CFC-4133-9140-4DAE09C13E0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7:53.195" v="707147"/>
          <ac:graphicFrameMkLst>
            <pc:docMk/>
            <pc:sldMk cId="2945841504" sldId="2147483097"/>
            <ac:graphicFrameMk id="189" creationId="{984DC3A0-B1F0-4787-B591-7A79B6E3679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19.908" v="740152"/>
          <ac:graphicFrameMkLst>
            <pc:docMk/>
            <pc:sldMk cId="2945841504" sldId="2147483097"/>
            <ac:graphicFrameMk id="190" creationId="{68D2CCEB-5497-ABDD-8D69-2E5B11DEDAE5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5:04.508" v="709924"/>
          <ac:graphicFrameMkLst>
            <pc:docMk/>
            <pc:sldMk cId="2945841504" sldId="2147483097"/>
            <ac:graphicFrameMk id="191" creationId="{548B0600-0D97-E797-7745-BB995D2CEE8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5:18.777" v="710342"/>
          <ac:graphicFrameMkLst>
            <pc:docMk/>
            <pc:sldMk cId="2945841504" sldId="2147483097"/>
            <ac:graphicFrameMk id="256" creationId="{65EBDB08-CDE7-297F-E918-46BF1C53CCC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5:33.741" v="710760"/>
          <ac:graphicFrameMkLst>
            <pc:docMk/>
            <pc:sldMk cId="2945841504" sldId="2147483097"/>
            <ac:graphicFrameMk id="257" creationId="{75CEFD6D-E4B5-0F24-72EF-2D903AEA4688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6:02.317" v="711178"/>
          <ac:graphicFrameMkLst>
            <pc:docMk/>
            <pc:sldMk cId="2945841504" sldId="2147483097"/>
            <ac:graphicFrameMk id="258" creationId="{EC087622-3364-2A0C-9851-D1F110DAB49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26.980" v="741132"/>
          <ac:graphicFrameMkLst>
            <pc:docMk/>
            <pc:sldMk cId="2945841504" sldId="2147483097"/>
            <ac:graphicFrameMk id="259" creationId="{27CA1E07-AE8F-2CB1-16A5-6EF6B552904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8:42.896" v="719330"/>
          <ac:graphicFrameMkLst>
            <pc:docMk/>
            <pc:sldMk cId="2945841504" sldId="2147483097"/>
            <ac:graphicFrameMk id="261" creationId="{1E469587-0746-DC61-1B81-923AE7C8337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8:46.426" v="719780"/>
          <ac:graphicFrameMkLst>
            <pc:docMk/>
            <pc:sldMk cId="2945841504" sldId="2147483097"/>
            <ac:graphicFrameMk id="262" creationId="{105A116F-D7C1-1AE6-2022-4F7EE4827AE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20.370" v="722605"/>
          <ac:graphicFrameMkLst>
            <pc:docMk/>
            <pc:sldMk cId="2945841504" sldId="2147483097"/>
            <ac:graphicFrameMk id="263" creationId="{E5BF0C4F-9296-14A3-A253-B80FD16C9D08}"/>
          </ac:graphicFrameMkLst>
        </pc:graphicFrameChg>
        <pc:graphicFrameChg chg="add mod">
          <ac:chgData name="Yudi Zhu" userId="571e1a55-055f-4c28-8b35-fca6dd1c1369" providerId="ADAL" clId="{75A88773-6EE1-484E-AADE-FE631E01463B}" dt="2025-11-26T03:48:58.907" v="720740"/>
          <ac:graphicFrameMkLst>
            <pc:docMk/>
            <pc:sldMk cId="2945841504" sldId="2147483097"/>
            <ac:graphicFrameMk id="264" creationId="{2EC1863E-5D11-97A2-2907-FA3B20BACA3E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13.726" v="722453"/>
          <ac:graphicFrameMkLst>
            <pc:docMk/>
            <pc:sldMk cId="2945841504" sldId="2147483097"/>
            <ac:graphicFrameMk id="267" creationId="{847B838E-C27F-65CD-8A48-E5813AB40D52}"/>
          </ac:graphicFrameMkLst>
        </pc:graphicFrameChg>
        <pc:graphicFrameChg chg="add mod">
          <ac:chgData name="Yudi Zhu" userId="571e1a55-055f-4c28-8b35-fca6dd1c1369" providerId="ADAL" clId="{75A88773-6EE1-484E-AADE-FE631E01463B}" dt="2025-11-26T03:49:12.810" v="722186"/>
          <ac:graphicFrameMkLst>
            <pc:docMk/>
            <pc:sldMk cId="2945841504" sldId="2147483097"/>
            <ac:graphicFrameMk id="268" creationId="{3C0BF26E-9134-A857-7069-941FDF007B8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23.565" v="723057"/>
          <ac:graphicFrameMkLst>
            <pc:docMk/>
            <pc:sldMk cId="2945841504" sldId="2147483097"/>
            <ac:graphicFrameMk id="270" creationId="{063849DD-7D7D-42B2-CA90-4F493B4FCA5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29.523" v="723479"/>
          <ac:graphicFrameMkLst>
            <pc:docMk/>
            <pc:sldMk cId="2945841504" sldId="2147483097"/>
            <ac:graphicFrameMk id="271" creationId="{8C1E19A5-3F72-1A60-8A44-2DA3711E1BA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27.025" v="727974"/>
          <ac:graphicFrameMkLst>
            <pc:docMk/>
            <pc:sldMk cId="2945841504" sldId="2147483097"/>
            <ac:graphicFrameMk id="272" creationId="{F0541FE3-8141-2438-49C2-CCE98E84B601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9:26.977" v="753286"/>
          <ac:graphicFrameMkLst>
            <pc:docMk/>
            <pc:sldMk cId="2945841504" sldId="2147483097"/>
            <ac:graphicFrameMk id="273" creationId="{2810B469-E604-FECB-8DC2-9F1131BB10F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21.367" v="740548"/>
          <ac:graphicFrameMkLst>
            <pc:docMk/>
            <pc:sldMk cId="2945841504" sldId="2147483097"/>
            <ac:graphicFrameMk id="275" creationId="{A99A1054-93ED-90C9-982C-F39B9BE0B1CE}"/>
          </ac:graphicFrameMkLst>
        </pc:graphicFrameChg>
        <pc:graphicFrameChg chg="add mod">
          <ac:chgData name="Yudi Zhu" userId="571e1a55-055f-4c28-8b35-fca6dd1c1369" providerId="ADAL" clId="{75A88773-6EE1-484E-AADE-FE631E01463B}" dt="2025-11-26T03:59:28.807" v="754106"/>
          <ac:graphicFrameMkLst>
            <pc:docMk/>
            <pc:sldMk cId="2945841504" sldId="2147483097"/>
            <ac:graphicFrameMk id="276" creationId="{423286F7-AFEE-D6A2-A500-EED61DCF95B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29.503" v="741528"/>
          <ac:graphicFrameMkLst>
            <pc:docMk/>
            <pc:sldMk cId="2945841504" sldId="2147483097"/>
            <ac:graphicFrameMk id="278" creationId="{94DDE1E7-0556-6BFC-AEEB-3DF54620B525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17.698" v="749181"/>
          <ac:graphicFrameMkLst>
            <pc:docMk/>
            <pc:sldMk cId="2945841504" sldId="2147483097"/>
            <ac:graphicFrameMk id="279" creationId="{20DC60AF-20BE-3EC2-2C2E-B44D7EA0BDB9}"/>
          </ac:graphicFrameMkLst>
        </pc:graphicFrameChg>
        <pc:graphicFrameChg chg="add mod">
          <ac:chgData name="Yudi Zhu" userId="571e1a55-055f-4c28-8b35-fca6dd1c1369" providerId="ADAL" clId="{75A88773-6EE1-484E-AADE-FE631E01463B}" dt="2025-11-26T03:59:28.907" v="754293"/>
          <ac:graphicFrameMkLst>
            <pc:docMk/>
            <pc:sldMk cId="2945841504" sldId="2147483097"/>
            <ac:graphicFrameMk id="280" creationId="{B7C9306A-2DDE-0C4B-49EB-26B87CA6FEF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9:20.010" v="753190"/>
          <ac:graphicFrameMkLst>
            <pc:docMk/>
            <pc:sldMk cId="2945841504" sldId="2147483097"/>
            <ac:graphicFrameMk id="283" creationId="{D4A364AD-812F-801A-CE9D-F7FADA12FD1A}"/>
          </ac:graphicFrameMkLst>
        </pc:graphicFrameChg>
        <pc:graphicFrameChg chg="add mod">
          <ac:chgData name="Yudi Zhu" userId="571e1a55-055f-4c28-8b35-fca6dd1c1369" providerId="ADAL" clId="{75A88773-6EE1-484E-AADE-FE631E01463B}" dt="2025-11-26T03:59:17.488" v="752997"/>
          <ac:graphicFrameMkLst>
            <pc:docMk/>
            <pc:sldMk cId="2945841504" sldId="2147483097"/>
            <ac:graphicFrameMk id="286" creationId="{9344CC55-28D9-3F44-CC12-E11B7F37E41E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9:27.479" v="753682"/>
          <ac:graphicFrameMkLst>
            <pc:docMk/>
            <pc:sldMk cId="2945841504" sldId="2147483097"/>
            <ac:graphicFrameMk id="288" creationId="{621DCC5B-B0A8-EE0E-20DC-0068B4F3850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9:28.775" v="754076"/>
          <ac:graphicFrameMkLst>
            <pc:docMk/>
            <pc:sldMk cId="2945841504" sldId="2147483097"/>
            <ac:graphicFrameMk id="289" creationId="{805AF790-76BF-69BE-694C-76AFAD26670A}"/>
          </ac:graphicFrameMkLst>
        </pc:graphicFrameChg>
        <pc:graphicFrameChg chg="add mod">
          <ac:chgData name="Yudi Zhu" userId="571e1a55-055f-4c28-8b35-fca6dd1c1369" providerId="ADAL" clId="{75A88773-6EE1-484E-AADE-FE631E01463B}" dt="2025-11-26T03:59:28.896" v="754260"/>
          <ac:graphicFrameMkLst>
            <pc:docMk/>
            <pc:sldMk cId="2945841504" sldId="2147483097"/>
            <ac:graphicFrameMk id="290" creationId="{01D833B7-9111-997D-DFCB-C5D96AA8941F}"/>
          </ac:graphicFrameMkLst>
        </pc:graphicFrameChg>
        <pc:graphicFrameChg chg="del mod">
          <ac:chgData name="Yudi Zhu" userId="571e1a55-055f-4c28-8b35-fca6dd1c1369" providerId="ADAL" clId="{75A88773-6EE1-484E-AADE-FE631E01463B}" dt="2025-11-24T03:58:07.276" v="607628"/>
          <ac:graphicFrameMkLst>
            <pc:docMk/>
            <pc:sldMk cId="2945841504" sldId="2147483097"/>
            <ac:graphicFrameMk id="1602" creationId="{8A7DB340-399D-553A-7386-131FF3789BFD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9:36.995" v="614559"/>
          <ac:graphicFrameMkLst>
            <pc:docMk/>
            <pc:sldMk cId="2945841504" sldId="2147483097"/>
            <ac:graphicFrameMk id="1862" creationId="{F4F6F1F5-F28B-030D-D429-B7E4A703AC8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09:41.057" v="615095"/>
          <ac:graphicFrameMkLst>
            <pc:docMk/>
            <pc:sldMk cId="2945841504" sldId="2147483097"/>
            <ac:graphicFrameMk id="1864" creationId="{AE08F9E5-773C-BEE8-DE04-49C629CF082C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3:04.565" v="621703"/>
          <ac:graphicFrameMkLst>
            <pc:docMk/>
            <pc:sldMk cId="2945841504" sldId="2147483097"/>
            <ac:graphicFrameMk id="1867" creationId="{2F282FF8-96CB-6F28-FE80-BCEEE51D7AC8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21.764" v="627005"/>
          <ac:graphicFrameMkLst>
            <pc:docMk/>
            <pc:sldMk cId="2945841504" sldId="2147483097"/>
            <ac:graphicFrameMk id="1868" creationId="{05EC12E8-460C-3F6B-9D9A-7582389EC3B0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3:06.632" v="622009"/>
          <ac:graphicFrameMkLst>
            <pc:docMk/>
            <pc:sldMk cId="2945841504" sldId="2147483097"/>
            <ac:graphicFrameMk id="1870" creationId="{8A6DC533-6425-64BB-8D15-34FB91E2C49B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25.982" v="627322"/>
          <ac:graphicFrameMkLst>
            <pc:docMk/>
            <pc:sldMk cId="2945841504" sldId="2147483097"/>
            <ac:graphicFrameMk id="1871" creationId="{47DEAF21-050F-A5A0-58EA-B2D9794916A2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5:32.059" v="627613"/>
          <ac:graphicFrameMkLst>
            <pc:docMk/>
            <pc:sldMk cId="2945841504" sldId="2147483097"/>
            <ac:graphicFrameMk id="1872" creationId="{180E44FC-EC5B-0994-2665-913395FB60D1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9:42.938" v="638937"/>
          <ac:graphicFrameMkLst>
            <pc:docMk/>
            <pc:sldMk cId="2945841504" sldId="2147483097"/>
            <ac:graphicFrameMk id="1873" creationId="{2EE0FC39-4A9C-2BB7-4E41-E5D53873E2B6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8:13.574" v="633949"/>
          <ac:graphicFrameMkLst>
            <pc:docMk/>
            <pc:sldMk cId="2945841504" sldId="2147483097"/>
            <ac:graphicFrameMk id="1874" creationId="{1264D71C-C911-96BA-101A-CF478CFDA4C4}"/>
          </ac:graphicFrameMkLst>
        </pc:graphicFrameChg>
        <pc:graphicFrameChg chg="add mod">
          <ac:chgData name="Yudi Zhu" userId="571e1a55-055f-4c28-8b35-fca6dd1c1369" providerId="ADAL" clId="{75A88773-6EE1-484E-AADE-FE631E01463B}" dt="2025-11-24T04:15:36.802" v="628412"/>
          <ac:graphicFrameMkLst>
            <pc:docMk/>
            <pc:sldMk cId="2945841504" sldId="2147483097"/>
            <ac:graphicFrameMk id="1877" creationId="{AE239FC7-FF0D-88D1-8FE2-A5F1122C1A3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8:15.943" v="634488"/>
          <ac:graphicFrameMkLst>
            <pc:docMk/>
            <pc:sldMk cId="2945841504" sldId="2147483097"/>
            <ac:graphicFrameMk id="1879" creationId="{2C223C97-7582-3673-A4C3-294B8EE3BB84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8:23.357" v="634857"/>
          <ac:graphicFrameMkLst>
            <pc:docMk/>
            <pc:sldMk cId="2945841504" sldId="2147483097"/>
            <ac:graphicFrameMk id="1885" creationId="{C45CAB99-A929-DC43-66EC-D53CC66BBE3F}"/>
          </ac:graphicFrameMkLst>
        </pc:graphicFrameChg>
        <pc:graphicFrameChg chg="add del mod">
          <ac:chgData name="Yudi Zhu" userId="571e1a55-055f-4c28-8b35-fca6dd1c1369" providerId="ADAL" clId="{75A88773-6EE1-484E-AADE-FE631E01463B}" dt="2025-11-24T04:18:25.666" v="635151"/>
          <ac:graphicFrameMkLst>
            <pc:docMk/>
            <pc:sldMk cId="2945841504" sldId="2147483097"/>
            <ac:graphicFrameMk id="1887" creationId="{46D96147-33DD-20C4-249B-597B44835FF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8:38.170" v="718886"/>
          <ac:graphicFrameMkLst>
            <pc:docMk/>
            <pc:sldMk cId="2945841504" sldId="2147483097"/>
            <ac:graphicFrameMk id="1888" creationId="{702FC4A6-FA80-AEC2-D512-DAF96444C42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19:42.130" v="658510"/>
          <ac:graphicFrameMkLst>
            <pc:docMk/>
            <pc:sldMk cId="2945841504" sldId="2147483097"/>
            <ac:graphicFrameMk id="1890" creationId="{C7963166-7AF0-5D73-640E-D763A2F84EB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1:41.426" v="692269"/>
          <ac:graphicFrameMkLst>
            <pc:docMk/>
            <pc:sldMk cId="2945841504" sldId="2147483097"/>
            <ac:graphicFrameMk id="1902" creationId="{B041A9FB-6D4F-C3C1-2945-08452B53B14E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1:54.584" v="694701"/>
          <ac:graphicFrameMkLst>
            <pc:docMk/>
            <pc:sldMk cId="2945841504" sldId="2147483097"/>
            <ac:graphicFrameMk id="1904" creationId="{BF13992D-75FE-3F0B-735B-AE7074DDC342}"/>
          </ac:graphicFrameMkLst>
        </pc:graphicFrameChg>
        <pc:graphicFrameChg chg="mod">
          <ac:chgData name="Yudi Zhu" userId="571e1a55-055f-4c28-8b35-fca6dd1c1369" providerId="ADAL" clId="{75A88773-6EE1-484E-AADE-FE631E01463B}" dt="2025-11-26T03:59:28.838" v="754163"/>
          <ac:graphicFrameMkLst>
            <pc:docMk/>
            <pc:sldMk cId="2945841504" sldId="2147483097"/>
            <ac:graphicFrameMk id="1919" creationId="{679052DD-CF71-D946-1EF0-65274069EA77}"/>
          </ac:graphicFrameMkLst>
        </pc:graphicFrameChg>
        <pc:graphicFrameChg chg="del mod">
          <ac:chgData name="Yudi Zhu" userId="571e1a55-055f-4c28-8b35-fca6dd1c1369" providerId="ADAL" clId="{75A88773-6EE1-484E-AADE-FE631E01463B}" dt="2025-11-24T03:58:44.271" v="609761"/>
          <ac:graphicFrameMkLst>
            <pc:docMk/>
            <pc:sldMk cId="2945841504" sldId="2147483097"/>
            <ac:graphicFrameMk id="1940" creationId="{2956D29E-D6D3-0F0A-AE35-73C340D3B471}"/>
          </ac:graphicFrameMkLst>
        </pc:graphicFrameChg>
        <pc:graphicFrameChg chg="del">
          <ac:chgData name="Yudi Zhu" userId="571e1a55-055f-4c28-8b35-fca6dd1c1369" providerId="ADAL" clId="{75A88773-6EE1-484E-AADE-FE631E01463B}" dt="2025-11-24T03:57:48.631" v="606145"/>
          <ac:graphicFrameMkLst>
            <pc:docMk/>
            <pc:sldMk cId="2945841504" sldId="2147483097"/>
            <ac:graphicFrameMk id="1948" creationId="{E1A75257-B985-226A-89A8-FF814B24C92C}"/>
          </ac:graphicFrameMkLst>
        </pc:graphicFrameChg>
        <pc:graphicFrameChg chg="del mod">
          <ac:chgData name="Yudi Zhu" userId="571e1a55-055f-4c28-8b35-fca6dd1c1369" providerId="ADAL" clId="{75A88773-6EE1-484E-AADE-FE631E01463B}" dt="2025-11-26T03:24:06.550" v="691019"/>
          <ac:graphicFrameMkLst>
            <pc:docMk/>
            <pc:sldMk cId="2945841504" sldId="2147483097"/>
            <ac:graphicFrameMk id="1951" creationId="{3F6C5D25-61DD-6050-04AC-75F4D4474DC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31:56.811" v="696782"/>
          <ac:graphicFrameMkLst>
            <pc:docMk/>
            <pc:sldMk cId="2945841504" sldId="2147483097"/>
            <ac:graphicFrameMk id="1979" creationId="{54479ADE-F665-9076-418A-4F4DAB28687B}"/>
          </ac:graphicFrameMkLst>
        </pc:graphicFrameChg>
        <pc:cxnChg chg="add del mod ord">
          <ac:chgData name="Yudi Zhu" userId="571e1a55-055f-4c28-8b35-fca6dd1c1369" providerId="ADAL" clId="{75A88773-6EE1-484E-AADE-FE631E01463B}" dt="2025-11-26T03:31:54.543" v="694661"/>
          <ac:cxnSpMkLst>
            <pc:docMk/>
            <pc:sldMk cId="2945841504" sldId="2147483097"/>
            <ac:cxnSpMk id="10" creationId="{1C4E659C-5F9F-1BE8-73BD-B8323B05DE32}"/>
          </ac:cxnSpMkLst>
        </pc:cxnChg>
        <pc:cxnChg chg="add del mod ord">
          <ac:chgData name="Yudi Zhu" userId="571e1a55-055f-4c28-8b35-fca6dd1c1369" providerId="ADAL" clId="{75A88773-6EE1-484E-AADE-FE631E01463B}" dt="2025-11-26T03:37:37.279" v="705215"/>
          <ac:cxnSpMkLst>
            <pc:docMk/>
            <pc:sldMk cId="2945841504" sldId="2147483097"/>
            <ac:cxnSpMk id="12" creationId="{E850670B-943E-9958-8B16-AD6FDFACAEC4}"/>
          </ac:cxnSpMkLst>
        </pc:cxnChg>
        <pc:cxnChg chg="add del mod ord">
          <ac:chgData name="Yudi Zhu" userId="571e1a55-055f-4c28-8b35-fca6dd1c1369" providerId="ADAL" clId="{75A88773-6EE1-484E-AADE-FE631E01463B}" dt="2025-11-24T03:58:12.299" v="608407"/>
          <ac:cxnSpMkLst>
            <pc:docMk/>
            <pc:sldMk cId="2945841504" sldId="2147483097"/>
            <ac:cxnSpMk id="15" creationId="{1380F8FF-8314-5165-439E-8EEA7065B6C8}"/>
          </ac:cxnSpMkLst>
        </pc:cxnChg>
        <pc:cxnChg chg="add del mod ord">
          <ac:chgData name="Yudi Zhu" userId="571e1a55-055f-4c28-8b35-fca6dd1c1369" providerId="ADAL" clId="{75A88773-6EE1-484E-AADE-FE631E01463B}" dt="2025-11-26T03:31:57.209" v="697377"/>
          <ac:cxnSpMkLst>
            <pc:docMk/>
            <pc:sldMk cId="2945841504" sldId="2147483097"/>
            <ac:cxnSpMk id="15" creationId="{DDE5DBC7-406C-622B-6B5B-B78CB6FFFCDA}"/>
          </ac:cxnSpMkLst>
        </pc:cxnChg>
        <pc:cxnChg chg="add mod ord">
          <ac:chgData name="Yudi Zhu" userId="571e1a55-055f-4c28-8b35-fca6dd1c1369" providerId="ADAL" clId="{75A88773-6EE1-484E-AADE-FE631E01463B}" dt="2025-11-26T03:59:28.906" v="754290"/>
          <ac:cxnSpMkLst>
            <pc:docMk/>
            <pc:sldMk cId="2945841504" sldId="2147483097"/>
            <ac:cxnSpMk id="16" creationId="{F8D999A4-47CD-480C-D9EB-7552B724F0C4}"/>
          </ac:cxnSpMkLst>
        </pc:cxnChg>
        <pc:cxnChg chg="add del mod ord">
          <ac:chgData name="Yudi Zhu" userId="571e1a55-055f-4c28-8b35-fca6dd1c1369" providerId="ADAL" clId="{75A88773-6EE1-484E-AADE-FE631E01463B}" dt="2025-11-26T03:31:57.216" v="697389"/>
          <ac:cxnSpMkLst>
            <pc:docMk/>
            <pc:sldMk cId="2945841504" sldId="2147483097"/>
            <ac:cxnSpMk id="17" creationId="{7F1B775C-F2AF-8AA4-0C13-47464CDDD08D}"/>
          </ac:cxnSpMkLst>
        </pc:cxnChg>
        <pc:cxnChg chg="add del mod ord">
          <ac:chgData name="Yudi Zhu" userId="571e1a55-055f-4c28-8b35-fca6dd1c1369" providerId="ADAL" clId="{75A88773-6EE1-484E-AADE-FE631E01463B}" dt="2025-11-24T03:58:12.407" v="608539"/>
          <ac:cxnSpMkLst>
            <pc:docMk/>
            <pc:sldMk cId="2945841504" sldId="2147483097"/>
            <ac:cxnSpMk id="18" creationId="{191415D2-76F0-3725-2EE7-CBDDDA703AEC}"/>
          </ac:cxnSpMkLst>
        </pc:cxnChg>
        <pc:cxnChg chg="add del mod ord">
          <ac:chgData name="Yudi Zhu" userId="571e1a55-055f-4c28-8b35-fca6dd1c1369" providerId="ADAL" clId="{75A88773-6EE1-484E-AADE-FE631E01463B}" dt="2025-11-26T03:32:04.123" v="698102"/>
          <ac:cxnSpMkLst>
            <pc:docMk/>
            <pc:sldMk cId="2945841504" sldId="2147483097"/>
            <ac:cxnSpMk id="18" creationId="{763143C9-0949-8F5F-9F5E-B623C0ADB405}"/>
          </ac:cxnSpMkLst>
        </pc:cxnChg>
        <pc:cxnChg chg="add del mod ord">
          <ac:chgData name="Yudi Zhu" userId="571e1a55-055f-4c28-8b35-fca6dd1c1369" providerId="ADAL" clId="{75A88773-6EE1-484E-AADE-FE631E01463B}" dt="2025-11-26T03:37:37.695" v="705709"/>
          <ac:cxnSpMkLst>
            <pc:docMk/>
            <pc:sldMk cId="2945841504" sldId="2147483097"/>
            <ac:cxnSpMk id="19" creationId="{6014164A-B404-E996-E2D4-76130692DF62}"/>
          </ac:cxnSpMkLst>
        </pc:cxnChg>
        <pc:cxnChg chg="add mod ord">
          <ac:chgData name="Yudi Zhu" userId="571e1a55-055f-4c28-8b35-fca6dd1c1369" providerId="ADAL" clId="{75A88773-6EE1-484E-AADE-FE631E01463B}" dt="2025-11-26T03:59:28.807" v="754097"/>
          <ac:cxnSpMkLst>
            <pc:docMk/>
            <pc:sldMk cId="2945841504" sldId="2147483097"/>
            <ac:cxnSpMk id="20" creationId="{F42D15B7-5521-12CB-D591-CE08548AB2AC}"/>
          </ac:cxnSpMkLst>
        </pc:cxnChg>
        <pc:cxnChg chg="add mod ord">
          <ac:chgData name="Yudi Zhu" userId="571e1a55-055f-4c28-8b35-fca6dd1c1369" providerId="ADAL" clId="{75A88773-6EE1-484E-AADE-FE631E01463B}" dt="2025-11-26T03:59:28.905" v="754286"/>
          <ac:cxnSpMkLst>
            <pc:docMk/>
            <pc:sldMk cId="2945841504" sldId="2147483097"/>
            <ac:cxnSpMk id="21" creationId="{20572583-446A-9E12-D592-41BAAB8975DE}"/>
          </ac:cxnSpMkLst>
        </pc:cxnChg>
        <pc:cxnChg chg="add del mod ord">
          <ac:chgData name="Yudi Zhu" userId="571e1a55-055f-4c28-8b35-fca6dd1c1369" providerId="ADAL" clId="{75A88773-6EE1-484E-AADE-FE631E01463B}" dt="2025-11-26T03:31:57.232" v="697426"/>
          <ac:cxnSpMkLst>
            <pc:docMk/>
            <pc:sldMk cId="2945841504" sldId="2147483097"/>
            <ac:cxnSpMk id="22" creationId="{5A7C5574-07CB-573F-0685-49889C176286}"/>
          </ac:cxnSpMkLst>
        </pc:cxnChg>
        <pc:cxnChg chg="add mod ord">
          <ac:chgData name="Yudi Zhu" userId="571e1a55-055f-4c28-8b35-fca6dd1c1369" providerId="ADAL" clId="{75A88773-6EE1-484E-AADE-FE631E01463B}" dt="2025-11-26T03:59:28.822" v="754118"/>
          <ac:cxnSpMkLst>
            <pc:docMk/>
            <pc:sldMk cId="2945841504" sldId="2147483097"/>
            <ac:cxnSpMk id="23" creationId="{9AFFC76A-95C2-7038-5B05-41730F055690}"/>
          </ac:cxnSpMkLst>
        </pc:cxnChg>
        <pc:cxnChg chg="add mod ord">
          <ac:chgData name="Yudi Zhu" userId="571e1a55-055f-4c28-8b35-fca6dd1c1369" providerId="ADAL" clId="{75A88773-6EE1-484E-AADE-FE631E01463B}" dt="2025-11-26T03:59:28.822" v="754124"/>
          <ac:cxnSpMkLst>
            <pc:docMk/>
            <pc:sldMk cId="2945841504" sldId="2147483097"/>
            <ac:cxnSpMk id="24" creationId="{23C45A0A-366D-7C03-79DE-77CDCA0DC855}"/>
          </ac:cxnSpMkLst>
        </pc:cxnChg>
        <pc:cxnChg chg="add mod ord">
          <ac:chgData name="Yudi Zhu" userId="571e1a55-055f-4c28-8b35-fca6dd1c1369" providerId="ADAL" clId="{75A88773-6EE1-484E-AADE-FE631E01463B}" dt="2025-11-26T03:59:28.822" v="754128"/>
          <ac:cxnSpMkLst>
            <pc:docMk/>
            <pc:sldMk cId="2945841504" sldId="2147483097"/>
            <ac:cxnSpMk id="25" creationId="{F19C5EC0-0FD3-D98D-2D1A-BCF0CFFDAAA0}"/>
          </ac:cxnSpMkLst>
        </pc:cxnChg>
        <pc:cxnChg chg="add mod ord">
          <ac:chgData name="Yudi Zhu" userId="571e1a55-055f-4c28-8b35-fca6dd1c1369" providerId="ADAL" clId="{75A88773-6EE1-484E-AADE-FE631E01463B}" dt="2025-11-26T03:59:28.903" v="754280"/>
          <ac:cxnSpMkLst>
            <pc:docMk/>
            <pc:sldMk cId="2945841504" sldId="2147483097"/>
            <ac:cxnSpMk id="26" creationId="{9CDBEADC-815A-1DE7-CA91-4CB63C47DC69}"/>
          </ac:cxnSpMkLst>
        </pc:cxnChg>
        <pc:cxnChg chg="add mod ord">
          <ac:chgData name="Yudi Zhu" userId="571e1a55-055f-4c28-8b35-fca6dd1c1369" providerId="ADAL" clId="{75A88773-6EE1-484E-AADE-FE631E01463B}" dt="2025-11-26T03:59:28.902" v="754276"/>
          <ac:cxnSpMkLst>
            <pc:docMk/>
            <pc:sldMk cId="2945841504" sldId="2147483097"/>
            <ac:cxnSpMk id="27" creationId="{C0567C39-9F79-6F76-49F7-7CB10EA59979}"/>
          </ac:cxnSpMkLst>
        </pc:cxnChg>
        <pc:cxnChg chg="add mod ord">
          <ac:chgData name="Yudi Zhu" userId="571e1a55-055f-4c28-8b35-fca6dd1c1369" providerId="ADAL" clId="{75A88773-6EE1-484E-AADE-FE631E01463B}" dt="2025-11-26T03:59:28.822" v="754120"/>
          <ac:cxnSpMkLst>
            <pc:docMk/>
            <pc:sldMk cId="2945841504" sldId="2147483097"/>
            <ac:cxnSpMk id="28" creationId="{A40D63EF-C94A-281F-7D75-446D6A803007}"/>
          </ac:cxnSpMkLst>
        </pc:cxnChg>
        <pc:cxnChg chg="add mod ord">
          <ac:chgData name="Yudi Zhu" userId="571e1a55-055f-4c28-8b35-fca6dd1c1369" providerId="ADAL" clId="{75A88773-6EE1-484E-AADE-FE631E01463B}" dt="2025-11-26T03:59:28.822" v="754122"/>
          <ac:cxnSpMkLst>
            <pc:docMk/>
            <pc:sldMk cId="2945841504" sldId="2147483097"/>
            <ac:cxnSpMk id="29" creationId="{48B05335-9390-1CA5-6B14-31F7AA0943EA}"/>
          </ac:cxnSpMkLst>
        </pc:cxnChg>
        <pc:cxnChg chg="add mod ord">
          <ac:chgData name="Yudi Zhu" userId="571e1a55-055f-4c28-8b35-fca6dd1c1369" providerId="ADAL" clId="{75A88773-6EE1-484E-AADE-FE631E01463B}" dt="2025-11-26T03:59:28.822" v="754130"/>
          <ac:cxnSpMkLst>
            <pc:docMk/>
            <pc:sldMk cId="2945841504" sldId="2147483097"/>
            <ac:cxnSpMk id="30" creationId="{EF9EBDB4-8B7E-1BAE-BA6D-A82B810740DD}"/>
          </ac:cxnSpMkLst>
        </pc:cxnChg>
        <pc:cxnChg chg="add mod ord">
          <ac:chgData name="Yudi Zhu" userId="571e1a55-055f-4c28-8b35-fca6dd1c1369" providerId="ADAL" clId="{75A88773-6EE1-484E-AADE-FE631E01463B}" dt="2025-11-26T03:59:28.822" v="754132"/>
          <ac:cxnSpMkLst>
            <pc:docMk/>
            <pc:sldMk cId="2945841504" sldId="2147483097"/>
            <ac:cxnSpMk id="31" creationId="{79955FD4-CA7B-6254-FDB9-81026BCE9368}"/>
          </ac:cxnSpMkLst>
        </pc:cxnChg>
        <pc:cxnChg chg="add mod ord">
          <ac:chgData name="Yudi Zhu" userId="571e1a55-055f-4c28-8b35-fca6dd1c1369" providerId="ADAL" clId="{75A88773-6EE1-484E-AADE-FE631E01463B}" dt="2025-11-26T03:59:28.807" v="754087"/>
          <ac:cxnSpMkLst>
            <pc:docMk/>
            <pc:sldMk cId="2945841504" sldId="2147483097"/>
            <ac:cxnSpMk id="33" creationId="{7404C743-8614-C318-7925-9AA0F052DF37}"/>
          </ac:cxnSpMkLst>
        </pc:cxnChg>
        <pc:cxnChg chg="add mod ord">
          <ac:chgData name="Yudi Zhu" userId="571e1a55-055f-4c28-8b35-fca6dd1c1369" providerId="ADAL" clId="{75A88773-6EE1-484E-AADE-FE631E01463B}" dt="2025-11-26T03:59:28.807" v="754101"/>
          <ac:cxnSpMkLst>
            <pc:docMk/>
            <pc:sldMk cId="2945841504" sldId="2147483097"/>
            <ac:cxnSpMk id="34" creationId="{CDE96436-D6F8-EA3B-0FB1-E87640B0B6D2}"/>
          </ac:cxnSpMkLst>
        </pc:cxnChg>
        <pc:cxnChg chg="add mod ord">
          <ac:chgData name="Yudi Zhu" userId="571e1a55-055f-4c28-8b35-fca6dd1c1369" providerId="ADAL" clId="{75A88773-6EE1-484E-AADE-FE631E01463B}" dt="2025-11-26T03:59:28.807" v="754103"/>
          <ac:cxnSpMkLst>
            <pc:docMk/>
            <pc:sldMk cId="2945841504" sldId="2147483097"/>
            <ac:cxnSpMk id="35" creationId="{6E65C362-3D27-0291-6F0A-0BC7EA743099}"/>
          </ac:cxnSpMkLst>
        </pc:cxnChg>
        <pc:cxnChg chg="add mod ord">
          <ac:chgData name="Yudi Zhu" userId="571e1a55-055f-4c28-8b35-fca6dd1c1369" providerId="ADAL" clId="{75A88773-6EE1-484E-AADE-FE631E01463B}" dt="2025-11-26T03:59:28.807" v="754105"/>
          <ac:cxnSpMkLst>
            <pc:docMk/>
            <pc:sldMk cId="2945841504" sldId="2147483097"/>
            <ac:cxnSpMk id="36" creationId="{3AB8B903-A16B-BA8C-3D32-0D85BAB2F5BD}"/>
          </ac:cxnSpMkLst>
        </pc:cxnChg>
        <pc:cxnChg chg="add del mod ord">
          <ac:chgData name="Yudi Zhu" userId="571e1a55-055f-4c28-8b35-fca6dd1c1369" providerId="ADAL" clId="{75A88773-6EE1-484E-AADE-FE631E01463B}" dt="2025-11-26T03:31:54.558" v="694677"/>
          <ac:cxnSpMkLst>
            <pc:docMk/>
            <pc:sldMk cId="2945841504" sldId="2147483097"/>
            <ac:cxnSpMk id="37" creationId="{D97A7ED0-6C82-23A7-A22C-DB24A5E94A05}"/>
          </ac:cxnSpMkLst>
        </pc:cxnChg>
        <pc:cxnChg chg="add del mod ord">
          <ac:chgData name="Yudi Zhu" userId="571e1a55-055f-4c28-8b35-fca6dd1c1369" providerId="ADAL" clId="{75A88773-6EE1-484E-AADE-FE631E01463B}" dt="2025-11-26T03:37:37.708" v="705741"/>
          <ac:cxnSpMkLst>
            <pc:docMk/>
            <pc:sldMk cId="2945841504" sldId="2147483097"/>
            <ac:cxnSpMk id="38" creationId="{0FC59804-81E3-E2EA-15E2-C8DC54DF59BA}"/>
          </ac:cxnSpMkLst>
        </pc:cxnChg>
        <pc:cxnChg chg="add del mod ord">
          <ac:chgData name="Yudi Zhu" userId="571e1a55-055f-4c28-8b35-fca6dd1c1369" providerId="ADAL" clId="{75A88773-6EE1-484E-AADE-FE631E01463B}" dt="2025-11-26T03:31:54.574" v="694689"/>
          <ac:cxnSpMkLst>
            <pc:docMk/>
            <pc:sldMk cId="2945841504" sldId="2147483097"/>
            <ac:cxnSpMk id="39" creationId="{E19E53E5-F6FA-A23E-374A-6F43059B5A6E}"/>
          </ac:cxnSpMkLst>
        </pc:cxnChg>
        <pc:cxnChg chg="add del mod ord">
          <ac:chgData name="Yudi Zhu" userId="571e1a55-055f-4c28-8b35-fca6dd1c1369" providerId="ADAL" clId="{75A88773-6EE1-484E-AADE-FE631E01463B}" dt="2025-11-26T03:31:57.232" v="697438"/>
          <ac:cxnSpMkLst>
            <pc:docMk/>
            <pc:sldMk cId="2945841504" sldId="2147483097"/>
            <ac:cxnSpMk id="40" creationId="{D0235BC5-A2A4-1076-CCB5-2515165A2035}"/>
          </ac:cxnSpMkLst>
        </pc:cxnChg>
        <pc:cxnChg chg="add mod ord">
          <ac:chgData name="Yudi Zhu" userId="571e1a55-055f-4c28-8b35-fca6dd1c1369" providerId="ADAL" clId="{75A88773-6EE1-484E-AADE-FE631E01463B}" dt="2025-11-26T03:59:28.919" v="754331"/>
          <ac:cxnSpMkLst>
            <pc:docMk/>
            <pc:sldMk cId="2945841504" sldId="2147483097"/>
            <ac:cxnSpMk id="43" creationId="{D0706066-60C2-4883-715C-9FC2C4B1684F}"/>
          </ac:cxnSpMkLst>
        </pc:cxnChg>
        <pc:cxnChg chg="add mod ord">
          <ac:chgData name="Yudi Zhu" userId="571e1a55-055f-4c28-8b35-fca6dd1c1369" providerId="ADAL" clId="{75A88773-6EE1-484E-AADE-FE631E01463B}" dt="2025-11-26T03:59:28.916" v="754319"/>
          <ac:cxnSpMkLst>
            <pc:docMk/>
            <pc:sldMk cId="2945841504" sldId="2147483097"/>
            <ac:cxnSpMk id="44" creationId="{7F758961-9016-F5C2-68B7-AAE51E36BFF0}"/>
          </ac:cxnSpMkLst>
        </pc:cxnChg>
        <pc:cxnChg chg="add mod ord">
          <ac:chgData name="Yudi Zhu" userId="571e1a55-055f-4c28-8b35-fca6dd1c1369" providerId="ADAL" clId="{75A88773-6EE1-484E-AADE-FE631E01463B}" dt="2025-11-26T03:59:28.922" v="754341"/>
          <ac:cxnSpMkLst>
            <pc:docMk/>
            <pc:sldMk cId="2945841504" sldId="2147483097"/>
            <ac:cxnSpMk id="45" creationId="{E19570DC-5F68-7B15-B82D-8FF823FAA4BF}"/>
          </ac:cxnSpMkLst>
        </pc:cxnChg>
        <pc:cxnChg chg="add del mod ord">
          <ac:chgData name="Yudi Zhu" userId="571e1a55-055f-4c28-8b35-fca6dd1c1369" providerId="ADAL" clId="{75A88773-6EE1-484E-AADE-FE631E01463B}" dt="2025-11-26T03:31:53.810" v="693865"/>
          <ac:cxnSpMkLst>
            <pc:docMk/>
            <pc:sldMk cId="2945841504" sldId="2147483097"/>
            <ac:cxnSpMk id="46" creationId="{38C486E9-8B9B-537B-A7E5-3BE8292DB9DE}"/>
          </ac:cxnSpMkLst>
        </pc:cxnChg>
        <pc:cxnChg chg="add mod ord">
          <ac:chgData name="Yudi Zhu" userId="571e1a55-055f-4c28-8b35-fca6dd1c1369" providerId="ADAL" clId="{75A88773-6EE1-484E-AADE-FE631E01463B}" dt="2025-11-26T03:59:28.928" v="754367"/>
          <ac:cxnSpMkLst>
            <pc:docMk/>
            <pc:sldMk cId="2945841504" sldId="2147483097"/>
            <ac:cxnSpMk id="47" creationId="{5FD6F803-9FF9-C590-DCAD-BD9BBDABE600}"/>
          </ac:cxnSpMkLst>
        </pc:cxnChg>
        <pc:cxnChg chg="add mod ord">
          <ac:chgData name="Yudi Zhu" userId="571e1a55-055f-4c28-8b35-fca6dd1c1369" providerId="ADAL" clId="{75A88773-6EE1-484E-AADE-FE631E01463B}" dt="2025-11-26T03:59:28.928" v="754377"/>
          <ac:cxnSpMkLst>
            <pc:docMk/>
            <pc:sldMk cId="2945841504" sldId="2147483097"/>
            <ac:cxnSpMk id="48" creationId="{3EFA5799-B11E-7367-92C5-B2E499273415}"/>
          </ac:cxnSpMkLst>
        </pc:cxnChg>
        <pc:cxnChg chg="add mod ord">
          <ac:chgData name="Yudi Zhu" userId="571e1a55-055f-4c28-8b35-fca6dd1c1369" providerId="ADAL" clId="{75A88773-6EE1-484E-AADE-FE631E01463B}" dt="2025-11-26T03:59:28.917" v="754323"/>
          <ac:cxnSpMkLst>
            <pc:docMk/>
            <pc:sldMk cId="2945841504" sldId="2147483097"/>
            <ac:cxnSpMk id="49" creationId="{6E16BA44-DF5E-92A1-A324-C50C080F024E}"/>
          </ac:cxnSpMkLst>
        </pc:cxnChg>
        <pc:cxnChg chg="del mod ord">
          <ac:chgData name="Yudi Zhu" userId="571e1a55-055f-4c28-8b35-fca6dd1c1369" providerId="ADAL" clId="{75A88773-6EE1-484E-AADE-FE631E01463B}" dt="2025-11-26T03:24:06.550" v="691004"/>
          <ac:cxnSpMkLst>
            <pc:docMk/>
            <pc:sldMk cId="2945841504" sldId="2147483097"/>
            <ac:cxnSpMk id="57" creationId="{B8A70BC4-880F-79F8-BF39-DEB7ECF3AAAF}"/>
          </ac:cxnSpMkLst>
        </pc:cxnChg>
        <pc:cxnChg chg="del mod ord">
          <ac:chgData name="Yudi Zhu" userId="571e1a55-055f-4c28-8b35-fca6dd1c1369" providerId="ADAL" clId="{75A88773-6EE1-484E-AADE-FE631E01463B}" dt="2025-11-26T03:24:06.538" v="691000"/>
          <ac:cxnSpMkLst>
            <pc:docMk/>
            <pc:sldMk cId="2945841504" sldId="2147483097"/>
            <ac:cxnSpMk id="58" creationId="{544E8E06-7A8F-3954-A4AA-EE20FECFFF3B}"/>
          </ac:cxnSpMkLst>
        </pc:cxnChg>
        <pc:cxnChg chg="del mod ord">
          <ac:chgData name="Yudi Zhu" userId="571e1a55-055f-4c28-8b35-fca6dd1c1369" providerId="ADAL" clId="{75A88773-6EE1-484E-AADE-FE631E01463B}" dt="2025-11-26T03:24:06.538" v="690995"/>
          <ac:cxnSpMkLst>
            <pc:docMk/>
            <pc:sldMk cId="2945841504" sldId="2147483097"/>
            <ac:cxnSpMk id="59" creationId="{F626354A-02F7-D8D1-C43E-6F2AA2506D97}"/>
          </ac:cxnSpMkLst>
        </pc:cxnChg>
        <pc:cxnChg chg="del mod ord">
          <ac:chgData name="Yudi Zhu" userId="571e1a55-055f-4c28-8b35-fca6dd1c1369" providerId="ADAL" clId="{75A88773-6EE1-484E-AADE-FE631E01463B}" dt="2025-11-26T03:24:06.538" v="690991"/>
          <ac:cxnSpMkLst>
            <pc:docMk/>
            <pc:sldMk cId="2945841504" sldId="2147483097"/>
            <ac:cxnSpMk id="60" creationId="{920FA605-E38D-0766-1BEA-D0809D4F30B1}"/>
          </ac:cxnSpMkLst>
        </pc:cxnChg>
        <pc:cxnChg chg="del mod ord">
          <ac:chgData name="Yudi Zhu" userId="571e1a55-055f-4c28-8b35-fca6dd1c1369" providerId="ADAL" clId="{75A88773-6EE1-484E-AADE-FE631E01463B}" dt="2025-11-26T03:24:06.538" v="690988"/>
          <ac:cxnSpMkLst>
            <pc:docMk/>
            <pc:sldMk cId="2945841504" sldId="2147483097"/>
            <ac:cxnSpMk id="61" creationId="{5460B9C1-B478-B2EA-64C1-1F3A3ED7DB5F}"/>
          </ac:cxnSpMkLst>
        </pc:cxnChg>
        <pc:cxnChg chg="del mod ord">
          <ac:chgData name="Yudi Zhu" userId="571e1a55-055f-4c28-8b35-fca6dd1c1369" providerId="ADAL" clId="{75A88773-6EE1-484E-AADE-FE631E01463B}" dt="2025-11-26T03:24:06.538" v="690981"/>
          <ac:cxnSpMkLst>
            <pc:docMk/>
            <pc:sldMk cId="2945841504" sldId="2147483097"/>
            <ac:cxnSpMk id="62" creationId="{D3FC26B7-159F-8978-6453-5F5B3488596A}"/>
          </ac:cxnSpMkLst>
        </pc:cxnChg>
        <pc:cxnChg chg="del mod ord">
          <ac:chgData name="Yudi Zhu" userId="571e1a55-055f-4c28-8b35-fca6dd1c1369" providerId="ADAL" clId="{75A88773-6EE1-484E-AADE-FE631E01463B}" dt="2025-11-26T03:24:06.538" v="690976"/>
          <ac:cxnSpMkLst>
            <pc:docMk/>
            <pc:sldMk cId="2945841504" sldId="2147483097"/>
            <ac:cxnSpMk id="63" creationId="{036720A8-6C47-441D-7C79-B2E3C0977058}"/>
          </ac:cxnSpMkLst>
        </pc:cxnChg>
        <pc:cxnChg chg="add mod ord">
          <ac:chgData name="Yudi Zhu" userId="571e1a55-055f-4c28-8b35-fca6dd1c1369" providerId="ADAL" clId="{75A88773-6EE1-484E-AADE-FE631E01463B}" dt="2025-11-26T03:59:28.911" v="754305"/>
          <ac:cxnSpMkLst>
            <pc:docMk/>
            <pc:sldMk cId="2945841504" sldId="2147483097"/>
            <ac:cxnSpMk id="131" creationId="{302D367C-1A02-3459-9C2D-9BD3F848C065}"/>
          </ac:cxnSpMkLst>
        </pc:cxnChg>
        <pc:cxnChg chg="add mod ord">
          <ac:chgData name="Yudi Zhu" userId="571e1a55-055f-4c28-8b35-fca6dd1c1369" providerId="ADAL" clId="{75A88773-6EE1-484E-AADE-FE631E01463B}" dt="2025-11-26T03:59:28.924" v="754349"/>
          <ac:cxnSpMkLst>
            <pc:docMk/>
            <pc:sldMk cId="2945841504" sldId="2147483097"/>
            <ac:cxnSpMk id="132" creationId="{497CD7EF-2824-5BEF-62B8-0B80F9A1815F}"/>
          </ac:cxnSpMkLst>
        </pc:cxnChg>
        <pc:cxnChg chg="add mod ord">
          <ac:chgData name="Yudi Zhu" userId="571e1a55-055f-4c28-8b35-fca6dd1c1369" providerId="ADAL" clId="{75A88773-6EE1-484E-AADE-FE631E01463B}" dt="2025-11-26T03:59:28.928" v="754363"/>
          <ac:cxnSpMkLst>
            <pc:docMk/>
            <pc:sldMk cId="2945841504" sldId="2147483097"/>
            <ac:cxnSpMk id="133" creationId="{5A4BDDAB-C480-572D-E7FF-824340033891}"/>
          </ac:cxnSpMkLst>
        </pc:cxnChg>
        <pc:cxnChg chg="add mod ord">
          <ac:chgData name="Yudi Zhu" userId="571e1a55-055f-4c28-8b35-fca6dd1c1369" providerId="ADAL" clId="{75A88773-6EE1-484E-AADE-FE631E01463B}" dt="2025-11-26T03:59:28.928" v="754371"/>
          <ac:cxnSpMkLst>
            <pc:docMk/>
            <pc:sldMk cId="2945841504" sldId="2147483097"/>
            <ac:cxnSpMk id="134" creationId="{F39DE797-6E83-C6E1-E872-5E203764A14F}"/>
          </ac:cxnSpMkLst>
        </pc:cxnChg>
        <pc:cxnChg chg="add mod ord">
          <ac:chgData name="Yudi Zhu" userId="571e1a55-055f-4c28-8b35-fca6dd1c1369" providerId="ADAL" clId="{75A88773-6EE1-484E-AADE-FE631E01463B}" dt="2025-11-26T03:59:28.928" v="754379"/>
          <ac:cxnSpMkLst>
            <pc:docMk/>
            <pc:sldMk cId="2945841504" sldId="2147483097"/>
            <ac:cxnSpMk id="135" creationId="{22845195-F19E-1E7D-D556-3E518C81794D}"/>
          </ac:cxnSpMkLst>
        </pc:cxnChg>
        <pc:cxnChg chg="add mod ord">
          <ac:chgData name="Yudi Zhu" userId="571e1a55-055f-4c28-8b35-fca6dd1c1369" providerId="ADAL" clId="{75A88773-6EE1-484E-AADE-FE631E01463B}" dt="2025-11-26T03:59:28.914" v="754313"/>
          <ac:cxnSpMkLst>
            <pc:docMk/>
            <pc:sldMk cId="2945841504" sldId="2147483097"/>
            <ac:cxnSpMk id="136" creationId="{49D63ACB-A030-422B-EE90-7AC4A69D43CA}"/>
          </ac:cxnSpMkLst>
        </pc:cxnChg>
        <pc:cxnChg chg="add mod ord">
          <ac:chgData name="Yudi Zhu" userId="571e1a55-055f-4c28-8b35-fca6dd1c1369" providerId="ADAL" clId="{75A88773-6EE1-484E-AADE-FE631E01463B}" dt="2025-11-26T03:59:28.926" v="754355"/>
          <ac:cxnSpMkLst>
            <pc:docMk/>
            <pc:sldMk cId="2945841504" sldId="2147483097"/>
            <ac:cxnSpMk id="137" creationId="{91E2097A-FBDE-3919-BBD5-CD8987C5B85F}"/>
          </ac:cxnSpMkLst>
        </pc:cxnChg>
        <pc:cxnChg chg="add mod ord">
          <ac:chgData name="Yudi Zhu" userId="571e1a55-055f-4c28-8b35-fca6dd1c1369" providerId="ADAL" clId="{75A88773-6EE1-484E-AADE-FE631E01463B}" dt="2025-11-26T03:59:28.925" v="754351"/>
          <ac:cxnSpMkLst>
            <pc:docMk/>
            <pc:sldMk cId="2945841504" sldId="2147483097"/>
            <ac:cxnSpMk id="138" creationId="{AD6E0703-56E5-AA61-ED7D-BD79A77735E1}"/>
          </ac:cxnSpMkLst>
        </pc:cxnChg>
        <pc:cxnChg chg="add mod ord">
          <ac:chgData name="Yudi Zhu" userId="571e1a55-055f-4c28-8b35-fca6dd1c1369" providerId="ADAL" clId="{75A88773-6EE1-484E-AADE-FE631E01463B}" dt="2025-11-26T03:59:28.924" v="754347"/>
          <ac:cxnSpMkLst>
            <pc:docMk/>
            <pc:sldMk cId="2945841504" sldId="2147483097"/>
            <ac:cxnSpMk id="139" creationId="{0F696389-1B0E-632C-5872-FA4364234750}"/>
          </ac:cxnSpMkLst>
        </pc:cxnChg>
        <pc:cxnChg chg="add mod ord">
          <ac:chgData name="Yudi Zhu" userId="571e1a55-055f-4c28-8b35-fca6dd1c1369" providerId="ADAL" clId="{75A88773-6EE1-484E-AADE-FE631E01463B}" dt="2025-11-26T03:59:28.903" v="754278"/>
          <ac:cxnSpMkLst>
            <pc:docMk/>
            <pc:sldMk cId="2945841504" sldId="2147483097"/>
            <ac:cxnSpMk id="140" creationId="{763F88E0-5513-4C71-F9E0-97729260EA72}"/>
          </ac:cxnSpMkLst>
        </pc:cxnChg>
        <pc:cxnChg chg="add mod ord">
          <ac:chgData name="Yudi Zhu" userId="571e1a55-055f-4c28-8b35-fca6dd1c1369" providerId="ADAL" clId="{75A88773-6EE1-484E-AADE-FE631E01463B}" dt="2025-11-26T03:59:28.904" v="754282"/>
          <ac:cxnSpMkLst>
            <pc:docMk/>
            <pc:sldMk cId="2945841504" sldId="2147483097"/>
            <ac:cxnSpMk id="141" creationId="{3BF1E16E-B973-7A15-0FB6-8C5C2D450EEF}"/>
          </ac:cxnSpMkLst>
        </pc:cxnChg>
        <pc:cxnChg chg="add mod ord">
          <ac:chgData name="Yudi Zhu" userId="571e1a55-055f-4c28-8b35-fca6dd1c1369" providerId="ADAL" clId="{75A88773-6EE1-484E-AADE-FE631E01463B}" dt="2025-11-26T03:59:28.904" v="754284"/>
          <ac:cxnSpMkLst>
            <pc:docMk/>
            <pc:sldMk cId="2945841504" sldId="2147483097"/>
            <ac:cxnSpMk id="142" creationId="{3CC97B79-ABD5-FDBF-D366-DA42E71FC9E2}"/>
          </ac:cxnSpMkLst>
        </pc:cxnChg>
        <pc:cxnChg chg="add mod ord">
          <ac:chgData name="Yudi Zhu" userId="571e1a55-055f-4c28-8b35-fca6dd1c1369" providerId="ADAL" clId="{75A88773-6EE1-484E-AADE-FE631E01463B}" dt="2025-11-26T03:59:28.901" v="754272"/>
          <ac:cxnSpMkLst>
            <pc:docMk/>
            <pc:sldMk cId="2945841504" sldId="2147483097"/>
            <ac:cxnSpMk id="143" creationId="{EC6E5469-1FE6-DD66-D4B3-9D848B4C085E}"/>
          </ac:cxnSpMkLst>
        </pc:cxnChg>
        <pc:cxnChg chg="add mod ord">
          <ac:chgData name="Yudi Zhu" userId="571e1a55-055f-4c28-8b35-fca6dd1c1369" providerId="ADAL" clId="{75A88773-6EE1-484E-AADE-FE631E01463B}" dt="2025-11-26T03:59:28.900" v="754270"/>
          <ac:cxnSpMkLst>
            <pc:docMk/>
            <pc:sldMk cId="2945841504" sldId="2147483097"/>
            <ac:cxnSpMk id="144" creationId="{AA91BECB-5B54-69C8-9FD2-C75EB254549A}"/>
          </ac:cxnSpMkLst>
        </pc:cxnChg>
        <pc:cxnChg chg="add del mod ord">
          <ac:chgData name="Yudi Zhu" userId="571e1a55-055f-4c28-8b35-fca6dd1c1369" providerId="ADAL" clId="{75A88773-6EE1-484E-AADE-FE631E01463B}" dt="2025-11-26T03:37:37.708" v="705753"/>
          <ac:cxnSpMkLst>
            <pc:docMk/>
            <pc:sldMk cId="2945841504" sldId="2147483097"/>
            <ac:cxnSpMk id="145" creationId="{9C705542-1A48-7F5A-E932-93458FB90376}"/>
          </ac:cxnSpMkLst>
        </pc:cxnChg>
        <pc:cxnChg chg="add mod ord">
          <ac:chgData name="Yudi Zhu" userId="571e1a55-055f-4c28-8b35-fca6dd1c1369" providerId="ADAL" clId="{75A88773-6EE1-484E-AADE-FE631E01463B}" dt="2025-11-26T03:59:28.902" v="754274"/>
          <ac:cxnSpMkLst>
            <pc:docMk/>
            <pc:sldMk cId="2945841504" sldId="2147483097"/>
            <ac:cxnSpMk id="151" creationId="{9723B0F6-7B76-18D9-F0D3-32721AEF809A}"/>
          </ac:cxnSpMkLst>
        </pc:cxnChg>
        <pc:cxnChg chg="mod ord">
          <ac:chgData name="Yudi Zhu" userId="571e1a55-055f-4c28-8b35-fca6dd1c1369" providerId="ADAL" clId="{75A88773-6EE1-484E-AADE-FE631E01463B}" dt="2025-11-26T03:59:28.807" v="754089"/>
          <ac:cxnSpMkLst>
            <pc:docMk/>
            <pc:sldMk cId="2945841504" sldId="2147483097"/>
            <ac:cxnSpMk id="153" creationId="{3D86BA23-82AC-89CB-0C7A-64BE0C2149C7}"/>
          </ac:cxnSpMkLst>
        </pc:cxnChg>
        <pc:cxnChg chg="add mod ord">
          <ac:chgData name="Yudi Zhu" userId="571e1a55-055f-4c28-8b35-fca6dd1c1369" providerId="ADAL" clId="{75A88773-6EE1-484E-AADE-FE631E01463B}" dt="2025-11-26T03:59:28.928" v="754359"/>
          <ac:cxnSpMkLst>
            <pc:docMk/>
            <pc:sldMk cId="2945841504" sldId="2147483097"/>
            <ac:cxnSpMk id="158" creationId="{50B04F6B-ACB2-79A6-ED46-82A028563371}"/>
          </ac:cxnSpMkLst>
        </pc:cxnChg>
        <pc:cxnChg chg="add mod ord">
          <ac:chgData name="Yudi Zhu" userId="571e1a55-055f-4c28-8b35-fca6dd1c1369" providerId="ADAL" clId="{75A88773-6EE1-484E-AADE-FE631E01463B}" dt="2025-11-26T03:59:28.927" v="754357"/>
          <ac:cxnSpMkLst>
            <pc:docMk/>
            <pc:sldMk cId="2945841504" sldId="2147483097"/>
            <ac:cxnSpMk id="159" creationId="{D7BC6C38-0B7D-990D-6937-E5CAFCC70F67}"/>
          </ac:cxnSpMkLst>
        </pc:cxnChg>
        <pc:cxnChg chg="add mod ord">
          <ac:chgData name="Yudi Zhu" userId="571e1a55-055f-4c28-8b35-fca6dd1c1369" providerId="ADAL" clId="{75A88773-6EE1-484E-AADE-FE631E01463B}" dt="2025-11-26T03:59:28.906" v="754292"/>
          <ac:cxnSpMkLst>
            <pc:docMk/>
            <pc:sldMk cId="2945841504" sldId="2147483097"/>
            <ac:cxnSpMk id="160" creationId="{61388DCD-972D-3F96-78FD-210E27BB1B3E}"/>
          </ac:cxnSpMkLst>
        </pc:cxnChg>
        <pc:cxnChg chg="mod ord">
          <ac:chgData name="Yudi Zhu" userId="571e1a55-055f-4c28-8b35-fca6dd1c1369" providerId="ADAL" clId="{75A88773-6EE1-484E-AADE-FE631E01463B}" dt="2025-11-26T03:59:28.871" v="754203"/>
          <ac:cxnSpMkLst>
            <pc:docMk/>
            <pc:sldMk cId="2945841504" sldId="2147483097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6T03:59:28.807" v="754091"/>
          <ac:cxnSpMkLst>
            <pc:docMk/>
            <pc:sldMk cId="2945841504" sldId="2147483097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6T03:59:28.807" v="754093"/>
          <ac:cxnSpMkLst>
            <pc:docMk/>
            <pc:sldMk cId="2945841504" sldId="2147483097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6T03:59:28.871" v="754222"/>
          <ac:cxnSpMkLst>
            <pc:docMk/>
            <pc:sldMk cId="2945841504" sldId="2147483097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6T03:59:28.871" v="754224"/>
          <ac:cxnSpMkLst>
            <pc:docMk/>
            <pc:sldMk cId="2945841504" sldId="2147483097"/>
            <ac:cxnSpMk id="1022" creationId="{C6DB9E9F-DAC5-E517-B8A2-EB49006A9DAA}"/>
          </ac:cxnSpMkLst>
        </pc:cxnChg>
        <pc:cxnChg chg="del mod ord">
          <ac:chgData name="Yudi Zhu" userId="571e1a55-055f-4c28-8b35-fca6dd1c1369" providerId="ADAL" clId="{75A88773-6EE1-484E-AADE-FE631E01463B}" dt="2025-11-26T03:24:06.550" v="691015"/>
          <ac:cxnSpMkLst>
            <pc:docMk/>
            <pc:sldMk cId="2945841504" sldId="2147483097"/>
            <ac:cxnSpMk id="1381" creationId="{60F9A687-49A7-9139-83E6-DE0BDC247892}"/>
          </ac:cxnSpMkLst>
        </pc:cxnChg>
        <pc:cxnChg chg="del mod ord">
          <ac:chgData name="Yudi Zhu" userId="571e1a55-055f-4c28-8b35-fca6dd1c1369" providerId="ADAL" clId="{75A88773-6EE1-484E-AADE-FE631E01463B}" dt="2025-11-26T03:24:06.550" v="691012"/>
          <ac:cxnSpMkLst>
            <pc:docMk/>
            <pc:sldMk cId="2945841504" sldId="2147483097"/>
            <ac:cxnSpMk id="1382" creationId="{81D9BC2E-43BF-0B4D-346D-E07E1572AC4E}"/>
          </ac:cxnSpMkLst>
        </pc:cxnChg>
        <pc:cxnChg chg="del mod ord">
          <ac:chgData name="Yudi Zhu" userId="571e1a55-055f-4c28-8b35-fca6dd1c1369" providerId="ADAL" clId="{75A88773-6EE1-484E-AADE-FE631E01463B}" dt="2025-11-26T03:24:06.550" v="691009"/>
          <ac:cxnSpMkLst>
            <pc:docMk/>
            <pc:sldMk cId="2945841504" sldId="2147483097"/>
            <ac:cxnSpMk id="1383" creationId="{06C80ABB-ADE7-9188-D748-6A0BB890BA72}"/>
          </ac:cxnSpMkLst>
        </pc:cxnChg>
        <pc:cxnChg chg="del mod ord">
          <ac:chgData name="Yudi Zhu" userId="571e1a55-055f-4c28-8b35-fca6dd1c1369" providerId="ADAL" clId="{75A88773-6EE1-484E-AADE-FE631E01463B}" dt="2025-11-26T03:24:06.518" v="690938"/>
          <ac:cxnSpMkLst>
            <pc:docMk/>
            <pc:sldMk cId="2945841504" sldId="2147483097"/>
            <ac:cxnSpMk id="1416" creationId="{72D85A7C-D068-4FDE-7721-9FFD5EE00CF7}"/>
          </ac:cxnSpMkLst>
        </pc:cxnChg>
        <pc:cxnChg chg="del mod ord">
          <ac:chgData name="Yudi Zhu" userId="571e1a55-055f-4c28-8b35-fca6dd1c1369" providerId="ADAL" clId="{75A88773-6EE1-484E-AADE-FE631E01463B}" dt="2025-11-26T03:24:06.503" v="690932"/>
          <ac:cxnSpMkLst>
            <pc:docMk/>
            <pc:sldMk cId="2945841504" sldId="2147483097"/>
            <ac:cxnSpMk id="1427" creationId="{8CD1BFBD-29D4-7EFA-3730-7685282ECB0D}"/>
          </ac:cxnSpMkLst>
        </pc:cxnChg>
        <pc:cxnChg chg="del mod ord">
          <ac:chgData name="Yudi Zhu" userId="571e1a55-055f-4c28-8b35-fca6dd1c1369" providerId="ADAL" clId="{75A88773-6EE1-484E-AADE-FE631E01463B}" dt="2025-11-26T03:24:06.538" v="690986"/>
          <ac:cxnSpMkLst>
            <pc:docMk/>
            <pc:sldMk cId="2945841504" sldId="2147483097"/>
            <ac:cxnSpMk id="1459" creationId="{16AAA7D6-7B2F-3A99-2825-6C1703FEC375}"/>
          </ac:cxnSpMkLst>
        </pc:cxnChg>
        <pc:cxnChg chg="del mod ord">
          <ac:chgData name="Yudi Zhu" userId="571e1a55-055f-4c28-8b35-fca6dd1c1369" providerId="ADAL" clId="{75A88773-6EE1-484E-AADE-FE631E01463B}" dt="2025-11-26T03:24:06.537" v="690972"/>
          <ac:cxnSpMkLst>
            <pc:docMk/>
            <pc:sldMk cId="2945841504" sldId="2147483097"/>
            <ac:cxnSpMk id="1462" creationId="{B25EED74-3BE6-1A25-FFAA-ED5F7EF0AB47}"/>
          </ac:cxnSpMkLst>
        </pc:cxnChg>
        <pc:cxnChg chg="del mod ord">
          <ac:chgData name="Yudi Zhu" userId="571e1a55-055f-4c28-8b35-fca6dd1c1369" providerId="ADAL" clId="{75A88773-6EE1-484E-AADE-FE631E01463B}" dt="2025-11-26T03:24:06.518" v="690954"/>
          <ac:cxnSpMkLst>
            <pc:docMk/>
            <pc:sldMk cId="2945841504" sldId="2147483097"/>
            <ac:cxnSpMk id="1466" creationId="{D3EC2432-4617-5266-2DF0-2F8BEF10B77E}"/>
          </ac:cxnSpMkLst>
        </pc:cxnChg>
        <pc:cxnChg chg="del mod ord">
          <ac:chgData name="Yudi Zhu" userId="571e1a55-055f-4c28-8b35-fca6dd1c1369" providerId="ADAL" clId="{75A88773-6EE1-484E-AADE-FE631E01463B}" dt="2025-11-26T03:24:06.518" v="690951"/>
          <ac:cxnSpMkLst>
            <pc:docMk/>
            <pc:sldMk cId="2945841504" sldId="2147483097"/>
            <ac:cxnSpMk id="1467" creationId="{B04EF4F2-7F38-9EBF-D340-CFB75FC1FB25}"/>
          </ac:cxnSpMkLst>
        </pc:cxnChg>
        <pc:cxnChg chg="del mod ord">
          <ac:chgData name="Yudi Zhu" userId="571e1a55-055f-4c28-8b35-fca6dd1c1369" providerId="ADAL" clId="{75A88773-6EE1-484E-AADE-FE631E01463B}" dt="2025-11-26T03:24:06.518" v="690949"/>
          <ac:cxnSpMkLst>
            <pc:docMk/>
            <pc:sldMk cId="2945841504" sldId="2147483097"/>
            <ac:cxnSpMk id="1468" creationId="{DB3DA2FD-3F9C-7D07-1499-92AEE88BBABE}"/>
          </ac:cxnSpMkLst>
        </pc:cxnChg>
        <pc:cxnChg chg="del mod ord">
          <ac:chgData name="Yudi Zhu" userId="571e1a55-055f-4c28-8b35-fca6dd1c1369" providerId="ADAL" clId="{75A88773-6EE1-484E-AADE-FE631E01463B}" dt="2025-11-26T03:24:06.518" v="690944"/>
          <ac:cxnSpMkLst>
            <pc:docMk/>
            <pc:sldMk cId="2945841504" sldId="2147483097"/>
            <ac:cxnSpMk id="1469" creationId="{E7FB9AEA-E911-CF9F-9FF2-E4588B47992B}"/>
          </ac:cxnSpMkLst>
        </pc:cxnChg>
        <pc:cxnChg chg="del mod ord">
          <ac:chgData name="Yudi Zhu" userId="571e1a55-055f-4c28-8b35-fca6dd1c1369" providerId="ADAL" clId="{75A88773-6EE1-484E-AADE-FE631E01463B}" dt="2025-11-26T03:24:06.503" v="690934"/>
          <ac:cxnSpMkLst>
            <pc:docMk/>
            <pc:sldMk cId="2945841504" sldId="2147483097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6T03:59:28.871" v="754220"/>
          <ac:cxnSpMkLst>
            <pc:docMk/>
            <pc:sldMk cId="2945841504" sldId="2147483097"/>
            <ac:cxnSpMk id="1477" creationId="{152B86F5-FAEA-60A6-7C19-C68CC06B21E4}"/>
          </ac:cxnSpMkLst>
        </pc:cxnChg>
        <pc:cxnChg chg="del mod ord">
          <ac:chgData name="Yudi Zhu" userId="571e1a55-055f-4c28-8b35-fca6dd1c1369" providerId="ADAL" clId="{75A88773-6EE1-484E-AADE-FE631E01463B}" dt="2025-11-26T03:37:47.129" v="706192"/>
          <ac:cxnSpMkLst>
            <pc:docMk/>
            <pc:sldMk cId="2945841504" sldId="2147483097"/>
            <ac:cxnSpMk id="1506" creationId="{BB0F55B6-0C78-D4EF-A336-891CC9FCE583}"/>
          </ac:cxnSpMkLst>
        </pc:cxnChg>
        <pc:cxnChg chg="del mod ord">
          <ac:chgData name="Yudi Zhu" userId="571e1a55-055f-4c28-8b35-fca6dd1c1369" providerId="ADAL" clId="{75A88773-6EE1-484E-AADE-FE631E01463B}" dt="2025-11-24T03:58:26.342" v="609206"/>
          <ac:cxnSpMkLst>
            <pc:docMk/>
            <pc:sldMk cId="2945841504" sldId="2147483097"/>
            <ac:cxnSpMk id="1519" creationId="{DB475FC9-58A8-F50C-7AD4-C76A1BA430D5}"/>
          </ac:cxnSpMkLst>
        </pc:cxnChg>
        <pc:cxnChg chg="del mod ord">
          <ac:chgData name="Yudi Zhu" userId="571e1a55-055f-4c28-8b35-fca6dd1c1369" providerId="ADAL" clId="{75A88773-6EE1-484E-AADE-FE631E01463B}" dt="2025-11-24T03:58:07.260" v="607568"/>
          <ac:cxnSpMkLst>
            <pc:docMk/>
            <pc:sldMk cId="2945841504" sldId="2147483097"/>
            <ac:cxnSpMk id="1520" creationId="{3CB49AF6-9704-491C-F81E-0D23463A0055}"/>
          </ac:cxnSpMkLst>
        </pc:cxnChg>
        <pc:cxnChg chg="del mod ord">
          <ac:chgData name="Yudi Zhu" userId="571e1a55-055f-4c28-8b35-fca6dd1c1369" providerId="ADAL" clId="{75A88773-6EE1-484E-AADE-FE631E01463B}" dt="2025-11-26T03:37:47.523" v="706577"/>
          <ac:cxnSpMkLst>
            <pc:docMk/>
            <pc:sldMk cId="2945841504" sldId="2147483097"/>
            <ac:cxnSpMk id="1524" creationId="{C473C6AD-8681-B41F-FEBD-B32D433102CF}"/>
          </ac:cxnSpMkLst>
        </pc:cxnChg>
        <pc:cxnChg chg="del mod ord">
          <ac:chgData name="Yudi Zhu" userId="571e1a55-055f-4c28-8b35-fca6dd1c1369" providerId="ADAL" clId="{75A88773-6EE1-484E-AADE-FE631E01463B}" dt="2025-11-24T03:58:12.438" v="608576"/>
          <ac:cxnSpMkLst>
            <pc:docMk/>
            <pc:sldMk cId="2945841504" sldId="2147483097"/>
            <ac:cxnSpMk id="1577" creationId="{EF2CE3C8-E135-885D-EBCD-640E0243BA5B}"/>
          </ac:cxnSpMkLst>
        </pc:cxnChg>
        <pc:cxnChg chg="del mod ord">
          <ac:chgData name="Yudi Zhu" userId="571e1a55-055f-4c28-8b35-fca6dd1c1369" providerId="ADAL" clId="{75A88773-6EE1-484E-AADE-FE631E01463B}" dt="2025-11-24T03:58:07.261" v="607584"/>
          <ac:cxnSpMkLst>
            <pc:docMk/>
            <pc:sldMk cId="2945841504" sldId="2147483097"/>
            <ac:cxnSpMk id="1580" creationId="{E99143B8-5E44-602C-11F8-899233E0CA94}"/>
          </ac:cxnSpMkLst>
        </pc:cxnChg>
        <pc:cxnChg chg="del mod ord">
          <ac:chgData name="Yudi Zhu" userId="571e1a55-055f-4c28-8b35-fca6dd1c1369" providerId="ADAL" clId="{75A88773-6EE1-484E-AADE-FE631E01463B}" dt="2025-11-24T03:58:07.276" v="607600"/>
          <ac:cxnSpMkLst>
            <pc:docMk/>
            <pc:sldMk cId="2945841504" sldId="2147483097"/>
            <ac:cxnSpMk id="1581" creationId="{822DC2B8-79ED-2E97-65D5-B24BD6099DE3}"/>
          </ac:cxnSpMkLst>
        </pc:cxnChg>
        <pc:cxnChg chg="del mod ord">
          <ac:chgData name="Yudi Zhu" userId="571e1a55-055f-4c28-8b35-fca6dd1c1369" providerId="ADAL" clId="{75A88773-6EE1-484E-AADE-FE631E01463B}" dt="2025-11-24T03:58:12.458" v="608616"/>
          <ac:cxnSpMkLst>
            <pc:docMk/>
            <pc:sldMk cId="2945841504" sldId="2147483097"/>
            <ac:cxnSpMk id="1582" creationId="{522C1A32-4C1E-7C5A-1A1F-AB0C8073B48E}"/>
          </ac:cxnSpMkLst>
        </pc:cxnChg>
        <pc:cxnChg chg="del mod ord">
          <ac:chgData name="Yudi Zhu" userId="571e1a55-055f-4c28-8b35-fca6dd1c1369" providerId="ADAL" clId="{75A88773-6EE1-484E-AADE-FE631E01463B}" dt="2025-11-24T03:58:12.286" v="608368"/>
          <ac:cxnSpMkLst>
            <pc:docMk/>
            <pc:sldMk cId="2945841504" sldId="2147483097"/>
            <ac:cxnSpMk id="1585" creationId="{26453B75-A203-AEA1-F433-D2A84081DC3A}"/>
          </ac:cxnSpMkLst>
        </pc:cxnChg>
        <pc:cxnChg chg="del mod ord">
          <ac:chgData name="Yudi Zhu" userId="571e1a55-055f-4c28-8b35-fca6dd1c1369" providerId="ADAL" clId="{75A88773-6EE1-484E-AADE-FE631E01463B}" dt="2025-11-24T03:58:12.343" v="608470"/>
          <ac:cxnSpMkLst>
            <pc:docMk/>
            <pc:sldMk cId="2945841504" sldId="2147483097"/>
            <ac:cxnSpMk id="1587" creationId="{1F80F8EE-7195-5C60-7F36-66FFA93BEE7C}"/>
          </ac:cxnSpMkLst>
        </pc:cxnChg>
        <pc:cxnChg chg="del mod ord">
          <ac:chgData name="Yudi Zhu" userId="571e1a55-055f-4c28-8b35-fca6dd1c1369" providerId="ADAL" clId="{75A88773-6EE1-484E-AADE-FE631E01463B}" dt="2025-11-24T03:58:12.363" v="608484"/>
          <ac:cxnSpMkLst>
            <pc:docMk/>
            <pc:sldMk cId="2945841504" sldId="2147483097"/>
            <ac:cxnSpMk id="1591" creationId="{45B3B88D-C4D2-857C-DE64-D5056A9386D8}"/>
          </ac:cxnSpMkLst>
        </pc:cxnChg>
        <pc:cxnChg chg="del mod ord">
          <ac:chgData name="Yudi Zhu" userId="571e1a55-055f-4c28-8b35-fca6dd1c1369" providerId="ADAL" clId="{75A88773-6EE1-484E-AADE-FE631E01463B}" dt="2025-11-24T03:58:12.399" v="608525"/>
          <ac:cxnSpMkLst>
            <pc:docMk/>
            <pc:sldMk cId="2945841504" sldId="2147483097"/>
            <ac:cxnSpMk id="1592" creationId="{80A237D9-085B-F196-46AA-6ECF5BCFF128}"/>
          </ac:cxnSpMkLst>
        </pc:cxnChg>
        <pc:cxnChg chg="mod ord">
          <ac:chgData name="Yudi Zhu" userId="571e1a55-055f-4c28-8b35-fca6dd1c1369" providerId="ADAL" clId="{75A88773-6EE1-484E-AADE-FE631E01463B}" dt="2025-11-26T03:59:28.807" v="754095"/>
          <ac:cxnSpMkLst>
            <pc:docMk/>
            <pc:sldMk cId="2945841504" sldId="2147483097"/>
            <ac:cxnSpMk id="1593" creationId="{6BDEA4E6-357A-2358-2347-22267E74416D}"/>
          </ac:cxnSpMkLst>
        </pc:cxnChg>
        <pc:cxnChg chg="del mod ord">
          <ac:chgData name="Yudi Zhu" userId="571e1a55-055f-4c28-8b35-fca6dd1c1369" providerId="ADAL" clId="{75A88773-6EE1-484E-AADE-FE631E01463B}" dt="2025-11-26T03:37:47.514" v="706541"/>
          <ac:cxnSpMkLst>
            <pc:docMk/>
            <pc:sldMk cId="2945841504" sldId="2147483097"/>
            <ac:cxnSpMk id="1594" creationId="{CA8BCBDE-7919-DFD2-CB10-EA88A315DC7B}"/>
          </ac:cxnSpMkLst>
        </pc:cxnChg>
        <pc:cxnChg chg="del mod ord">
          <ac:chgData name="Yudi Zhu" userId="571e1a55-055f-4c28-8b35-fca6dd1c1369" providerId="ADAL" clId="{75A88773-6EE1-484E-AADE-FE631E01463B}" dt="2025-11-26T03:37:47.514" v="706553"/>
          <ac:cxnSpMkLst>
            <pc:docMk/>
            <pc:sldMk cId="2945841504" sldId="2147483097"/>
            <ac:cxnSpMk id="1595" creationId="{A73ED295-15B4-2F3B-66BB-F98525C1C7AA}"/>
          </ac:cxnSpMkLst>
        </pc:cxnChg>
        <pc:cxnChg chg="del mod ord">
          <ac:chgData name="Yudi Zhu" userId="571e1a55-055f-4c28-8b35-fca6dd1c1369" providerId="ADAL" clId="{75A88773-6EE1-484E-AADE-FE631E01463B}" dt="2025-11-26T03:37:47.523" v="706565"/>
          <ac:cxnSpMkLst>
            <pc:docMk/>
            <pc:sldMk cId="2945841504" sldId="2147483097"/>
            <ac:cxnSpMk id="1596" creationId="{C82C9374-0347-8640-AD18-C259C5B53F7E}"/>
          </ac:cxnSpMkLst>
        </pc:cxnChg>
        <pc:cxnChg chg="del mod ord">
          <ac:chgData name="Yudi Zhu" userId="571e1a55-055f-4c28-8b35-fca6dd1c1369" providerId="ADAL" clId="{75A88773-6EE1-484E-AADE-FE631E01463B}" dt="2025-11-24T03:58:07.126" v="607369"/>
          <ac:cxnSpMkLst>
            <pc:docMk/>
            <pc:sldMk cId="2945841504" sldId="2147483097"/>
            <ac:cxnSpMk id="1599" creationId="{82B80641-5327-76DC-CF0C-CA9AB465B612}"/>
          </ac:cxnSpMkLst>
        </pc:cxnChg>
        <pc:cxnChg chg="mod ord">
          <ac:chgData name="Yudi Zhu" userId="571e1a55-055f-4c28-8b35-fca6dd1c1369" providerId="ADAL" clId="{75A88773-6EE1-484E-AADE-FE631E01463B}" dt="2025-11-26T03:59:28.807" v="754099"/>
          <ac:cxnSpMkLst>
            <pc:docMk/>
            <pc:sldMk cId="2945841504" sldId="2147483097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6T03:59:28.871" v="754237"/>
          <ac:cxnSpMkLst>
            <pc:docMk/>
            <pc:sldMk cId="2945841504" sldId="2147483097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6T03:59:28.886" v="754239"/>
          <ac:cxnSpMkLst>
            <pc:docMk/>
            <pc:sldMk cId="2945841504" sldId="2147483097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6T03:59:28.886" v="754241"/>
          <ac:cxnSpMkLst>
            <pc:docMk/>
            <pc:sldMk cId="2945841504" sldId="2147483097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6T03:59:28.895" v="754257"/>
          <ac:cxnSpMkLst>
            <pc:docMk/>
            <pc:sldMk cId="2945841504" sldId="2147483097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6T03:59:28.895" v="754259"/>
          <ac:cxnSpMkLst>
            <pc:docMk/>
            <pc:sldMk cId="2945841504" sldId="2147483097"/>
            <ac:cxnSpMk id="1719" creationId="{86D50972-24CA-21B3-7A84-225DF0E2D40A}"/>
          </ac:cxnSpMkLst>
        </pc:cxnChg>
        <pc:cxnChg chg="mod ord">
          <ac:chgData name="Yudi Zhu" userId="571e1a55-055f-4c28-8b35-fca6dd1c1369" providerId="ADAL" clId="{75A88773-6EE1-484E-AADE-FE631E01463B}" dt="2025-11-26T03:59:28.886" v="754255"/>
          <ac:cxnSpMkLst>
            <pc:docMk/>
            <pc:sldMk cId="2945841504" sldId="2147483097"/>
            <ac:cxnSpMk id="1753" creationId="{6F89B6DC-E3F5-CD48-0D46-FFAA36062107}"/>
          </ac:cxnSpMkLst>
        </pc:cxnChg>
        <pc:cxnChg chg="del mod ord">
          <ac:chgData name="Yudi Zhu" userId="571e1a55-055f-4c28-8b35-fca6dd1c1369" providerId="ADAL" clId="{75A88773-6EE1-484E-AADE-FE631E01463B}" dt="2025-11-26T03:24:06.518" v="690942"/>
          <ac:cxnSpMkLst>
            <pc:docMk/>
            <pc:sldMk cId="2945841504" sldId="2147483097"/>
            <ac:cxnSpMk id="1819" creationId="{89A23327-5608-B9B1-48B6-09A5B94BD12A}"/>
          </ac:cxnSpMkLst>
        </pc:cxnChg>
        <pc:cxnChg chg="del mod ord">
          <ac:chgData name="Yudi Zhu" userId="571e1a55-055f-4c28-8b35-fca6dd1c1369" providerId="ADAL" clId="{75A88773-6EE1-484E-AADE-FE631E01463B}" dt="2025-11-26T03:24:06.534" v="690967"/>
          <ac:cxnSpMkLst>
            <pc:docMk/>
            <pc:sldMk cId="2945841504" sldId="2147483097"/>
            <ac:cxnSpMk id="1856" creationId="{D1BA9907-3658-82E5-F2ED-A6180F1B2854}"/>
          </ac:cxnSpMkLst>
        </pc:cxnChg>
        <pc:cxnChg chg="del mod ord">
          <ac:chgData name="Yudi Zhu" userId="571e1a55-055f-4c28-8b35-fca6dd1c1369" providerId="ADAL" clId="{75A88773-6EE1-484E-AADE-FE631E01463B}" dt="2025-11-26T03:24:06.518" v="690963"/>
          <ac:cxnSpMkLst>
            <pc:docMk/>
            <pc:sldMk cId="2945841504" sldId="2147483097"/>
            <ac:cxnSpMk id="1857" creationId="{CF12010B-7B22-DD94-C36D-C11F4ECD2C5D}"/>
          </ac:cxnSpMkLst>
        </pc:cxnChg>
        <pc:cxnChg chg="del mod ord">
          <ac:chgData name="Yudi Zhu" userId="571e1a55-055f-4c28-8b35-fca6dd1c1369" providerId="ADAL" clId="{75A88773-6EE1-484E-AADE-FE631E01463B}" dt="2025-11-26T03:24:06.518" v="690958"/>
          <ac:cxnSpMkLst>
            <pc:docMk/>
            <pc:sldMk cId="2945841504" sldId="2147483097"/>
            <ac:cxnSpMk id="1858" creationId="{0D4B99E3-DB56-6849-EF97-337EA1B0324A}"/>
          </ac:cxnSpMkLst>
        </pc:cxnChg>
        <pc:cxnChg chg="del mod ord">
          <ac:chgData name="Yudi Zhu" userId="571e1a55-055f-4c28-8b35-fca6dd1c1369" providerId="ADAL" clId="{75A88773-6EE1-484E-AADE-FE631E01463B}" dt="2025-11-26T03:24:06.518" v="690947"/>
          <ac:cxnSpMkLst>
            <pc:docMk/>
            <pc:sldMk cId="2945841504" sldId="2147483097"/>
            <ac:cxnSpMk id="1859" creationId="{FD8FF0CA-37CF-D887-74DE-07CF29094DE7}"/>
          </ac:cxnSpMkLst>
        </pc:cxnChg>
        <pc:cxnChg chg="del mod ord">
          <ac:chgData name="Yudi Zhu" userId="571e1a55-055f-4c28-8b35-fca6dd1c1369" providerId="ADAL" clId="{75A88773-6EE1-484E-AADE-FE631E01463B}" dt="2025-11-26T03:24:06.518" v="690940"/>
          <ac:cxnSpMkLst>
            <pc:docMk/>
            <pc:sldMk cId="2945841504" sldId="2147483097"/>
            <ac:cxnSpMk id="1860" creationId="{1A93DD93-BD90-4150-D381-32F900E769FB}"/>
          </ac:cxnSpMkLst>
        </pc:cxnChg>
        <pc:cxnChg chg="del mod ord">
          <ac:chgData name="Yudi Zhu" userId="571e1a55-055f-4c28-8b35-fca6dd1c1369" providerId="ADAL" clId="{75A88773-6EE1-484E-AADE-FE631E01463B}" dt="2025-11-26T03:24:06.518" v="690936"/>
          <ac:cxnSpMkLst>
            <pc:docMk/>
            <pc:sldMk cId="2945841504" sldId="2147483097"/>
            <ac:cxnSpMk id="1861" creationId="{15660DEE-4916-933D-E2C2-A4D09FBA11D1}"/>
          </ac:cxnSpMkLst>
        </pc:cxnChg>
        <pc:cxnChg chg="add mod ord">
          <ac:chgData name="Yudi Zhu" userId="571e1a55-055f-4c28-8b35-fca6dd1c1369" providerId="ADAL" clId="{75A88773-6EE1-484E-AADE-FE631E01463B}" dt="2025-11-26T03:59:28.913" v="754309"/>
          <ac:cxnSpMkLst>
            <pc:docMk/>
            <pc:sldMk cId="2945841504" sldId="2147483097"/>
            <ac:cxnSpMk id="1862" creationId="{91C00302-45AE-14F2-B541-2E8ED262889F}"/>
          </ac:cxnSpMkLst>
        </pc:cxnChg>
        <pc:cxnChg chg="add mod ord">
          <ac:chgData name="Yudi Zhu" userId="571e1a55-055f-4c28-8b35-fca6dd1c1369" providerId="ADAL" clId="{75A88773-6EE1-484E-AADE-FE631E01463B}" dt="2025-11-26T03:59:28.822" v="754114"/>
          <ac:cxnSpMkLst>
            <pc:docMk/>
            <pc:sldMk cId="2945841504" sldId="2147483097"/>
            <ac:cxnSpMk id="1863" creationId="{B8AA131A-CAA6-74F0-35F0-4DD438CF1123}"/>
          </ac:cxnSpMkLst>
        </pc:cxnChg>
        <pc:cxnChg chg="add mod ord">
          <ac:chgData name="Yudi Zhu" userId="571e1a55-055f-4c28-8b35-fca6dd1c1369" providerId="ADAL" clId="{75A88773-6EE1-484E-AADE-FE631E01463B}" dt="2025-11-26T03:59:28.921" v="754337"/>
          <ac:cxnSpMkLst>
            <pc:docMk/>
            <pc:sldMk cId="2945841504" sldId="2147483097"/>
            <ac:cxnSpMk id="1864" creationId="{BD434C9F-CE09-2FCC-3558-32D5184CF9A3}"/>
          </ac:cxnSpMkLst>
        </pc:cxnChg>
        <pc:cxnChg chg="add mod ord">
          <ac:chgData name="Yudi Zhu" userId="571e1a55-055f-4c28-8b35-fca6dd1c1369" providerId="ADAL" clId="{75A88773-6EE1-484E-AADE-FE631E01463B}" dt="2025-11-26T03:59:28.822" v="754116"/>
          <ac:cxnSpMkLst>
            <pc:docMk/>
            <pc:sldMk cId="2945841504" sldId="2147483097"/>
            <ac:cxnSpMk id="1865" creationId="{B596BBA7-CFA8-C7CD-A259-A5D704AA331F}"/>
          </ac:cxnSpMkLst>
        </pc:cxnChg>
        <pc:cxnChg chg="add mod ord">
          <ac:chgData name="Yudi Zhu" userId="571e1a55-055f-4c28-8b35-fca6dd1c1369" providerId="ADAL" clId="{75A88773-6EE1-484E-AADE-FE631E01463B}" dt="2025-11-26T03:59:28.822" v="754126"/>
          <ac:cxnSpMkLst>
            <pc:docMk/>
            <pc:sldMk cId="2945841504" sldId="2147483097"/>
            <ac:cxnSpMk id="1866" creationId="{29349289-6412-CAD0-5975-DDD3A3E03B9B}"/>
          </ac:cxnSpMkLst>
        </pc:cxnChg>
        <pc:cxnChg chg="add mod ord">
          <ac:chgData name="Yudi Zhu" userId="571e1a55-055f-4c28-8b35-fca6dd1c1369" providerId="ADAL" clId="{75A88773-6EE1-484E-AADE-FE631E01463B}" dt="2025-11-26T03:59:28.928" v="754383"/>
          <ac:cxnSpMkLst>
            <pc:docMk/>
            <pc:sldMk cId="2945841504" sldId="2147483097"/>
            <ac:cxnSpMk id="1867" creationId="{5620269F-6135-C4D2-BCC3-936DCB4BB8D3}"/>
          </ac:cxnSpMkLst>
        </pc:cxnChg>
        <pc:cxnChg chg="mod ord">
          <ac:chgData name="Yudi Zhu" userId="571e1a55-055f-4c28-8b35-fca6dd1c1369" providerId="ADAL" clId="{75A88773-6EE1-484E-AADE-FE631E01463B}" dt="2025-11-26T03:59:28.838" v="754165"/>
          <ac:cxnSpMkLst>
            <pc:docMk/>
            <pc:sldMk cId="2945841504" sldId="2147483097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6T03:59:28.838" v="754167"/>
          <ac:cxnSpMkLst>
            <pc:docMk/>
            <pc:sldMk cId="2945841504" sldId="2147483097"/>
            <ac:cxnSpMk id="1916" creationId="{7945F6A2-9F38-277D-F5AE-EF96B3C11E5E}"/>
          </ac:cxnSpMkLst>
        </pc:cxnChg>
        <pc:cxnChg chg="add del mod ord">
          <ac:chgData name="Yudi Zhu" userId="571e1a55-055f-4c28-8b35-fca6dd1c1369" providerId="ADAL" clId="{75A88773-6EE1-484E-AADE-FE631E01463B}" dt="2025-11-26T03:31:55.864" v="695748"/>
          <ac:cxnSpMkLst>
            <pc:docMk/>
            <pc:sldMk cId="2945841504" sldId="2147483097"/>
            <ac:cxnSpMk id="1942" creationId="{D2D5DB47-C085-8E00-6BA1-655393CCE960}"/>
          </ac:cxnSpMkLst>
        </pc:cxnChg>
        <pc:cxnChg chg="add del mod ord">
          <ac:chgData name="Yudi Zhu" userId="571e1a55-055f-4c28-8b35-fca6dd1c1369" providerId="ADAL" clId="{75A88773-6EE1-484E-AADE-FE631E01463B}" dt="2025-11-26T03:31:55.864" v="695744"/>
          <ac:cxnSpMkLst>
            <pc:docMk/>
            <pc:sldMk cId="2945841504" sldId="2147483097"/>
            <ac:cxnSpMk id="1943" creationId="{AA448EB2-E44C-D261-3F77-B283192120F5}"/>
          </ac:cxnSpMkLst>
        </pc:cxnChg>
        <pc:cxnChg chg="add del mod ord">
          <ac:chgData name="Yudi Zhu" userId="571e1a55-055f-4c28-8b35-fca6dd1c1369" providerId="ADAL" clId="{75A88773-6EE1-484E-AADE-FE631E01463B}" dt="2025-11-26T03:31:56.309" v="695995"/>
          <ac:cxnSpMkLst>
            <pc:docMk/>
            <pc:sldMk cId="2945841504" sldId="2147483097"/>
            <ac:cxnSpMk id="1944" creationId="{7683877B-91C3-95EA-8DC8-B21858EA92E4}"/>
          </ac:cxnSpMkLst>
        </pc:cxnChg>
        <pc:cxnChg chg="add del mod ord">
          <ac:chgData name="Yudi Zhu" userId="571e1a55-055f-4c28-8b35-fca6dd1c1369" providerId="ADAL" clId="{75A88773-6EE1-484E-AADE-FE631E01463B}" dt="2025-11-26T03:31:56.309" v="696002"/>
          <ac:cxnSpMkLst>
            <pc:docMk/>
            <pc:sldMk cId="2945841504" sldId="2147483097"/>
            <ac:cxnSpMk id="1945" creationId="{57B7E99A-7CC9-4743-4E2B-95C2975F01F0}"/>
          </ac:cxnSpMkLst>
        </pc:cxnChg>
        <pc:cxnChg chg="add mod ord">
          <ac:chgData name="Yudi Zhu" userId="571e1a55-055f-4c28-8b35-fca6dd1c1369" providerId="ADAL" clId="{75A88773-6EE1-484E-AADE-FE631E01463B}" dt="2025-11-26T03:59:28.915" v="754315"/>
          <ac:cxnSpMkLst>
            <pc:docMk/>
            <pc:sldMk cId="2945841504" sldId="2147483097"/>
            <ac:cxnSpMk id="1946" creationId="{740B77F3-F5EF-99B7-D85D-596545B2F04F}"/>
          </ac:cxnSpMkLst>
        </pc:cxnChg>
        <pc:cxnChg chg="add mod ord">
          <ac:chgData name="Yudi Zhu" userId="571e1a55-055f-4c28-8b35-fca6dd1c1369" providerId="ADAL" clId="{75A88773-6EE1-484E-AADE-FE631E01463B}" dt="2025-11-26T03:59:28.913" v="754311"/>
          <ac:cxnSpMkLst>
            <pc:docMk/>
            <pc:sldMk cId="2945841504" sldId="2147483097"/>
            <ac:cxnSpMk id="1947" creationId="{17B4B5F2-E8FC-ADF3-19A3-A3DB0AB35F4C}"/>
          </ac:cxnSpMkLst>
        </pc:cxnChg>
        <pc:cxnChg chg="add del mod ord">
          <ac:chgData name="Yudi Zhu" userId="571e1a55-055f-4c28-8b35-fca6dd1c1369" providerId="ADAL" clId="{75A88773-6EE1-484E-AADE-FE631E01463B}" dt="2025-11-26T03:31:56.343" v="696031"/>
          <ac:cxnSpMkLst>
            <pc:docMk/>
            <pc:sldMk cId="2945841504" sldId="2147483097"/>
            <ac:cxnSpMk id="1948" creationId="{BB57F5D8-0271-C1AE-D59A-2974DE1C3F9A}"/>
          </ac:cxnSpMkLst>
        </pc:cxnChg>
        <pc:cxnChg chg="add mod ord">
          <ac:chgData name="Yudi Zhu" userId="571e1a55-055f-4c28-8b35-fca6dd1c1369" providerId="ADAL" clId="{75A88773-6EE1-484E-AADE-FE631E01463B}" dt="2025-11-26T03:59:28.920" v="754335"/>
          <ac:cxnSpMkLst>
            <pc:docMk/>
            <pc:sldMk cId="2945841504" sldId="2147483097"/>
            <ac:cxnSpMk id="1949" creationId="{C9EE11E5-6901-6EAB-7E18-5ED9D6913D4C}"/>
          </ac:cxnSpMkLst>
        </pc:cxnChg>
        <pc:cxnChg chg="add mod ord">
          <ac:chgData name="Yudi Zhu" userId="571e1a55-055f-4c28-8b35-fca6dd1c1369" providerId="ADAL" clId="{75A88773-6EE1-484E-AADE-FE631E01463B}" dt="2025-11-26T03:59:28.910" v="754303"/>
          <ac:cxnSpMkLst>
            <pc:docMk/>
            <pc:sldMk cId="2945841504" sldId="2147483097"/>
            <ac:cxnSpMk id="1950" creationId="{BB5813E0-A557-C003-BCB5-75AD7EDCD463}"/>
          </ac:cxnSpMkLst>
        </pc:cxnChg>
        <pc:cxnChg chg="add mod ord">
          <ac:chgData name="Yudi Zhu" userId="571e1a55-055f-4c28-8b35-fca6dd1c1369" providerId="ADAL" clId="{75A88773-6EE1-484E-AADE-FE631E01463B}" dt="2025-11-26T03:59:28.918" v="754327"/>
          <ac:cxnSpMkLst>
            <pc:docMk/>
            <pc:sldMk cId="2945841504" sldId="2147483097"/>
            <ac:cxnSpMk id="1952" creationId="{9F6C5C97-6F97-B3B9-2103-574FFD071DD2}"/>
          </ac:cxnSpMkLst>
        </pc:cxnChg>
        <pc:cxnChg chg="add mod ord">
          <ac:chgData name="Yudi Zhu" userId="571e1a55-055f-4c28-8b35-fca6dd1c1369" providerId="ADAL" clId="{75A88773-6EE1-484E-AADE-FE631E01463B}" dt="2025-11-26T03:59:28.926" v="754353"/>
          <ac:cxnSpMkLst>
            <pc:docMk/>
            <pc:sldMk cId="2945841504" sldId="2147483097"/>
            <ac:cxnSpMk id="1954" creationId="{20A2C0B9-1883-F3FF-E1DC-752F91EC303A}"/>
          </ac:cxnSpMkLst>
        </pc:cxnChg>
        <pc:cxnChg chg="add mod ord">
          <ac:chgData name="Yudi Zhu" userId="571e1a55-055f-4c28-8b35-fca6dd1c1369" providerId="ADAL" clId="{75A88773-6EE1-484E-AADE-FE631E01463B}" dt="2025-11-26T03:59:28.923" v="754345"/>
          <ac:cxnSpMkLst>
            <pc:docMk/>
            <pc:sldMk cId="2945841504" sldId="2147483097"/>
            <ac:cxnSpMk id="1956" creationId="{3A4F1EB6-E0BA-9C77-0516-25ED47D332AC}"/>
          </ac:cxnSpMkLst>
        </pc:cxnChg>
        <pc:cxnChg chg="add del mod ord">
          <ac:chgData name="Yudi Zhu" userId="571e1a55-055f-4c28-8b35-fca6dd1c1369" providerId="ADAL" clId="{75A88773-6EE1-484E-AADE-FE631E01463B}" dt="2025-11-26T03:31:56.412" v="696151"/>
          <ac:cxnSpMkLst>
            <pc:docMk/>
            <pc:sldMk cId="2945841504" sldId="2147483097"/>
            <ac:cxnSpMk id="1957" creationId="{09604C4B-98FC-EC31-A16A-78FB94CAF8A0}"/>
          </ac:cxnSpMkLst>
        </pc:cxnChg>
        <pc:cxnChg chg="add mod ord">
          <ac:chgData name="Yudi Zhu" userId="571e1a55-055f-4c28-8b35-fca6dd1c1369" providerId="ADAL" clId="{75A88773-6EE1-484E-AADE-FE631E01463B}" dt="2025-11-26T03:59:28.928" v="754365"/>
          <ac:cxnSpMkLst>
            <pc:docMk/>
            <pc:sldMk cId="2945841504" sldId="2147483097"/>
            <ac:cxnSpMk id="1958" creationId="{81B721B0-A2A5-9559-32BC-23AEA842ABB2}"/>
          </ac:cxnSpMkLst>
        </pc:cxnChg>
        <pc:cxnChg chg="add del mod ord">
          <ac:chgData name="Yudi Zhu" userId="571e1a55-055f-4c28-8b35-fca6dd1c1369" providerId="ADAL" clId="{75A88773-6EE1-484E-AADE-FE631E01463B}" dt="2025-11-26T03:31:56.428" v="696169"/>
          <ac:cxnSpMkLst>
            <pc:docMk/>
            <pc:sldMk cId="2945841504" sldId="2147483097"/>
            <ac:cxnSpMk id="1959" creationId="{8835C76C-9683-AEB2-44FF-63790E3C5CBB}"/>
          </ac:cxnSpMkLst>
        </pc:cxnChg>
        <pc:cxnChg chg="add mod ord">
          <ac:chgData name="Yudi Zhu" userId="571e1a55-055f-4c28-8b35-fca6dd1c1369" providerId="ADAL" clId="{75A88773-6EE1-484E-AADE-FE631E01463B}" dt="2025-11-26T03:59:28.928" v="754361"/>
          <ac:cxnSpMkLst>
            <pc:docMk/>
            <pc:sldMk cId="2945841504" sldId="2147483097"/>
            <ac:cxnSpMk id="1960" creationId="{0D1E6ED6-6DFF-2EDC-F8E8-9FCDE6F4F1B4}"/>
          </ac:cxnSpMkLst>
        </pc:cxnChg>
        <pc:cxnChg chg="add mod ord">
          <ac:chgData name="Yudi Zhu" userId="571e1a55-055f-4c28-8b35-fca6dd1c1369" providerId="ADAL" clId="{75A88773-6EE1-484E-AADE-FE631E01463B}" dt="2025-11-26T03:59:28.928" v="754373"/>
          <ac:cxnSpMkLst>
            <pc:docMk/>
            <pc:sldMk cId="2945841504" sldId="2147483097"/>
            <ac:cxnSpMk id="1961" creationId="{7363D516-3D68-CDA6-D255-19B788285CA6}"/>
          </ac:cxnSpMkLst>
        </pc:cxnChg>
        <pc:cxnChg chg="add del mod ord">
          <ac:chgData name="Yudi Zhu" userId="571e1a55-055f-4c28-8b35-fca6dd1c1369" providerId="ADAL" clId="{75A88773-6EE1-484E-AADE-FE631E01463B}" dt="2025-11-26T03:31:56.475" v="696232"/>
          <ac:cxnSpMkLst>
            <pc:docMk/>
            <pc:sldMk cId="2945841504" sldId="2147483097"/>
            <ac:cxnSpMk id="1962" creationId="{F97E6A24-94A8-3DD1-24D1-3CF33EF6424B}"/>
          </ac:cxnSpMkLst>
        </pc:cxnChg>
        <pc:cxnChg chg="add mod ord">
          <ac:chgData name="Yudi Zhu" userId="571e1a55-055f-4c28-8b35-fca6dd1c1369" providerId="ADAL" clId="{75A88773-6EE1-484E-AADE-FE631E01463B}" dt="2025-11-26T03:59:28.928" v="754369"/>
          <ac:cxnSpMkLst>
            <pc:docMk/>
            <pc:sldMk cId="2945841504" sldId="2147483097"/>
            <ac:cxnSpMk id="1963" creationId="{4FE9B648-3270-C095-2F9D-1A0856AE5A28}"/>
          </ac:cxnSpMkLst>
        </pc:cxnChg>
        <pc:cxnChg chg="add mod ord">
          <ac:chgData name="Yudi Zhu" userId="571e1a55-055f-4c28-8b35-fca6dd1c1369" providerId="ADAL" clId="{75A88773-6EE1-484E-AADE-FE631E01463B}" dt="2025-11-26T03:59:28.928" v="754381"/>
          <ac:cxnSpMkLst>
            <pc:docMk/>
            <pc:sldMk cId="2945841504" sldId="2147483097"/>
            <ac:cxnSpMk id="1965" creationId="{9BE48E32-BAF6-B9CC-D505-9C85A23EB2C2}"/>
          </ac:cxnSpMkLst>
        </pc:cxnChg>
        <pc:cxnChg chg="add del mod ord">
          <ac:chgData name="Yudi Zhu" userId="571e1a55-055f-4c28-8b35-fca6dd1c1369" providerId="ADAL" clId="{75A88773-6EE1-484E-AADE-FE631E01463B}" dt="2025-11-26T03:31:56.532" v="696325"/>
          <ac:cxnSpMkLst>
            <pc:docMk/>
            <pc:sldMk cId="2945841504" sldId="2147483097"/>
            <ac:cxnSpMk id="1966" creationId="{2CA9BB10-B43E-6371-B6CC-2AEDE205653B}"/>
          </ac:cxnSpMkLst>
        </pc:cxnChg>
        <pc:cxnChg chg="add mod ord">
          <ac:chgData name="Yudi Zhu" userId="571e1a55-055f-4c28-8b35-fca6dd1c1369" providerId="ADAL" clId="{75A88773-6EE1-484E-AADE-FE631E01463B}" dt="2025-11-26T03:59:28.928" v="754375"/>
          <ac:cxnSpMkLst>
            <pc:docMk/>
            <pc:sldMk cId="2945841504" sldId="2147483097"/>
            <ac:cxnSpMk id="1967" creationId="{EDAA4A02-6541-F89F-268C-C83BBCCEE0EC}"/>
          </ac:cxnSpMkLst>
        </pc:cxnChg>
        <pc:cxnChg chg="add mod ord">
          <ac:chgData name="Yudi Zhu" userId="571e1a55-055f-4c28-8b35-fca6dd1c1369" providerId="ADAL" clId="{75A88773-6EE1-484E-AADE-FE631E01463B}" dt="2025-11-26T03:59:28.915" v="754317"/>
          <ac:cxnSpMkLst>
            <pc:docMk/>
            <pc:sldMk cId="2945841504" sldId="2147483097"/>
            <ac:cxnSpMk id="1968" creationId="{A8892081-58E1-8C46-B95A-9A34557F7E70}"/>
          </ac:cxnSpMkLst>
        </pc:cxnChg>
        <pc:cxnChg chg="add del mod ord">
          <ac:chgData name="Yudi Zhu" userId="571e1a55-055f-4c28-8b35-fca6dd1c1369" providerId="ADAL" clId="{75A88773-6EE1-484E-AADE-FE631E01463B}" dt="2025-11-26T03:31:56.564" v="696362"/>
          <ac:cxnSpMkLst>
            <pc:docMk/>
            <pc:sldMk cId="2945841504" sldId="2147483097"/>
            <ac:cxnSpMk id="1969" creationId="{8290F9B2-1788-B6F9-3377-472F85790B99}"/>
          </ac:cxnSpMkLst>
        </pc:cxnChg>
        <pc:cxnChg chg="add mod ord">
          <ac:chgData name="Yudi Zhu" userId="571e1a55-055f-4c28-8b35-fca6dd1c1369" providerId="ADAL" clId="{75A88773-6EE1-484E-AADE-FE631E01463B}" dt="2025-11-26T03:59:28.912" v="754307"/>
          <ac:cxnSpMkLst>
            <pc:docMk/>
            <pc:sldMk cId="2945841504" sldId="2147483097"/>
            <ac:cxnSpMk id="1970" creationId="{B61163D6-94CA-2F7C-186C-F48DF9E6356C}"/>
          </ac:cxnSpMkLst>
        </pc:cxnChg>
        <pc:cxnChg chg="add mod ord">
          <ac:chgData name="Yudi Zhu" userId="571e1a55-055f-4c28-8b35-fca6dd1c1369" providerId="ADAL" clId="{75A88773-6EE1-484E-AADE-FE631E01463B}" dt="2025-11-26T03:59:28.919" v="754329"/>
          <ac:cxnSpMkLst>
            <pc:docMk/>
            <pc:sldMk cId="2945841504" sldId="2147483097"/>
            <ac:cxnSpMk id="1971" creationId="{C76DB44D-D127-F15A-CD49-74A578661CB9}"/>
          </ac:cxnSpMkLst>
        </pc:cxnChg>
        <pc:cxnChg chg="add mod ord">
          <ac:chgData name="Yudi Zhu" userId="571e1a55-055f-4c28-8b35-fca6dd1c1369" providerId="ADAL" clId="{75A88773-6EE1-484E-AADE-FE631E01463B}" dt="2025-11-26T03:59:28.918" v="754325"/>
          <ac:cxnSpMkLst>
            <pc:docMk/>
            <pc:sldMk cId="2945841504" sldId="2147483097"/>
            <ac:cxnSpMk id="1972" creationId="{946F64BB-7EDF-43B9-855E-C56DFD4F7694}"/>
          </ac:cxnSpMkLst>
        </pc:cxnChg>
        <pc:cxnChg chg="add mod ord">
          <ac:chgData name="Yudi Zhu" userId="571e1a55-055f-4c28-8b35-fca6dd1c1369" providerId="ADAL" clId="{75A88773-6EE1-484E-AADE-FE631E01463B}" dt="2025-11-26T03:59:28.917" v="754321"/>
          <ac:cxnSpMkLst>
            <pc:docMk/>
            <pc:sldMk cId="2945841504" sldId="2147483097"/>
            <ac:cxnSpMk id="1973" creationId="{085651EA-5F71-39DB-DA57-2D49ED431E64}"/>
          </ac:cxnSpMkLst>
        </pc:cxnChg>
        <pc:cxnChg chg="add mod ord">
          <ac:chgData name="Yudi Zhu" userId="571e1a55-055f-4c28-8b35-fca6dd1c1369" providerId="ADAL" clId="{75A88773-6EE1-484E-AADE-FE631E01463B}" dt="2025-11-26T03:59:28.923" v="754343"/>
          <ac:cxnSpMkLst>
            <pc:docMk/>
            <pc:sldMk cId="2945841504" sldId="2147483097"/>
            <ac:cxnSpMk id="1974" creationId="{C67D8BD1-7F82-C908-2853-6E93AA4946A0}"/>
          </ac:cxnSpMkLst>
        </pc:cxnChg>
        <pc:cxnChg chg="add mod ord">
          <ac:chgData name="Yudi Zhu" userId="571e1a55-055f-4c28-8b35-fca6dd1c1369" providerId="ADAL" clId="{75A88773-6EE1-484E-AADE-FE631E01463B}" dt="2025-11-26T03:59:28.921" v="754339"/>
          <ac:cxnSpMkLst>
            <pc:docMk/>
            <pc:sldMk cId="2945841504" sldId="2147483097"/>
            <ac:cxnSpMk id="1975" creationId="{4DA23102-C219-DB2E-2336-133280BA7949}"/>
          </ac:cxnSpMkLst>
        </pc:cxnChg>
        <pc:cxnChg chg="add mod ord">
          <ac:chgData name="Yudi Zhu" userId="571e1a55-055f-4c28-8b35-fca6dd1c1369" providerId="ADAL" clId="{75A88773-6EE1-484E-AADE-FE631E01463B}" dt="2025-11-26T03:59:28.920" v="754333"/>
          <ac:cxnSpMkLst>
            <pc:docMk/>
            <pc:sldMk cId="2945841504" sldId="2147483097"/>
            <ac:cxnSpMk id="1976" creationId="{E0490FFC-C605-4FCB-60BE-1EAB7760BB1D}"/>
          </ac:cxnSpMkLst>
        </pc:cxnChg>
        <pc:cxnChg chg="add mod ord">
          <ac:chgData name="Yudi Zhu" userId="571e1a55-055f-4c28-8b35-fca6dd1c1369" providerId="ADAL" clId="{75A88773-6EE1-484E-AADE-FE631E01463B}" dt="2025-11-26T03:59:28.905" v="754288"/>
          <ac:cxnSpMkLst>
            <pc:docMk/>
            <pc:sldMk cId="2945841504" sldId="2147483097"/>
            <ac:cxnSpMk id="1978" creationId="{8C8C90B0-867A-6A74-FA4A-96AD431191E3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6:34:31.926" v="765886"/>
        <pc:sldMkLst>
          <pc:docMk/>
          <pc:sldMk cId="393517058" sldId="2147483098"/>
        </pc:sldMkLst>
        <pc:spChg chg="mod">
          <ac:chgData name="Yudi Zhu" userId="571e1a55-055f-4c28-8b35-fca6dd1c1369" providerId="ADAL" clId="{75A88773-6EE1-484E-AADE-FE631E01463B}" dt="2025-11-25T09:49:59.221" v="656575" actId="948"/>
          <ac:spMkLst>
            <pc:docMk/>
            <pc:sldMk cId="393517058" sldId="2147483098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5T09:27:18.579" v="655193"/>
          <ac:spMkLst>
            <pc:docMk/>
            <pc:sldMk cId="393517058" sldId="2147483098"/>
            <ac:spMk id="3" creationId="{7E1B9950-4847-7480-2974-EEB41D288029}"/>
          </ac:spMkLst>
        </pc:spChg>
        <pc:spChg chg="add mod">
          <ac:chgData name="Yudi Zhu" userId="571e1a55-055f-4c28-8b35-fca6dd1c1369" providerId="ADAL" clId="{75A88773-6EE1-484E-AADE-FE631E01463B}" dt="2025-11-25T09:57:54.008" v="656772" actId="1076"/>
          <ac:spMkLst>
            <pc:docMk/>
            <pc:sldMk cId="393517058" sldId="2147483098"/>
            <ac:spMk id="12" creationId="{6A298F95-B980-7018-3C1E-6CACF00801FE}"/>
          </ac:spMkLst>
        </pc:spChg>
        <pc:spChg chg="mod">
          <ac:chgData name="Yudi Zhu" userId="571e1a55-055f-4c28-8b35-fca6dd1c1369" providerId="ADAL" clId="{75A88773-6EE1-484E-AADE-FE631E01463B}" dt="2025-11-25T09:56:42.521" v="656759" actId="20577"/>
          <ac:spMkLst>
            <pc:docMk/>
            <pc:sldMk cId="393517058" sldId="2147483098"/>
            <ac:spMk id="14" creationId="{FE9EBC10-8689-9022-1390-37DE378808CF}"/>
          </ac:spMkLst>
        </pc:spChg>
        <pc:spChg chg="del">
          <ac:chgData name="Yudi Zhu" userId="571e1a55-055f-4c28-8b35-fca6dd1c1369" providerId="ADAL" clId="{75A88773-6EE1-484E-AADE-FE631E01463B}" dt="2025-11-25T09:27:38.045" v="655486"/>
          <ac:spMkLst>
            <pc:docMk/>
            <pc:sldMk cId="393517058" sldId="2147483098"/>
            <ac:spMk id="50" creationId="{02F6331E-5D73-6E69-0D56-C4DE5D68572C}"/>
          </ac:spMkLst>
        </pc:spChg>
        <pc:spChg chg="del">
          <ac:chgData name="Yudi Zhu" userId="571e1a55-055f-4c28-8b35-fca6dd1c1369" providerId="ADAL" clId="{75A88773-6EE1-484E-AADE-FE631E01463B}" dt="2025-11-25T09:27:38.027" v="655477"/>
          <ac:spMkLst>
            <pc:docMk/>
            <pc:sldMk cId="393517058" sldId="2147483098"/>
            <ac:spMk id="51" creationId="{9C0C7DC5-9B73-37CA-1B50-CC7A6362A4E2}"/>
          </ac:spMkLst>
        </pc:spChg>
        <pc:spChg chg="del">
          <ac:chgData name="Yudi Zhu" userId="571e1a55-055f-4c28-8b35-fca6dd1c1369" providerId="ADAL" clId="{75A88773-6EE1-484E-AADE-FE631E01463B}" dt="2025-11-25T09:27:38.027" v="655467"/>
          <ac:spMkLst>
            <pc:docMk/>
            <pc:sldMk cId="393517058" sldId="2147483098"/>
            <ac:spMk id="52" creationId="{0D711176-2CAE-6464-7127-84B92BFA5A0A}"/>
          </ac:spMkLst>
        </pc:spChg>
        <pc:spChg chg="del">
          <ac:chgData name="Yudi Zhu" userId="571e1a55-055f-4c28-8b35-fca6dd1c1369" providerId="ADAL" clId="{75A88773-6EE1-484E-AADE-FE631E01463B}" dt="2025-11-25T09:27:38.027" v="655462"/>
          <ac:spMkLst>
            <pc:docMk/>
            <pc:sldMk cId="393517058" sldId="2147483098"/>
            <ac:spMk id="53" creationId="{D416A439-F437-CB7D-5D8F-C9C806308A88}"/>
          </ac:spMkLst>
        </pc:spChg>
        <pc:spChg chg="del">
          <ac:chgData name="Yudi Zhu" userId="571e1a55-055f-4c28-8b35-fca6dd1c1369" providerId="ADAL" clId="{75A88773-6EE1-484E-AADE-FE631E01463B}" dt="2025-11-25T09:27:38.011" v="655453"/>
          <ac:spMkLst>
            <pc:docMk/>
            <pc:sldMk cId="393517058" sldId="2147483098"/>
            <ac:spMk id="54" creationId="{77D4B05C-BCC1-6709-C059-13F84D9F7770}"/>
          </ac:spMkLst>
        </pc:spChg>
        <pc:spChg chg="del">
          <ac:chgData name="Yudi Zhu" userId="571e1a55-055f-4c28-8b35-fca6dd1c1369" providerId="ADAL" clId="{75A88773-6EE1-484E-AADE-FE631E01463B}" dt="2025-11-25T09:27:38.011" v="655449"/>
          <ac:spMkLst>
            <pc:docMk/>
            <pc:sldMk cId="393517058" sldId="2147483098"/>
            <ac:spMk id="55" creationId="{7EDBB2B4-EF67-25C3-C8B0-FB513D9A3CD3}"/>
          </ac:spMkLst>
        </pc:spChg>
        <pc:spChg chg="del">
          <ac:chgData name="Yudi Zhu" userId="571e1a55-055f-4c28-8b35-fca6dd1c1369" providerId="ADAL" clId="{75A88773-6EE1-484E-AADE-FE631E01463B}" dt="2025-11-25T09:27:38.011" v="655444"/>
          <ac:spMkLst>
            <pc:docMk/>
            <pc:sldMk cId="393517058" sldId="2147483098"/>
            <ac:spMk id="56" creationId="{D0AD0539-7B6F-111C-ED13-D1B443ABA2B3}"/>
          </ac:spMkLst>
        </pc:spChg>
        <pc:spChg chg="del">
          <ac:chgData name="Yudi Zhu" userId="571e1a55-055f-4c28-8b35-fca6dd1c1369" providerId="ADAL" clId="{75A88773-6EE1-484E-AADE-FE631E01463B}" dt="2025-11-25T09:27:26.008" v="655301"/>
          <ac:spMkLst>
            <pc:docMk/>
            <pc:sldMk cId="393517058" sldId="2147483098"/>
            <ac:spMk id="310" creationId="{A62D9D2E-0539-BC42-9659-99DFC65D701D}"/>
          </ac:spMkLst>
        </pc:spChg>
        <pc:spChg chg="del">
          <ac:chgData name="Yudi Zhu" userId="571e1a55-055f-4c28-8b35-fca6dd1c1369" providerId="ADAL" clId="{75A88773-6EE1-484E-AADE-FE631E01463B}" dt="2025-11-25T09:27:26.008" v="655300"/>
          <ac:spMkLst>
            <pc:docMk/>
            <pc:sldMk cId="393517058" sldId="2147483098"/>
            <ac:spMk id="311" creationId="{FAC811EB-B12D-1390-56E5-FC577BF8AE04}"/>
          </ac:spMkLst>
        </pc:spChg>
        <pc:spChg chg="del">
          <ac:chgData name="Yudi Zhu" userId="571e1a55-055f-4c28-8b35-fca6dd1c1369" providerId="ADAL" clId="{75A88773-6EE1-484E-AADE-FE631E01463B}" dt="2025-11-25T09:27:26.008" v="655299"/>
          <ac:spMkLst>
            <pc:docMk/>
            <pc:sldMk cId="393517058" sldId="2147483098"/>
            <ac:spMk id="312" creationId="{5889A2F9-795A-D383-2D23-CFB5A874C50A}"/>
          </ac:spMkLst>
        </pc:spChg>
        <pc:spChg chg="del">
          <ac:chgData name="Yudi Zhu" userId="571e1a55-055f-4c28-8b35-fca6dd1c1369" providerId="ADAL" clId="{75A88773-6EE1-484E-AADE-FE631E01463B}" dt="2025-11-25T09:27:26.008" v="655298"/>
          <ac:spMkLst>
            <pc:docMk/>
            <pc:sldMk cId="393517058" sldId="2147483098"/>
            <ac:spMk id="314" creationId="{60C55FFD-9FE8-A10C-A7D3-CA5764CCB488}"/>
          </ac:spMkLst>
        </pc:spChg>
        <pc:spChg chg="del">
          <ac:chgData name="Yudi Zhu" userId="571e1a55-055f-4c28-8b35-fca6dd1c1369" providerId="ADAL" clId="{75A88773-6EE1-484E-AADE-FE631E01463B}" dt="2025-11-25T09:27:26.008" v="655297"/>
          <ac:spMkLst>
            <pc:docMk/>
            <pc:sldMk cId="393517058" sldId="2147483098"/>
            <ac:spMk id="315" creationId="{EB9F760C-B8E5-2064-02C2-89469410E215}"/>
          </ac:spMkLst>
        </pc:spChg>
        <pc:spChg chg="del">
          <ac:chgData name="Yudi Zhu" userId="571e1a55-055f-4c28-8b35-fca6dd1c1369" providerId="ADAL" clId="{75A88773-6EE1-484E-AADE-FE631E01463B}" dt="2025-11-25T09:27:26.008" v="655296"/>
          <ac:spMkLst>
            <pc:docMk/>
            <pc:sldMk cId="393517058" sldId="2147483098"/>
            <ac:spMk id="316" creationId="{FF8775EC-9A38-2C66-D0FF-C4924FD32796}"/>
          </ac:spMkLst>
        </pc:spChg>
        <pc:spChg chg="del">
          <ac:chgData name="Yudi Zhu" userId="571e1a55-055f-4c28-8b35-fca6dd1c1369" providerId="ADAL" clId="{75A88773-6EE1-484E-AADE-FE631E01463B}" dt="2025-11-25T09:27:26.008" v="655295"/>
          <ac:spMkLst>
            <pc:docMk/>
            <pc:sldMk cId="393517058" sldId="2147483098"/>
            <ac:spMk id="318" creationId="{FBCB803E-54EC-7A3B-9145-7A6054CAD134}"/>
          </ac:spMkLst>
        </pc:spChg>
        <pc:spChg chg="del">
          <ac:chgData name="Yudi Zhu" userId="571e1a55-055f-4c28-8b35-fca6dd1c1369" providerId="ADAL" clId="{75A88773-6EE1-484E-AADE-FE631E01463B}" dt="2025-11-25T09:27:26.008" v="655294"/>
          <ac:spMkLst>
            <pc:docMk/>
            <pc:sldMk cId="393517058" sldId="2147483098"/>
            <ac:spMk id="319" creationId="{706EA1C7-0608-9349-5D41-F9CAB7F83433}"/>
          </ac:spMkLst>
        </pc:spChg>
        <pc:spChg chg="del">
          <ac:chgData name="Yudi Zhu" userId="571e1a55-055f-4c28-8b35-fca6dd1c1369" providerId="ADAL" clId="{75A88773-6EE1-484E-AADE-FE631E01463B}" dt="2025-11-25T09:27:26.008" v="655293"/>
          <ac:spMkLst>
            <pc:docMk/>
            <pc:sldMk cId="393517058" sldId="2147483098"/>
            <ac:spMk id="320" creationId="{E86B3B8E-37AC-519F-45A3-5BD8642641E6}"/>
          </ac:spMkLst>
        </pc:spChg>
        <pc:spChg chg="del">
          <ac:chgData name="Yudi Zhu" userId="571e1a55-055f-4c28-8b35-fca6dd1c1369" providerId="ADAL" clId="{75A88773-6EE1-484E-AADE-FE631E01463B}" dt="2025-11-25T09:27:26.008" v="655292"/>
          <ac:spMkLst>
            <pc:docMk/>
            <pc:sldMk cId="393517058" sldId="2147483098"/>
            <ac:spMk id="322" creationId="{CE952EB7-012F-2155-70B6-F7D7E5AC2462}"/>
          </ac:spMkLst>
        </pc:spChg>
        <pc:spChg chg="del">
          <ac:chgData name="Yudi Zhu" userId="571e1a55-055f-4c28-8b35-fca6dd1c1369" providerId="ADAL" clId="{75A88773-6EE1-484E-AADE-FE631E01463B}" dt="2025-11-25T09:27:26.008" v="655309"/>
          <ac:spMkLst>
            <pc:docMk/>
            <pc:sldMk cId="393517058" sldId="2147483098"/>
            <ac:spMk id="323" creationId="{735D4EDA-AD3C-5A72-B819-57EBBCE24CD8}"/>
          </ac:spMkLst>
        </pc:spChg>
        <pc:spChg chg="del">
          <ac:chgData name="Yudi Zhu" userId="571e1a55-055f-4c28-8b35-fca6dd1c1369" providerId="ADAL" clId="{75A88773-6EE1-484E-AADE-FE631E01463B}" dt="2025-11-25T09:27:26.008" v="655290"/>
          <ac:spMkLst>
            <pc:docMk/>
            <pc:sldMk cId="393517058" sldId="2147483098"/>
            <ac:spMk id="324" creationId="{74A31F23-C56E-0C58-DE25-C3822C2C7702}"/>
          </ac:spMkLst>
        </pc:spChg>
        <pc:spChg chg="del">
          <ac:chgData name="Yudi Zhu" userId="571e1a55-055f-4c28-8b35-fca6dd1c1369" providerId="ADAL" clId="{75A88773-6EE1-484E-AADE-FE631E01463B}" dt="2025-11-25T09:27:26.008" v="655289"/>
          <ac:spMkLst>
            <pc:docMk/>
            <pc:sldMk cId="393517058" sldId="2147483098"/>
            <ac:spMk id="326" creationId="{C7F59C0F-9502-E9D5-62BB-F976ECCD8766}"/>
          </ac:spMkLst>
        </pc:spChg>
        <pc:spChg chg="del">
          <ac:chgData name="Yudi Zhu" userId="571e1a55-055f-4c28-8b35-fca6dd1c1369" providerId="ADAL" clId="{75A88773-6EE1-484E-AADE-FE631E01463B}" dt="2025-11-25T09:27:26.008" v="655288"/>
          <ac:spMkLst>
            <pc:docMk/>
            <pc:sldMk cId="393517058" sldId="2147483098"/>
            <ac:spMk id="327" creationId="{DC60CC83-D9D9-BF20-1864-CA6A97B28642}"/>
          </ac:spMkLst>
        </pc:spChg>
        <pc:spChg chg="del">
          <ac:chgData name="Yudi Zhu" userId="571e1a55-055f-4c28-8b35-fca6dd1c1369" providerId="ADAL" clId="{75A88773-6EE1-484E-AADE-FE631E01463B}" dt="2025-11-25T09:27:26.008" v="655287"/>
          <ac:spMkLst>
            <pc:docMk/>
            <pc:sldMk cId="393517058" sldId="2147483098"/>
            <ac:spMk id="328" creationId="{96ACB3D1-E63C-5146-0E96-44B1BC1BF511}"/>
          </ac:spMkLst>
        </pc:spChg>
        <pc:spChg chg="del">
          <ac:chgData name="Yudi Zhu" userId="571e1a55-055f-4c28-8b35-fca6dd1c1369" providerId="ADAL" clId="{75A88773-6EE1-484E-AADE-FE631E01463B}" dt="2025-11-25T09:27:26.008" v="655286"/>
          <ac:spMkLst>
            <pc:docMk/>
            <pc:sldMk cId="393517058" sldId="2147483098"/>
            <ac:spMk id="330" creationId="{5BF0E0DB-D8B0-7FBE-D30A-6DFDD08C285E}"/>
          </ac:spMkLst>
        </pc:spChg>
        <pc:spChg chg="del">
          <ac:chgData name="Yudi Zhu" userId="571e1a55-055f-4c28-8b35-fca6dd1c1369" providerId="ADAL" clId="{75A88773-6EE1-484E-AADE-FE631E01463B}" dt="2025-11-25T09:27:26.008" v="655285"/>
          <ac:spMkLst>
            <pc:docMk/>
            <pc:sldMk cId="393517058" sldId="2147483098"/>
            <ac:spMk id="331" creationId="{E8DC3E37-AFE7-3ACF-108A-04B32697FC78}"/>
          </ac:spMkLst>
        </pc:spChg>
        <pc:spChg chg="del">
          <ac:chgData name="Yudi Zhu" userId="571e1a55-055f-4c28-8b35-fca6dd1c1369" providerId="ADAL" clId="{75A88773-6EE1-484E-AADE-FE631E01463B}" dt="2025-11-25T09:27:26.008" v="655284"/>
          <ac:spMkLst>
            <pc:docMk/>
            <pc:sldMk cId="393517058" sldId="2147483098"/>
            <ac:spMk id="332" creationId="{E808FE89-996D-415C-DBB1-0A3FFCE5ABC0}"/>
          </ac:spMkLst>
        </pc:spChg>
        <pc:spChg chg="del">
          <ac:chgData name="Yudi Zhu" userId="571e1a55-055f-4c28-8b35-fca6dd1c1369" providerId="ADAL" clId="{75A88773-6EE1-484E-AADE-FE631E01463B}" dt="2025-11-25T09:27:26.008" v="655283"/>
          <ac:spMkLst>
            <pc:docMk/>
            <pc:sldMk cId="393517058" sldId="2147483098"/>
            <ac:spMk id="334" creationId="{0574B8A2-DAE9-FA77-CD25-3C79BC310A04}"/>
          </ac:spMkLst>
        </pc:spChg>
        <pc:spChg chg="del">
          <ac:chgData name="Yudi Zhu" userId="571e1a55-055f-4c28-8b35-fca6dd1c1369" providerId="ADAL" clId="{75A88773-6EE1-484E-AADE-FE631E01463B}" dt="2025-11-25T09:27:26.008" v="655282"/>
          <ac:spMkLst>
            <pc:docMk/>
            <pc:sldMk cId="393517058" sldId="2147483098"/>
            <ac:spMk id="335" creationId="{1307B519-4FE9-B337-3AC7-44EAE226EDDC}"/>
          </ac:spMkLst>
        </pc:spChg>
        <pc:spChg chg="del">
          <ac:chgData name="Yudi Zhu" userId="571e1a55-055f-4c28-8b35-fca6dd1c1369" providerId="ADAL" clId="{75A88773-6EE1-484E-AADE-FE631E01463B}" dt="2025-11-25T09:27:26.008" v="655281"/>
          <ac:spMkLst>
            <pc:docMk/>
            <pc:sldMk cId="393517058" sldId="2147483098"/>
            <ac:spMk id="336" creationId="{36445EF4-EDAE-86E1-A720-9E3036E4FB46}"/>
          </ac:spMkLst>
        </pc:spChg>
        <pc:spChg chg="del">
          <ac:chgData name="Yudi Zhu" userId="571e1a55-055f-4c28-8b35-fca6dd1c1369" providerId="ADAL" clId="{75A88773-6EE1-484E-AADE-FE631E01463B}" dt="2025-11-25T09:27:26.008" v="655307"/>
          <ac:spMkLst>
            <pc:docMk/>
            <pc:sldMk cId="393517058" sldId="2147483098"/>
            <ac:spMk id="337" creationId="{36AB1D7E-40D3-61B5-A55C-A396D415FF17}"/>
          </ac:spMkLst>
        </pc:spChg>
        <pc:spChg chg="del">
          <ac:chgData name="Yudi Zhu" userId="571e1a55-055f-4c28-8b35-fca6dd1c1369" providerId="ADAL" clId="{75A88773-6EE1-484E-AADE-FE631E01463B}" dt="2025-11-25T09:27:25.993" v="655280"/>
          <ac:spMkLst>
            <pc:docMk/>
            <pc:sldMk cId="393517058" sldId="2147483098"/>
            <ac:spMk id="338" creationId="{AE1A4FDE-AEAE-1F18-9776-ECAA66344E31}"/>
          </ac:spMkLst>
        </pc:spChg>
        <pc:spChg chg="del">
          <ac:chgData name="Yudi Zhu" userId="571e1a55-055f-4c28-8b35-fca6dd1c1369" providerId="ADAL" clId="{75A88773-6EE1-484E-AADE-FE631E01463B}" dt="2025-11-25T09:27:25.993" v="655279"/>
          <ac:spMkLst>
            <pc:docMk/>
            <pc:sldMk cId="393517058" sldId="2147483098"/>
            <ac:spMk id="339" creationId="{2DD214E2-D172-E416-6654-6285004EEFCC}"/>
          </ac:spMkLst>
        </pc:spChg>
        <pc:spChg chg="del">
          <ac:chgData name="Yudi Zhu" userId="571e1a55-055f-4c28-8b35-fca6dd1c1369" providerId="ADAL" clId="{75A88773-6EE1-484E-AADE-FE631E01463B}" dt="2025-11-25T09:27:25.993" v="655278"/>
          <ac:spMkLst>
            <pc:docMk/>
            <pc:sldMk cId="393517058" sldId="2147483098"/>
            <ac:spMk id="340" creationId="{F9C7A847-ECDA-65CC-C8B2-3D1C85EBEC3B}"/>
          </ac:spMkLst>
        </pc:spChg>
        <pc:spChg chg="del">
          <ac:chgData name="Yudi Zhu" userId="571e1a55-055f-4c28-8b35-fca6dd1c1369" providerId="ADAL" clId="{75A88773-6EE1-484E-AADE-FE631E01463B}" dt="2025-11-25T09:27:26.008" v="655306"/>
          <ac:spMkLst>
            <pc:docMk/>
            <pc:sldMk cId="393517058" sldId="2147483098"/>
            <ac:spMk id="342" creationId="{5F9DF103-C1E2-AA69-9A66-0545A8C8A5E7}"/>
          </ac:spMkLst>
        </pc:spChg>
        <pc:spChg chg="del">
          <ac:chgData name="Yudi Zhu" userId="571e1a55-055f-4c28-8b35-fca6dd1c1369" providerId="ADAL" clId="{75A88773-6EE1-484E-AADE-FE631E01463B}" dt="2025-11-25T09:27:26.008" v="655291"/>
          <ac:spMkLst>
            <pc:docMk/>
            <pc:sldMk cId="393517058" sldId="2147483098"/>
            <ac:spMk id="343" creationId="{93F781B8-58D3-037B-422F-B97F243A4ADD}"/>
          </ac:spMkLst>
        </pc:spChg>
        <pc:spChg chg="del">
          <ac:chgData name="Yudi Zhu" userId="571e1a55-055f-4c28-8b35-fca6dd1c1369" providerId="ADAL" clId="{75A88773-6EE1-484E-AADE-FE631E01463B}" dt="2025-11-25T09:27:26.008" v="655304"/>
          <ac:spMkLst>
            <pc:docMk/>
            <pc:sldMk cId="393517058" sldId="2147483098"/>
            <ac:spMk id="345" creationId="{A7062455-DCFB-CA90-BAB0-FE5B0F9A7539}"/>
          </ac:spMkLst>
        </pc:spChg>
        <pc:spChg chg="del">
          <ac:chgData name="Yudi Zhu" userId="571e1a55-055f-4c28-8b35-fca6dd1c1369" providerId="ADAL" clId="{75A88773-6EE1-484E-AADE-FE631E01463B}" dt="2025-11-25T09:27:26.008" v="655303"/>
          <ac:spMkLst>
            <pc:docMk/>
            <pc:sldMk cId="393517058" sldId="2147483098"/>
            <ac:spMk id="346" creationId="{058313A5-0EFC-F850-8925-ABBD5D963C04}"/>
          </ac:spMkLst>
        </pc:spChg>
        <pc:spChg chg="del">
          <ac:chgData name="Yudi Zhu" userId="571e1a55-055f-4c28-8b35-fca6dd1c1369" providerId="ADAL" clId="{75A88773-6EE1-484E-AADE-FE631E01463B}" dt="2025-11-25T09:27:26.008" v="655302"/>
          <ac:spMkLst>
            <pc:docMk/>
            <pc:sldMk cId="393517058" sldId="2147483098"/>
            <ac:spMk id="347" creationId="{90303146-CD91-5A62-9BB6-085A9E75310C}"/>
          </ac:spMkLst>
        </pc:spChg>
        <pc:spChg chg="del">
          <ac:chgData name="Yudi Zhu" userId="571e1a55-055f-4c28-8b35-fca6dd1c1369" providerId="ADAL" clId="{75A88773-6EE1-484E-AADE-FE631E01463B}" dt="2025-11-25T09:27:25.977" v="655236"/>
          <ac:spMkLst>
            <pc:docMk/>
            <pc:sldMk cId="393517058" sldId="2147483098"/>
            <ac:spMk id="350" creationId="{29244B0B-E2EE-A2BC-96A2-0D5A3B3BD02C}"/>
          </ac:spMkLst>
        </pc:spChg>
        <pc:spChg chg="del">
          <ac:chgData name="Yudi Zhu" userId="571e1a55-055f-4c28-8b35-fca6dd1c1369" providerId="ADAL" clId="{75A88773-6EE1-484E-AADE-FE631E01463B}" dt="2025-11-25T09:27:25.977" v="655233"/>
          <ac:spMkLst>
            <pc:docMk/>
            <pc:sldMk cId="393517058" sldId="2147483098"/>
            <ac:spMk id="351" creationId="{F6F0A072-2ACC-2FDA-F298-4E45DBB5F2F1}"/>
          </ac:spMkLst>
        </pc:spChg>
        <pc:spChg chg="del mod">
          <ac:chgData name="Yudi Zhu" userId="571e1a55-055f-4c28-8b35-fca6dd1c1369" providerId="ADAL" clId="{75A88773-6EE1-484E-AADE-FE631E01463B}" dt="2025-11-25T09:27:25.979" v="655237"/>
          <ac:spMkLst>
            <pc:docMk/>
            <pc:sldMk cId="393517058" sldId="2147483098"/>
            <ac:spMk id="353" creationId="{16C1316C-83DD-4BA5-36F8-D2FF00F47A16}"/>
          </ac:spMkLst>
        </pc:spChg>
        <pc:spChg chg="del mod">
          <ac:chgData name="Yudi Zhu" userId="571e1a55-055f-4c28-8b35-fca6dd1c1369" providerId="ADAL" clId="{75A88773-6EE1-484E-AADE-FE631E01463B}" dt="2025-11-25T09:27:25.977" v="655234"/>
          <ac:spMkLst>
            <pc:docMk/>
            <pc:sldMk cId="393517058" sldId="2147483098"/>
            <ac:spMk id="354" creationId="{0B7447D7-97E9-1CB1-E4E2-4F70D460CD86}"/>
          </ac:spMkLst>
        </pc:spChg>
        <pc:spChg chg="del mod">
          <ac:chgData name="Yudi Zhu" userId="571e1a55-055f-4c28-8b35-fca6dd1c1369" providerId="ADAL" clId="{75A88773-6EE1-484E-AADE-FE631E01463B}" dt="2025-11-25T09:27:25.964" v="655231"/>
          <ac:spMkLst>
            <pc:docMk/>
            <pc:sldMk cId="393517058" sldId="2147483098"/>
            <ac:spMk id="355" creationId="{B8F8C981-C881-6238-8329-8E7159CC921D}"/>
          </ac:spMkLst>
        </pc:spChg>
        <pc:spChg chg="del mod">
          <ac:chgData name="Yudi Zhu" userId="571e1a55-055f-4c28-8b35-fca6dd1c1369" providerId="ADAL" clId="{75A88773-6EE1-484E-AADE-FE631E01463B}" dt="2025-11-25T09:27:35.996" v="655324"/>
          <ac:spMkLst>
            <pc:docMk/>
            <pc:sldMk cId="393517058" sldId="2147483098"/>
            <ac:spMk id="990" creationId="{2D030DE9-1EAC-6CEF-A758-6B0AB98021B7}"/>
          </ac:spMkLst>
        </pc:spChg>
        <pc:spChg chg="del mod">
          <ac:chgData name="Yudi Zhu" userId="571e1a55-055f-4c28-8b35-fca6dd1c1369" providerId="ADAL" clId="{75A88773-6EE1-484E-AADE-FE631E01463B}" dt="2025-11-25T09:27:35.996" v="655321"/>
          <ac:spMkLst>
            <pc:docMk/>
            <pc:sldMk cId="393517058" sldId="2147483098"/>
            <ac:spMk id="992" creationId="{7C1FC966-970A-A496-42C8-F1ED0CB614CE}"/>
          </ac:spMkLst>
        </pc:spChg>
        <pc:spChg chg="del">
          <ac:chgData name="Yudi Zhu" userId="571e1a55-055f-4c28-8b35-fca6dd1c1369" providerId="ADAL" clId="{75A88773-6EE1-484E-AADE-FE631E01463B}" dt="2025-11-25T09:27:35.996" v="655323"/>
          <ac:spMkLst>
            <pc:docMk/>
            <pc:sldMk cId="393517058" sldId="2147483098"/>
            <ac:spMk id="994" creationId="{7E5DB600-4581-A55C-766C-739E5A0FADBC}"/>
          </ac:spMkLst>
        </pc:spChg>
        <pc:spChg chg="del">
          <ac:chgData name="Yudi Zhu" userId="571e1a55-055f-4c28-8b35-fca6dd1c1369" providerId="ADAL" clId="{75A88773-6EE1-484E-AADE-FE631E01463B}" dt="2025-11-25T09:27:35.996" v="655320"/>
          <ac:spMkLst>
            <pc:docMk/>
            <pc:sldMk cId="393517058" sldId="2147483098"/>
            <ac:spMk id="995" creationId="{32DA3477-12F9-F65F-2D29-8DD22FC19F08}"/>
          </ac:spMkLst>
        </pc:spChg>
        <pc:spChg chg="del">
          <ac:chgData name="Yudi Zhu" userId="571e1a55-055f-4c28-8b35-fca6dd1c1369" providerId="ADAL" clId="{75A88773-6EE1-484E-AADE-FE631E01463B}" dt="2025-11-25T09:27:25.979" v="655258"/>
          <ac:spMkLst>
            <pc:docMk/>
            <pc:sldMk cId="393517058" sldId="2147483098"/>
            <ac:spMk id="1002" creationId="{9A3F4591-BB1E-4D2E-A0F8-54BBF4E16814}"/>
          </ac:spMkLst>
        </pc:spChg>
        <pc:spChg chg="del">
          <ac:chgData name="Yudi Zhu" userId="571e1a55-055f-4c28-8b35-fca6dd1c1369" providerId="ADAL" clId="{75A88773-6EE1-484E-AADE-FE631E01463B}" dt="2025-11-25T09:27:25.979" v="655254"/>
          <ac:spMkLst>
            <pc:docMk/>
            <pc:sldMk cId="393517058" sldId="2147483098"/>
            <ac:spMk id="1003" creationId="{383A4D55-87AC-E7AD-D775-159B8AA91BD4}"/>
          </ac:spMkLst>
        </pc:spChg>
        <pc:spChg chg="del">
          <ac:chgData name="Yudi Zhu" userId="571e1a55-055f-4c28-8b35-fca6dd1c1369" providerId="ADAL" clId="{75A88773-6EE1-484E-AADE-FE631E01463B}" dt="2025-11-25T09:27:25.979" v="655255"/>
          <ac:spMkLst>
            <pc:docMk/>
            <pc:sldMk cId="393517058" sldId="2147483098"/>
            <ac:spMk id="1165" creationId="{0AA1A8A8-FF9B-20E1-D2AF-745AC3B241E3}"/>
          </ac:spMkLst>
        </pc:spChg>
        <pc:spChg chg="del">
          <ac:chgData name="Yudi Zhu" userId="571e1a55-055f-4c28-8b35-fca6dd1c1369" providerId="ADAL" clId="{75A88773-6EE1-484E-AADE-FE631E01463B}" dt="2025-11-25T09:27:25.979" v="655251"/>
          <ac:spMkLst>
            <pc:docMk/>
            <pc:sldMk cId="393517058" sldId="2147483098"/>
            <ac:spMk id="1166" creationId="{C21E8AFD-DF88-3440-816B-93B8FDB6B328}"/>
          </ac:spMkLst>
        </pc:spChg>
        <pc:spChg chg="del">
          <ac:chgData name="Yudi Zhu" userId="571e1a55-055f-4c28-8b35-fca6dd1c1369" providerId="ADAL" clId="{75A88773-6EE1-484E-AADE-FE631E01463B}" dt="2025-11-25T09:27:36.045" v="655401"/>
          <ac:spMkLst>
            <pc:docMk/>
            <pc:sldMk cId="393517058" sldId="2147483098"/>
            <ac:spMk id="1194" creationId="{BBCCF612-1129-BBB4-5844-0BA70960BFD5}"/>
          </ac:spMkLst>
        </pc:spChg>
        <pc:spChg chg="del">
          <ac:chgData name="Yudi Zhu" userId="571e1a55-055f-4c28-8b35-fca6dd1c1369" providerId="ADAL" clId="{75A88773-6EE1-484E-AADE-FE631E01463B}" dt="2025-11-25T09:27:36.045" v="655400"/>
          <ac:spMkLst>
            <pc:docMk/>
            <pc:sldMk cId="393517058" sldId="2147483098"/>
            <ac:spMk id="1195" creationId="{5C1C629A-FB4A-9DCD-82D7-CB67AA109C26}"/>
          </ac:spMkLst>
        </pc:spChg>
        <pc:spChg chg="del">
          <ac:chgData name="Yudi Zhu" userId="571e1a55-055f-4c28-8b35-fca6dd1c1369" providerId="ADAL" clId="{75A88773-6EE1-484E-AADE-FE631E01463B}" dt="2025-11-25T09:27:36.037" v="655396"/>
          <ac:spMkLst>
            <pc:docMk/>
            <pc:sldMk cId="393517058" sldId="2147483098"/>
            <ac:spMk id="1196" creationId="{C596882D-6FC7-950A-AE47-E000121672A5}"/>
          </ac:spMkLst>
        </pc:spChg>
        <pc:spChg chg="del">
          <ac:chgData name="Yudi Zhu" userId="571e1a55-055f-4c28-8b35-fca6dd1c1369" providerId="ADAL" clId="{75A88773-6EE1-484E-AADE-FE631E01463B}" dt="2025-11-25T09:27:36.037" v="655395"/>
          <ac:spMkLst>
            <pc:docMk/>
            <pc:sldMk cId="393517058" sldId="2147483098"/>
            <ac:spMk id="1197" creationId="{4420D0BB-BF1F-19EC-B0A4-93BCE704F5E8}"/>
          </ac:spMkLst>
        </pc:spChg>
        <pc:spChg chg="del">
          <ac:chgData name="Yudi Zhu" userId="571e1a55-055f-4c28-8b35-fca6dd1c1369" providerId="ADAL" clId="{75A88773-6EE1-484E-AADE-FE631E01463B}" dt="2025-11-25T09:27:36.037" v="655392"/>
          <ac:spMkLst>
            <pc:docMk/>
            <pc:sldMk cId="393517058" sldId="2147483098"/>
            <ac:spMk id="1198" creationId="{14422C41-DE00-2E40-428B-7BDBD0F319FD}"/>
          </ac:spMkLst>
        </pc:spChg>
        <pc:spChg chg="del">
          <ac:chgData name="Yudi Zhu" userId="571e1a55-055f-4c28-8b35-fca6dd1c1369" providerId="ADAL" clId="{75A88773-6EE1-484E-AADE-FE631E01463B}" dt="2025-11-25T09:27:36.037" v="655391"/>
          <ac:spMkLst>
            <pc:docMk/>
            <pc:sldMk cId="393517058" sldId="2147483098"/>
            <ac:spMk id="1199" creationId="{F6B459A7-F615-EED0-4A6B-6AFB43834956}"/>
          </ac:spMkLst>
        </pc:spChg>
        <pc:spChg chg="del">
          <ac:chgData name="Yudi Zhu" userId="571e1a55-055f-4c28-8b35-fca6dd1c1369" providerId="ADAL" clId="{75A88773-6EE1-484E-AADE-FE631E01463B}" dt="2025-11-25T09:27:36.037" v="655387"/>
          <ac:spMkLst>
            <pc:docMk/>
            <pc:sldMk cId="393517058" sldId="2147483098"/>
            <ac:spMk id="1200" creationId="{65884DE8-E4B8-56B7-66A1-A6CA9A59D6A1}"/>
          </ac:spMkLst>
        </pc:spChg>
        <pc:spChg chg="del">
          <ac:chgData name="Yudi Zhu" userId="571e1a55-055f-4c28-8b35-fca6dd1c1369" providerId="ADAL" clId="{75A88773-6EE1-484E-AADE-FE631E01463B}" dt="2025-11-25T09:27:36.037" v="655386"/>
          <ac:spMkLst>
            <pc:docMk/>
            <pc:sldMk cId="393517058" sldId="2147483098"/>
            <ac:spMk id="1201" creationId="{D27ECED9-C5E6-3DC2-9121-0FE6BFAC6398}"/>
          </ac:spMkLst>
        </pc:spChg>
        <pc:spChg chg="del">
          <ac:chgData name="Yudi Zhu" userId="571e1a55-055f-4c28-8b35-fca6dd1c1369" providerId="ADAL" clId="{75A88773-6EE1-484E-AADE-FE631E01463B}" dt="2025-11-25T09:27:36.029" v="655382"/>
          <ac:spMkLst>
            <pc:docMk/>
            <pc:sldMk cId="393517058" sldId="2147483098"/>
            <ac:spMk id="1202" creationId="{CC4C1301-FFB5-6432-C501-1D8A5373A0DE}"/>
          </ac:spMkLst>
        </pc:spChg>
        <pc:spChg chg="del">
          <ac:chgData name="Yudi Zhu" userId="571e1a55-055f-4c28-8b35-fca6dd1c1369" providerId="ADAL" clId="{75A88773-6EE1-484E-AADE-FE631E01463B}" dt="2025-11-25T09:27:36.029" v="655380"/>
          <ac:spMkLst>
            <pc:docMk/>
            <pc:sldMk cId="393517058" sldId="2147483098"/>
            <ac:spMk id="1203" creationId="{43C5F107-3657-38DE-B0D7-E78431A033B8}"/>
          </ac:spMkLst>
        </pc:spChg>
        <pc:spChg chg="del">
          <ac:chgData name="Yudi Zhu" userId="571e1a55-055f-4c28-8b35-fca6dd1c1369" providerId="ADAL" clId="{75A88773-6EE1-484E-AADE-FE631E01463B}" dt="2025-11-25T09:27:36.029" v="655373"/>
          <ac:spMkLst>
            <pc:docMk/>
            <pc:sldMk cId="393517058" sldId="2147483098"/>
            <ac:spMk id="1204" creationId="{DD5FECEA-4FB9-1E7D-E18A-7F8D8A5FA1E2}"/>
          </ac:spMkLst>
        </pc:spChg>
        <pc:spChg chg="del">
          <ac:chgData name="Yudi Zhu" userId="571e1a55-055f-4c28-8b35-fca6dd1c1369" providerId="ADAL" clId="{75A88773-6EE1-484E-AADE-FE631E01463B}" dt="2025-11-25T09:27:36.029" v="655371"/>
          <ac:spMkLst>
            <pc:docMk/>
            <pc:sldMk cId="393517058" sldId="2147483098"/>
            <ac:spMk id="1205" creationId="{6816614C-2261-21F9-4CD7-430B5A7828DB}"/>
          </ac:spMkLst>
        </pc:spChg>
        <pc:spChg chg="del">
          <ac:chgData name="Yudi Zhu" userId="571e1a55-055f-4c28-8b35-fca6dd1c1369" providerId="ADAL" clId="{75A88773-6EE1-484E-AADE-FE631E01463B}" dt="2025-11-25T09:27:36.021" v="655367"/>
          <ac:spMkLst>
            <pc:docMk/>
            <pc:sldMk cId="393517058" sldId="2147483098"/>
            <ac:spMk id="1206" creationId="{F964BC34-C9C5-D8CF-21E7-DC1A68C87E8B}"/>
          </ac:spMkLst>
        </pc:spChg>
        <pc:spChg chg="del">
          <ac:chgData name="Yudi Zhu" userId="571e1a55-055f-4c28-8b35-fca6dd1c1369" providerId="ADAL" clId="{75A88773-6EE1-484E-AADE-FE631E01463B}" dt="2025-11-25T09:27:36.021" v="655366"/>
          <ac:spMkLst>
            <pc:docMk/>
            <pc:sldMk cId="393517058" sldId="2147483098"/>
            <ac:spMk id="1207" creationId="{A46BFC1C-4658-90CF-29A8-271FE24154F7}"/>
          </ac:spMkLst>
        </pc:spChg>
        <pc:spChg chg="del">
          <ac:chgData name="Yudi Zhu" userId="571e1a55-055f-4c28-8b35-fca6dd1c1369" providerId="ADAL" clId="{75A88773-6EE1-484E-AADE-FE631E01463B}" dt="2025-11-25T09:27:36.021" v="655359"/>
          <ac:spMkLst>
            <pc:docMk/>
            <pc:sldMk cId="393517058" sldId="2147483098"/>
            <ac:spMk id="1208" creationId="{5D29CDBC-FB63-4B98-A1DE-CEF57F320EAD}"/>
          </ac:spMkLst>
        </pc:spChg>
        <pc:spChg chg="del">
          <ac:chgData name="Yudi Zhu" userId="571e1a55-055f-4c28-8b35-fca6dd1c1369" providerId="ADAL" clId="{75A88773-6EE1-484E-AADE-FE631E01463B}" dt="2025-11-25T09:27:36.021" v="655357"/>
          <ac:spMkLst>
            <pc:docMk/>
            <pc:sldMk cId="393517058" sldId="2147483098"/>
            <ac:spMk id="1209" creationId="{5E4E0E8C-5937-5531-54CF-473F4F815657}"/>
          </ac:spMkLst>
        </pc:spChg>
        <pc:spChg chg="del">
          <ac:chgData name="Yudi Zhu" userId="571e1a55-055f-4c28-8b35-fca6dd1c1369" providerId="ADAL" clId="{75A88773-6EE1-484E-AADE-FE631E01463B}" dt="2025-11-25T09:27:36.012" v="655350"/>
          <ac:spMkLst>
            <pc:docMk/>
            <pc:sldMk cId="393517058" sldId="2147483098"/>
            <ac:spMk id="1210" creationId="{1EBFC0FC-B017-5C41-EEC2-FC925CF6E4D7}"/>
          </ac:spMkLst>
        </pc:spChg>
        <pc:spChg chg="del">
          <ac:chgData name="Yudi Zhu" userId="571e1a55-055f-4c28-8b35-fca6dd1c1369" providerId="ADAL" clId="{75A88773-6EE1-484E-AADE-FE631E01463B}" dt="2025-11-25T09:27:36.012" v="655348"/>
          <ac:spMkLst>
            <pc:docMk/>
            <pc:sldMk cId="393517058" sldId="2147483098"/>
            <ac:spMk id="1211" creationId="{EE46F561-2BF6-86A3-F0E4-BEF7311EDDF1}"/>
          </ac:spMkLst>
        </pc:spChg>
        <pc:spChg chg="del">
          <ac:chgData name="Yudi Zhu" userId="571e1a55-055f-4c28-8b35-fca6dd1c1369" providerId="ADAL" clId="{75A88773-6EE1-484E-AADE-FE631E01463B}" dt="2025-11-25T09:27:36.012" v="655341"/>
          <ac:spMkLst>
            <pc:docMk/>
            <pc:sldMk cId="393517058" sldId="2147483098"/>
            <ac:spMk id="1212" creationId="{25E61F6C-7940-2C7A-BB7D-7ED850FA6A75}"/>
          </ac:spMkLst>
        </pc:spChg>
        <pc:spChg chg="del">
          <ac:chgData name="Yudi Zhu" userId="571e1a55-055f-4c28-8b35-fca6dd1c1369" providerId="ADAL" clId="{75A88773-6EE1-484E-AADE-FE631E01463B}" dt="2025-11-25T09:27:36.012" v="655339"/>
          <ac:spMkLst>
            <pc:docMk/>
            <pc:sldMk cId="393517058" sldId="2147483098"/>
            <ac:spMk id="1213" creationId="{897F1C59-B104-E769-B6DA-AF5B290FE874}"/>
          </ac:spMkLst>
        </pc:spChg>
        <pc:spChg chg="del">
          <ac:chgData name="Yudi Zhu" userId="571e1a55-055f-4c28-8b35-fca6dd1c1369" providerId="ADAL" clId="{75A88773-6EE1-484E-AADE-FE631E01463B}" dt="2025-11-25T09:27:36.006" v="655332"/>
          <ac:spMkLst>
            <pc:docMk/>
            <pc:sldMk cId="393517058" sldId="2147483098"/>
            <ac:spMk id="1214" creationId="{92E2C879-E44D-26D2-9B32-2FF5D5573E99}"/>
          </ac:spMkLst>
        </pc:spChg>
        <pc:spChg chg="del">
          <ac:chgData name="Yudi Zhu" userId="571e1a55-055f-4c28-8b35-fca6dd1c1369" providerId="ADAL" clId="{75A88773-6EE1-484E-AADE-FE631E01463B}" dt="2025-11-25T09:27:36.006" v="655330"/>
          <ac:spMkLst>
            <pc:docMk/>
            <pc:sldMk cId="393517058" sldId="2147483098"/>
            <ac:spMk id="1215" creationId="{0959939C-0A28-522F-5D60-C7E1780901F6}"/>
          </ac:spMkLst>
        </pc:spChg>
        <pc:spChg chg="del">
          <ac:chgData name="Yudi Zhu" userId="571e1a55-055f-4c28-8b35-fca6dd1c1369" providerId="ADAL" clId="{75A88773-6EE1-484E-AADE-FE631E01463B}" dt="2025-11-25T09:27:35.996" v="655325"/>
          <ac:spMkLst>
            <pc:docMk/>
            <pc:sldMk cId="393517058" sldId="2147483098"/>
            <ac:spMk id="1217" creationId="{25C57DA6-7F82-0F4F-AD77-F75FE99D7A67}"/>
          </ac:spMkLst>
        </pc:spChg>
        <pc:spChg chg="del mod">
          <ac:chgData name="Yudi Zhu" userId="571e1a55-055f-4c28-8b35-fca6dd1c1369" providerId="ADAL" clId="{75A88773-6EE1-484E-AADE-FE631E01463B}" dt="2025-11-25T09:27:37.999" v="655414"/>
          <ac:spMkLst>
            <pc:docMk/>
            <pc:sldMk cId="393517058" sldId="2147483098"/>
            <ac:spMk id="1376" creationId="{2B4EDBBB-72E6-B151-182E-B189521C5BAC}"/>
          </ac:spMkLst>
        </pc:spChg>
        <pc:spChg chg="del mod">
          <ac:chgData name="Yudi Zhu" userId="571e1a55-055f-4c28-8b35-fca6dd1c1369" providerId="ADAL" clId="{75A88773-6EE1-484E-AADE-FE631E01463B}" dt="2025-11-25T09:27:37.996" v="655411"/>
          <ac:spMkLst>
            <pc:docMk/>
            <pc:sldMk cId="393517058" sldId="2147483098"/>
            <ac:spMk id="1378" creationId="{BD933162-8B62-1004-8AE5-8CA06E5D7DE9}"/>
          </ac:spMkLst>
        </pc:spChg>
        <pc:spChg chg="del mod">
          <ac:chgData name="Yudi Zhu" userId="571e1a55-055f-4c28-8b35-fca6dd1c1369" providerId="ADAL" clId="{75A88773-6EE1-484E-AADE-FE631E01463B}" dt="2025-11-25T09:27:37.993" v="655408"/>
          <ac:spMkLst>
            <pc:docMk/>
            <pc:sldMk cId="393517058" sldId="2147483098"/>
            <ac:spMk id="1379" creationId="{9ECFB1DA-48A2-EF26-C44B-C3EC1ABE4988}"/>
          </ac:spMkLst>
        </pc:spChg>
        <pc:spChg chg="del">
          <ac:chgData name="Yudi Zhu" userId="571e1a55-055f-4c28-8b35-fca6dd1c1369" providerId="ADAL" clId="{75A88773-6EE1-484E-AADE-FE631E01463B}" dt="2025-11-25T09:27:38.045" v="655490"/>
          <ac:spMkLst>
            <pc:docMk/>
            <pc:sldMk cId="393517058" sldId="2147483098"/>
            <ac:spMk id="1442" creationId="{00445C12-10C4-A371-D4EA-BD360FAE32DA}"/>
          </ac:spMkLst>
        </pc:spChg>
        <pc:spChg chg="del">
          <ac:chgData name="Yudi Zhu" userId="571e1a55-055f-4c28-8b35-fca6dd1c1369" providerId="ADAL" clId="{75A88773-6EE1-484E-AADE-FE631E01463B}" dt="2025-11-25T09:27:25.993" v="655261"/>
          <ac:spMkLst>
            <pc:docMk/>
            <pc:sldMk cId="393517058" sldId="2147483098"/>
            <ac:spMk id="1446" creationId="{64AF7A77-327B-D09F-2ABB-1BA14094EC19}"/>
          </ac:spMkLst>
        </pc:spChg>
        <pc:spChg chg="del">
          <ac:chgData name="Yudi Zhu" userId="571e1a55-055f-4c28-8b35-fca6dd1c1369" providerId="ADAL" clId="{75A88773-6EE1-484E-AADE-FE631E01463B}" dt="2025-11-25T09:27:38.011" v="655440"/>
          <ac:spMkLst>
            <pc:docMk/>
            <pc:sldMk cId="393517058" sldId="2147483098"/>
            <ac:spMk id="1449" creationId="{300E10D2-719E-3D82-5CBF-5A612C09A088}"/>
          </ac:spMkLst>
        </pc:spChg>
        <pc:spChg chg="del">
          <ac:chgData name="Yudi Zhu" userId="571e1a55-055f-4c28-8b35-fca6dd1c1369" providerId="ADAL" clId="{75A88773-6EE1-484E-AADE-FE631E01463B}" dt="2025-11-25T09:27:25.979" v="655250"/>
          <ac:spMkLst>
            <pc:docMk/>
            <pc:sldMk cId="393517058" sldId="2147483098"/>
            <ac:spMk id="1452" creationId="{62BA64F5-B2CE-CEB8-BB9B-25B44F9A2E19}"/>
          </ac:spMkLst>
        </pc:spChg>
        <pc:spChg chg="del">
          <ac:chgData name="Yudi Zhu" userId="571e1a55-055f-4c28-8b35-fca6dd1c1369" providerId="ADAL" clId="{75A88773-6EE1-484E-AADE-FE631E01463B}" dt="2025-11-25T09:27:38.027" v="655458"/>
          <ac:spMkLst>
            <pc:docMk/>
            <pc:sldMk cId="393517058" sldId="2147483098"/>
            <ac:spMk id="1480" creationId="{5295C0BA-22F3-96FA-1230-66FF8C5051FC}"/>
          </ac:spMkLst>
        </pc:spChg>
        <pc:spChg chg="del">
          <ac:chgData name="Yudi Zhu" userId="571e1a55-055f-4c28-8b35-fca6dd1c1369" providerId="ADAL" clId="{75A88773-6EE1-484E-AADE-FE631E01463B}" dt="2025-11-25T09:27:36.005" v="655326"/>
          <ac:spMkLst>
            <pc:docMk/>
            <pc:sldMk cId="393517058" sldId="2147483098"/>
            <ac:spMk id="1512" creationId="{9012D06D-30C8-3209-7913-C48B67C3E815}"/>
          </ac:spMkLst>
        </pc:spChg>
        <pc:spChg chg="add del mod">
          <ac:chgData name="Yudi Zhu" userId="571e1a55-055f-4c28-8b35-fca6dd1c1369" providerId="ADAL" clId="{75A88773-6EE1-484E-AADE-FE631E01463B}" dt="2025-11-25T09:55:02.181" v="656740" actId="1076"/>
          <ac:spMkLst>
            <pc:docMk/>
            <pc:sldMk cId="393517058" sldId="2147483098"/>
            <ac:spMk id="1559" creationId="{DA313038-A570-BB8A-ACAE-25EF10131FB8}"/>
          </ac:spMkLst>
        </pc:spChg>
        <pc:spChg chg="mod">
          <ac:chgData name="Yudi Zhu" userId="571e1a55-055f-4c28-8b35-fca6dd1c1369" providerId="ADAL" clId="{75A88773-6EE1-484E-AADE-FE631E01463B}" dt="2025-11-25T09:54:57.709" v="656736" actId="1076"/>
          <ac:spMkLst>
            <pc:docMk/>
            <pc:sldMk cId="393517058" sldId="2147483098"/>
            <ac:spMk id="1578" creationId="{7900D605-FFA7-E8F5-8494-4FDDE17D3C2B}"/>
          </ac:spMkLst>
        </pc:spChg>
        <pc:spChg chg="mod">
          <ac:chgData name="Yudi Zhu" userId="571e1a55-055f-4c28-8b35-fca6dd1c1369" providerId="ADAL" clId="{75A88773-6EE1-484E-AADE-FE631E01463B}" dt="2025-11-25T09:55:05.743" v="656741" actId="1076"/>
          <ac:spMkLst>
            <pc:docMk/>
            <pc:sldMk cId="393517058" sldId="2147483098"/>
            <ac:spMk id="1589" creationId="{08F3CF51-65F2-8F3A-1522-C930B9FC8F63}"/>
          </ac:spMkLst>
        </pc:spChg>
        <pc:spChg chg="del topLvl">
          <ac:chgData name="Yudi Zhu" userId="571e1a55-055f-4c28-8b35-fca6dd1c1369" providerId="ADAL" clId="{75A88773-6EE1-484E-AADE-FE631E01463B}" dt="2025-11-25T09:27:55.922" v="655555" actId="478"/>
          <ac:spMkLst>
            <pc:docMk/>
            <pc:sldMk cId="393517058" sldId="2147483098"/>
            <ac:spMk id="1605" creationId="{3E8A6A9C-8A93-C9A9-290D-B8600D71C480}"/>
          </ac:spMkLst>
        </pc:spChg>
        <pc:spChg chg="del">
          <ac:chgData name="Yudi Zhu" userId="571e1a55-055f-4c28-8b35-fca6dd1c1369" providerId="ADAL" clId="{75A88773-6EE1-484E-AADE-FE631E01463B}" dt="2025-11-25T09:27:25.992" v="655260"/>
          <ac:spMkLst>
            <pc:docMk/>
            <pc:sldMk cId="393517058" sldId="2147483098"/>
            <ac:spMk id="1617" creationId="{E0F21840-FAA8-0910-5A0A-1783C1EEA893}"/>
          </ac:spMkLst>
        </pc:spChg>
        <pc:spChg chg="del">
          <ac:chgData name="Yudi Zhu" userId="571e1a55-055f-4c28-8b35-fca6dd1c1369" providerId="ADAL" clId="{75A88773-6EE1-484E-AADE-FE631E01463B}" dt="2025-11-25T09:27:25.979" v="655247"/>
          <ac:spMkLst>
            <pc:docMk/>
            <pc:sldMk cId="393517058" sldId="2147483098"/>
            <ac:spMk id="1620" creationId="{5CD6022B-B922-FB56-D45F-6C4B0E806047}"/>
          </ac:spMkLst>
        </pc:spChg>
        <pc:spChg chg="del">
          <ac:chgData name="Yudi Zhu" userId="571e1a55-055f-4c28-8b35-fca6dd1c1369" providerId="ADAL" clId="{75A88773-6EE1-484E-AADE-FE631E01463B}" dt="2025-11-25T09:27:25.979" v="655245"/>
          <ac:spMkLst>
            <pc:docMk/>
            <pc:sldMk cId="393517058" sldId="2147483098"/>
            <ac:spMk id="1630" creationId="{E05CDD48-0DEC-9132-BDFB-46D714F23D3B}"/>
          </ac:spMkLst>
        </pc:spChg>
        <pc:spChg chg="del">
          <ac:chgData name="Yudi Zhu" userId="571e1a55-055f-4c28-8b35-fca6dd1c1369" providerId="ADAL" clId="{75A88773-6EE1-484E-AADE-FE631E01463B}" dt="2025-11-25T09:27:38.045" v="655491"/>
          <ac:spMkLst>
            <pc:docMk/>
            <pc:sldMk cId="393517058" sldId="2147483098"/>
            <ac:spMk id="1681" creationId="{AD047B8F-920B-5600-6840-3C274E6980C6}"/>
          </ac:spMkLst>
        </pc:spChg>
        <pc:spChg chg="del">
          <ac:chgData name="Yudi Zhu" userId="571e1a55-055f-4c28-8b35-fca6dd1c1369" providerId="ADAL" clId="{75A88773-6EE1-484E-AADE-FE631E01463B}" dt="2025-11-25T09:27:38.027" v="655482"/>
          <ac:spMkLst>
            <pc:docMk/>
            <pc:sldMk cId="393517058" sldId="2147483098"/>
            <ac:spMk id="1682" creationId="{6DC21B57-A2D3-D89A-22E6-3EBF752375C8}"/>
          </ac:spMkLst>
        </pc:spChg>
        <pc:spChg chg="del">
          <ac:chgData name="Yudi Zhu" userId="571e1a55-055f-4c28-8b35-fca6dd1c1369" providerId="ADAL" clId="{75A88773-6EE1-484E-AADE-FE631E01463B}" dt="2025-11-25T09:27:38.027" v="655481"/>
          <ac:spMkLst>
            <pc:docMk/>
            <pc:sldMk cId="393517058" sldId="2147483098"/>
            <ac:spMk id="1683" creationId="{3EDE77E4-6C85-3185-A84F-4AA13F641CDB}"/>
          </ac:spMkLst>
        </pc:spChg>
        <pc:spChg chg="del">
          <ac:chgData name="Yudi Zhu" userId="571e1a55-055f-4c28-8b35-fca6dd1c1369" providerId="ADAL" clId="{75A88773-6EE1-484E-AADE-FE631E01463B}" dt="2025-11-25T09:27:38.027" v="655480"/>
          <ac:spMkLst>
            <pc:docMk/>
            <pc:sldMk cId="393517058" sldId="2147483098"/>
            <ac:spMk id="1684" creationId="{BF771EE0-A3E5-68C6-1A6D-0EFEE0E2CFC9}"/>
          </ac:spMkLst>
        </pc:spChg>
        <pc:spChg chg="del">
          <ac:chgData name="Yudi Zhu" userId="571e1a55-055f-4c28-8b35-fca6dd1c1369" providerId="ADAL" clId="{75A88773-6EE1-484E-AADE-FE631E01463B}" dt="2025-11-25T09:27:38.027" v="655473"/>
          <ac:spMkLst>
            <pc:docMk/>
            <pc:sldMk cId="393517058" sldId="2147483098"/>
            <ac:spMk id="1685" creationId="{AB1D084B-48F0-C954-DD65-F56B3845EBA5}"/>
          </ac:spMkLst>
        </pc:spChg>
        <pc:spChg chg="del">
          <ac:chgData name="Yudi Zhu" userId="571e1a55-055f-4c28-8b35-fca6dd1c1369" providerId="ADAL" clId="{75A88773-6EE1-484E-AADE-FE631E01463B}" dt="2025-11-25T09:27:38.027" v="655468"/>
          <ac:spMkLst>
            <pc:docMk/>
            <pc:sldMk cId="393517058" sldId="2147483098"/>
            <ac:spMk id="1686" creationId="{2C544DAD-0BC2-0C32-FDFD-31AC14873EF1}"/>
          </ac:spMkLst>
        </pc:spChg>
        <pc:spChg chg="del">
          <ac:chgData name="Yudi Zhu" userId="571e1a55-055f-4c28-8b35-fca6dd1c1369" providerId="ADAL" clId="{75A88773-6EE1-484E-AADE-FE631E01463B}" dt="2025-11-25T09:27:38.027" v="655463"/>
          <ac:spMkLst>
            <pc:docMk/>
            <pc:sldMk cId="393517058" sldId="2147483098"/>
            <ac:spMk id="1687" creationId="{807F5679-15B8-4C76-DCA3-2ED29ECFCF51}"/>
          </ac:spMkLst>
        </pc:spChg>
        <pc:spChg chg="del">
          <ac:chgData name="Yudi Zhu" userId="571e1a55-055f-4c28-8b35-fca6dd1c1369" providerId="ADAL" clId="{75A88773-6EE1-484E-AADE-FE631E01463B}" dt="2025-11-25T09:27:38.011" v="655454"/>
          <ac:spMkLst>
            <pc:docMk/>
            <pc:sldMk cId="393517058" sldId="2147483098"/>
            <ac:spMk id="1688" creationId="{03480C23-7FC1-2FF7-BC97-25519BB18339}"/>
          </ac:spMkLst>
        </pc:spChg>
        <pc:spChg chg="del">
          <ac:chgData name="Yudi Zhu" userId="571e1a55-055f-4c28-8b35-fca6dd1c1369" providerId="ADAL" clId="{75A88773-6EE1-484E-AADE-FE631E01463B}" dt="2025-11-25T09:27:38.011" v="655445"/>
          <ac:spMkLst>
            <pc:docMk/>
            <pc:sldMk cId="393517058" sldId="2147483098"/>
            <ac:spMk id="1689" creationId="{C5C70E6E-BFEB-1045-1E13-15AAB372D0B9}"/>
          </ac:spMkLst>
        </pc:spChg>
        <pc:spChg chg="del">
          <ac:chgData name="Yudi Zhu" userId="571e1a55-055f-4c28-8b35-fca6dd1c1369" providerId="ADAL" clId="{75A88773-6EE1-484E-AADE-FE631E01463B}" dt="2025-11-25T09:27:38.011" v="655436"/>
          <ac:spMkLst>
            <pc:docMk/>
            <pc:sldMk cId="393517058" sldId="2147483098"/>
            <ac:spMk id="1690" creationId="{91F5A5A7-2825-7668-8E0A-E582189F05C5}"/>
          </ac:spMkLst>
        </pc:spChg>
        <pc:spChg chg="del">
          <ac:chgData name="Yudi Zhu" userId="571e1a55-055f-4c28-8b35-fca6dd1c1369" providerId="ADAL" clId="{75A88773-6EE1-484E-AADE-FE631E01463B}" dt="2025-11-25T09:27:38.008" v="655429"/>
          <ac:spMkLst>
            <pc:docMk/>
            <pc:sldMk cId="393517058" sldId="2147483098"/>
            <ac:spMk id="1691" creationId="{C50F3DAA-EFE1-8572-5206-F1A4416A7C6F}"/>
          </ac:spMkLst>
        </pc:spChg>
        <pc:spChg chg="del">
          <ac:chgData name="Yudi Zhu" userId="571e1a55-055f-4c28-8b35-fca6dd1c1369" providerId="ADAL" clId="{75A88773-6EE1-484E-AADE-FE631E01463B}" dt="2025-11-25T09:27:39.034" v="655499"/>
          <ac:spMkLst>
            <pc:docMk/>
            <pc:sldMk cId="393517058" sldId="2147483098"/>
            <ac:spMk id="1820" creationId="{B6D15CE4-D8E1-C9EE-1076-53DEEB71111D}"/>
          </ac:spMkLst>
        </pc:spChg>
        <pc:spChg chg="del">
          <ac:chgData name="Yudi Zhu" userId="571e1a55-055f-4c28-8b35-fca6dd1c1369" providerId="ADAL" clId="{75A88773-6EE1-484E-AADE-FE631E01463B}" dt="2025-11-25T09:27:39.042" v="655508"/>
          <ac:spMkLst>
            <pc:docMk/>
            <pc:sldMk cId="393517058" sldId="2147483098"/>
            <ac:spMk id="1853" creationId="{542A60AE-B3A7-55CE-F714-DC2AD831C173}"/>
          </ac:spMkLst>
        </pc:spChg>
        <pc:spChg chg="del">
          <ac:chgData name="Yudi Zhu" userId="571e1a55-055f-4c28-8b35-fca6dd1c1369" providerId="ADAL" clId="{75A88773-6EE1-484E-AADE-FE631E01463B}" dt="2025-11-25T09:27:39.039" v="655504"/>
          <ac:spMkLst>
            <pc:docMk/>
            <pc:sldMk cId="393517058" sldId="2147483098"/>
            <ac:spMk id="1854" creationId="{4E1BFB1E-6485-A062-B5BB-5B285C6BD15C}"/>
          </ac:spMkLst>
        </pc:spChg>
        <pc:spChg chg="del">
          <ac:chgData name="Yudi Zhu" userId="571e1a55-055f-4c28-8b35-fca6dd1c1369" providerId="ADAL" clId="{75A88773-6EE1-484E-AADE-FE631E01463B}" dt="2025-11-25T09:27:39.046" v="655512"/>
          <ac:spMkLst>
            <pc:docMk/>
            <pc:sldMk cId="393517058" sldId="2147483098"/>
            <ac:spMk id="2006" creationId="{3CC98E16-FB2E-495D-ADCF-FFF663C2DC9B}"/>
          </ac:spMkLst>
        </pc:spChg>
        <pc:spChg chg="del">
          <ac:chgData name="Yudi Zhu" userId="571e1a55-055f-4c28-8b35-fca6dd1c1369" providerId="ADAL" clId="{75A88773-6EE1-484E-AADE-FE631E01463B}" dt="2025-11-25T09:27:39.045" v="655511"/>
          <ac:spMkLst>
            <pc:docMk/>
            <pc:sldMk cId="393517058" sldId="2147483098"/>
            <ac:spMk id="2008" creationId="{7BD5FE52-3C31-692C-0431-58206417CADC}"/>
          </ac:spMkLst>
        </pc:spChg>
        <pc:spChg chg="del">
          <ac:chgData name="Yudi Zhu" userId="571e1a55-055f-4c28-8b35-fca6dd1c1369" providerId="ADAL" clId="{75A88773-6EE1-484E-AADE-FE631E01463B}" dt="2025-11-25T09:27:39.041" v="655507"/>
          <ac:spMkLst>
            <pc:docMk/>
            <pc:sldMk cId="393517058" sldId="2147483098"/>
            <ac:spMk id="2009" creationId="{7217B9F1-0A58-5B0F-2E64-A84646CA65AE}"/>
          </ac:spMkLst>
        </pc:spChg>
        <pc:spChg chg="del">
          <ac:chgData name="Yudi Zhu" userId="571e1a55-055f-4c28-8b35-fca6dd1c1369" providerId="ADAL" clId="{75A88773-6EE1-484E-AADE-FE631E01463B}" dt="2025-11-25T09:27:39.037" v="655502"/>
          <ac:spMkLst>
            <pc:docMk/>
            <pc:sldMk cId="393517058" sldId="2147483098"/>
            <ac:spMk id="2010" creationId="{BC99FD18-8285-240E-2946-45D78FEAB7A6}"/>
          </ac:spMkLst>
        </pc:spChg>
        <pc:spChg chg="del">
          <ac:chgData name="Yudi Zhu" userId="571e1a55-055f-4c28-8b35-fca6dd1c1369" providerId="ADAL" clId="{75A88773-6EE1-484E-AADE-FE631E01463B}" dt="2025-11-25T09:27:39.033" v="655497"/>
          <ac:spMkLst>
            <pc:docMk/>
            <pc:sldMk cId="393517058" sldId="2147483098"/>
            <ac:spMk id="2025" creationId="{43D55BC5-9920-542B-5943-C2925A23663E}"/>
          </ac:spMkLst>
        </pc:spChg>
        <pc:spChg chg="del">
          <ac:chgData name="Yudi Zhu" userId="571e1a55-055f-4c28-8b35-fca6dd1c1369" providerId="ADAL" clId="{75A88773-6EE1-484E-AADE-FE631E01463B}" dt="2025-11-25T09:27:25.993" v="655271"/>
          <ac:spMkLst>
            <pc:docMk/>
            <pc:sldMk cId="393517058" sldId="2147483098"/>
            <ac:spMk id="2059" creationId="{4FF999FA-1CE6-816D-D3B3-94F0A436DD6A}"/>
          </ac:spMkLst>
        </pc:spChg>
        <pc:spChg chg="del">
          <ac:chgData name="Yudi Zhu" userId="571e1a55-055f-4c28-8b35-fca6dd1c1369" providerId="ADAL" clId="{75A88773-6EE1-484E-AADE-FE631E01463B}" dt="2025-11-25T09:27:25.993" v="655269"/>
          <ac:spMkLst>
            <pc:docMk/>
            <pc:sldMk cId="393517058" sldId="2147483098"/>
            <ac:spMk id="2060" creationId="{30997A82-F7AD-11CF-FD92-4153AF5D078E}"/>
          </ac:spMkLst>
        </pc:spChg>
        <pc:spChg chg="del">
          <ac:chgData name="Yudi Zhu" userId="571e1a55-055f-4c28-8b35-fca6dd1c1369" providerId="ADAL" clId="{75A88773-6EE1-484E-AADE-FE631E01463B}" dt="2025-11-25T09:27:25.993" v="655267"/>
          <ac:spMkLst>
            <pc:docMk/>
            <pc:sldMk cId="393517058" sldId="2147483098"/>
            <ac:spMk id="2061" creationId="{EC10FD50-1BB5-2F06-E80B-337A1E69A6D3}"/>
          </ac:spMkLst>
        </pc:spChg>
        <pc:spChg chg="del">
          <ac:chgData name="Yudi Zhu" userId="571e1a55-055f-4c28-8b35-fca6dd1c1369" providerId="ADAL" clId="{75A88773-6EE1-484E-AADE-FE631E01463B}" dt="2025-11-25T09:27:25.993" v="655266"/>
          <ac:spMkLst>
            <pc:docMk/>
            <pc:sldMk cId="393517058" sldId="2147483098"/>
            <ac:spMk id="2062" creationId="{3D43E4A8-995E-7592-502B-6A11E01635DA}"/>
          </ac:spMkLst>
        </pc:spChg>
        <pc:spChg chg="del">
          <ac:chgData name="Yudi Zhu" userId="571e1a55-055f-4c28-8b35-fca6dd1c1369" providerId="ADAL" clId="{75A88773-6EE1-484E-AADE-FE631E01463B}" dt="2025-11-25T09:27:25.993" v="655264"/>
          <ac:spMkLst>
            <pc:docMk/>
            <pc:sldMk cId="393517058" sldId="2147483098"/>
            <ac:spMk id="2063" creationId="{3AE91E55-A997-AF83-6A61-D6AA9CAC5831}"/>
          </ac:spMkLst>
        </pc:spChg>
        <pc:spChg chg="del">
          <ac:chgData name="Yudi Zhu" userId="571e1a55-055f-4c28-8b35-fca6dd1c1369" providerId="ADAL" clId="{75A88773-6EE1-484E-AADE-FE631E01463B}" dt="2025-11-25T09:27:25.993" v="655262"/>
          <ac:spMkLst>
            <pc:docMk/>
            <pc:sldMk cId="393517058" sldId="2147483098"/>
            <ac:spMk id="2064" creationId="{5519771D-DBD9-C3BC-7D7B-A2751226F9CF}"/>
          </ac:spMkLst>
        </pc:spChg>
        <pc:spChg chg="del mod">
          <ac:chgData name="Yudi Zhu" userId="571e1a55-055f-4c28-8b35-fca6dd1c1369" providerId="ADAL" clId="{75A88773-6EE1-484E-AADE-FE631E01463B}" dt="2025-11-25T09:27:32.959" v="655318" actId="478"/>
          <ac:spMkLst>
            <pc:docMk/>
            <pc:sldMk cId="393517058" sldId="2147483098"/>
            <ac:spMk id="2069" creationId="{2C8C7C6E-7854-71B0-B5CD-346A1F62D9D5}"/>
          </ac:spMkLst>
        </pc:spChg>
        <pc:spChg chg="del">
          <ac:chgData name="Yudi Zhu" userId="571e1a55-055f-4c28-8b35-fca6dd1c1369" providerId="ADAL" clId="{75A88773-6EE1-484E-AADE-FE631E01463B}" dt="2025-11-25T09:27:31.288" v="655317" actId="478"/>
          <ac:spMkLst>
            <pc:docMk/>
            <pc:sldMk cId="393517058" sldId="2147483098"/>
            <ac:spMk id="2070" creationId="{38C861AF-6F37-5EBF-7BB3-B7968983ADE2}"/>
          </ac:spMkLst>
        </pc:spChg>
        <pc:grpChg chg="add mod">
          <ac:chgData name="Yudi Zhu" userId="571e1a55-055f-4c28-8b35-fca6dd1c1369" providerId="ADAL" clId="{75A88773-6EE1-484E-AADE-FE631E01463B}" dt="2025-11-25T09:54:19.514" v="656725" actId="1076"/>
          <ac:grpSpMkLst>
            <pc:docMk/>
            <pc:sldMk cId="393517058" sldId="2147483098"/>
            <ac:grpSpMk id="13" creationId="{EACEBFC1-0BCA-7AC0-4140-9F00E7FB161A}"/>
          </ac:grpSpMkLst>
        </pc:grpChg>
        <pc:grpChg chg="mod">
          <ac:chgData name="Yudi Zhu" userId="571e1a55-055f-4c28-8b35-fca6dd1c1369" providerId="ADAL" clId="{75A88773-6EE1-484E-AADE-FE631E01463B}" dt="2025-11-25T09:51:42.940" v="656616" actId="1076"/>
          <ac:grpSpMkLst>
            <pc:docMk/>
            <pc:sldMk cId="393517058" sldId="2147483098"/>
            <ac:grpSpMk id="1586" creationId="{17521993-3004-041B-D281-F1D4635F3E5B}"/>
          </ac:grpSpMkLst>
        </pc:grpChg>
        <pc:grpChg chg="mod">
          <ac:chgData name="Yudi Zhu" userId="571e1a55-055f-4c28-8b35-fca6dd1c1369" providerId="ADAL" clId="{75A88773-6EE1-484E-AADE-FE631E01463B}" dt="2025-11-25T09:51:29.845" v="656612" actId="1076"/>
          <ac:grpSpMkLst>
            <pc:docMk/>
            <pc:sldMk cId="393517058" sldId="2147483098"/>
            <ac:grpSpMk id="1588" creationId="{CEB69FB3-FA67-36AE-1790-83E5C8C40DDA}"/>
          </ac:grpSpMkLst>
        </pc:grpChg>
        <pc:grpChg chg="del">
          <ac:chgData name="Yudi Zhu" userId="571e1a55-055f-4c28-8b35-fca6dd1c1369" providerId="ADAL" clId="{75A88773-6EE1-484E-AADE-FE631E01463B}" dt="2025-11-25T09:27:55.922" v="655555" actId="478"/>
          <ac:grpSpMkLst>
            <pc:docMk/>
            <pc:sldMk cId="393517058" sldId="2147483098"/>
            <ac:grpSpMk id="1604" creationId="{CAC77667-D6BB-F83B-AA16-FAE5D5B780AA}"/>
          </ac:grpSpMkLst>
        </pc:grpChg>
        <pc:graphicFrameChg chg="add mod">
          <ac:chgData name="Yudi Zhu" userId="571e1a55-055f-4c28-8b35-fca6dd1c1369" providerId="ADAL" clId="{75A88773-6EE1-484E-AADE-FE631E01463B}" dt="2025-11-25T09:28:54.981" v="655560"/>
          <ac:graphicFrameMkLst>
            <pc:docMk/>
            <pc:sldMk cId="393517058" sldId="2147483098"/>
            <ac:graphicFrameMk id="4" creationId="{682595D8-9003-81AF-90AA-88B7C5B6905B}"/>
          </ac:graphicFrameMkLst>
        </pc:graphicFrameChg>
        <pc:graphicFrameChg chg="add del mod modGraphic">
          <ac:chgData name="Yudi Zhu" userId="571e1a55-055f-4c28-8b35-fca6dd1c1369" providerId="ADAL" clId="{75A88773-6EE1-484E-AADE-FE631E01463B}" dt="2025-11-25T09:30:10.571" v="655572" actId="478"/>
          <ac:graphicFrameMkLst>
            <pc:docMk/>
            <pc:sldMk cId="393517058" sldId="2147483098"/>
            <ac:graphicFrameMk id="5" creationId="{F85E179D-0655-2162-1A5E-764DB9A3A0D3}"/>
          </ac:graphicFrameMkLst>
        </pc:graphicFrameChg>
        <pc:graphicFrameChg chg="add mod modGraphic">
          <ac:chgData name="Yudi Zhu" userId="571e1a55-055f-4c28-8b35-fca6dd1c1369" providerId="ADAL" clId="{75A88773-6EE1-484E-AADE-FE631E01463B}" dt="2025-11-26T06:32:20.249" v="765869" actId="2062"/>
          <ac:graphicFrameMkLst>
            <pc:docMk/>
            <pc:sldMk cId="393517058" sldId="2147483098"/>
            <ac:graphicFrameMk id="6" creationId="{B3D0F3C1-99E0-2B9D-0D64-E7BF3F5AEDD3}"/>
          </ac:graphicFrameMkLst>
        </pc:graphicFrameChg>
        <pc:graphicFrameChg chg="add del mod modGraphic">
          <ac:chgData name="Yudi Zhu" userId="571e1a55-055f-4c28-8b35-fca6dd1c1369" providerId="ADAL" clId="{75A88773-6EE1-484E-AADE-FE631E01463B}" dt="2025-11-25T09:37:29.670" v="655770" actId="478"/>
          <ac:graphicFrameMkLst>
            <pc:docMk/>
            <pc:sldMk cId="393517058" sldId="2147483098"/>
            <ac:graphicFrameMk id="7" creationId="{80C6D168-8089-349C-CBBC-E011876CAD52}"/>
          </ac:graphicFrameMkLst>
        </pc:graphicFrameChg>
        <pc:graphicFrameChg chg="add mod modGraphic">
          <ac:chgData name="Yudi Zhu" userId="571e1a55-055f-4c28-8b35-fca6dd1c1369" providerId="ADAL" clId="{75A88773-6EE1-484E-AADE-FE631E01463B}" dt="2025-11-26T06:32:23.852" v="765870" actId="2062"/>
          <ac:graphicFrameMkLst>
            <pc:docMk/>
            <pc:sldMk cId="393517058" sldId="2147483098"/>
            <ac:graphicFrameMk id="8" creationId="{683939FB-F469-FCCA-AF43-73C38C9D7EC8}"/>
          </ac:graphicFrameMkLst>
        </pc:graphicFrameChg>
        <pc:graphicFrameChg chg="add mod modGraphic">
          <ac:chgData name="Yudi Zhu" userId="571e1a55-055f-4c28-8b35-fca6dd1c1369" providerId="ADAL" clId="{75A88773-6EE1-484E-AADE-FE631E01463B}" dt="2025-11-26T06:32:04.097" v="765865" actId="121"/>
          <ac:graphicFrameMkLst>
            <pc:docMk/>
            <pc:sldMk cId="393517058" sldId="2147483098"/>
            <ac:graphicFrameMk id="9" creationId="{E6967249-8534-910D-5FE8-87656FCA0C3B}"/>
          </ac:graphicFrameMkLst>
        </pc:graphicFrameChg>
        <pc:graphicFrameChg chg="add mod modGraphic">
          <ac:chgData name="Yudi Zhu" userId="571e1a55-055f-4c28-8b35-fca6dd1c1369" providerId="ADAL" clId="{75A88773-6EE1-484E-AADE-FE631E01463B}" dt="2025-11-26T06:34:31.926" v="765886"/>
          <ac:graphicFrameMkLst>
            <pc:docMk/>
            <pc:sldMk cId="393517058" sldId="2147483098"/>
            <ac:graphicFrameMk id="10" creationId="{03113804-7983-FAB8-A258-F81D3A6F33EC}"/>
          </ac:graphicFrameMkLst>
        </pc:graphicFrameChg>
        <pc:graphicFrameChg chg="mod">
          <ac:chgData name="Yudi Zhu" userId="571e1a55-055f-4c28-8b35-fca6dd1c1369" providerId="ADAL" clId="{75A88773-6EE1-484E-AADE-FE631E01463B}" dt="2025-11-25T09:49:59.227" v="656577"/>
          <ac:graphicFrameMkLst>
            <pc:docMk/>
            <pc:sldMk cId="393517058" sldId="2147483098"/>
            <ac:graphicFrameMk id="11" creationId="{06D8B66D-C873-80E6-487B-D6B21C51228A}"/>
          </ac:graphicFrameMkLst>
        </pc:graphicFrameChg>
        <pc:graphicFrameChg chg="add mod modGraphic">
          <ac:chgData name="Yudi Zhu" userId="571e1a55-055f-4c28-8b35-fca6dd1c1369" providerId="ADAL" clId="{75A88773-6EE1-484E-AADE-FE631E01463B}" dt="2025-11-26T06:33:04.675" v="765873" actId="2062"/>
          <ac:graphicFrameMkLst>
            <pc:docMk/>
            <pc:sldMk cId="393517058" sldId="2147483098"/>
            <ac:graphicFrameMk id="16" creationId="{076A3CE7-ECAB-57C3-F7C3-046379072E9A}"/>
          </ac:graphicFrameMkLst>
        </pc:graphicFrameChg>
        <pc:graphicFrameChg chg="del">
          <ac:chgData name="Yudi Zhu" userId="571e1a55-055f-4c28-8b35-fca6dd1c1369" providerId="ADAL" clId="{75A88773-6EE1-484E-AADE-FE631E01463B}" dt="2025-11-25T09:27:39.048" v="655514"/>
          <ac:graphicFrameMkLst>
            <pc:docMk/>
            <pc:sldMk cId="393517058" sldId="2147483098"/>
            <ac:graphicFrameMk id="2035" creationId="{0E196CA3-0CC6-6288-BC09-465FAA5A4E75}"/>
          </ac:graphicFrameMkLst>
        </pc:graphicFrameChg>
        <pc:graphicFrameChg chg="del">
          <ac:chgData name="Yudi Zhu" userId="571e1a55-055f-4c28-8b35-fca6dd1c1369" providerId="ADAL" clId="{75A88773-6EE1-484E-AADE-FE631E01463B}" dt="2025-11-25T09:27:36.048" v="655403"/>
          <ac:graphicFrameMkLst>
            <pc:docMk/>
            <pc:sldMk cId="393517058" sldId="2147483098"/>
            <ac:graphicFrameMk id="2058" creationId="{2033C248-D87E-636A-5623-FB3463F1424D}"/>
          </ac:graphicFrameMkLst>
        </pc:graphicFrameChg>
        <pc:graphicFrameChg chg="del">
          <ac:chgData name="Yudi Zhu" userId="571e1a55-055f-4c28-8b35-fca6dd1c1369" providerId="ADAL" clId="{75A88773-6EE1-484E-AADE-FE631E01463B}" dt="2025-11-25T09:27:25.993" v="655273"/>
          <ac:graphicFrameMkLst>
            <pc:docMk/>
            <pc:sldMk cId="393517058" sldId="2147483098"/>
            <ac:graphicFrameMk id="2068" creationId="{EC480910-6387-3F16-6F43-2ED7976114A1}"/>
          </ac:graphicFrameMkLst>
        </pc:graphicFrameChg>
        <pc:graphicFrameChg chg="del">
          <ac:chgData name="Yudi Zhu" userId="571e1a55-055f-4c28-8b35-fca6dd1c1369" providerId="ADAL" clId="{75A88773-6EE1-484E-AADE-FE631E01463B}" dt="2025-11-25T09:27:26.008" v="655311"/>
          <ac:graphicFrameMkLst>
            <pc:docMk/>
            <pc:sldMk cId="393517058" sldId="2147483098"/>
            <ac:graphicFrameMk id="2072" creationId="{71071794-EF62-02C5-E864-46A37481E123}"/>
          </ac:graphicFrameMkLst>
        </pc:graphicFrameChg>
        <pc:graphicFrameChg chg="del">
          <ac:chgData name="Yudi Zhu" userId="571e1a55-055f-4c28-8b35-fca6dd1c1369" providerId="ADAL" clId="{75A88773-6EE1-484E-AADE-FE631E01463B}" dt="2025-11-25T09:27:38.045" v="655493"/>
          <ac:graphicFrameMkLst>
            <pc:docMk/>
            <pc:sldMk cId="393517058" sldId="2147483098"/>
            <ac:graphicFrameMk id="2077" creationId="{9E0FE605-701E-EBFA-AE27-A85EC056B80F}"/>
          </ac:graphicFrameMkLst>
        </pc:graphicFrameChg>
        <pc:cxnChg chg="mod">
          <ac:chgData name="Yudi Zhu" userId="571e1a55-055f-4c28-8b35-fca6dd1c1369" providerId="ADAL" clId="{75A88773-6EE1-484E-AADE-FE631E01463B}" dt="2025-11-25T09:51:44.136" v="656617"/>
          <ac:cxnSpMkLst>
            <pc:docMk/>
            <pc:sldMk cId="393517058" sldId="2147483098"/>
            <ac:cxnSpMk id="15" creationId="{34463BEC-AA4A-113D-54E7-F80D4517D645}"/>
          </ac:cxnSpMkLst>
        </pc:cxnChg>
        <pc:cxnChg chg="del">
          <ac:chgData name="Yudi Zhu" userId="571e1a55-055f-4c28-8b35-fca6dd1c1369" providerId="ADAL" clId="{75A88773-6EE1-484E-AADE-FE631E01463B}" dt="2025-11-25T09:27:38.045" v="655488"/>
          <ac:cxnSpMkLst>
            <pc:docMk/>
            <pc:sldMk cId="393517058" sldId="2147483098"/>
            <ac:cxnSpMk id="57" creationId="{B8A70BC4-880F-79F8-BF39-DEB7ECF3AAAF}"/>
          </ac:cxnSpMkLst>
        </pc:cxnChg>
        <pc:cxnChg chg="del">
          <ac:chgData name="Yudi Zhu" userId="571e1a55-055f-4c28-8b35-fca6dd1c1369" providerId="ADAL" clId="{75A88773-6EE1-484E-AADE-FE631E01463B}" dt="2025-11-25T09:27:38.042" v="655484"/>
          <ac:cxnSpMkLst>
            <pc:docMk/>
            <pc:sldMk cId="393517058" sldId="2147483098"/>
            <ac:cxnSpMk id="58" creationId="{544E8E06-7A8F-3954-A4AA-EE20FECFFF3B}"/>
          </ac:cxnSpMkLst>
        </pc:cxnChg>
        <pc:cxnChg chg="del">
          <ac:chgData name="Yudi Zhu" userId="571e1a55-055f-4c28-8b35-fca6dd1c1369" providerId="ADAL" clId="{75A88773-6EE1-484E-AADE-FE631E01463B}" dt="2025-11-25T09:27:38.027" v="655479"/>
          <ac:cxnSpMkLst>
            <pc:docMk/>
            <pc:sldMk cId="393517058" sldId="2147483098"/>
            <ac:cxnSpMk id="59" creationId="{F626354A-02F7-D8D1-C43E-6F2AA2506D97}"/>
          </ac:cxnSpMkLst>
        </pc:cxnChg>
        <pc:cxnChg chg="del">
          <ac:chgData name="Yudi Zhu" userId="571e1a55-055f-4c28-8b35-fca6dd1c1369" providerId="ADAL" clId="{75A88773-6EE1-484E-AADE-FE631E01463B}" dt="2025-11-25T09:27:38.027" v="655475"/>
          <ac:cxnSpMkLst>
            <pc:docMk/>
            <pc:sldMk cId="393517058" sldId="2147483098"/>
            <ac:cxnSpMk id="60" creationId="{920FA605-E38D-0766-1BEA-D0809D4F30B1}"/>
          </ac:cxnSpMkLst>
        </pc:cxnChg>
        <pc:cxnChg chg="del">
          <ac:chgData name="Yudi Zhu" userId="571e1a55-055f-4c28-8b35-fca6dd1c1369" providerId="ADAL" clId="{75A88773-6EE1-484E-AADE-FE631E01463B}" dt="2025-11-25T09:27:38.027" v="655472"/>
          <ac:cxnSpMkLst>
            <pc:docMk/>
            <pc:sldMk cId="393517058" sldId="2147483098"/>
            <ac:cxnSpMk id="61" creationId="{5460B9C1-B478-B2EA-64C1-1F3A3ED7DB5F}"/>
          </ac:cxnSpMkLst>
        </pc:cxnChg>
        <pc:cxnChg chg="del">
          <ac:chgData name="Yudi Zhu" userId="571e1a55-055f-4c28-8b35-fca6dd1c1369" providerId="ADAL" clId="{75A88773-6EE1-484E-AADE-FE631E01463B}" dt="2025-11-25T09:27:38.027" v="655465"/>
          <ac:cxnSpMkLst>
            <pc:docMk/>
            <pc:sldMk cId="393517058" sldId="2147483098"/>
            <ac:cxnSpMk id="62" creationId="{D3FC26B7-159F-8978-6453-5F5B3488596A}"/>
          </ac:cxnSpMkLst>
        </pc:cxnChg>
        <pc:cxnChg chg="del">
          <ac:chgData name="Yudi Zhu" userId="571e1a55-055f-4c28-8b35-fca6dd1c1369" providerId="ADAL" clId="{75A88773-6EE1-484E-AADE-FE631E01463B}" dt="2025-11-25T09:27:38.027" v="655460"/>
          <ac:cxnSpMkLst>
            <pc:docMk/>
            <pc:sldMk cId="393517058" sldId="2147483098"/>
            <ac:cxnSpMk id="63" creationId="{036720A8-6C47-441D-7C79-B2E3C0977058}"/>
          </ac:cxnSpMkLst>
        </pc:cxnChg>
        <pc:cxnChg chg="del">
          <ac:chgData name="Yudi Zhu" userId="571e1a55-055f-4c28-8b35-fca6dd1c1369" providerId="ADAL" clId="{75A88773-6EE1-484E-AADE-FE631E01463B}" dt="2025-11-25T09:27:36.037" v="655394"/>
          <ac:cxnSpMkLst>
            <pc:docMk/>
            <pc:sldMk cId="393517058" sldId="2147483098"/>
            <ac:cxnSpMk id="153" creationId="{3D86BA23-82AC-89CB-0C7A-64BE0C2149C7}"/>
          </ac:cxnSpMkLst>
        </pc:cxnChg>
        <pc:cxnChg chg="del">
          <ac:chgData name="Yudi Zhu" userId="571e1a55-055f-4c28-8b35-fca6dd1c1369" providerId="ADAL" clId="{75A88773-6EE1-484E-AADE-FE631E01463B}" dt="2025-11-25T09:27:25.964" v="655230"/>
          <ac:cxnSpMkLst>
            <pc:docMk/>
            <pc:sldMk cId="393517058" sldId="2147483098"/>
            <ac:cxnSpMk id="352" creationId="{4263A71F-EC78-DFDC-7D74-6EA9067C3D93}"/>
          </ac:cxnSpMkLst>
        </pc:cxnChg>
        <pc:cxnChg chg="del">
          <ac:chgData name="Yudi Zhu" userId="571e1a55-055f-4c28-8b35-fca6dd1c1369" providerId="ADAL" clId="{75A88773-6EE1-484E-AADE-FE631E01463B}" dt="2025-11-25T09:27:36.037" v="655389"/>
          <ac:cxnSpMkLst>
            <pc:docMk/>
            <pc:sldMk cId="393517058" sldId="2147483098"/>
            <ac:cxnSpMk id="428" creationId="{69E7427C-117E-56BC-C7B6-997EB645D1E0}"/>
          </ac:cxnSpMkLst>
        </pc:cxnChg>
        <pc:cxnChg chg="del">
          <ac:chgData name="Yudi Zhu" userId="571e1a55-055f-4c28-8b35-fca6dd1c1369" providerId="ADAL" clId="{75A88773-6EE1-484E-AADE-FE631E01463B}" dt="2025-11-25T09:27:36.037" v="655384"/>
          <ac:cxnSpMkLst>
            <pc:docMk/>
            <pc:sldMk cId="393517058" sldId="2147483098"/>
            <ac:cxnSpMk id="501" creationId="{31BBDF1D-384A-CA1B-E5CC-8D290EBDEE93}"/>
          </ac:cxnSpMkLst>
        </pc:cxnChg>
        <pc:cxnChg chg="del">
          <ac:chgData name="Yudi Zhu" userId="571e1a55-055f-4c28-8b35-fca6dd1c1369" providerId="ADAL" clId="{75A88773-6EE1-484E-AADE-FE631E01463B}" dt="2025-11-25T09:27:25.979" v="655253"/>
          <ac:cxnSpMkLst>
            <pc:docMk/>
            <pc:sldMk cId="393517058" sldId="2147483098"/>
            <ac:cxnSpMk id="1005" creationId="{938B6BE6-FD07-85B5-162A-2021870C89B9}"/>
          </ac:cxnSpMkLst>
        </pc:cxnChg>
        <pc:cxnChg chg="del">
          <ac:chgData name="Yudi Zhu" userId="571e1a55-055f-4c28-8b35-fca6dd1c1369" providerId="ADAL" clId="{75A88773-6EE1-484E-AADE-FE631E01463B}" dt="2025-11-25T09:27:25.979" v="655249"/>
          <ac:cxnSpMkLst>
            <pc:docMk/>
            <pc:sldMk cId="393517058" sldId="2147483098"/>
            <ac:cxnSpMk id="1022" creationId="{C6DB9E9F-DAC5-E517-B8A2-EB49006A9DAA}"/>
          </ac:cxnSpMkLst>
        </pc:cxnChg>
        <pc:cxnChg chg="del">
          <ac:chgData name="Yudi Zhu" userId="571e1a55-055f-4c28-8b35-fca6dd1c1369" providerId="ADAL" clId="{75A88773-6EE1-484E-AADE-FE631E01463B}" dt="2025-11-25T09:27:37.997" v="655413"/>
          <ac:cxnSpMkLst>
            <pc:docMk/>
            <pc:sldMk cId="393517058" sldId="2147483098"/>
            <ac:cxnSpMk id="1381" creationId="{60F9A687-49A7-9139-83E6-DE0BDC247892}"/>
          </ac:cxnSpMkLst>
        </pc:cxnChg>
        <pc:cxnChg chg="del">
          <ac:chgData name="Yudi Zhu" userId="571e1a55-055f-4c28-8b35-fca6dd1c1369" providerId="ADAL" clId="{75A88773-6EE1-484E-AADE-FE631E01463B}" dt="2025-11-25T09:27:37.995" v="655410"/>
          <ac:cxnSpMkLst>
            <pc:docMk/>
            <pc:sldMk cId="393517058" sldId="2147483098"/>
            <ac:cxnSpMk id="1382" creationId="{81D9BC2E-43BF-0B4D-346D-E07E1572AC4E}"/>
          </ac:cxnSpMkLst>
        </pc:cxnChg>
        <pc:cxnChg chg="del">
          <ac:chgData name="Yudi Zhu" userId="571e1a55-055f-4c28-8b35-fca6dd1c1369" providerId="ADAL" clId="{75A88773-6EE1-484E-AADE-FE631E01463B}" dt="2025-11-25T09:27:37.992" v="655407"/>
          <ac:cxnSpMkLst>
            <pc:docMk/>
            <pc:sldMk cId="393517058" sldId="2147483098"/>
            <ac:cxnSpMk id="1383" creationId="{06C80ABB-ADE7-9188-D748-6A0BB890BA72}"/>
          </ac:cxnSpMkLst>
        </pc:cxnChg>
        <pc:cxnChg chg="del">
          <ac:chgData name="Yudi Zhu" userId="571e1a55-055f-4c28-8b35-fca6dd1c1369" providerId="ADAL" clId="{75A88773-6EE1-484E-AADE-FE631E01463B}" dt="2025-11-25T09:27:38.004" v="655422"/>
          <ac:cxnSpMkLst>
            <pc:docMk/>
            <pc:sldMk cId="393517058" sldId="2147483098"/>
            <ac:cxnSpMk id="1416" creationId="{72D85A7C-D068-4FDE-7721-9FFD5EE00CF7}"/>
          </ac:cxnSpMkLst>
        </pc:cxnChg>
        <pc:cxnChg chg="del">
          <ac:chgData name="Yudi Zhu" userId="571e1a55-055f-4c28-8b35-fca6dd1c1369" providerId="ADAL" clId="{75A88773-6EE1-484E-AADE-FE631E01463B}" dt="2025-11-25T09:27:38" v="655416"/>
          <ac:cxnSpMkLst>
            <pc:docMk/>
            <pc:sldMk cId="393517058" sldId="2147483098"/>
            <ac:cxnSpMk id="1427" creationId="{8CD1BFBD-29D4-7EFA-3730-7685282ECB0D}"/>
          </ac:cxnSpMkLst>
        </pc:cxnChg>
        <pc:cxnChg chg="del">
          <ac:chgData name="Yudi Zhu" userId="571e1a55-055f-4c28-8b35-fca6dd1c1369" providerId="ADAL" clId="{75A88773-6EE1-484E-AADE-FE631E01463B}" dt="2025-11-25T09:27:38.027" v="655470"/>
          <ac:cxnSpMkLst>
            <pc:docMk/>
            <pc:sldMk cId="393517058" sldId="2147483098"/>
            <ac:cxnSpMk id="1459" creationId="{16AAA7D6-7B2F-3A99-2825-6C1703FEC375}"/>
          </ac:cxnSpMkLst>
        </pc:cxnChg>
        <pc:cxnChg chg="del">
          <ac:chgData name="Yudi Zhu" userId="571e1a55-055f-4c28-8b35-fca6dd1c1369" providerId="ADAL" clId="{75A88773-6EE1-484E-AADE-FE631E01463B}" dt="2025-11-25T09:27:38.011" v="655456"/>
          <ac:cxnSpMkLst>
            <pc:docMk/>
            <pc:sldMk cId="393517058" sldId="2147483098"/>
            <ac:cxnSpMk id="1462" creationId="{B25EED74-3BE6-1A25-FFAA-ED5F7EF0AB47}"/>
          </ac:cxnSpMkLst>
        </pc:cxnChg>
        <pc:cxnChg chg="del">
          <ac:chgData name="Yudi Zhu" userId="571e1a55-055f-4c28-8b35-fca6dd1c1369" providerId="ADAL" clId="{75A88773-6EE1-484E-AADE-FE631E01463B}" dt="2025-11-25T09:27:38.011" v="655438"/>
          <ac:cxnSpMkLst>
            <pc:docMk/>
            <pc:sldMk cId="393517058" sldId="2147483098"/>
            <ac:cxnSpMk id="1466" creationId="{D3EC2432-4617-5266-2DF0-2F8BEF10B77E}"/>
          </ac:cxnSpMkLst>
        </pc:cxnChg>
        <pc:cxnChg chg="del">
          <ac:chgData name="Yudi Zhu" userId="571e1a55-055f-4c28-8b35-fca6dd1c1369" providerId="ADAL" clId="{75A88773-6EE1-484E-AADE-FE631E01463B}" dt="2025-11-25T09:27:38.011" v="655435"/>
          <ac:cxnSpMkLst>
            <pc:docMk/>
            <pc:sldMk cId="393517058" sldId="2147483098"/>
            <ac:cxnSpMk id="1467" creationId="{B04EF4F2-7F38-9EBF-D340-CFB75FC1FB25}"/>
          </ac:cxnSpMkLst>
        </pc:cxnChg>
        <pc:cxnChg chg="del">
          <ac:chgData name="Yudi Zhu" userId="571e1a55-055f-4c28-8b35-fca6dd1c1369" providerId="ADAL" clId="{75A88773-6EE1-484E-AADE-FE631E01463B}" dt="2025-11-25T09:27:38.010" v="655433"/>
          <ac:cxnSpMkLst>
            <pc:docMk/>
            <pc:sldMk cId="393517058" sldId="2147483098"/>
            <ac:cxnSpMk id="1468" creationId="{DB3DA2FD-3F9C-7D07-1499-92AEE88BBABE}"/>
          </ac:cxnSpMkLst>
        </pc:cxnChg>
        <pc:cxnChg chg="del">
          <ac:chgData name="Yudi Zhu" userId="571e1a55-055f-4c28-8b35-fca6dd1c1369" providerId="ADAL" clId="{75A88773-6EE1-484E-AADE-FE631E01463B}" dt="2025-11-25T09:27:38.007" v="655428"/>
          <ac:cxnSpMkLst>
            <pc:docMk/>
            <pc:sldMk cId="393517058" sldId="2147483098"/>
            <ac:cxnSpMk id="1469" creationId="{E7FB9AEA-E911-CF9F-9FF2-E4588B47992B}"/>
          </ac:cxnSpMkLst>
        </pc:cxnChg>
        <pc:cxnChg chg="del">
          <ac:chgData name="Yudi Zhu" userId="571e1a55-055f-4c28-8b35-fca6dd1c1369" providerId="ADAL" clId="{75A88773-6EE1-484E-AADE-FE631E01463B}" dt="2025-11-25T09:27:38.001" v="655418"/>
          <ac:cxnSpMkLst>
            <pc:docMk/>
            <pc:sldMk cId="393517058" sldId="2147483098"/>
            <ac:cxnSpMk id="1474" creationId="{967E8F84-C6F1-30BA-DDED-462B5D7B17E2}"/>
          </ac:cxnSpMkLst>
        </pc:cxnChg>
        <pc:cxnChg chg="del">
          <ac:chgData name="Yudi Zhu" userId="571e1a55-055f-4c28-8b35-fca6dd1c1369" providerId="ADAL" clId="{75A88773-6EE1-484E-AADE-FE631E01463B}" dt="2025-11-25T09:27:25.979" v="655257"/>
          <ac:cxnSpMkLst>
            <pc:docMk/>
            <pc:sldMk cId="393517058" sldId="2147483098"/>
            <ac:cxnSpMk id="1477" creationId="{152B86F5-FAEA-60A6-7C19-C68CC06B21E4}"/>
          </ac:cxnSpMkLst>
        </pc:cxnChg>
        <pc:cxnChg chg="del">
          <ac:chgData name="Yudi Zhu" userId="571e1a55-055f-4c28-8b35-fca6dd1c1369" providerId="ADAL" clId="{75A88773-6EE1-484E-AADE-FE631E01463B}" dt="2025-11-25T09:27:36.029" v="655369"/>
          <ac:cxnSpMkLst>
            <pc:docMk/>
            <pc:sldMk cId="393517058" sldId="2147483098"/>
            <ac:cxnSpMk id="1519" creationId="{DB475FC9-58A8-F50C-7AD4-C76A1BA430D5}"/>
          </ac:cxnSpMkLst>
        </pc:cxnChg>
        <pc:cxnChg chg="del">
          <ac:chgData name="Yudi Zhu" userId="571e1a55-055f-4c28-8b35-fca6dd1c1369" providerId="ADAL" clId="{75A88773-6EE1-484E-AADE-FE631E01463B}" dt="2025-11-25T09:27:36.006" v="655328"/>
          <ac:cxnSpMkLst>
            <pc:docMk/>
            <pc:sldMk cId="393517058" sldId="2147483098"/>
            <ac:cxnSpMk id="1524" creationId="{C473C6AD-8681-B41F-FEBD-B32D433102CF}"/>
          </ac:cxnSpMkLst>
        </pc:cxnChg>
        <pc:cxnChg chg="del">
          <ac:chgData name="Yudi Zhu" userId="571e1a55-055f-4c28-8b35-fca6dd1c1369" providerId="ADAL" clId="{75A88773-6EE1-484E-AADE-FE631E01463B}" dt="2025-11-25T09:27:36.012" v="655345"/>
          <ac:cxnSpMkLst>
            <pc:docMk/>
            <pc:sldMk cId="393517058" sldId="2147483098"/>
            <ac:cxnSpMk id="1581" creationId="{822DC2B8-79ED-2E97-65D5-B24BD6099DE3}"/>
          </ac:cxnSpMkLst>
        </pc:cxnChg>
        <pc:cxnChg chg="del">
          <ac:chgData name="Yudi Zhu" userId="571e1a55-055f-4c28-8b35-fca6dd1c1369" providerId="ADAL" clId="{75A88773-6EE1-484E-AADE-FE631E01463B}" dt="2025-11-25T09:27:36.012" v="655336"/>
          <ac:cxnSpMkLst>
            <pc:docMk/>
            <pc:sldMk cId="393517058" sldId="2147483098"/>
            <ac:cxnSpMk id="1582" creationId="{522C1A32-4C1E-7C5A-1A1F-AB0C8073B48E}"/>
          </ac:cxnSpMkLst>
        </pc:cxnChg>
        <pc:cxnChg chg="del">
          <ac:chgData name="Yudi Zhu" userId="571e1a55-055f-4c28-8b35-fca6dd1c1369" providerId="ADAL" clId="{75A88773-6EE1-484E-AADE-FE631E01463B}" dt="2025-11-25T09:27:36.029" v="655379"/>
          <ac:cxnSpMkLst>
            <pc:docMk/>
            <pc:sldMk cId="393517058" sldId="2147483098"/>
            <ac:cxnSpMk id="1585" creationId="{26453B75-A203-AEA1-F433-D2A84081DC3A}"/>
          </ac:cxnSpMkLst>
        </pc:cxnChg>
        <pc:cxnChg chg="del">
          <ac:chgData name="Yudi Zhu" userId="571e1a55-055f-4c28-8b35-fca6dd1c1369" providerId="ADAL" clId="{75A88773-6EE1-484E-AADE-FE631E01463B}" dt="2025-11-25T09:27:36.021" v="655356"/>
          <ac:cxnSpMkLst>
            <pc:docMk/>
            <pc:sldMk cId="393517058" sldId="2147483098"/>
            <ac:cxnSpMk id="1587" creationId="{1F80F8EE-7195-5C60-7F36-66FFA93BEE7C}"/>
          </ac:cxnSpMkLst>
        </pc:cxnChg>
        <pc:cxnChg chg="del">
          <ac:chgData name="Yudi Zhu" userId="571e1a55-055f-4c28-8b35-fca6dd1c1369" providerId="ADAL" clId="{75A88773-6EE1-484E-AADE-FE631E01463B}" dt="2025-11-25T09:27:36.012" v="655347"/>
          <ac:cxnSpMkLst>
            <pc:docMk/>
            <pc:sldMk cId="393517058" sldId="2147483098"/>
            <ac:cxnSpMk id="1591" creationId="{45B3B88D-C4D2-857C-DE64-D5056A9386D8}"/>
          </ac:cxnSpMkLst>
        </pc:cxnChg>
        <pc:cxnChg chg="del">
          <ac:chgData name="Yudi Zhu" userId="571e1a55-055f-4c28-8b35-fca6dd1c1369" providerId="ADAL" clId="{75A88773-6EE1-484E-AADE-FE631E01463B}" dt="2025-11-25T09:27:36.012" v="655338"/>
          <ac:cxnSpMkLst>
            <pc:docMk/>
            <pc:sldMk cId="393517058" sldId="2147483098"/>
            <ac:cxnSpMk id="1592" creationId="{80A237D9-085B-F196-46AA-6ECF5BCFF128}"/>
          </ac:cxnSpMkLst>
        </pc:cxnChg>
        <pc:cxnChg chg="del">
          <ac:chgData name="Yudi Zhu" userId="571e1a55-055f-4c28-8b35-fca6dd1c1369" providerId="ADAL" clId="{75A88773-6EE1-484E-AADE-FE631E01463B}" dt="2025-11-25T09:27:36.029" v="655377"/>
          <ac:cxnSpMkLst>
            <pc:docMk/>
            <pc:sldMk cId="393517058" sldId="2147483098"/>
            <ac:cxnSpMk id="1593" creationId="{6BDEA4E6-357A-2358-2347-22267E74416D}"/>
          </ac:cxnSpMkLst>
        </pc:cxnChg>
        <pc:cxnChg chg="del">
          <ac:chgData name="Yudi Zhu" userId="571e1a55-055f-4c28-8b35-fca6dd1c1369" providerId="ADAL" clId="{75A88773-6EE1-484E-AADE-FE631E01463B}" dt="2025-11-25T09:27:36.021" v="655354"/>
          <ac:cxnSpMkLst>
            <pc:docMk/>
            <pc:sldMk cId="393517058" sldId="2147483098"/>
            <ac:cxnSpMk id="1594" creationId="{CA8BCBDE-7919-DFD2-CB10-EA88A315DC7B}"/>
          </ac:cxnSpMkLst>
        </pc:cxnChg>
        <pc:cxnChg chg="del">
          <ac:chgData name="Yudi Zhu" userId="571e1a55-055f-4c28-8b35-fca6dd1c1369" providerId="ADAL" clId="{75A88773-6EE1-484E-AADE-FE631E01463B}" dt="2025-11-25T09:27:36.012" v="655343"/>
          <ac:cxnSpMkLst>
            <pc:docMk/>
            <pc:sldMk cId="393517058" sldId="2147483098"/>
            <ac:cxnSpMk id="1595" creationId="{A73ED295-15B4-2F3B-66BB-F98525C1C7AA}"/>
          </ac:cxnSpMkLst>
        </pc:cxnChg>
        <pc:cxnChg chg="del">
          <ac:chgData name="Yudi Zhu" userId="571e1a55-055f-4c28-8b35-fca6dd1c1369" providerId="ADAL" clId="{75A88773-6EE1-484E-AADE-FE631E01463B}" dt="2025-11-25T09:27:36.006" v="655334"/>
          <ac:cxnSpMkLst>
            <pc:docMk/>
            <pc:sldMk cId="393517058" sldId="2147483098"/>
            <ac:cxnSpMk id="1596" creationId="{C82C9374-0347-8640-AD18-C259C5B53F7E}"/>
          </ac:cxnSpMkLst>
        </pc:cxnChg>
        <pc:cxnChg chg="del">
          <ac:chgData name="Yudi Zhu" userId="571e1a55-055f-4c28-8b35-fca6dd1c1369" providerId="ADAL" clId="{75A88773-6EE1-484E-AADE-FE631E01463B}" dt="2025-11-25T09:27:36.021" v="655365"/>
          <ac:cxnSpMkLst>
            <pc:docMk/>
            <pc:sldMk cId="393517058" sldId="2147483098"/>
            <ac:cxnSpMk id="1599" creationId="{82B80641-5327-76DC-CF0C-CA9AB465B612}"/>
          </ac:cxnSpMkLst>
        </pc:cxnChg>
        <pc:cxnChg chg="del">
          <ac:chgData name="Yudi Zhu" userId="571e1a55-055f-4c28-8b35-fca6dd1c1369" providerId="ADAL" clId="{75A88773-6EE1-484E-AADE-FE631E01463B}" dt="2025-11-25T09:27:36.021" v="655363"/>
          <ac:cxnSpMkLst>
            <pc:docMk/>
            <pc:sldMk cId="393517058" sldId="2147483098"/>
            <ac:cxnSpMk id="1600" creationId="{04D1FAC4-6359-D7AF-AB55-F04359BE2FF7}"/>
          </ac:cxnSpMkLst>
        </pc:cxnChg>
        <pc:cxnChg chg="del topLvl">
          <ac:chgData name="Yudi Zhu" userId="571e1a55-055f-4c28-8b35-fca6dd1c1369" providerId="ADAL" clId="{75A88773-6EE1-484E-AADE-FE631E01463B}" dt="2025-11-25T09:27:56.791" v="655556" actId="478"/>
          <ac:cxnSpMkLst>
            <pc:docMk/>
            <pc:sldMk cId="393517058" sldId="2147483098"/>
            <ac:cxnSpMk id="1606" creationId="{B2AA8A47-5191-DC77-8B5E-80903A146812}"/>
          </ac:cxnSpMkLst>
        </pc:cxnChg>
        <pc:cxnChg chg="del">
          <ac:chgData name="Yudi Zhu" userId="571e1a55-055f-4c28-8b35-fca6dd1c1369" providerId="ADAL" clId="{75A88773-6EE1-484E-AADE-FE631E01463B}" dt="2025-11-25T09:27:25.979" v="655243"/>
          <ac:cxnSpMkLst>
            <pc:docMk/>
            <pc:sldMk cId="393517058" sldId="2147483098"/>
            <ac:cxnSpMk id="1632" creationId="{B4DA3414-B571-A710-4CA4-455FEA70C690}"/>
          </ac:cxnSpMkLst>
        </pc:cxnChg>
        <pc:cxnChg chg="del">
          <ac:chgData name="Yudi Zhu" userId="571e1a55-055f-4c28-8b35-fca6dd1c1369" providerId="ADAL" clId="{75A88773-6EE1-484E-AADE-FE631E01463B}" dt="2025-11-25T09:27:25.979" v="655241"/>
          <ac:cxnSpMkLst>
            <pc:docMk/>
            <pc:sldMk cId="393517058" sldId="2147483098"/>
            <ac:cxnSpMk id="1633" creationId="{44C7D2AB-95F3-D282-89C9-1BEC81DB6D59}"/>
          </ac:cxnSpMkLst>
        </pc:cxnChg>
        <pc:cxnChg chg="del">
          <ac:chgData name="Yudi Zhu" userId="571e1a55-055f-4c28-8b35-fca6dd1c1369" providerId="ADAL" clId="{75A88773-6EE1-484E-AADE-FE631E01463B}" dt="2025-11-25T09:27:25.979" v="655239"/>
          <ac:cxnSpMkLst>
            <pc:docMk/>
            <pc:sldMk cId="393517058" sldId="2147483098"/>
            <ac:cxnSpMk id="1634" creationId="{AFA34B1B-0F62-2E29-39C8-9E8DC52E3487}"/>
          </ac:cxnSpMkLst>
        </pc:cxnChg>
        <pc:cxnChg chg="del">
          <ac:chgData name="Yudi Zhu" userId="571e1a55-055f-4c28-8b35-fca6dd1c1369" providerId="ADAL" clId="{75A88773-6EE1-484E-AADE-FE631E01463B}" dt="2025-11-25T09:27:39.040" v="655506"/>
          <ac:cxnSpMkLst>
            <pc:docMk/>
            <pc:sldMk cId="393517058" sldId="2147483098"/>
            <ac:cxnSpMk id="1718" creationId="{BB946B49-2560-B6BC-DC3B-8E2B7788DF77}"/>
          </ac:cxnSpMkLst>
        </pc:cxnChg>
        <pc:cxnChg chg="del">
          <ac:chgData name="Yudi Zhu" userId="571e1a55-055f-4c28-8b35-fca6dd1c1369" providerId="ADAL" clId="{75A88773-6EE1-484E-AADE-FE631E01463B}" dt="2025-11-25T09:27:39.043" v="655510"/>
          <ac:cxnSpMkLst>
            <pc:docMk/>
            <pc:sldMk cId="393517058" sldId="2147483098"/>
            <ac:cxnSpMk id="1753" creationId="{6F89B6DC-E3F5-CD48-0D46-FFAA36062107}"/>
          </ac:cxnSpMkLst>
        </pc:cxnChg>
        <pc:cxnChg chg="del">
          <ac:chgData name="Yudi Zhu" userId="571e1a55-055f-4c28-8b35-fca6dd1c1369" providerId="ADAL" clId="{75A88773-6EE1-484E-AADE-FE631E01463B}" dt="2025-11-25T09:27:38.006" v="655426"/>
          <ac:cxnSpMkLst>
            <pc:docMk/>
            <pc:sldMk cId="393517058" sldId="2147483098"/>
            <ac:cxnSpMk id="1819" creationId="{89A23327-5608-B9B1-48B6-09A5B94BD12A}"/>
          </ac:cxnSpMkLst>
        </pc:cxnChg>
        <pc:cxnChg chg="del">
          <ac:chgData name="Yudi Zhu" userId="571e1a55-055f-4c28-8b35-fca6dd1c1369" providerId="ADAL" clId="{75A88773-6EE1-484E-AADE-FE631E01463B}" dt="2025-11-25T09:27:38.011" v="655451"/>
          <ac:cxnSpMkLst>
            <pc:docMk/>
            <pc:sldMk cId="393517058" sldId="2147483098"/>
            <ac:cxnSpMk id="1856" creationId="{D1BA9907-3658-82E5-F2ED-A6180F1B2854}"/>
          </ac:cxnSpMkLst>
        </pc:cxnChg>
        <pc:cxnChg chg="del">
          <ac:chgData name="Yudi Zhu" userId="571e1a55-055f-4c28-8b35-fca6dd1c1369" providerId="ADAL" clId="{75A88773-6EE1-484E-AADE-FE631E01463B}" dt="2025-11-25T09:27:38.011" v="655447"/>
          <ac:cxnSpMkLst>
            <pc:docMk/>
            <pc:sldMk cId="393517058" sldId="2147483098"/>
            <ac:cxnSpMk id="1857" creationId="{CF12010B-7B22-DD94-C36D-C11F4ECD2C5D}"/>
          </ac:cxnSpMkLst>
        </pc:cxnChg>
        <pc:cxnChg chg="del">
          <ac:chgData name="Yudi Zhu" userId="571e1a55-055f-4c28-8b35-fca6dd1c1369" providerId="ADAL" clId="{75A88773-6EE1-484E-AADE-FE631E01463B}" dt="2025-11-25T09:27:38.011" v="655442"/>
          <ac:cxnSpMkLst>
            <pc:docMk/>
            <pc:sldMk cId="393517058" sldId="2147483098"/>
            <ac:cxnSpMk id="1858" creationId="{0D4B99E3-DB56-6849-EF97-337EA1B0324A}"/>
          </ac:cxnSpMkLst>
        </pc:cxnChg>
        <pc:cxnChg chg="del">
          <ac:chgData name="Yudi Zhu" userId="571e1a55-055f-4c28-8b35-fca6dd1c1369" providerId="ADAL" clId="{75A88773-6EE1-484E-AADE-FE631E01463B}" dt="2025-11-25T09:27:38.009" v="655431"/>
          <ac:cxnSpMkLst>
            <pc:docMk/>
            <pc:sldMk cId="393517058" sldId="2147483098"/>
            <ac:cxnSpMk id="1859" creationId="{FD8FF0CA-37CF-D887-74DE-07CF29094DE7}"/>
          </ac:cxnSpMkLst>
        </pc:cxnChg>
        <pc:cxnChg chg="del">
          <ac:chgData name="Yudi Zhu" userId="571e1a55-055f-4c28-8b35-fca6dd1c1369" providerId="ADAL" clId="{75A88773-6EE1-484E-AADE-FE631E01463B}" dt="2025-11-25T09:27:38.005" v="655424"/>
          <ac:cxnSpMkLst>
            <pc:docMk/>
            <pc:sldMk cId="393517058" sldId="2147483098"/>
            <ac:cxnSpMk id="1860" creationId="{1A93DD93-BD90-4150-D381-32F900E769FB}"/>
          </ac:cxnSpMkLst>
        </pc:cxnChg>
        <pc:cxnChg chg="del">
          <ac:chgData name="Yudi Zhu" userId="571e1a55-055f-4c28-8b35-fca6dd1c1369" providerId="ADAL" clId="{75A88773-6EE1-484E-AADE-FE631E01463B}" dt="2025-11-25T09:27:38.002" v="655420"/>
          <ac:cxnSpMkLst>
            <pc:docMk/>
            <pc:sldMk cId="393517058" sldId="2147483098"/>
            <ac:cxnSpMk id="1861" creationId="{15660DEE-4916-933D-E2C2-A4D09FBA11D1}"/>
          </ac:cxnSpMkLst>
        </pc:cxnChg>
        <pc:cxnChg chg="del">
          <ac:chgData name="Yudi Zhu" userId="571e1a55-055f-4c28-8b35-fca6dd1c1369" providerId="ADAL" clId="{75A88773-6EE1-484E-AADE-FE631E01463B}" dt="2025-11-25T09:27:25.993" v="655277"/>
          <ac:cxnSpMkLst>
            <pc:docMk/>
            <pc:sldMk cId="393517058" sldId="2147483098"/>
            <ac:cxnSpMk id="1915" creationId="{556810A5-1ED5-31DD-E50C-A26A7DB04837}"/>
          </ac:cxnSpMkLst>
        </pc:cxnChg>
        <pc:cxnChg chg="del">
          <ac:chgData name="Yudi Zhu" userId="571e1a55-055f-4c28-8b35-fca6dd1c1369" providerId="ADAL" clId="{75A88773-6EE1-484E-AADE-FE631E01463B}" dt="2025-11-25T09:27:25.993" v="655275"/>
          <ac:cxnSpMkLst>
            <pc:docMk/>
            <pc:sldMk cId="393517058" sldId="2147483098"/>
            <ac:cxnSpMk id="1916" creationId="{7945F6A2-9F38-277D-F5AE-EF96B3C11E5E}"/>
          </ac:cxnSpMkLst>
        </pc:cxnChg>
        <pc:cxnChg chg="del">
          <ac:chgData name="Yudi Zhu" userId="571e1a55-055f-4c28-8b35-fca6dd1c1369" providerId="ADAL" clId="{75A88773-6EE1-484E-AADE-FE631E01463B}" dt="2025-11-25T09:27:39.036" v="655501"/>
          <ac:cxnSpMkLst>
            <pc:docMk/>
            <pc:sldMk cId="393517058" sldId="2147483098"/>
            <ac:cxnSpMk id="2027" creationId="{EDEC6A54-327B-6A29-4374-80B7580FFFF9}"/>
          </ac:cxnSpMkLst>
        </pc:cxnChg>
        <pc:cxnChg chg="del">
          <ac:chgData name="Yudi Zhu" userId="571e1a55-055f-4c28-8b35-fca6dd1c1369" providerId="ADAL" clId="{75A88773-6EE1-484E-AADE-FE631E01463B}" dt="2025-11-25T09:27:36.037" v="655398"/>
          <ac:cxnSpMkLst>
            <pc:docMk/>
            <pc:sldMk cId="393517058" sldId="2147483098"/>
            <ac:cxnSpMk id="2048" creationId="{977756EB-51BC-9FC9-0AE4-4BD27EE431BC}"/>
          </ac:cxnSpMkLst>
        </pc:cxnChg>
        <pc:cxnChg chg="del">
          <ac:chgData name="Yudi Zhu" userId="571e1a55-055f-4c28-8b35-fca6dd1c1369" providerId="ADAL" clId="{75A88773-6EE1-484E-AADE-FE631E01463B}" dt="2025-11-25T09:27:36.029" v="655375"/>
          <ac:cxnSpMkLst>
            <pc:docMk/>
            <pc:sldMk cId="393517058" sldId="2147483098"/>
            <ac:cxnSpMk id="2049" creationId="{A165F795-E25E-73C6-34EF-CDE2FFF090E5}"/>
          </ac:cxnSpMkLst>
        </pc:cxnChg>
        <pc:cxnChg chg="del">
          <ac:chgData name="Yudi Zhu" userId="571e1a55-055f-4c28-8b35-fca6dd1c1369" providerId="ADAL" clId="{75A88773-6EE1-484E-AADE-FE631E01463B}" dt="2025-11-25T09:27:36.021" v="655361"/>
          <ac:cxnSpMkLst>
            <pc:docMk/>
            <pc:sldMk cId="393517058" sldId="2147483098"/>
            <ac:cxnSpMk id="2050" creationId="{EDE25A69-B05D-15E3-7AA6-CD653F7DBFDD}"/>
          </ac:cxnSpMkLst>
        </pc:cxnChg>
        <pc:cxnChg chg="del">
          <ac:chgData name="Yudi Zhu" userId="571e1a55-055f-4c28-8b35-fca6dd1c1369" providerId="ADAL" clId="{75A88773-6EE1-484E-AADE-FE631E01463B}" dt="2025-11-25T09:27:36.012" v="655352"/>
          <ac:cxnSpMkLst>
            <pc:docMk/>
            <pc:sldMk cId="393517058" sldId="2147483098"/>
            <ac:cxnSpMk id="2051" creationId="{2E9608A4-AA98-2C22-9C43-2579A93B7E18}"/>
          </ac:cxnSpMkLst>
        </pc:cxnChg>
        <pc:cxnChg chg="del">
          <ac:chgData name="Yudi Zhu" userId="571e1a55-055f-4c28-8b35-fca6dd1c1369" providerId="ADAL" clId="{75A88773-6EE1-484E-AADE-FE631E01463B}" dt="2025-11-25T09:36:32.554" v="655732" actId="478"/>
          <ac:cxnSpMkLst>
            <pc:docMk/>
            <pc:sldMk cId="393517058" sldId="2147483098"/>
            <ac:cxnSpMk id="2074" creationId="{DC085743-D412-C3E0-BD8A-77CCC98E3B10}"/>
          </ac:cxnSpMkLst>
        </pc:cxnChg>
      </pc:sldChg>
      <pc:sldChg chg="modSp add mod">
        <pc:chgData name="Yudi Zhu" userId="571e1a55-055f-4c28-8b35-fca6dd1c1369" providerId="ADAL" clId="{75A88773-6EE1-484E-AADE-FE631E01463B}" dt="2025-11-26T06:35:54.408" v="765905" actId="113"/>
        <pc:sldMkLst>
          <pc:docMk/>
          <pc:sldMk cId="4139726134" sldId="2147483099"/>
        </pc:sldMkLst>
        <pc:spChg chg="mod">
          <ac:chgData name="Yudi Zhu" userId="571e1a55-055f-4c28-8b35-fca6dd1c1369" providerId="ADAL" clId="{75A88773-6EE1-484E-AADE-FE631E01463B}" dt="2025-11-25T09:59:54.392" v="656825" actId="948"/>
          <ac:spMkLst>
            <pc:docMk/>
            <pc:sldMk cId="4139726134" sldId="2147483099"/>
            <ac:spMk id="2" creationId="{953A163E-A834-9296-960A-A31304B8FE76}"/>
          </ac:spMkLst>
        </pc:spChg>
        <pc:graphicFrameChg chg="mod modGraphic">
          <ac:chgData name="Yudi Zhu" userId="571e1a55-055f-4c28-8b35-fca6dd1c1369" providerId="ADAL" clId="{75A88773-6EE1-484E-AADE-FE631E01463B}" dt="2025-11-26T06:35:43.602" v="765902" actId="2062"/>
          <ac:graphicFrameMkLst>
            <pc:docMk/>
            <pc:sldMk cId="4139726134" sldId="2147483099"/>
            <ac:graphicFrameMk id="6" creationId="{B3D0F3C1-99E0-2B9D-0D64-E7BF3F5AEDD3}"/>
          </ac:graphicFrameMkLst>
        </pc:graphicFrameChg>
        <pc:graphicFrameChg chg="mod modGraphic">
          <ac:chgData name="Yudi Zhu" userId="571e1a55-055f-4c28-8b35-fca6dd1c1369" providerId="ADAL" clId="{75A88773-6EE1-484E-AADE-FE631E01463B}" dt="2025-11-26T06:35:54.408" v="765905" actId="113"/>
          <ac:graphicFrameMkLst>
            <pc:docMk/>
            <pc:sldMk cId="4139726134" sldId="2147483099"/>
            <ac:graphicFrameMk id="8" creationId="{683939FB-F469-FCCA-AF43-73C38C9D7EC8}"/>
          </ac:graphicFrameMkLst>
        </pc:graphicFrameChg>
        <pc:graphicFrameChg chg="mod modGraphic">
          <ac:chgData name="Yudi Zhu" userId="571e1a55-055f-4c28-8b35-fca6dd1c1369" providerId="ADAL" clId="{75A88773-6EE1-484E-AADE-FE631E01463B}" dt="2025-11-26T06:35:28.473" v="765894" actId="2062"/>
          <ac:graphicFrameMkLst>
            <pc:docMk/>
            <pc:sldMk cId="4139726134" sldId="2147483099"/>
            <ac:graphicFrameMk id="9" creationId="{E6967249-8534-910D-5FE8-87656FCA0C3B}"/>
          </ac:graphicFrameMkLst>
        </pc:graphicFrameChg>
        <pc:graphicFrameChg chg="mod modGraphic">
          <ac:chgData name="Yudi Zhu" userId="571e1a55-055f-4c28-8b35-fca6dd1c1369" providerId="ADAL" clId="{75A88773-6EE1-484E-AADE-FE631E01463B}" dt="2025-11-26T06:35:37.650" v="765899" actId="113"/>
          <ac:graphicFrameMkLst>
            <pc:docMk/>
            <pc:sldMk cId="4139726134" sldId="2147483099"/>
            <ac:graphicFrameMk id="10" creationId="{03113804-7983-FAB8-A258-F81D3A6F33EC}"/>
          </ac:graphicFrameMkLst>
        </pc:graphicFrameChg>
        <pc:graphicFrameChg chg="mod">
          <ac:chgData name="Yudi Zhu" userId="571e1a55-055f-4c28-8b35-fca6dd1c1369" providerId="ADAL" clId="{75A88773-6EE1-484E-AADE-FE631E01463B}" dt="2025-11-25T09:59:54.397" v="656827"/>
          <ac:graphicFrameMkLst>
            <pc:docMk/>
            <pc:sldMk cId="4139726134" sldId="2147483099"/>
            <ac:graphicFrameMk id="11" creationId="{06D8B66D-C873-80E6-487B-D6B21C51228A}"/>
          </ac:graphicFrameMkLst>
        </pc:graphicFrameChg>
        <pc:graphicFrameChg chg="mod modGraphic">
          <ac:chgData name="Yudi Zhu" userId="571e1a55-055f-4c28-8b35-fca6dd1c1369" providerId="ADAL" clId="{75A88773-6EE1-484E-AADE-FE631E01463B}" dt="2025-11-26T06:33:32.356" v="765876" actId="2062"/>
          <ac:graphicFrameMkLst>
            <pc:docMk/>
            <pc:sldMk cId="4139726134" sldId="2147483099"/>
            <ac:graphicFrameMk id="16" creationId="{076A3CE7-ECAB-57C3-F7C3-046379072E9A}"/>
          </ac:graphicFrameMkLst>
        </pc:graphicFrameChg>
      </pc:sldChg>
      <pc:sldChg chg="addSp delSp modSp add mod">
        <pc:chgData name="Yudi Zhu" userId="571e1a55-055f-4c28-8b35-fca6dd1c1369" providerId="ADAL" clId="{75A88773-6EE1-484E-AADE-FE631E01463B}" dt="2025-11-26T07:06:20.325" v="765911" actId="20577"/>
        <pc:sldMkLst>
          <pc:docMk/>
          <pc:sldMk cId="2789639198" sldId="2147483100"/>
        </pc:sldMkLst>
        <pc:spChg chg="mod ord">
          <ac:chgData name="Yudi Zhu" userId="571e1a55-055f-4c28-8b35-fca6dd1c1369" providerId="ADAL" clId="{75A88773-6EE1-484E-AADE-FE631E01463B}" dt="2025-11-25T11:10:56.400" v="689618"/>
          <ac:spMkLst>
            <pc:docMk/>
            <pc:sldMk cId="2789639198" sldId="2147483100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5T10:39:57.967" v="659227"/>
          <ac:spMkLst>
            <pc:docMk/>
            <pc:sldMk cId="2789639198" sldId="2147483100"/>
            <ac:spMk id="4" creationId="{47290065-8045-9631-8080-7312653F9ADE}"/>
          </ac:spMkLst>
        </pc:spChg>
        <pc:spChg chg="add del mod modVis">
          <ac:chgData name="Yudi Zhu" userId="571e1a55-055f-4c28-8b35-fca6dd1c1369" providerId="ADAL" clId="{75A88773-6EE1-484E-AADE-FE631E01463B}" dt="2025-11-25T10:44:33.468" v="660063"/>
          <ac:spMkLst>
            <pc:docMk/>
            <pc:sldMk cId="2789639198" sldId="2147483100"/>
            <ac:spMk id="5" creationId="{59AB490D-41F2-C245-5783-6779299BE387}"/>
          </ac:spMkLst>
        </pc:spChg>
        <pc:spChg chg="add del mod modVis">
          <ac:chgData name="Yudi Zhu" userId="571e1a55-055f-4c28-8b35-fca6dd1c1369" providerId="ADAL" clId="{75A88773-6EE1-484E-AADE-FE631E01463B}" dt="2025-11-25T10:44:38.823" v="660593"/>
          <ac:spMkLst>
            <pc:docMk/>
            <pc:sldMk cId="2789639198" sldId="2147483100"/>
            <ac:spMk id="9" creationId="{5799CFED-7EF0-174B-EBA3-F269C6A0B772}"/>
          </ac:spMkLst>
        </pc:spChg>
        <pc:spChg chg="add del mod modVis">
          <ac:chgData name="Yudi Zhu" userId="571e1a55-055f-4c28-8b35-fca6dd1c1369" providerId="ADAL" clId="{75A88773-6EE1-484E-AADE-FE631E01463B}" dt="2025-11-25T10:45:15.291" v="661059"/>
          <ac:spMkLst>
            <pc:docMk/>
            <pc:sldMk cId="2789639198" sldId="2147483100"/>
            <ac:spMk id="12" creationId="{D4143A8A-6BED-CF6E-CAD0-F20612E84F45}"/>
          </ac:spMkLst>
        </pc:spChg>
        <pc:spChg chg="add mod ord">
          <ac:chgData name="Yudi Zhu" userId="571e1a55-055f-4c28-8b35-fca6dd1c1369" providerId="ADAL" clId="{75A88773-6EE1-484E-AADE-FE631E01463B}" dt="2025-11-25T11:10:56.500" v="689839"/>
          <ac:spMkLst>
            <pc:docMk/>
            <pc:sldMk cId="2789639198" sldId="2147483100"/>
            <ac:spMk id="14" creationId="{B702B1DF-E529-D82A-35BD-6A9E0836EE9F}"/>
          </ac:spMkLst>
        </pc:spChg>
        <pc:spChg chg="add mod ord">
          <ac:chgData name="Yudi Zhu" userId="571e1a55-055f-4c28-8b35-fca6dd1c1369" providerId="ADAL" clId="{75A88773-6EE1-484E-AADE-FE631E01463B}" dt="2025-11-25T11:10:56.500" v="689841"/>
          <ac:spMkLst>
            <pc:docMk/>
            <pc:sldMk cId="2789639198" sldId="2147483100"/>
            <ac:spMk id="15" creationId="{42959792-E04A-6B0F-B6BC-9F206065ED50}"/>
          </ac:spMkLst>
        </pc:spChg>
        <pc:spChg chg="add mod">
          <ac:chgData name="Yudi Zhu" userId="571e1a55-055f-4c28-8b35-fca6dd1c1369" providerId="ADAL" clId="{75A88773-6EE1-484E-AADE-FE631E01463B}" dt="2025-11-25T11:10:56.500" v="689836"/>
          <ac:spMkLst>
            <pc:docMk/>
            <pc:sldMk cId="2789639198" sldId="2147483100"/>
            <ac:spMk id="16" creationId="{7C669ACA-817F-FC53-3541-2E0A13B3674F}"/>
          </ac:spMkLst>
        </pc:spChg>
        <pc:spChg chg="add mod ord">
          <ac:chgData name="Yudi Zhu" userId="571e1a55-055f-4c28-8b35-fca6dd1c1369" providerId="ADAL" clId="{75A88773-6EE1-484E-AADE-FE631E01463B}" dt="2025-11-25T11:10:56.500" v="689843"/>
          <ac:spMkLst>
            <pc:docMk/>
            <pc:sldMk cId="2789639198" sldId="2147483100"/>
            <ac:spMk id="17" creationId="{B77C96C8-90BB-4C49-0EB5-69987803C7FF}"/>
          </ac:spMkLst>
        </pc:spChg>
        <pc:spChg chg="add mod ord">
          <ac:chgData name="Yudi Zhu" userId="571e1a55-055f-4c28-8b35-fca6dd1c1369" providerId="ADAL" clId="{75A88773-6EE1-484E-AADE-FE631E01463B}" dt="2025-11-25T11:10:56.500" v="689845"/>
          <ac:spMkLst>
            <pc:docMk/>
            <pc:sldMk cId="2789639198" sldId="2147483100"/>
            <ac:spMk id="18" creationId="{5340F8A0-1952-B86C-91CF-E491D03BE593}"/>
          </ac:spMkLst>
        </pc:spChg>
        <pc:spChg chg="add mod">
          <ac:chgData name="Yudi Zhu" userId="571e1a55-055f-4c28-8b35-fca6dd1c1369" providerId="ADAL" clId="{75A88773-6EE1-484E-AADE-FE631E01463B}" dt="2025-11-25T11:10:56.500" v="689837"/>
          <ac:spMkLst>
            <pc:docMk/>
            <pc:sldMk cId="2789639198" sldId="2147483100"/>
            <ac:spMk id="19" creationId="{B8F6EF38-6C80-97CC-16AE-8998FF13C1EE}"/>
          </ac:spMkLst>
        </pc:spChg>
        <pc:spChg chg="add del mod modVis">
          <ac:chgData name="Yudi Zhu" userId="571e1a55-055f-4c28-8b35-fca6dd1c1369" providerId="ADAL" clId="{75A88773-6EE1-484E-AADE-FE631E01463B}" dt="2025-11-25T10:51:26.272" v="661596"/>
          <ac:spMkLst>
            <pc:docMk/>
            <pc:sldMk cId="2789639198" sldId="2147483100"/>
            <ac:spMk id="20" creationId="{8E57A191-9C9A-ED0F-B23A-770042E339B0}"/>
          </ac:spMkLst>
        </pc:spChg>
        <pc:spChg chg="add del mod modVis">
          <ac:chgData name="Yudi Zhu" userId="571e1a55-055f-4c28-8b35-fca6dd1c1369" providerId="ADAL" clId="{75A88773-6EE1-484E-AADE-FE631E01463B}" dt="2025-11-25T10:51:48.142" v="661995"/>
          <ac:spMkLst>
            <pc:docMk/>
            <pc:sldMk cId="2789639198" sldId="2147483100"/>
            <ac:spMk id="22" creationId="{177542DA-EA21-7477-6004-3DAC71DC76C5}"/>
          </ac:spMkLst>
        </pc:spChg>
        <pc:spChg chg="add del mod modVis">
          <ac:chgData name="Yudi Zhu" userId="571e1a55-055f-4c28-8b35-fca6dd1c1369" providerId="ADAL" clId="{75A88773-6EE1-484E-AADE-FE631E01463B}" dt="2025-11-25T10:51:53.172" v="662394"/>
          <ac:spMkLst>
            <pc:docMk/>
            <pc:sldMk cId="2789639198" sldId="2147483100"/>
            <ac:spMk id="24" creationId="{445FE212-64F5-29D3-2517-E9E5CDF85D0C}"/>
          </ac:spMkLst>
        </pc:spChg>
        <pc:spChg chg="add del mod modVis">
          <ac:chgData name="Yudi Zhu" userId="571e1a55-055f-4c28-8b35-fca6dd1c1369" providerId="ADAL" clId="{75A88773-6EE1-484E-AADE-FE631E01463B}" dt="2025-11-25T10:52:46.338" v="663263"/>
          <ac:spMkLst>
            <pc:docMk/>
            <pc:sldMk cId="2789639198" sldId="2147483100"/>
            <ac:spMk id="26" creationId="{80BEF86F-524B-65F0-A6DE-4DC8FFC03B9A}"/>
          </ac:spMkLst>
        </pc:spChg>
        <pc:spChg chg="add del mod modVis">
          <ac:chgData name="Yudi Zhu" userId="571e1a55-055f-4c28-8b35-fca6dd1c1369" providerId="ADAL" clId="{75A88773-6EE1-484E-AADE-FE631E01463B}" dt="2025-11-25T10:52:54.357" v="663931"/>
          <ac:spMkLst>
            <pc:docMk/>
            <pc:sldMk cId="2789639198" sldId="2147483100"/>
            <ac:spMk id="33" creationId="{ACB62C41-66CA-7706-0E5F-C8671CAC1E60}"/>
          </ac:spMkLst>
        </pc:spChg>
        <pc:spChg chg="add del mod modVis">
          <ac:chgData name="Yudi Zhu" userId="571e1a55-055f-4c28-8b35-fca6dd1c1369" providerId="ADAL" clId="{75A88773-6EE1-484E-AADE-FE631E01463B}" dt="2025-11-25T10:53:05.787" v="664746"/>
          <ac:spMkLst>
            <pc:docMk/>
            <pc:sldMk cId="2789639198" sldId="2147483100"/>
            <ac:spMk id="36" creationId="{82ED74E2-6C28-DED8-DE2B-9FED1E6D52D5}"/>
          </ac:spMkLst>
        </pc:spChg>
        <pc:spChg chg="add del mod modVis">
          <ac:chgData name="Yudi Zhu" userId="571e1a55-055f-4c28-8b35-fca6dd1c1369" providerId="ADAL" clId="{75A88773-6EE1-484E-AADE-FE631E01463B}" dt="2025-11-25T10:53:13.820" v="665475"/>
          <ac:spMkLst>
            <pc:docMk/>
            <pc:sldMk cId="2789639198" sldId="2147483100"/>
            <ac:spMk id="43" creationId="{559B1518-C42E-AE6D-1FBA-CD01B147F8B8}"/>
          </ac:spMkLst>
        </pc:spChg>
        <pc:spChg chg="add mod ord">
          <ac:chgData name="Yudi Zhu" userId="571e1a55-055f-4c28-8b35-fca6dd1c1369" providerId="ADAL" clId="{75A88773-6EE1-484E-AADE-FE631E01463B}" dt="2025-11-25T11:10:56.411" v="689642"/>
          <ac:spMkLst>
            <pc:docMk/>
            <pc:sldMk cId="2789639198" sldId="2147483100"/>
            <ac:spMk id="45" creationId="{9F0ECFA6-321D-B5B4-CE94-AEFEE94E6126}"/>
          </ac:spMkLst>
        </pc:spChg>
        <pc:spChg chg="mod ord">
          <ac:chgData name="Yudi Zhu" userId="571e1a55-055f-4c28-8b35-fca6dd1c1369" providerId="ADAL" clId="{75A88773-6EE1-484E-AADE-FE631E01463B}" dt="2025-11-25T11:10:56.469" v="689789"/>
          <ac:spMkLst>
            <pc:docMk/>
            <pc:sldMk cId="2789639198" sldId="2147483100"/>
            <ac:spMk id="50" creationId="{02F6331E-5D73-6E69-0D56-C4DE5D68572C}"/>
          </ac:spMkLst>
        </pc:spChg>
        <pc:spChg chg="mod ord">
          <ac:chgData name="Yudi Zhu" userId="571e1a55-055f-4c28-8b35-fca6dd1c1369" providerId="ADAL" clId="{75A88773-6EE1-484E-AADE-FE631E01463B}" dt="2025-11-25T11:10:56.469" v="689796"/>
          <ac:spMkLst>
            <pc:docMk/>
            <pc:sldMk cId="2789639198" sldId="2147483100"/>
            <ac:spMk id="51" creationId="{9C0C7DC5-9B73-37CA-1B50-CC7A6362A4E2}"/>
          </ac:spMkLst>
        </pc:spChg>
        <pc:spChg chg="mod ord">
          <ac:chgData name="Yudi Zhu" userId="571e1a55-055f-4c28-8b35-fca6dd1c1369" providerId="ADAL" clId="{75A88773-6EE1-484E-AADE-FE631E01463B}" dt="2025-11-25T11:10:56.469" v="689800"/>
          <ac:spMkLst>
            <pc:docMk/>
            <pc:sldMk cId="2789639198" sldId="2147483100"/>
            <ac:spMk id="52" creationId="{0D711176-2CAE-6464-7127-84B92BFA5A0A}"/>
          </ac:spMkLst>
        </pc:spChg>
        <pc:spChg chg="mod ord">
          <ac:chgData name="Yudi Zhu" userId="571e1a55-055f-4c28-8b35-fca6dd1c1369" providerId="ADAL" clId="{75A88773-6EE1-484E-AADE-FE631E01463B}" dt="2025-11-25T11:10:56.484" v="689804"/>
          <ac:spMkLst>
            <pc:docMk/>
            <pc:sldMk cId="2789639198" sldId="2147483100"/>
            <ac:spMk id="53" creationId="{D416A439-F437-CB7D-5D8F-C9C806308A88}"/>
          </ac:spMkLst>
        </pc:spChg>
        <pc:spChg chg="mod ord">
          <ac:chgData name="Yudi Zhu" userId="571e1a55-055f-4c28-8b35-fca6dd1c1369" providerId="ADAL" clId="{75A88773-6EE1-484E-AADE-FE631E01463B}" dt="2025-11-25T11:10:56.484" v="689811"/>
          <ac:spMkLst>
            <pc:docMk/>
            <pc:sldMk cId="2789639198" sldId="2147483100"/>
            <ac:spMk id="54" creationId="{77D4B05C-BCC1-6709-C059-13F84D9F7770}"/>
          </ac:spMkLst>
        </pc:spChg>
        <pc:spChg chg="mod ord">
          <ac:chgData name="Yudi Zhu" userId="571e1a55-055f-4c28-8b35-fca6dd1c1369" providerId="ADAL" clId="{75A88773-6EE1-484E-AADE-FE631E01463B}" dt="2025-11-25T11:10:56.484" v="689806"/>
          <ac:spMkLst>
            <pc:docMk/>
            <pc:sldMk cId="2789639198" sldId="2147483100"/>
            <ac:spMk id="55" creationId="{7EDBB2B4-EF67-25C3-C8B0-FB513D9A3CD3}"/>
          </ac:spMkLst>
        </pc:spChg>
        <pc:spChg chg="mod ord">
          <ac:chgData name="Yudi Zhu" userId="571e1a55-055f-4c28-8b35-fca6dd1c1369" providerId="ADAL" clId="{75A88773-6EE1-484E-AADE-FE631E01463B}" dt="2025-11-25T11:10:56.469" v="689787"/>
          <ac:spMkLst>
            <pc:docMk/>
            <pc:sldMk cId="2789639198" sldId="2147483100"/>
            <ac:spMk id="56" creationId="{D0AD0539-7B6F-111C-ED13-D1B443ABA2B3}"/>
          </ac:spMkLst>
        </pc:spChg>
        <pc:spChg chg="mod">
          <ac:chgData name="Yudi Zhu" userId="571e1a55-055f-4c28-8b35-fca6dd1c1369" providerId="ADAL" clId="{75A88773-6EE1-484E-AADE-FE631E01463B}" dt="2025-11-25T11:10:56.438" v="689695"/>
          <ac:spMkLst>
            <pc:docMk/>
            <pc:sldMk cId="2789639198" sldId="2147483100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5T11:10:56.439" v="689696"/>
          <ac:spMkLst>
            <pc:docMk/>
            <pc:sldMk cId="2789639198" sldId="2147483100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5T11:10:56.439" v="689697"/>
          <ac:spMkLst>
            <pc:docMk/>
            <pc:sldMk cId="2789639198" sldId="2147483100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5T11:10:56.439" v="689698"/>
          <ac:spMkLst>
            <pc:docMk/>
            <pc:sldMk cId="2789639198" sldId="2147483100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5T11:10:56.439" v="689699"/>
          <ac:spMkLst>
            <pc:docMk/>
            <pc:sldMk cId="2789639198" sldId="2147483100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5T11:10:56.439" v="689700"/>
          <ac:spMkLst>
            <pc:docMk/>
            <pc:sldMk cId="2789639198" sldId="2147483100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5T11:10:56.439" v="689701"/>
          <ac:spMkLst>
            <pc:docMk/>
            <pc:sldMk cId="2789639198" sldId="2147483100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5T11:10:56.439" v="689702"/>
          <ac:spMkLst>
            <pc:docMk/>
            <pc:sldMk cId="2789639198" sldId="2147483100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5T11:10:56.439" v="689703"/>
          <ac:spMkLst>
            <pc:docMk/>
            <pc:sldMk cId="2789639198" sldId="2147483100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5T11:10:56.439" v="689704"/>
          <ac:spMkLst>
            <pc:docMk/>
            <pc:sldMk cId="2789639198" sldId="2147483100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5T11:10:56.439" v="689705"/>
          <ac:spMkLst>
            <pc:docMk/>
            <pc:sldMk cId="2789639198" sldId="2147483100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5T11:10:56.439" v="689706"/>
          <ac:spMkLst>
            <pc:docMk/>
            <pc:sldMk cId="2789639198" sldId="2147483100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5T11:10:56.439" v="689707"/>
          <ac:spMkLst>
            <pc:docMk/>
            <pc:sldMk cId="2789639198" sldId="2147483100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5T11:10:56.439" v="689708"/>
          <ac:spMkLst>
            <pc:docMk/>
            <pc:sldMk cId="2789639198" sldId="2147483100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5T11:10:56.439" v="689709"/>
          <ac:spMkLst>
            <pc:docMk/>
            <pc:sldMk cId="2789639198" sldId="2147483100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5T11:10:56.439" v="689710"/>
          <ac:spMkLst>
            <pc:docMk/>
            <pc:sldMk cId="2789639198" sldId="2147483100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5T11:10:56.439" v="689711"/>
          <ac:spMkLst>
            <pc:docMk/>
            <pc:sldMk cId="2789639198" sldId="2147483100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5T11:10:56.439" v="689712"/>
          <ac:spMkLst>
            <pc:docMk/>
            <pc:sldMk cId="2789639198" sldId="2147483100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5T11:10:56.439" v="689713"/>
          <ac:spMkLst>
            <pc:docMk/>
            <pc:sldMk cId="2789639198" sldId="2147483100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5T11:10:56.439" v="689714"/>
          <ac:spMkLst>
            <pc:docMk/>
            <pc:sldMk cId="2789639198" sldId="2147483100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5T11:10:56.439" v="689715"/>
          <ac:spMkLst>
            <pc:docMk/>
            <pc:sldMk cId="2789639198" sldId="2147483100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5T11:10:56.439" v="689719"/>
          <ac:spMkLst>
            <pc:docMk/>
            <pc:sldMk cId="2789639198" sldId="2147483100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5T11:10:56.439" v="689716"/>
          <ac:spMkLst>
            <pc:docMk/>
            <pc:sldMk cId="2789639198" sldId="2147483100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5T11:10:56.439" v="689717"/>
          <ac:spMkLst>
            <pc:docMk/>
            <pc:sldMk cId="2789639198" sldId="2147483100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5T11:10:56.439" v="689718"/>
          <ac:spMkLst>
            <pc:docMk/>
            <pc:sldMk cId="2789639198" sldId="2147483100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5T11:10:56.453" v="689721"/>
          <ac:spMkLst>
            <pc:docMk/>
            <pc:sldMk cId="2789639198" sldId="2147483100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5T11:10:56.453" v="689722"/>
          <ac:spMkLst>
            <pc:docMk/>
            <pc:sldMk cId="2789639198" sldId="2147483100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5T11:10:56.422" v="689692"/>
          <ac:spMkLst>
            <pc:docMk/>
            <pc:sldMk cId="2789639198" sldId="2147483100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5T11:10:56.422" v="689693"/>
          <ac:spMkLst>
            <pc:docMk/>
            <pc:sldMk cId="2789639198" sldId="2147483100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5T11:10:56.422" v="689694"/>
          <ac:spMkLst>
            <pc:docMk/>
            <pc:sldMk cId="2789639198" sldId="2147483100"/>
            <ac:spMk id="347" creationId="{90303146-CD91-5A62-9BB6-085A9E75310C}"/>
          </ac:spMkLst>
        </pc:spChg>
        <pc:spChg chg="mod ord">
          <ac:chgData name="Yudi Zhu" userId="571e1a55-055f-4c28-8b35-fca6dd1c1369" providerId="ADAL" clId="{75A88773-6EE1-484E-AADE-FE631E01463B}" dt="2025-11-25T11:10:56.453" v="689724"/>
          <ac:spMkLst>
            <pc:docMk/>
            <pc:sldMk cId="2789639198" sldId="2147483100"/>
            <ac:spMk id="350" creationId="{29244B0B-E2EE-A2BC-96A2-0D5A3B3BD02C}"/>
          </ac:spMkLst>
        </pc:spChg>
        <pc:spChg chg="mod ord">
          <ac:chgData name="Yudi Zhu" userId="571e1a55-055f-4c28-8b35-fca6dd1c1369" providerId="ADAL" clId="{75A88773-6EE1-484E-AADE-FE631E01463B}" dt="2025-11-25T11:10:56.453" v="689726"/>
          <ac:spMkLst>
            <pc:docMk/>
            <pc:sldMk cId="2789639198" sldId="2147483100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5T11:10:56.453" v="689729"/>
          <ac:spMkLst>
            <pc:docMk/>
            <pc:sldMk cId="2789639198" sldId="2147483100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5T11:10:56.453" v="689730"/>
          <ac:spMkLst>
            <pc:docMk/>
            <pc:sldMk cId="2789639198" sldId="2147483100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5T11:10:56.453" v="689731"/>
          <ac:spMkLst>
            <pc:docMk/>
            <pc:sldMk cId="2789639198" sldId="2147483100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5T11:10:56.453" v="689736"/>
          <ac:spMkLst>
            <pc:docMk/>
            <pc:sldMk cId="2789639198" sldId="2147483100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5T11:10:56.453" v="689737"/>
          <ac:spMkLst>
            <pc:docMk/>
            <pc:sldMk cId="2789639198" sldId="2147483100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5T11:10:56.453" v="689733"/>
          <ac:spMkLst>
            <pc:docMk/>
            <pc:sldMk cId="2789639198" sldId="2147483100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5T11:10:56.453" v="689735"/>
          <ac:spMkLst>
            <pc:docMk/>
            <pc:sldMk cId="2789639198" sldId="2147483100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5T11:10:56.500" v="689856"/>
          <ac:spMkLst>
            <pc:docMk/>
            <pc:sldMk cId="2789639198" sldId="2147483100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5T11:10:56.500" v="689858"/>
          <ac:spMkLst>
            <pc:docMk/>
            <pc:sldMk cId="2789639198" sldId="2147483100"/>
            <ac:spMk id="1003" creationId="{383A4D55-87AC-E7AD-D775-159B8AA91BD4}"/>
          </ac:spMkLst>
        </pc:spChg>
        <pc:spChg chg="mod">
          <ac:chgData name="Yudi Zhu" userId="571e1a55-055f-4c28-8b35-fca6dd1c1369" providerId="ADAL" clId="{75A88773-6EE1-484E-AADE-FE631E01463B}" dt="2025-11-25T11:10:56.500" v="689855"/>
          <ac:spMkLst>
            <pc:docMk/>
            <pc:sldMk cId="2789639198" sldId="2147483100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5T11:10:56.500" v="689857"/>
          <ac:spMkLst>
            <pc:docMk/>
            <pc:sldMk cId="2789639198" sldId="2147483100"/>
            <ac:spMk id="1166" creationId="{C21E8AFD-DF88-3440-816B-93B8FDB6B328}"/>
          </ac:spMkLst>
        </pc:spChg>
        <pc:spChg chg="mod">
          <ac:chgData name="Yudi Zhu" userId="571e1a55-055f-4c28-8b35-fca6dd1c1369" providerId="ADAL" clId="{75A88773-6EE1-484E-AADE-FE631E01463B}" dt="2025-11-25T11:10:56.417" v="689655"/>
          <ac:spMkLst>
            <pc:docMk/>
            <pc:sldMk cId="2789639198" sldId="2147483100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5T11:10:56.420" v="689661"/>
          <ac:spMkLst>
            <pc:docMk/>
            <pc:sldMk cId="2789639198" sldId="2147483100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5T11:10:56.421" v="689662"/>
          <ac:spMkLst>
            <pc:docMk/>
            <pc:sldMk cId="2789639198" sldId="2147483100"/>
            <ac:spMk id="1196" creationId="{C596882D-6FC7-950A-AE47-E000121672A5}"/>
          </ac:spMkLst>
        </pc:spChg>
        <pc:spChg chg="mod ord">
          <ac:chgData name="Yudi Zhu" userId="571e1a55-055f-4c28-8b35-fca6dd1c1369" providerId="ADAL" clId="{75A88773-6EE1-484E-AADE-FE631E01463B}" dt="2025-11-25T11:10:56.421" v="689663"/>
          <ac:spMkLst>
            <pc:docMk/>
            <pc:sldMk cId="2789639198" sldId="2147483100"/>
            <ac:spMk id="1197" creationId="{4420D0BB-BF1F-19EC-B0A4-93BCE704F5E8}"/>
          </ac:spMkLst>
        </pc:spChg>
        <pc:spChg chg="mod ord">
          <ac:chgData name="Yudi Zhu" userId="571e1a55-055f-4c28-8b35-fca6dd1c1369" providerId="ADAL" clId="{75A88773-6EE1-484E-AADE-FE631E01463B}" dt="2025-11-25T11:10:56.422" v="689664"/>
          <ac:spMkLst>
            <pc:docMk/>
            <pc:sldMk cId="2789639198" sldId="2147483100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5T11:10:56.422" v="689666"/>
          <ac:spMkLst>
            <pc:docMk/>
            <pc:sldMk cId="2789639198" sldId="2147483100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5T11:10:56.422" v="689667"/>
          <ac:spMkLst>
            <pc:docMk/>
            <pc:sldMk cId="2789639198" sldId="2147483100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5T11:10:56.422" v="689669"/>
          <ac:spMkLst>
            <pc:docMk/>
            <pc:sldMk cId="2789639198" sldId="2147483100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5T11:10:56.422" v="689671"/>
          <ac:spMkLst>
            <pc:docMk/>
            <pc:sldMk cId="2789639198" sldId="2147483100"/>
            <ac:spMk id="1202" creationId="{CC4C1301-FFB5-6432-C501-1D8A5373A0DE}"/>
          </ac:spMkLst>
        </pc:spChg>
        <pc:spChg chg="mod">
          <ac:chgData name="Yudi Zhu" userId="571e1a55-055f-4c28-8b35-fca6dd1c1369" providerId="ADAL" clId="{75A88773-6EE1-484E-AADE-FE631E01463B}" dt="2025-11-25T11:10:56.422" v="689672"/>
          <ac:spMkLst>
            <pc:docMk/>
            <pc:sldMk cId="2789639198" sldId="2147483100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5T11:10:56.422" v="689674"/>
          <ac:spMkLst>
            <pc:docMk/>
            <pc:sldMk cId="2789639198" sldId="2147483100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5T11:10:56.422" v="689676"/>
          <ac:spMkLst>
            <pc:docMk/>
            <pc:sldMk cId="2789639198" sldId="2147483100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5T11:10:56.422" v="689677"/>
          <ac:spMkLst>
            <pc:docMk/>
            <pc:sldMk cId="2789639198" sldId="2147483100"/>
            <ac:spMk id="1206" creationId="{F964BC34-C9C5-D8CF-21E7-DC1A68C87E8B}"/>
          </ac:spMkLst>
        </pc:spChg>
        <pc:spChg chg="mod">
          <ac:chgData name="Yudi Zhu" userId="571e1a55-055f-4c28-8b35-fca6dd1c1369" providerId="ADAL" clId="{75A88773-6EE1-484E-AADE-FE631E01463B}" dt="2025-11-25T11:10:56.422" v="689678"/>
          <ac:spMkLst>
            <pc:docMk/>
            <pc:sldMk cId="2789639198" sldId="2147483100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5T11:10:56.422" v="689680"/>
          <ac:spMkLst>
            <pc:docMk/>
            <pc:sldMk cId="2789639198" sldId="2147483100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5T11:10:56.422" v="689682"/>
          <ac:spMkLst>
            <pc:docMk/>
            <pc:sldMk cId="2789639198" sldId="2147483100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5T11:10:56.422" v="689684"/>
          <ac:spMkLst>
            <pc:docMk/>
            <pc:sldMk cId="2789639198" sldId="2147483100"/>
            <ac:spMk id="1210" creationId="{1EBFC0FC-B017-5C41-EEC2-FC925CF6E4D7}"/>
          </ac:spMkLst>
        </pc:spChg>
        <pc:spChg chg="mod">
          <ac:chgData name="Yudi Zhu" userId="571e1a55-055f-4c28-8b35-fca6dd1c1369" providerId="ADAL" clId="{75A88773-6EE1-484E-AADE-FE631E01463B}" dt="2025-11-25T11:10:56.415" v="689652"/>
          <ac:spMkLst>
            <pc:docMk/>
            <pc:sldMk cId="2789639198" sldId="2147483100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5T11:10:56.416" v="689653"/>
          <ac:spMkLst>
            <pc:docMk/>
            <pc:sldMk cId="2789639198" sldId="2147483100"/>
            <ac:spMk id="1212" creationId="{25E61F6C-7940-2C7A-BB7D-7ED850FA6A75}"/>
          </ac:spMkLst>
        </pc:spChg>
        <pc:spChg chg="mod">
          <ac:chgData name="Yudi Zhu" userId="571e1a55-055f-4c28-8b35-fca6dd1c1369" providerId="ADAL" clId="{75A88773-6EE1-484E-AADE-FE631E01463B}" dt="2025-11-25T11:10:56.417" v="689654"/>
          <ac:spMkLst>
            <pc:docMk/>
            <pc:sldMk cId="2789639198" sldId="2147483100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5T11:10:56.422" v="689686"/>
          <ac:spMkLst>
            <pc:docMk/>
            <pc:sldMk cId="2789639198" sldId="2147483100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5T11:10:56.418" v="689657"/>
          <ac:spMkLst>
            <pc:docMk/>
            <pc:sldMk cId="2789639198" sldId="2147483100"/>
            <ac:spMk id="1215" creationId="{0959939C-0A28-522F-5D60-C7E1780901F6}"/>
          </ac:spMkLst>
        </pc:spChg>
        <pc:spChg chg="mod ord">
          <ac:chgData name="Yudi Zhu" userId="571e1a55-055f-4c28-8b35-fca6dd1c1369" providerId="ADAL" clId="{75A88773-6EE1-484E-AADE-FE631E01463B}" dt="2025-11-25T11:10:56.419" v="689659"/>
          <ac:spMkLst>
            <pc:docMk/>
            <pc:sldMk cId="2789639198" sldId="2147483100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5T11:10:56.484" v="689820"/>
          <ac:spMkLst>
            <pc:docMk/>
            <pc:sldMk cId="2789639198" sldId="2147483100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5T11:10:56.484" v="689821"/>
          <ac:spMkLst>
            <pc:docMk/>
            <pc:sldMk cId="2789639198" sldId="2147483100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5T11:10:56.484" v="689822"/>
          <ac:spMkLst>
            <pc:docMk/>
            <pc:sldMk cId="2789639198" sldId="2147483100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5T11:10:56.469" v="689784"/>
          <ac:spMkLst>
            <pc:docMk/>
            <pc:sldMk cId="2789639198" sldId="2147483100"/>
            <ac:spMk id="1442" creationId="{00445C12-10C4-A371-D4EA-BD360FAE32DA}"/>
          </ac:spMkLst>
        </pc:spChg>
        <pc:spChg chg="mod">
          <ac:chgData name="Yudi Zhu" userId="571e1a55-055f-4c28-8b35-fca6dd1c1369" providerId="ADAL" clId="{75A88773-6EE1-484E-AADE-FE631E01463B}" dt="2025-11-25T11:10:56.500" v="689854"/>
          <ac:spMkLst>
            <pc:docMk/>
            <pc:sldMk cId="2789639198" sldId="2147483100"/>
            <ac:spMk id="1446" creationId="{64AF7A77-327B-D09F-2ABB-1BA14094EC19}"/>
          </ac:spMkLst>
        </pc:spChg>
        <pc:spChg chg="mod ord">
          <ac:chgData name="Yudi Zhu" userId="571e1a55-055f-4c28-8b35-fca6dd1c1369" providerId="ADAL" clId="{75A88773-6EE1-484E-AADE-FE631E01463B}" dt="2025-11-25T11:10:56.469" v="689791"/>
          <ac:spMkLst>
            <pc:docMk/>
            <pc:sldMk cId="2789639198" sldId="2147483100"/>
            <ac:spMk id="1449" creationId="{300E10D2-719E-3D82-5CBF-5A612C09A088}"/>
          </ac:spMkLst>
        </pc:spChg>
        <pc:spChg chg="mod">
          <ac:chgData name="Yudi Zhu" userId="571e1a55-055f-4c28-8b35-fca6dd1c1369" providerId="ADAL" clId="{75A88773-6EE1-484E-AADE-FE631E01463B}" dt="2025-11-25T11:10:56.516" v="689861"/>
          <ac:spMkLst>
            <pc:docMk/>
            <pc:sldMk cId="2789639198" sldId="2147483100"/>
            <ac:spMk id="1452" creationId="{62BA64F5-B2CE-CEB8-BB9B-25B44F9A2E19}"/>
          </ac:spMkLst>
        </pc:spChg>
        <pc:spChg chg="mod ord">
          <ac:chgData name="Yudi Zhu" userId="571e1a55-055f-4c28-8b35-fca6dd1c1369" providerId="ADAL" clId="{75A88773-6EE1-484E-AADE-FE631E01463B}" dt="2025-11-25T11:10:56.484" v="689808"/>
          <ac:spMkLst>
            <pc:docMk/>
            <pc:sldMk cId="2789639198" sldId="2147483100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5T11:10:56.418" v="689658"/>
          <ac:spMkLst>
            <pc:docMk/>
            <pc:sldMk cId="2789639198" sldId="2147483100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5T11:10:56.398" v="689616"/>
          <ac:spMkLst>
            <pc:docMk/>
            <pc:sldMk cId="2789639198" sldId="2147483100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5T11:10:56.500" v="689853"/>
          <ac:spMkLst>
            <pc:docMk/>
            <pc:sldMk cId="2789639198" sldId="2147483100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5T11:10:56.500" v="689860"/>
          <ac:spMkLst>
            <pc:docMk/>
            <pc:sldMk cId="2789639198" sldId="2147483100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5T11:10:56.516" v="689863"/>
          <ac:spMkLst>
            <pc:docMk/>
            <pc:sldMk cId="2789639198" sldId="2147483100"/>
            <ac:spMk id="1630" creationId="{E05CDD48-0DEC-9132-BDFB-46D714F23D3B}"/>
          </ac:spMkLst>
        </pc:spChg>
        <pc:spChg chg="mod">
          <ac:chgData name="Yudi Zhu" userId="571e1a55-055f-4c28-8b35-fca6dd1c1369" providerId="ADAL" clId="{75A88773-6EE1-484E-AADE-FE631E01463B}" dt="2025-11-25T11:10:56.469" v="689792"/>
          <ac:spMkLst>
            <pc:docMk/>
            <pc:sldMk cId="2789639198" sldId="2147483100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5T11:10:56.484" v="689812"/>
          <ac:spMkLst>
            <pc:docMk/>
            <pc:sldMk cId="2789639198" sldId="2147483100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5T11:10:56.469" v="689794"/>
          <ac:spMkLst>
            <pc:docMk/>
            <pc:sldMk cId="2789639198" sldId="2147483100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5T11:10:56.469" v="689797"/>
          <ac:spMkLst>
            <pc:docMk/>
            <pc:sldMk cId="2789639198" sldId="2147483100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5T11:10:56.469" v="689798"/>
          <ac:spMkLst>
            <pc:docMk/>
            <pc:sldMk cId="2789639198" sldId="2147483100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5T11:10:56.484" v="689801"/>
          <ac:spMkLst>
            <pc:docMk/>
            <pc:sldMk cId="2789639198" sldId="2147483100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5T11:10:56.484" v="689809"/>
          <ac:spMkLst>
            <pc:docMk/>
            <pc:sldMk cId="2789639198" sldId="2147483100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5T11:10:56.469" v="689785"/>
          <ac:spMkLst>
            <pc:docMk/>
            <pc:sldMk cId="2789639198" sldId="2147483100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5T11:10:56.469" v="689793"/>
          <ac:spMkLst>
            <pc:docMk/>
            <pc:sldMk cId="2789639198" sldId="2147483100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5T11:10:56.484" v="689813"/>
          <ac:spMkLst>
            <pc:docMk/>
            <pc:sldMk cId="2789639198" sldId="2147483100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5T11:10:56.484" v="689802"/>
          <ac:spMkLst>
            <pc:docMk/>
            <pc:sldMk cId="2789639198" sldId="2147483100"/>
            <ac:spMk id="1691" creationId="{C50F3DAA-EFE1-8572-5206-F1A4416A7C6F}"/>
          </ac:spMkLst>
        </pc:spChg>
        <pc:spChg chg="mod ord">
          <ac:chgData name="Yudi Zhu" userId="571e1a55-055f-4c28-8b35-fca6dd1c1369" providerId="ADAL" clId="{75A88773-6EE1-484E-AADE-FE631E01463B}" dt="2025-11-25T11:10:56.522" v="689871"/>
          <ac:spMkLst>
            <pc:docMk/>
            <pc:sldMk cId="2789639198" sldId="2147483100"/>
            <ac:spMk id="1820" creationId="{B6D15CE4-D8E1-C9EE-1076-53DEEB71111D}"/>
          </ac:spMkLst>
        </pc:spChg>
        <pc:spChg chg="mod">
          <ac:chgData name="Yudi Zhu" userId="571e1a55-055f-4c28-8b35-fca6dd1c1369" providerId="ADAL" clId="{75A88773-6EE1-484E-AADE-FE631E01463B}" dt="2025-11-25T11:10:56.527" v="689874"/>
          <ac:spMkLst>
            <pc:docMk/>
            <pc:sldMk cId="2789639198" sldId="2147483100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5T11:10:56.527" v="689877"/>
          <ac:spMkLst>
            <pc:docMk/>
            <pc:sldMk cId="2789639198" sldId="2147483100"/>
            <ac:spMk id="1854" creationId="{4E1BFB1E-6485-A062-B5BB-5B285C6BD15C}"/>
          </ac:spMkLst>
        </pc:spChg>
        <pc:spChg chg="add del mod modVis">
          <ac:chgData name="Yudi Zhu" userId="571e1a55-055f-4c28-8b35-fca6dd1c1369" providerId="ADAL" clId="{75A88773-6EE1-484E-AADE-FE631E01463B}" dt="2025-11-25T10:54:08.279" v="665864"/>
          <ac:spMkLst>
            <pc:docMk/>
            <pc:sldMk cId="2789639198" sldId="2147483100"/>
            <ac:spMk id="1862" creationId="{FD37E643-A43E-7575-8B53-05994A38E676}"/>
          </ac:spMkLst>
        </pc:spChg>
        <pc:spChg chg="add del mod modVis">
          <ac:chgData name="Yudi Zhu" userId="571e1a55-055f-4c28-8b35-fca6dd1c1369" providerId="ADAL" clId="{75A88773-6EE1-484E-AADE-FE631E01463B}" dt="2025-11-25T10:54:11.280" v="666207"/>
          <ac:spMkLst>
            <pc:docMk/>
            <pc:sldMk cId="2789639198" sldId="2147483100"/>
            <ac:spMk id="1864" creationId="{67967D95-E30A-FCD5-BDCE-B1AB28CB5ADF}"/>
          </ac:spMkLst>
        </pc:spChg>
        <pc:spChg chg="add del mod modVis">
          <ac:chgData name="Yudi Zhu" userId="571e1a55-055f-4c28-8b35-fca6dd1c1369" providerId="ADAL" clId="{75A88773-6EE1-484E-AADE-FE631E01463B}" dt="2025-11-25T10:54:15.951" v="666542"/>
          <ac:spMkLst>
            <pc:docMk/>
            <pc:sldMk cId="2789639198" sldId="2147483100"/>
            <ac:spMk id="1866" creationId="{760502BF-4D36-37CB-33EB-84D970928FEA}"/>
          </ac:spMkLst>
        </pc:spChg>
        <pc:spChg chg="add del mod modVis">
          <ac:chgData name="Yudi Zhu" userId="571e1a55-055f-4c28-8b35-fca6dd1c1369" providerId="ADAL" clId="{75A88773-6EE1-484E-AADE-FE631E01463B}" dt="2025-11-25T10:54:50.691" v="667963"/>
          <ac:spMkLst>
            <pc:docMk/>
            <pc:sldMk cId="2789639198" sldId="2147483100"/>
            <ac:spMk id="1870" creationId="{F5442E60-6682-79FE-0763-F6E968C21175}"/>
          </ac:spMkLst>
        </pc:spChg>
        <pc:spChg chg="add del mod modVis">
          <ac:chgData name="Yudi Zhu" userId="571e1a55-055f-4c28-8b35-fca6dd1c1369" providerId="ADAL" clId="{75A88773-6EE1-484E-AADE-FE631E01463B}" dt="2025-11-25T10:57:06.385" v="668336"/>
          <ac:spMkLst>
            <pc:docMk/>
            <pc:sldMk cId="2789639198" sldId="2147483100"/>
            <ac:spMk id="1873" creationId="{C5EF084D-91C6-4883-B620-A8AA1F50EF5B}"/>
          </ac:spMkLst>
        </pc:spChg>
        <pc:spChg chg="mod">
          <ac:chgData name="Yudi Zhu" userId="571e1a55-055f-4c28-8b35-fca6dd1c1369" providerId="ADAL" clId="{75A88773-6EE1-484E-AADE-FE631E01463B}" dt="2025-11-25T11:10:56.526" v="689873"/>
          <ac:spMkLst>
            <pc:docMk/>
            <pc:sldMk cId="2789639198" sldId="2147483100"/>
            <ac:spMk id="2006" creationId="{3CC98E16-FB2E-495D-ADCF-FFF663C2DC9B}"/>
          </ac:spMkLst>
        </pc:spChg>
        <pc:spChg chg="mod">
          <ac:chgData name="Yudi Zhu" userId="571e1a55-055f-4c28-8b35-fca6dd1c1369" providerId="ADAL" clId="{75A88773-6EE1-484E-AADE-FE631E01463B}" dt="2025-11-25T11:10:56.527" v="689875"/>
          <ac:spMkLst>
            <pc:docMk/>
            <pc:sldMk cId="2789639198" sldId="2147483100"/>
            <ac:spMk id="2008" creationId="{7BD5FE52-3C31-692C-0431-58206417CADC}"/>
          </ac:spMkLst>
        </pc:spChg>
        <pc:spChg chg="mod">
          <ac:chgData name="Yudi Zhu" userId="571e1a55-055f-4c28-8b35-fca6dd1c1369" providerId="ADAL" clId="{75A88773-6EE1-484E-AADE-FE631E01463B}" dt="2025-11-25T11:10:56.527" v="689878"/>
          <ac:spMkLst>
            <pc:docMk/>
            <pc:sldMk cId="2789639198" sldId="2147483100"/>
            <ac:spMk id="2009" creationId="{7217B9F1-0A58-5B0F-2E64-A84646CA65AE}"/>
          </ac:spMkLst>
        </pc:spChg>
        <pc:spChg chg="mod">
          <ac:chgData name="Yudi Zhu" userId="571e1a55-055f-4c28-8b35-fca6dd1c1369" providerId="ADAL" clId="{75A88773-6EE1-484E-AADE-FE631E01463B}" dt="2025-11-25T11:10:56.532" v="689881"/>
          <ac:spMkLst>
            <pc:docMk/>
            <pc:sldMk cId="2789639198" sldId="2147483100"/>
            <ac:spMk id="2010" creationId="{BC99FD18-8285-240E-2946-45D78FEAB7A6}"/>
          </ac:spMkLst>
        </pc:spChg>
        <pc:spChg chg="mod ord">
          <ac:chgData name="Yudi Zhu" userId="571e1a55-055f-4c28-8b35-fca6dd1c1369" providerId="ADAL" clId="{75A88773-6EE1-484E-AADE-FE631E01463B}" dt="2025-11-25T11:10:56.527" v="689880"/>
          <ac:spMkLst>
            <pc:docMk/>
            <pc:sldMk cId="2789639198" sldId="2147483100"/>
            <ac:spMk id="2025" creationId="{43D55BC5-9920-542B-5943-C2925A23663E}"/>
          </ac:spMkLst>
        </pc:spChg>
        <pc:spChg chg="del mod ord">
          <ac:chgData name="Yudi Zhu" userId="571e1a55-055f-4c28-8b35-fca6dd1c1369" providerId="ADAL" clId="{75A88773-6EE1-484E-AADE-FE631E01463B}" dt="2025-11-25T10:51:25.006" v="661099"/>
          <ac:spMkLst>
            <pc:docMk/>
            <pc:sldMk cId="2789639198" sldId="2147483100"/>
            <ac:spMk id="2059" creationId="{4FF999FA-1CE6-816D-D3B3-94F0A436DD6A}"/>
          </ac:spMkLst>
        </pc:spChg>
        <pc:spChg chg="del mod ord">
          <ac:chgData name="Yudi Zhu" userId="571e1a55-055f-4c28-8b35-fca6dd1c1369" providerId="ADAL" clId="{75A88773-6EE1-484E-AADE-FE631E01463B}" dt="2025-11-25T10:51:25.037" v="661114"/>
          <ac:spMkLst>
            <pc:docMk/>
            <pc:sldMk cId="2789639198" sldId="2147483100"/>
            <ac:spMk id="2060" creationId="{30997A82-F7AD-11CF-FD92-4153AF5D078E}"/>
          </ac:spMkLst>
        </pc:spChg>
        <pc:spChg chg="del mod">
          <ac:chgData name="Yudi Zhu" userId="571e1a55-055f-4c28-8b35-fca6dd1c1369" providerId="ADAL" clId="{75A88773-6EE1-484E-AADE-FE631E01463B}" dt="2025-11-25T10:51:25.069" v="661128"/>
          <ac:spMkLst>
            <pc:docMk/>
            <pc:sldMk cId="2789639198" sldId="2147483100"/>
            <ac:spMk id="2061" creationId="{EC10FD50-1BB5-2F06-E80B-337A1E69A6D3}"/>
          </ac:spMkLst>
        </pc:spChg>
        <pc:spChg chg="del mod ord">
          <ac:chgData name="Yudi Zhu" userId="571e1a55-055f-4c28-8b35-fca6dd1c1369" providerId="ADAL" clId="{75A88773-6EE1-484E-AADE-FE631E01463B}" dt="2025-11-25T10:51:25.109" v="661140"/>
          <ac:spMkLst>
            <pc:docMk/>
            <pc:sldMk cId="2789639198" sldId="2147483100"/>
            <ac:spMk id="2062" creationId="{3D43E4A8-995E-7592-502B-6A11E01635DA}"/>
          </ac:spMkLst>
        </pc:spChg>
        <pc:spChg chg="del mod ord">
          <ac:chgData name="Yudi Zhu" userId="571e1a55-055f-4c28-8b35-fca6dd1c1369" providerId="ADAL" clId="{75A88773-6EE1-484E-AADE-FE631E01463B}" dt="2025-11-25T10:51:25.142" v="661155"/>
          <ac:spMkLst>
            <pc:docMk/>
            <pc:sldMk cId="2789639198" sldId="2147483100"/>
            <ac:spMk id="2063" creationId="{3AE91E55-A997-AF83-6A61-D6AA9CAC5831}"/>
          </ac:spMkLst>
        </pc:spChg>
        <pc:spChg chg="del mod">
          <ac:chgData name="Yudi Zhu" userId="571e1a55-055f-4c28-8b35-fca6dd1c1369" providerId="ADAL" clId="{75A88773-6EE1-484E-AADE-FE631E01463B}" dt="2025-11-25T10:51:25.174" v="661169"/>
          <ac:spMkLst>
            <pc:docMk/>
            <pc:sldMk cId="2789639198" sldId="2147483100"/>
            <ac:spMk id="2064" creationId="{5519771D-DBD9-C3BC-7D7B-A2751226F9CF}"/>
          </ac:spMkLst>
        </pc:spChg>
        <pc:spChg chg="mod ord">
          <ac:chgData name="Yudi Zhu" userId="571e1a55-055f-4c28-8b35-fca6dd1c1369" providerId="ADAL" clId="{75A88773-6EE1-484E-AADE-FE631E01463B}" dt="2025-11-25T11:10:56.532" v="689883"/>
          <ac:spMkLst>
            <pc:docMk/>
            <pc:sldMk cId="2789639198" sldId="2147483100"/>
            <ac:spMk id="2069" creationId="{2C8C7C6E-7854-71B0-B5CD-346A1F62D9D5}"/>
          </ac:spMkLst>
        </pc:spChg>
        <pc:spChg chg="mod ord">
          <ac:chgData name="Yudi Zhu" userId="571e1a55-055f-4c28-8b35-fca6dd1c1369" providerId="ADAL" clId="{75A88773-6EE1-484E-AADE-FE631E01463B}" dt="2025-11-25T11:10:56.532" v="689885"/>
          <ac:spMkLst>
            <pc:docMk/>
            <pc:sldMk cId="2789639198" sldId="2147483100"/>
            <ac:spMk id="2070" creationId="{38C861AF-6F37-5EBF-7BB3-B7968983ADE2}"/>
          </ac:spMkLst>
        </pc:spChg>
        <pc:grpChg chg="mod ord">
          <ac:chgData name="Yudi Zhu" userId="571e1a55-055f-4c28-8b35-fca6dd1c1369" providerId="ADAL" clId="{75A88773-6EE1-484E-AADE-FE631E01463B}" dt="2025-11-25T11:10:56.484" v="689824"/>
          <ac:grpSpMkLst>
            <pc:docMk/>
            <pc:sldMk cId="2789639198" sldId="2147483100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5T11:10:56.484" v="689826"/>
          <ac:grpSpMkLst>
            <pc:docMk/>
            <pc:sldMk cId="2789639198" sldId="2147483100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5T11:10:56.484" v="689828"/>
          <ac:grpSpMkLst>
            <pc:docMk/>
            <pc:sldMk cId="2789639198" sldId="2147483100"/>
            <ac:grpSpMk id="1604" creationId="{CAC77667-D6BB-F83B-AA16-FAE5D5B780AA}"/>
          </ac:grpSpMkLst>
        </pc:grpChg>
        <pc:graphicFrameChg chg="mod ord modGraphic">
          <ac:chgData name="Yudi Zhu" userId="571e1a55-055f-4c28-8b35-fca6dd1c1369" providerId="ADAL" clId="{75A88773-6EE1-484E-AADE-FE631E01463B}" dt="2025-11-26T07:06:20.325" v="765911" actId="20577"/>
          <ac:graphicFrameMkLst>
            <pc:docMk/>
            <pc:sldMk cId="2789639198" sldId="2147483100"/>
            <ac:graphicFrameMk id="3" creationId="{E90D6D2D-2F71-697E-2616-88B6A758C1F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44:38.321" v="660275"/>
          <ac:graphicFrameMkLst>
            <pc:docMk/>
            <pc:sldMk cId="2789639198" sldId="2147483100"/>
            <ac:graphicFrameMk id="6" creationId="{F9C9FE1C-DF0A-C4A5-9CD8-0AA0C46B8565}"/>
          </ac:graphicFrameMkLst>
        </pc:graphicFrameChg>
        <pc:graphicFrameChg chg="del mod">
          <ac:chgData name="Yudi Zhu" userId="571e1a55-055f-4c28-8b35-fca6dd1c1369" providerId="ADAL" clId="{75A88773-6EE1-484E-AADE-FE631E01463B}" dt="2025-11-25T10:54:50.217" v="667636"/>
          <ac:graphicFrameMkLst>
            <pc:docMk/>
            <pc:sldMk cId="2789639198" sldId="2147483100"/>
            <ac:graphicFrameMk id="8" creationId="{B950EE6B-2B3E-265D-E126-5B3D97BAF38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45:14.690" v="660741"/>
          <ac:graphicFrameMkLst>
            <pc:docMk/>
            <pc:sldMk cId="2789639198" sldId="2147483100"/>
            <ac:graphicFrameMk id="10" creationId="{F28921EF-2B29-8D19-6218-D4C79FF36AD4}"/>
          </ac:graphicFrameMkLst>
        </pc:graphicFrameChg>
        <pc:graphicFrameChg chg="mod">
          <ac:chgData name="Yudi Zhu" userId="571e1a55-055f-4c28-8b35-fca6dd1c1369" providerId="ADAL" clId="{75A88773-6EE1-484E-AADE-FE631E01463B}" dt="2025-11-25T11:10:56.532" v="689891"/>
          <ac:graphicFrameMkLst>
            <pc:docMk/>
            <pc:sldMk cId="2789639198" sldId="2147483100"/>
            <ac:graphicFrameMk id="11" creationId="{06D8B66D-C873-80E6-487B-D6B21C51228A}"/>
          </ac:graphicFrameMkLst>
        </pc:graphicFrameChg>
        <pc:graphicFrameChg chg="add mod">
          <ac:chgData name="Yudi Zhu" userId="571e1a55-055f-4c28-8b35-fca6dd1c1369" providerId="ADAL" clId="{75A88773-6EE1-484E-AADE-FE631E01463B}" dt="2025-11-25T11:10:56.422" v="689687"/>
          <ac:graphicFrameMkLst>
            <pc:docMk/>
            <pc:sldMk cId="2789639198" sldId="2147483100"/>
            <ac:graphicFrameMk id="13" creationId="{F4B81B4F-F069-F986-1C71-5E8F23894342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1:47.556" v="661699"/>
          <ac:graphicFrameMkLst>
            <pc:docMk/>
            <pc:sldMk cId="2789639198" sldId="2147483100"/>
            <ac:graphicFrameMk id="21" creationId="{1F83D9DA-DEF6-E1DC-9CB2-5AA22DF4E1F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1:52.624" v="662098"/>
          <ac:graphicFrameMkLst>
            <pc:docMk/>
            <pc:sldMk cId="2789639198" sldId="2147483100"/>
            <ac:graphicFrameMk id="23" creationId="{2CEA12D2-0F70-7BC7-4EB4-2C48DB5548CD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7:05.855" v="668054"/>
          <ac:graphicFrameMkLst>
            <pc:docMk/>
            <pc:sldMk cId="2789639198" sldId="2147483100"/>
            <ac:graphicFrameMk id="25" creationId="{71378FD6-1EF5-8134-A5F8-E5A4FAC0367C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2:53.814" v="663627"/>
          <ac:graphicFrameMkLst>
            <pc:docMk/>
            <pc:sldMk cId="2789639198" sldId="2147483100"/>
            <ac:graphicFrameMk id="32" creationId="{F3D6F7F5-4167-DF41-61C8-8C80EE5BAB3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3:05.209" v="664457"/>
          <ac:graphicFrameMkLst>
            <pc:docMk/>
            <pc:sldMk cId="2789639198" sldId="2147483100"/>
            <ac:graphicFrameMk id="35" creationId="{DB2F9C3A-C967-696F-2C02-D50B59F94AFD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3:13.338" v="665181"/>
          <ac:graphicFrameMkLst>
            <pc:docMk/>
            <pc:sldMk cId="2789639198" sldId="2147483100"/>
            <ac:graphicFrameMk id="42" creationId="{E3E36365-D0E6-A952-F5E0-637BC4EEC5D8}"/>
          </ac:graphicFrameMkLst>
        </pc:graphicFrameChg>
        <pc:graphicFrameChg chg="add mod">
          <ac:chgData name="Yudi Zhu" userId="571e1a55-055f-4c28-8b35-fca6dd1c1369" providerId="ADAL" clId="{75A88773-6EE1-484E-AADE-FE631E01463B}" dt="2025-11-25T11:10:56.411" v="689643"/>
          <ac:graphicFrameMkLst>
            <pc:docMk/>
            <pc:sldMk cId="2789639198" sldId="2147483100"/>
            <ac:graphicFrameMk id="49" creationId="{E9A17D1B-9848-460F-44ED-D4DDB99907BC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4:10.772" v="665921"/>
          <ac:graphicFrameMkLst>
            <pc:docMk/>
            <pc:sldMk cId="2789639198" sldId="2147483100"/>
            <ac:graphicFrameMk id="1863" creationId="{F6406BD7-D9D6-FC64-1096-76633377EEB2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4:15.402" v="666256"/>
          <ac:graphicFrameMkLst>
            <pc:docMk/>
            <pc:sldMk cId="2789639198" sldId="2147483100"/>
            <ac:graphicFrameMk id="1865" creationId="{2BF67129-F0BF-57E8-33D2-05CC98886643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4:18.328" v="666584"/>
          <ac:graphicFrameMkLst>
            <pc:docMk/>
            <pc:sldMk cId="2789639198" sldId="2147483100"/>
            <ac:graphicFrameMk id="1867" creationId="{CBCF0CAC-31C8-A6D6-2E21-A30D25850800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4:19.618" v="666910"/>
          <ac:graphicFrameMkLst>
            <pc:docMk/>
            <pc:sldMk cId="2789639198" sldId="2147483100"/>
            <ac:graphicFrameMk id="1868" creationId="{FCEE830C-54CF-FDF9-992E-4112F0177CC8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52.685" v="689291"/>
          <ac:graphicFrameMkLst>
            <pc:docMk/>
            <pc:sldMk cId="2789639198" sldId="2147483100"/>
            <ac:graphicFrameMk id="1869" creationId="{A2C90349-CE67-1E2E-0835-00F385543785}"/>
          </ac:graphicFrameMkLst>
        </pc:graphicFrameChg>
        <pc:graphicFrameChg chg="add mod">
          <ac:chgData name="Yudi Zhu" userId="571e1a55-055f-4c28-8b35-fca6dd1c1369" providerId="ADAL" clId="{75A88773-6EE1-484E-AADE-FE631E01463B}" dt="2025-11-25T11:10:56.453" v="689738"/>
          <ac:graphicFrameMkLst>
            <pc:docMk/>
            <pc:sldMk cId="2789639198" sldId="2147483100"/>
            <ac:graphicFrameMk id="1872" creationId="{68E493B0-49A8-7C5E-6AB4-44C62F4D5115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0:57:17.409" v="668340"/>
          <ac:graphicFrameMkLst>
            <pc:docMk/>
            <pc:sldMk cId="2789639198" sldId="2147483100"/>
            <ac:graphicFrameMk id="1874" creationId="{00D6FF04-5386-323F-91BE-C71B92DEAD13}"/>
          </ac:graphicFrameMkLst>
        </pc:graphicFrameChg>
        <pc:graphicFrameChg chg="add mod">
          <ac:chgData name="Yudi Zhu" userId="571e1a55-055f-4c28-8b35-fca6dd1c1369" providerId="ADAL" clId="{75A88773-6EE1-484E-AADE-FE631E01463B}" dt="2025-11-25T11:10:56.484" v="689835"/>
          <ac:graphicFrameMkLst>
            <pc:docMk/>
            <pc:sldMk cId="2789639198" sldId="2147483100"/>
            <ac:graphicFrameMk id="1875" creationId="{75596EE4-080A-B822-3FA6-42624BEEA224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56.351" v="689609"/>
          <ac:graphicFrameMkLst>
            <pc:docMk/>
            <pc:sldMk cId="2789639198" sldId="2147483100"/>
            <ac:graphicFrameMk id="1876" creationId="{60B14662-2A33-4FDB-6428-B69B0563031C}"/>
          </ac:graphicFrameMkLst>
        </pc:graphicFrameChg>
        <pc:graphicFrameChg chg="add mod">
          <ac:chgData name="Yudi Zhu" userId="571e1a55-055f-4c28-8b35-fca6dd1c1369" providerId="ADAL" clId="{75A88773-6EE1-484E-AADE-FE631E01463B}" dt="2025-11-25T11:10:56.522" v="689872"/>
          <ac:graphicFrameMkLst>
            <pc:docMk/>
            <pc:sldMk cId="2789639198" sldId="2147483100"/>
            <ac:graphicFrameMk id="1877" creationId="{0589CEAB-136E-2BB3-C4BE-956D69E8F6CB}"/>
          </ac:graphicFrameMkLst>
        </pc:graphicFrameChg>
        <pc:graphicFrameChg chg="del mod">
          <ac:chgData name="Yudi Zhu" userId="571e1a55-055f-4c28-8b35-fca6dd1c1369" providerId="ADAL" clId="{75A88773-6EE1-484E-AADE-FE631E01463B}" dt="2025-11-25T10:54:07.741" v="665578"/>
          <ac:graphicFrameMkLst>
            <pc:docMk/>
            <pc:sldMk cId="2789639198" sldId="2147483100"/>
            <ac:graphicFrameMk id="2035" creationId="{0E196CA3-0CC6-6288-BC09-465FAA5A4E75}"/>
          </ac:graphicFrameMkLst>
        </pc:graphicFrameChg>
        <pc:graphicFrameChg chg="del mod">
          <ac:chgData name="Yudi Zhu" userId="571e1a55-055f-4c28-8b35-fca6dd1c1369" providerId="ADAL" clId="{75A88773-6EE1-484E-AADE-FE631E01463B}" dt="2025-11-25T10:52:45.747" v="662962"/>
          <ac:graphicFrameMkLst>
            <pc:docMk/>
            <pc:sldMk cId="2789639198" sldId="2147483100"/>
            <ac:graphicFrameMk id="2058" creationId="{2033C248-D87E-636A-5623-FB3463F1424D}"/>
          </ac:graphicFrameMkLst>
        </pc:graphicFrameChg>
        <pc:graphicFrameChg chg="del mod">
          <ac:chgData name="Yudi Zhu" userId="571e1a55-055f-4c28-8b35-fca6dd1c1369" providerId="ADAL" clId="{75A88773-6EE1-484E-AADE-FE631E01463B}" dt="2025-11-25T10:51:25.710" v="661300"/>
          <ac:graphicFrameMkLst>
            <pc:docMk/>
            <pc:sldMk cId="2789639198" sldId="2147483100"/>
            <ac:graphicFrameMk id="2068" creationId="{EC480910-6387-3F16-6F43-2ED7976114A1}"/>
          </ac:graphicFrameMkLst>
        </pc:graphicFrameChg>
        <pc:graphicFrameChg chg="del">
          <ac:chgData name="Yudi Zhu" userId="571e1a55-055f-4c28-8b35-fca6dd1c1369" providerId="ADAL" clId="{75A88773-6EE1-484E-AADE-FE631E01463B}" dt="2025-11-25T10:44:32.920" v="659742"/>
          <ac:graphicFrameMkLst>
            <pc:docMk/>
            <pc:sldMk cId="2789639198" sldId="2147483100"/>
            <ac:graphicFrameMk id="2072" creationId="{71071794-EF62-02C5-E864-46A37481E123}"/>
          </ac:graphicFrameMkLst>
        </pc:graphicFrameChg>
        <pc:cxnChg chg="mod ord">
          <ac:chgData name="Yudi Zhu" userId="571e1a55-055f-4c28-8b35-fca6dd1c1369" providerId="ADAL" clId="{75A88773-6EE1-484E-AADE-FE631E01463B}" dt="2025-11-25T11:10:56.453" v="689744"/>
          <ac:cxnSpMkLst>
            <pc:docMk/>
            <pc:sldMk cId="2789639198" sldId="2147483100"/>
            <ac:cxnSpMk id="7" creationId="{CBC9BAD9-0F24-9106-3CAE-E7247D7A0B79}"/>
          </ac:cxnSpMkLst>
        </pc:cxnChg>
        <pc:cxnChg chg="add del mod ord">
          <ac:chgData name="Yudi Zhu" userId="571e1a55-055f-4c28-8b35-fca6dd1c1369" providerId="ADAL" clId="{75A88773-6EE1-484E-AADE-FE631E01463B}" dt="2025-11-25T10:53:04.480" v="664122"/>
          <ac:cxnSpMkLst>
            <pc:docMk/>
            <pc:sldMk cId="2789639198" sldId="2147483100"/>
            <ac:cxnSpMk id="27" creationId="{18967938-4FD7-3473-DDDD-ABCD769F7B0F}"/>
          </ac:cxnSpMkLst>
        </pc:cxnChg>
        <pc:cxnChg chg="add del mod ord">
          <ac:chgData name="Yudi Zhu" userId="571e1a55-055f-4c28-8b35-fca6dd1c1369" providerId="ADAL" clId="{75A88773-6EE1-484E-AADE-FE631E01463B}" dt="2025-11-25T10:53:04.553" v="664152"/>
          <ac:cxnSpMkLst>
            <pc:docMk/>
            <pc:sldMk cId="2789639198" sldId="2147483100"/>
            <ac:cxnSpMk id="28" creationId="{AA978245-3D23-DEC7-57AF-25569C4F6A21}"/>
          </ac:cxnSpMkLst>
        </pc:cxnChg>
        <pc:cxnChg chg="add del mod ord">
          <ac:chgData name="Yudi Zhu" userId="571e1a55-055f-4c28-8b35-fca6dd1c1369" providerId="ADAL" clId="{75A88773-6EE1-484E-AADE-FE631E01463B}" dt="2025-11-25T10:53:04.600" v="664168"/>
          <ac:cxnSpMkLst>
            <pc:docMk/>
            <pc:sldMk cId="2789639198" sldId="2147483100"/>
            <ac:cxnSpMk id="29" creationId="{A320B3CA-4E9B-7B76-C473-AB6331405081}"/>
          </ac:cxnSpMkLst>
        </pc:cxnChg>
        <pc:cxnChg chg="add del mod ord">
          <ac:chgData name="Yudi Zhu" userId="571e1a55-055f-4c28-8b35-fca6dd1c1369" providerId="ADAL" clId="{75A88773-6EE1-484E-AADE-FE631E01463B}" dt="2025-11-25T10:53:04.721" v="664221"/>
          <ac:cxnSpMkLst>
            <pc:docMk/>
            <pc:sldMk cId="2789639198" sldId="2147483100"/>
            <ac:cxnSpMk id="30" creationId="{903A0903-3ADD-5B2A-9071-C58A7EA0E0E0}"/>
          </ac:cxnSpMkLst>
        </pc:cxnChg>
        <pc:cxnChg chg="add del mod ord">
          <ac:chgData name="Yudi Zhu" userId="571e1a55-055f-4c28-8b35-fca6dd1c1369" providerId="ADAL" clId="{75A88773-6EE1-484E-AADE-FE631E01463B}" dt="2025-11-25T10:53:05.023" v="664357"/>
          <ac:cxnSpMkLst>
            <pc:docMk/>
            <pc:sldMk cId="2789639198" sldId="2147483100"/>
            <ac:cxnSpMk id="31" creationId="{DE3F2AA3-C41F-B3C7-639E-C6A2034D4653}"/>
          </ac:cxnSpMkLst>
        </pc:cxnChg>
        <pc:cxnChg chg="add del mod ord">
          <ac:chgData name="Yudi Zhu" userId="571e1a55-055f-4c28-8b35-fca6dd1c1369" providerId="ADAL" clId="{75A88773-6EE1-484E-AADE-FE631E01463B}" dt="2025-11-25T10:53:04.523" v="664136"/>
          <ac:cxnSpMkLst>
            <pc:docMk/>
            <pc:sldMk cId="2789639198" sldId="2147483100"/>
            <ac:cxnSpMk id="34" creationId="{9BF6CE20-FA33-3843-2757-05F24A493B30}"/>
          </ac:cxnSpMkLst>
        </pc:cxnChg>
        <pc:cxnChg chg="add del mod ord">
          <ac:chgData name="Yudi Zhu" userId="571e1a55-055f-4c28-8b35-fca6dd1c1369" providerId="ADAL" clId="{75A88773-6EE1-484E-AADE-FE631E01463B}" dt="2025-11-25T10:53:13.016" v="664966"/>
          <ac:cxnSpMkLst>
            <pc:docMk/>
            <pc:sldMk cId="2789639198" sldId="2147483100"/>
            <ac:cxnSpMk id="37" creationId="{84D3128C-886E-2C29-AA7F-9F284D06A6BA}"/>
          </ac:cxnSpMkLst>
        </pc:cxnChg>
        <pc:cxnChg chg="add del mod ord">
          <ac:chgData name="Yudi Zhu" userId="571e1a55-055f-4c28-8b35-fca6dd1c1369" providerId="ADAL" clId="{75A88773-6EE1-484E-AADE-FE631E01463B}" dt="2025-11-25T10:53:13.110" v="665026"/>
          <ac:cxnSpMkLst>
            <pc:docMk/>
            <pc:sldMk cId="2789639198" sldId="2147483100"/>
            <ac:cxnSpMk id="38" creationId="{557682B3-A80F-5A34-C706-0EAAA593B23D}"/>
          </ac:cxnSpMkLst>
        </pc:cxnChg>
        <pc:cxnChg chg="add del mod ord">
          <ac:chgData name="Yudi Zhu" userId="571e1a55-055f-4c28-8b35-fca6dd1c1369" providerId="ADAL" clId="{75A88773-6EE1-484E-AADE-FE631E01463B}" dt="2025-11-25T10:53:13.167" v="665065"/>
          <ac:cxnSpMkLst>
            <pc:docMk/>
            <pc:sldMk cId="2789639198" sldId="2147483100"/>
            <ac:cxnSpMk id="39" creationId="{3C3432A1-B6BD-A1FF-78F5-82E140B76AF0}"/>
          </ac:cxnSpMkLst>
        </pc:cxnChg>
        <pc:cxnChg chg="add del mod ord">
          <ac:chgData name="Yudi Zhu" userId="571e1a55-055f-4c28-8b35-fca6dd1c1369" providerId="ADAL" clId="{75A88773-6EE1-484E-AADE-FE631E01463B}" dt="2025-11-25T10:53:13.215" v="665096"/>
          <ac:cxnSpMkLst>
            <pc:docMk/>
            <pc:sldMk cId="2789639198" sldId="2147483100"/>
            <ac:cxnSpMk id="40" creationId="{1E3FC565-43CD-DBCF-0863-89BA719FA340}"/>
          </ac:cxnSpMkLst>
        </pc:cxnChg>
        <pc:cxnChg chg="add mod ord">
          <ac:chgData name="Yudi Zhu" userId="571e1a55-055f-4c28-8b35-fca6dd1c1369" providerId="ADAL" clId="{75A88773-6EE1-484E-AADE-FE631E01463B}" dt="2025-11-25T11:10:56.410" v="689640"/>
          <ac:cxnSpMkLst>
            <pc:docMk/>
            <pc:sldMk cId="2789639198" sldId="2147483100"/>
            <ac:cxnSpMk id="41" creationId="{86E17761-4B75-BD27-044C-31EAF53B10AE}"/>
          </ac:cxnSpMkLst>
        </pc:cxnChg>
        <pc:cxnChg chg="add mod ord">
          <ac:chgData name="Yudi Zhu" userId="571e1a55-055f-4c28-8b35-fca6dd1c1369" providerId="ADAL" clId="{75A88773-6EE1-484E-AADE-FE631E01463B}" dt="2025-11-25T11:10:56.412" v="689645"/>
          <ac:cxnSpMkLst>
            <pc:docMk/>
            <pc:sldMk cId="2789639198" sldId="2147483100"/>
            <ac:cxnSpMk id="44" creationId="{EB8A25FD-11A3-728A-6140-D67EBE303D43}"/>
          </ac:cxnSpMkLst>
        </pc:cxnChg>
        <pc:cxnChg chg="add mod ord">
          <ac:chgData name="Yudi Zhu" userId="571e1a55-055f-4c28-8b35-fca6dd1c1369" providerId="ADAL" clId="{75A88773-6EE1-484E-AADE-FE631E01463B}" dt="2025-11-25T11:10:56.413" v="689647"/>
          <ac:cxnSpMkLst>
            <pc:docMk/>
            <pc:sldMk cId="2789639198" sldId="2147483100"/>
            <ac:cxnSpMk id="46" creationId="{DE1336B5-091C-B043-12CA-4CEF0A115127}"/>
          </ac:cxnSpMkLst>
        </pc:cxnChg>
        <pc:cxnChg chg="add mod ord">
          <ac:chgData name="Yudi Zhu" userId="571e1a55-055f-4c28-8b35-fca6dd1c1369" providerId="ADAL" clId="{75A88773-6EE1-484E-AADE-FE631E01463B}" dt="2025-11-25T11:10:56.414" v="689649"/>
          <ac:cxnSpMkLst>
            <pc:docMk/>
            <pc:sldMk cId="2789639198" sldId="2147483100"/>
            <ac:cxnSpMk id="47" creationId="{5E089F38-37F1-CF5A-B547-7D5F64D03065}"/>
          </ac:cxnSpMkLst>
        </pc:cxnChg>
        <pc:cxnChg chg="add mod ord">
          <ac:chgData name="Yudi Zhu" userId="571e1a55-055f-4c28-8b35-fca6dd1c1369" providerId="ADAL" clId="{75A88773-6EE1-484E-AADE-FE631E01463B}" dt="2025-11-25T11:10:56.415" v="689651"/>
          <ac:cxnSpMkLst>
            <pc:docMk/>
            <pc:sldMk cId="2789639198" sldId="2147483100"/>
            <ac:cxnSpMk id="48" creationId="{85933268-FD56-0EB5-FE13-8291C069D73E}"/>
          </ac:cxnSpMkLst>
        </pc:cxnChg>
        <pc:cxnChg chg="mod ord">
          <ac:chgData name="Yudi Zhu" userId="571e1a55-055f-4c28-8b35-fca6dd1c1369" providerId="ADAL" clId="{75A88773-6EE1-484E-AADE-FE631E01463B}" dt="2025-11-25T11:10:56.453" v="689754"/>
          <ac:cxnSpMkLst>
            <pc:docMk/>
            <pc:sldMk cId="2789639198" sldId="2147483100"/>
            <ac:cxnSpMk id="57" creationId="{B8A70BC4-880F-79F8-BF39-DEB7ECF3AAAF}"/>
          </ac:cxnSpMkLst>
        </pc:cxnChg>
        <pc:cxnChg chg="mod ord">
          <ac:chgData name="Yudi Zhu" userId="571e1a55-055f-4c28-8b35-fca6dd1c1369" providerId="ADAL" clId="{75A88773-6EE1-484E-AADE-FE631E01463B}" dt="2025-11-25T11:10:56.453" v="689758"/>
          <ac:cxnSpMkLst>
            <pc:docMk/>
            <pc:sldMk cId="2789639198" sldId="2147483100"/>
            <ac:cxnSpMk id="58" creationId="{544E8E06-7A8F-3954-A4AA-EE20FECFFF3B}"/>
          </ac:cxnSpMkLst>
        </pc:cxnChg>
        <pc:cxnChg chg="mod ord">
          <ac:chgData name="Yudi Zhu" userId="571e1a55-055f-4c28-8b35-fca6dd1c1369" providerId="ADAL" clId="{75A88773-6EE1-484E-AADE-FE631E01463B}" dt="2025-11-25T11:10:56.469" v="689764"/>
          <ac:cxnSpMkLst>
            <pc:docMk/>
            <pc:sldMk cId="2789639198" sldId="2147483100"/>
            <ac:cxnSpMk id="59" creationId="{F626354A-02F7-D8D1-C43E-6F2AA2506D97}"/>
          </ac:cxnSpMkLst>
        </pc:cxnChg>
        <pc:cxnChg chg="mod ord">
          <ac:chgData name="Yudi Zhu" userId="571e1a55-055f-4c28-8b35-fca6dd1c1369" providerId="ADAL" clId="{75A88773-6EE1-484E-AADE-FE631E01463B}" dt="2025-11-25T11:10:56.453" v="689752"/>
          <ac:cxnSpMkLst>
            <pc:docMk/>
            <pc:sldMk cId="2789639198" sldId="2147483100"/>
            <ac:cxnSpMk id="60" creationId="{920FA605-E38D-0766-1BEA-D0809D4F30B1}"/>
          </ac:cxnSpMkLst>
        </pc:cxnChg>
        <pc:cxnChg chg="del mod ord">
          <ac:chgData name="Yudi Zhu" userId="571e1a55-055f-4c28-8b35-fca6dd1c1369" providerId="ADAL" clId="{75A88773-6EE1-484E-AADE-FE631E01463B}" dt="2025-11-25T10:54:50.062" v="667507"/>
          <ac:cxnSpMkLst>
            <pc:docMk/>
            <pc:sldMk cId="2789639198" sldId="2147483100"/>
            <ac:cxnSpMk id="61" creationId="{5460B9C1-B478-B2EA-64C1-1F3A3ED7DB5F}"/>
          </ac:cxnSpMkLst>
        </pc:cxnChg>
        <pc:cxnChg chg="mod ord">
          <ac:chgData name="Yudi Zhu" userId="571e1a55-055f-4c28-8b35-fca6dd1c1369" providerId="ADAL" clId="{75A88773-6EE1-484E-AADE-FE631E01463B}" dt="2025-11-25T11:10:56.469" v="689766"/>
          <ac:cxnSpMkLst>
            <pc:docMk/>
            <pc:sldMk cId="2789639198" sldId="2147483100"/>
            <ac:cxnSpMk id="62" creationId="{D3FC26B7-159F-8978-6453-5F5B3488596A}"/>
          </ac:cxnSpMkLst>
        </pc:cxnChg>
        <pc:cxnChg chg="mod ord">
          <ac:chgData name="Yudi Zhu" userId="571e1a55-055f-4c28-8b35-fca6dd1c1369" providerId="ADAL" clId="{75A88773-6EE1-484E-AADE-FE631E01463B}" dt="2025-11-25T11:10:56.453" v="689762"/>
          <ac:cxnSpMkLst>
            <pc:docMk/>
            <pc:sldMk cId="2789639198" sldId="2147483100"/>
            <ac:cxnSpMk id="63" creationId="{036720A8-6C47-441D-7C79-B2E3C0977058}"/>
          </ac:cxnSpMkLst>
        </pc:cxnChg>
        <pc:cxnChg chg="mod ord">
          <ac:chgData name="Yudi Zhu" userId="571e1a55-055f-4c28-8b35-fca6dd1c1369" providerId="ADAL" clId="{75A88773-6EE1-484E-AADE-FE631E01463B}" dt="2025-11-25T11:10:56.402" v="689622"/>
          <ac:cxnSpMkLst>
            <pc:docMk/>
            <pc:sldMk cId="2789639198" sldId="2147483100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5T11:10:56.453" v="689728"/>
          <ac:cxnSpMkLst>
            <pc:docMk/>
            <pc:sldMk cId="2789639198" sldId="2147483100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5T11:10:56.402" v="689624"/>
          <ac:cxnSpMkLst>
            <pc:docMk/>
            <pc:sldMk cId="2789639198" sldId="2147483100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5T11:10:56.403" v="689626"/>
          <ac:cxnSpMkLst>
            <pc:docMk/>
            <pc:sldMk cId="2789639198" sldId="2147483100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5T11:10:56.484" v="689832"/>
          <ac:cxnSpMkLst>
            <pc:docMk/>
            <pc:sldMk cId="2789639198" sldId="2147483100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5T11:10:56.484" v="689834"/>
          <ac:cxnSpMkLst>
            <pc:docMk/>
            <pc:sldMk cId="2789639198" sldId="2147483100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5T11:10:56.484" v="689815"/>
          <ac:cxnSpMkLst>
            <pc:docMk/>
            <pc:sldMk cId="2789639198" sldId="2147483100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5T11:10:56.484" v="689817"/>
          <ac:cxnSpMkLst>
            <pc:docMk/>
            <pc:sldMk cId="2789639198" sldId="2147483100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5T11:10:56.484" v="689819"/>
          <ac:cxnSpMkLst>
            <pc:docMk/>
            <pc:sldMk cId="2789639198" sldId="2147483100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5T11:10:56.453" v="689742"/>
          <ac:cxnSpMkLst>
            <pc:docMk/>
            <pc:sldMk cId="2789639198" sldId="2147483100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5T11:10:56.453" v="689748"/>
          <ac:cxnSpMkLst>
            <pc:docMk/>
            <pc:sldMk cId="2789639198" sldId="2147483100"/>
            <ac:cxnSpMk id="1427" creationId="{8CD1BFBD-29D4-7EFA-3730-7685282ECB0D}"/>
          </ac:cxnSpMkLst>
        </pc:cxnChg>
        <pc:cxnChg chg="del mod ord">
          <ac:chgData name="Yudi Zhu" userId="571e1a55-055f-4c28-8b35-fca6dd1c1369" providerId="ADAL" clId="{75A88773-6EE1-484E-AADE-FE631E01463B}" dt="2025-11-25T10:54:50.065" v="667509"/>
          <ac:cxnSpMkLst>
            <pc:docMk/>
            <pc:sldMk cId="2789639198" sldId="2147483100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5T11:10:56.453" v="689760"/>
          <ac:cxnSpMkLst>
            <pc:docMk/>
            <pc:sldMk cId="2789639198" sldId="2147483100"/>
            <ac:cxnSpMk id="1462" creationId="{B25EED74-3BE6-1A25-FFAA-ED5F7EF0AB47}"/>
          </ac:cxnSpMkLst>
        </pc:cxnChg>
        <pc:cxnChg chg="mod ord">
          <ac:chgData name="Yudi Zhu" userId="571e1a55-055f-4c28-8b35-fca6dd1c1369" providerId="ADAL" clId="{75A88773-6EE1-484E-AADE-FE631E01463B}" dt="2025-11-25T11:10:56.469" v="689772"/>
          <ac:cxnSpMkLst>
            <pc:docMk/>
            <pc:sldMk cId="2789639198" sldId="2147483100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5T11:10:56.469" v="689774"/>
          <ac:cxnSpMkLst>
            <pc:docMk/>
            <pc:sldMk cId="2789639198" sldId="2147483100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5T11:10:56.469" v="689776"/>
          <ac:cxnSpMkLst>
            <pc:docMk/>
            <pc:sldMk cId="2789639198" sldId="2147483100"/>
            <ac:cxnSpMk id="1468" creationId="{DB3DA2FD-3F9C-7D07-1499-92AEE88BBABE}"/>
          </ac:cxnSpMkLst>
        </pc:cxnChg>
        <pc:cxnChg chg="del mod ord">
          <ac:chgData name="Yudi Zhu" userId="571e1a55-055f-4c28-8b35-fca6dd1c1369" providerId="ADAL" clId="{75A88773-6EE1-484E-AADE-FE631E01463B}" dt="2025-11-25T10:54:50.133" v="667579"/>
          <ac:cxnSpMkLst>
            <pc:docMk/>
            <pc:sldMk cId="2789639198" sldId="2147483100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5T11:10:56.453" v="689746"/>
          <ac:cxnSpMkLst>
            <pc:docMk/>
            <pc:sldMk cId="2789639198" sldId="2147483100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5T11:10:56.484" v="689830"/>
          <ac:cxnSpMkLst>
            <pc:docMk/>
            <pc:sldMk cId="2789639198" sldId="2147483100"/>
            <ac:cxnSpMk id="1477" creationId="{152B86F5-FAEA-60A6-7C19-C68CC06B21E4}"/>
          </ac:cxnSpMkLst>
        </pc:cxnChg>
        <pc:cxnChg chg="mod ord">
          <ac:chgData name="Yudi Zhu" userId="571e1a55-055f-4c28-8b35-fca6dd1c1369" providerId="ADAL" clId="{75A88773-6EE1-484E-AADE-FE631E01463B}" dt="2025-11-25T11:10:56.404" v="689630"/>
          <ac:cxnSpMkLst>
            <pc:docMk/>
            <pc:sldMk cId="2789639198" sldId="2147483100"/>
            <ac:cxnSpMk id="1519" creationId="{DB475FC9-58A8-F50C-7AD4-C76A1BA430D5}"/>
          </ac:cxnSpMkLst>
        </pc:cxnChg>
        <pc:cxnChg chg="mod ord">
          <ac:chgData name="Yudi Zhu" userId="571e1a55-055f-4c28-8b35-fca6dd1c1369" providerId="ADAL" clId="{75A88773-6EE1-484E-AADE-FE631E01463B}" dt="2025-11-25T11:10:56.409" v="689638"/>
          <ac:cxnSpMkLst>
            <pc:docMk/>
            <pc:sldMk cId="2789639198" sldId="2147483100"/>
            <ac:cxnSpMk id="1524" creationId="{C473C6AD-8681-B41F-FEBD-B32D433102CF}"/>
          </ac:cxnSpMkLst>
        </pc:cxnChg>
        <pc:cxnChg chg="del mod ord">
          <ac:chgData name="Yudi Zhu" userId="571e1a55-055f-4c28-8b35-fca6dd1c1369" providerId="ADAL" clId="{75A88773-6EE1-484E-AADE-FE631E01463B}" dt="2025-11-25T10:52:45.684" v="662926"/>
          <ac:cxnSpMkLst>
            <pc:docMk/>
            <pc:sldMk cId="2789639198" sldId="2147483100"/>
            <ac:cxnSpMk id="1581" creationId="{822DC2B8-79ED-2E97-65D5-B24BD6099DE3}"/>
          </ac:cxnSpMkLst>
        </pc:cxnChg>
        <pc:cxnChg chg="del mod ord">
          <ac:chgData name="Yudi Zhu" userId="571e1a55-055f-4c28-8b35-fca6dd1c1369" providerId="ADAL" clId="{75A88773-6EE1-484E-AADE-FE631E01463B}" dt="2025-11-25T10:52:45.700" v="662942"/>
          <ac:cxnSpMkLst>
            <pc:docMk/>
            <pc:sldMk cId="2789639198" sldId="2147483100"/>
            <ac:cxnSpMk id="1582" creationId="{522C1A32-4C1E-7C5A-1A1F-AB0C8073B48E}"/>
          </ac:cxnSpMkLst>
        </pc:cxnChg>
        <pc:cxnChg chg="del mod ord">
          <ac:chgData name="Yudi Zhu" userId="571e1a55-055f-4c28-8b35-fca6dd1c1369" providerId="ADAL" clId="{75A88773-6EE1-484E-AADE-FE631E01463B}" dt="2025-11-25T10:53:04.649" v="664187"/>
          <ac:cxnSpMkLst>
            <pc:docMk/>
            <pc:sldMk cId="2789639198" sldId="2147483100"/>
            <ac:cxnSpMk id="1585" creationId="{26453B75-A203-AEA1-F433-D2A84081DC3A}"/>
          </ac:cxnSpMkLst>
        </pc:cxnChg>
        <pc:cxnChg chg="del mod ord">
          <ac:chgData name="Yudi Zhu" userId="571e1a55-055f-4c28-8b35-fca6dd1c1369" providerId="ADAL" clId="{75A88773-6EE1-484E-AADE-FE631E01463B}" dt="2025-11-25T10:53:04.832" v="664272"/>
          <ac:cxnSpMkLst>
            <pc:docMk/>
            <pc:sldMk cId="2789639198" sldId="2147483100"/>
            <ac:cxnSpMk id="1587" creationId="{1F80F8EE-7195-5C60-7F36-66FFA93BEE7C}"/>
          </ac:cxnSpMkLst>
        </pc:cxnChg>
        <pc:cxnChg chg="del mod ord">
          <ac:chgData name="Yudi Zhu" userId="571e1a55-055f-4c28-8b35-fca6dd1c1369" providerId="ADAL" clId="{75A88773-6EE1-484E-AADE-FE631E01463B}" dt="2025-11-25T10:53:04.881" v="664289"/>
          <ac:cxnSpMkLst>
            <pc:docMk/>
            <pc:sldMk cId="2789639198" sldId="2147483100"/>
            <ac:cxnSpMk id="1591" creationId="{45B3B88D-C4D2-857C-DE64-D5056A9386D8}"/>
          </ac:cxnSpMkLst>
        </pc:cxnChg>
        <pc:cxnChg chg="del mod ord">
          <ac:chgData name="Yudi Zhu" userId="571e1a55-055f-4c28-8b35-fca6dd1c1369" providerId="ADAL" clId="{75A88773-6EE1-484E-AADE-FE631E01463B}" dt="2025-11-25T10:53:04.956" v="664323"/>
          <ac:cxnSpMkLst>
            <pc:docMk/>
            <pc:sldMk cId="2789639198" sldId="2147483100"/>
            <ac:cxnSpMk id="1592" creationId="{80A237D9-085B-F196-46AA-6ECF5BCFF128}"/>
          </ac:cxnSpMkLst>
        </pc:cxnChg>
        <pc:cxnChg chg="del mod ord">
          <ac:chgData name="Yudi Zhu" userId="571e1a55-055f-4c28-8b35-fca6dd1c1369" providerId="ADAL" clId="{75A88773-6EE1-484E-AADE-FE631E01463B}" dt="2025-11-25T10:52:45.605" v="662874"/>
          <ac:cxnSpMkLst>
            <pc:docMk/>
            <pc:sldMk cId="2789639198" sldId="2147483100"/>
            <ac:cxnSpMk id="1593" creationId="{6BDEA4E6-357A-2358-2347-22267E74416D}"/>
          </ac:cxnSpMkLst>
        </pc:cxnChg>
        <pc:cxnChg chg="del mod ord">
          <ac:chgData name="Yudi Zhu" userId="571e1a55-055f-4c28-8b35-fca6dd1c1369" providerId="ADAL" clId="{75A88773-6EE1-484E-AADE-FE631E01463B}" dt="2025-11-25T10:52:45.653" v="662910"/>
          <ac:cxnSpMkLst>
            <pc:docMk/>
            <pc:sldMk cId="2789639198" sldId="2147483100"/>
            <ac:cxnSpMk id="1594" creationId="{CA8BCBDE-7919-DFD2-CB10-EA88A315DC7B}"/>
          </ac:cxnSpMkLst>
        </pc:cxnChg>
        <pc:cxnChg chg="del mod ord">
          <ac:chgData name="Yudi Zhu" userId="571e1a55-055f-4c28-8b35-fca6dd1c1369" providerId="ADAL" clId="{75A88773-6EE1-484E-AADE-FE631E01463B}" dt="2025-11-25T10:53:13.306" v="665157"/>
          <ac:cxnSpMkLst>
            <pc:docMk/>
            <pc:sldMk cId="2789639198" sldId="2147483100"/>
            <ac:cxnSpMk id="1595" creationId="{A73ED295-15B4-2F3B-66BB-F98525C1C7AA}"/>
          </ac:cxnSpMkLst>
        </pc:cxnChg>
        <pc:cxnChg chg="mod ord">
          <ac:chgData name="Yudi Zhu" userId="571e1a55-055f-4c28-8b35-fca6dd1c1369" providerId="ADAL" clId="{75A88773-6EE1-484E-AADE-FE631E01463B}" dt="2025-11-25T11:10:56.408" v="689636"/>
          <ac:cxnSpMkLst>
            <pc:docMk/>
            <pc:sldMk cId="2789639198" sldId="2147483100"/>
            <ac:cxnSpMk id="1596" creationId="{C82C9374-0347-8640-AD18-C259C5B53F7E}"/>
          </ac:cxnSpMkLst>
        </pc:cxnChg>
        <pc:cxnChg chg="del mod ord">
          <ac:chgData name="Yudi Zhu" userId="571e1a55-055f-4c28-8b35-fca6dd1c1369" providerId="ADAL" clId="{75A88773-6EE1-484E-AADE-FE631E01463B}" dt="2025-11-25T10:53:04.754" v="664238"/>
          <ac:cxnSpMkLst>
            <pc:docMk/>
            <pc:sldMk cId="2789639198" sldId="2147483100"/>
            <ac:cxnSpMk id="1599" creationId="{82B80641-5327-76DC-CF0C-CA9AB465B612}"/>
          </ac:cxnSpMkLst>
        </pc:cxnChg>
        <pc:cxnChg chg="del mod ord">
          <ac:chgData name="Yudi Zhu" userId="571e1a55-055f-4c28-8b35-fca6dd1c1369" providerId="ADAL" clId="{75A88773-6EE1-484E-AADE-FE631E01463B}" dt="2025-11-25T10:52:45.637" v="662894"/>
          <ac:cxnSpMkLst>
            <pc:docMk/>
            <pc:sldMk cId="2789639198" sldId="2147483100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5T11:10:56.500" v="689847"/>
          <ac:cxnSpMkLst>
            <pc:docMk/>
            <pc:sldMk cId="2789639198" sldId="2147483100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5T11:10:56.500" v="689849"/>
          <ac:cxnSpMkLst>
            <pc:docMk/>
            <pc:sldMk cId="2789639198" sldId="2147483100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5T11:10:56.500" v="689851"/>
          <ac:cxnSpMkLst>
            <pc:docMk/>
            <pc:sldMk cId="2789639198" sldId="2147483100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5T11:10:56.516" v="689867"/>
          <ac:cxnSpMkLst>
            <pc:docMk/>
            <pc:sldMk cId="2789639198" sldId="2147483100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5T11:10:56.516" v="689865"/>
          <ac:cxnSpMkLst>
            <pc:docMk/>
            <pc:sldMk cId="2789639198" sldId="2147483100"/>
            <ac:cxnSpMk id="1753" creationId="{6F89B6DC-E3F5-CD48-0D46-FFAA36062107}"/>
          </ac:cxnSpMkLst>
        </pc:cxnChg>
        <pc:cxnChg chg="mod ord">
          <ac:chgData name="Yudi Zhu" userId="571e1a55-055f-4c28-8b35-fca6dd1c1369" providerId="ADAL" clId="{75A88773-6EE1-484E-AADE-FE631E01463B}" dt="2025-11-25T11:10:56.469" v="689780"/>
          <ac:cxnSpMkLst>
            <pc:docMk/>
            <pc:sldMk cId="2789639198" sldId="2147483100"/>
            <ac:cxnSpMk id="1819" creationId="{89A23327-5608-B9B1-48B6-09A5B94BD12A}"/>
          </ac:cxnSpMkLst>
        </pc:cxnChg>
        <pc:cxnChg chg="mod ord">
          <ac:chgData name="Yudi Zhu" userId="571e1a55-055f-4c28-8b35-fca6dd1c1369" providerId="ADAL" clId="{75A88773-6EE1-484E-AADE-FE631E01463B}" dt="2025-11-25T11:10:56.453" v="689756"/>
          <ac:cxnSpMkLst>
            <pc:docMk/>
            <pc:sldMk cId="2789639198" sldId="2147483100"/>
            <ac:cxnSpMk id="1856" creationId="{D1BA9907-3658-82E5-F2ED-A6180F1B2854}"/>
          </ac:cxnSpMkLst>
        </pc:cxnChg>
        <pc:cxnChg chg="mod ord">
          <ac:chgData name="Yudi Zhu" userId="571e1a55-055f-4c28-8b35-fca6dd1c1369" providerId="ADAL" clId="{75A88773-6EE1-484E-AADE-FE631E01463B}" dt="2025-11-25T11:10:56.469" v="689768"/>
          <ac:cxnSpMkLst>
            <pc:docMk/>
            <pc:sldMk cId="2789639198" sldId="2147483100"/>
            <ac:cxnSpMk id="1857" creationId="{CF12010B-7B22-DD94-C36D-C11F4ECD2C5D}"/>
          </ac:cxnSpMkLst>
        </pc:cxnChg>
        <pc:cxnChg chg="mod ord">
          <ac:chgData name="Yudi Zhu" userId="571e1a55-055f-4c28-8b35-fca6dd1c1369" providerId="ADAL" clId="{75A88773-6EE1-484E-AADE-FE631E01463B}" dt="2025-11-25T11:10:56.469" v="689770"/>
          <ac:cxnSpMkLst>
            <pc:docMk/>
            <pc:sldMk cId="2789639198" sldId="2147483100"/>
            <ac:cxnSpMk id="1858" creationId="{0D4B99E3-DB56-6849-EF97-337EA1B0324A}"/>
          </ac:cxnSpMkLst>
        </pc:cxnChg>
        <pc:cxnChg chg="mod ord">
          <ac:chgData name="Yudi Zhu" userId="571e1a55-055f-4c28-8b35-fca6dd1c1369" providerId="ADAL" clId="{75A88773-6EE1-484E-AADE-FE631E01463B}" dt="2025-11-25T11:10:56.469" v="689778"/>
          <ac:cxnSpMkLst>
            <pc:docMk/>
            <pc:sldMk cId="2789639198" sldId="2147483100"/>
            <ac:cxnSpMk id="1859" creationId="{FD8FF0CA-37CF-D887-74DE-07CF29094DE7}"/>
          </ac:cxnSpMkLst>
        </pc:cxnChg>
        <pc:cxnChg chg="mod ord">
          <ac:chgData name="Yudi Zhu" userId="571e1a55-055f-4c28-8b35-fca6dd1c1369" providerId="ADAL" clId="{75A88773-6EE1-484E-AADE-FE631E01463B}" dt="2025-11-25T11:10:56.469" v="689782"/>
          <ac:cxnSpMkLst>
            <pc:docMk/>
            <pc:sldMk cId="2789639198" sldId="2147483100"/>
            <ac:cxnSpMk id="1860" creationId="{1A93DD93-BD90-4150-D381-32F900E769FB}"/>
          </ac:cxnSpMkLst>
        </pc:cxnChg>
        <pc:cxnChg chg="mod ord">
          <ac:chgData name="Yudi Zhu" userId="571e1a55-055f-4c28-8b35-fca6dd1c1369" providerId="ADAL" clId="{75A88773-6EE1-484E-AADE-FE631E01463B}" dt="2025-11-25T11:10:56.453" v="689740"/>
          <ac:cxnSpMkLst>
            <pc:docMk/>
            <pc:sldMk cId="2789639198" sldId="2147483100"/>
            <ac:cxnSpMk id="1861" creationId="{15660DEE-4916-933D-E2C2-A4D09FBA11D1}"/>
          </ac:cxnSpMkLst>
        </pc:cxnChg>
        <pc:cxnChg chg="add mod ord">
          <ac:chgData name="Yudi Zhu" userId="571e1a55-055f-4c28-8b35-fca6dd1c1369" providerId="ADAL" clId="{75A88773-6EE1-484E-AADE-FE631E01463B}" dt="2025-11-25T11:10:56.453" v="689750"/>
          <ac:cxnSpMkLst>
            <pc:docMk/>
            <pc:sldMk cId="2789639198" sldId="2147483100"/>
            <ac:cxnSpMk id="1871" creationId="{74572223-9B9C-77F6-58CF-4DBA3DF1D2C4}"/>
          </ac:cxnSpMkLst>
        </pc:cxnChg>
        <pc:cxnChg chg="mod ord">
          <ac:chgData name="Yudi Zhu" userId="571e1a55-055f-4c28-8b35-fca6dd1c1369" providerId="ADAL" clId="{75A88773-6EE1-484E-AADE-FE631E01463B}" dt="2025-11-25T11:10:56.422" v="689689"/>
          <ac:cxnSpMkLst>
            <pc:docMk/>
            <pc:sldMk cId="2789639198" sldId="2147483100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5T11:10:56.422" v="689691"/>
          <ac:cxnSpMkLst>
            <pc:docMk/>
            <pc:sldMk cId="2789639198" sldId="2147483100"/>
            <ac:cxnSpMk id="1916" creationId="{7945F6A2-9F38-277D-F5AE-EF96B3C11E5E}"/>
          </ac:cxnSpMkLst>
        </pc:cxnChg>
        <pc:cxnChg chg="mod ord">
          <ac:chgData name="Yudi Zhu" userId="571e1a55-055f-4c28-8b35-fca6dd1c1369" providerId="ADAL" clId="{75A88773-6EE1-484E-AADE-FE631E01463B}" dt="2025-11-25T11:10:56.522" v="689869"/>
          <ac:cxnSpMkLst>
            <pc:docMk/>
            <pc:sldMk cId="2789639198" sldId="2147483100"/>
            <ac:cxnSpMk id="2027" creationId="{EDEC6A54-327B-6A29-4374-80B7580FFFF9}"/>
          </ac:cxnSpMkLst>
        </pc:cxnChg>
        <pc:cxnChg chg="mod ord">
          <ac:chgData name="Yudi Zhu" userId="571e1a55-055f-4c28-8b35-fca6dd1c1369" providerId="ADAL" clId="{75A88773-6EE1-484E-AADE-FE631E01463B}" dt="2025-11-25T11:10:56.401" v="689620"/>
          <ac:cxnSpMkLst>
            <pc:docMk/>
            <pc:sldMk cId="2789639198" sldId="2147483100"/>
            <ac:cxnSpMk id="2048" creationId="{977756EB-51BC-9FC9-0AE4-4BD27EE431BC}"/>
          </ac:cxnSpMkLst>
        </pc:cxnChg>
        <pc:cxnChg chg="mod ord">
          <ac:chgData name="Yudi Zhu" userId="571e1a55-055f-4c28-8b35-fca6dd1c1369" providerId="ADAL" clId="{75A88773-6EE1-484E-AADE-FE631E01463B}" dt="2025-11-25T11:10:56.404" v="689628"/>
          <ac:cxnSpMkLst>
            <pc:docMk/>
            <pc:sldMk cId="2789639198" sldId="2147483100"/>
            <ac:cxnSpMk id="2049" creationId="{A165F795-E25E-73C6-34EF-CDE2FFF090E5}"/>
          </ac:cxnSpMkLst>
        </pc:cxnChg>
        <pc:cxnChg chg="mod ord">
          <ac:chgData name="Yudi Zhu" userId="571e1a55-055f-4c28-8b35-fca6dd1c1369" providerId="ADAL" clId="{75A88773-6EE1-484E-AADE-FE631E01463B}" dt="2025-11-25T11:10:56.405" v="689632"/>
          <ac:cxnSpMkLst>
            <pc:docMk/>
            <pc:sldMk cId="2789639198" sldId="2147483100"/>
            <ac:cxnSpMk id="2050" creationId="{EDE25A69-B05D-15E3-7AA6-CD653F7DBFDD}"/>
          </ac:cxnSpMkLst>
        </pc:cxnChg>
        <pc:cxnChg chg="mod ord">
          <ac:chgData name="Yudi Zhu" userId="571e1a55-055f-4c28-8b35-fca6dd1c1369" providerId="ADAL" clId="{75A88773-6EE1-484E-AADE-FE631E01463B}" dt="2025-11-25T11:10:56.407" v="689634"/>
          <ac:cxnSpMkLst>
            <pc:docMk/>
            <pc:sldMk cId="2789639198" sldId="2147483100"/>
            <ac:cxnSpMk id="2051" creationId="{2E9608A4-AA98-2C22-9C43-2579A93B7E18}"/>
          </ac:cxnSpMkLst>
        </pc:cxnChg>
        <pc:cxnChg chg="mod ord">
          <ac:chgData name="Yudi Zhu" userId="571e1a55-055f-4c28-8b35-fca6dd1c1369" providerId="ADAL" clId="{75A88773-6EE1-484E-AADE-FE631E01463B}" dt="2025-11-25T11:10:56.532" v="689887"/>
          <ac:cxnSpMkLst>
            <pc:docMk/>
            <pc:sldMk cId="2789639198" sldId="2147483100"/>
            <ac:cxnSpMk id="2074" creationId="{DC085743-D412-C3E0-BD8A-77CCC98E3B10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7:06:51.498" v="765915" actId="20577"/>
        <pc:sldMkLst>
          <pc:docMk/>
          <pc:sldMk cId="1537813439" sldId="2147483101"/>
        </pc:sldMkLst>
        <pc:spChg chg="mod ord">
          <ac:chgData name="Yudi Zhu" userId="571e1a55-055f-4c28-8b35-fca6dd1c1369" providerId="ADAL" clId="{75A88773-6EE1-484E-AADE-FE631E01463B}" dt="2025-11-25T11:08:04.596" v="681313" actId="948"/>
          <ac:spMkLst>
            <pc:docMk/>
            <pc:sldMk cId="1537813439" sldId="2147483101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5T10:40:09.118" v="659287"/>
          <ac:spMkLst>
            <pc:docMk/>
            <pc:sldMk cId="1537813439" sldId="2147483101"/>
            <ac:spMk id="4" creationId="{1EC5C633-8F9A-B845-1B37-51AAD5284CF8}"/>
          </ac:spMkLst>
        </pc:spChg>
        <pc:spChg chg="add del mod modVis">
          <ac:chgData name="Yudi Zhu" userId="571e1a55-055f-4c28-8b35-fca6dd1c1369" providerId="ADAL" clId="{75A88773-6EE1-484E-AADE-FE631E01463B}" dt="2025-11-25T11:00:05.766" v="669374"/>
          <ac:spMkLst>
            <pc:docMk/>
            <pc:sldMk cId="1537813439" sldId="2147483101"/>
            <ac:spMk id="5" creationId="{C5D11873-BDCD-7B8C-6414-1E760ADB8D17}"/>
          </ac:spMkLst>
        </pc:spChg>
        <pc:spChg chg="add del mod modVis">
          <ac:chgData name="Yudi Zhu" userId="571e1a55-055f-4c28-8b35-fca6dd1c1369" providerId="ADAL" clId="{75A88773-6EE1-484E-AADE-FE631E01463B}" dt="2025-11-25T11:00:17.353" v="669973"/>
          <ac:spMkLst>
            <pc:docMk/>
            <pc:sldMk cId="1537813439" sldId="2147483101"/>
            <ac:spMk id="9" creationId="{95E2D6F9-64AE-C198-FCA9-0C5527573D08}"/>
          </ac:spMkLst>
        </pc:spChg>
        <pc:spChg chg="add del mod modVis">
          <ac:chgData name="Yudi Zhu" userId="571e1a55-055f-4c28-8b35-fca6dd1c1369" providerId="ADAL" clId="{75A88773-6EE1-484E-AADE-FE631E01463B}" dt="2025-11-25T11:00:25.281" v="670515"/>
          <ac:spMkLst>
            <pc:docMk/>
            <pc:sldMk cId="1537813439" sldId="2147483101"/>
            <ac:spMk id="16" creationId="{45520578-EEEA-9AE9-B1FE-0DBF74D6D8C6}"/>
          </ac:spMkLst>
        </pc:spChg>
        <pc:spChg chg="add mod ord">
          <ac:chgData name="Yudi Zhu" userId="571e1a55-055f-4c28-8b35-fca6dd1c1369" providerId="ADAL" clId="{75A88773-6EE1-484E-AADE-FE631E01463B}" dt="2025-11-25T11:05:14.702" v="681156"/>
          <ac:spMkLst>
            <pc:docMk/>
            <pc:sldMk cId="1537813439" sldId="2147483101"/>
            <ac:spMk id="18" creationId="{7AEA4A94-1F79-C828-2511-848FF647E468}"/>
          </ac:spMkLst>
        </pc:spChg>
        <pc:spChg chg="add mod ord">
          <ac:chgData name="Yudi Zhu" userId="571e1a55-055f-4c28-8b35-fca6dd1c1369" providerId="ADAL" clId="{75A88773-6EE1-484E-AADE-FE631E01463B}" dt="2025-11-25T11:05:14.718" v="681158"/>
          <ac:spMkLst>
            <pc:docMk/>
            <pc:sldMk cId="1537813439" sldId="2147483101"/>
            <ac:spMk id="19" creationId="{2E59BEB4-C4FC-A61A-27FB-988B4780E4FD}"/>
          </ac:spMkLst>
        </pc:spChg>
        <pc:spChg chg="add mod">
          <ac:chgData name="Yudi Zhu" userId="571e1a55-055f-4c28-8b35-fca6dd1c1369" providerId="ADAL" clId="{75A88773-6EE1-484E-AADE-FE631E01463B}" dt="2025-11-25T11:05:14.702" v="681153"/>
          <ac:spMkLst>
            <pc:docMk/>
            <pc:sldMk cId="1537813439" sldId="2147483101"/>
            <ac:spMk id="20" creationId="{655FFDCB-0006-EBC2-4A20-957DFBC8FD96}"/>
          </ac:spMkLst>
        </pc:spChg>
        <pc:spChg chg="add mod ord">
          <ac:chgData name="Yudi Zhu" userId="571e1a55-055f-4c28-8b35-fca6dd1c1369" providerId="ADAL" clId="{75A88773-6EE1-484E-AADE-FE631E01463B}" dt="2025-11-25T11:05:14.718" v="681160"/>
          <ac:spMkLst>
            <pc:docMk/>
            <pc:sldMk cId="1537813439" sldId="2147483101"/>
            <ac:spMk id="21" creationId="{5E2FA5D1-4672-BC83-A2B2-F7A67ECB5C3C}"/>
          </ac:spMkLst>
        </pc:spChg>
        <pc:spChg chg="add mod ord">
          <ac:chgData name="Yudi Zhu" userId="571e1a55-055f-4c28-8b35-fca6dd1c1369" providerId="ADAL" clId="{75A88773-6EE1-484E-AADE-FE631E01463B}" dt="2025-11-25T11:05:14.718" v="681162"/>
          <ac:spMkLst>
            <pc:docMk/>
            <pc:sldMk cId="1537813439" sldId="2147483101"/>
            <ac:spMk id="22" creationId="{8BAC0810-B9D8-3D79-3BCF-05C64BB696A8}"/>
          </ac:spMkLst>
        </pc:spChg>
        <pc:spChg chg="add mod">
          <ac:chgData name="Yudi Zhu" userId="571e1a55-055f-4c28-8b35-fca6dd1c1369" providerId="ADAL" clId="{75A88773-6EE1-484E-AADE-FE631E01463B}" dt="2025-11-25T11:05:14.702" v="681154"/>
          <ac:spMkLst>
            <pc:docMk/>
            <pc:sldMk cId="1537813439" sldId="2147483101"/>
            <ac:spMk id="23" creationId="{25C76542-CF22-8917-3425-55C063B3F2FE}"/>
          </ac:spMkLst>
        </pc:spChg>
        <pc:spChg chg="add del mod modVis">
          <ac:chgData name="Yudi Zhu" userId="571e1a55-055f-4c28-8b35-fca6dd1c1369" providerId="ADAL" clId="{75A88773-6EE1-484E-AADE-FE631E01463B}" dt="2025-11-25T11:00:46.279" v="671060"/>
          <ac:spMkLst>
            <pc:docMk/>
            <pc:sldMk cId="1537813439" sldId="2147483101"/>
            <ac:spMk id="24" creationId="{19A5DEDD-EDA0-67A6-F509-CE0F66650AFA}"/>
          </ac:spMkLst>
        </pc:spChg>
        <pc:spChg chg="add del mod modVis">
          <ac:chgData name="Yudi Zhu" userId="571e1a55-055f-4c28-8b35-fca6dd1c1369" providerId="ADAL" clId="{75A88773-6EE1-484E-AADE-FE631E01463B}" dt="2025-11-25T11:00:52.682" v="671475"/>
          <ac:spMkLst>
            <pc:docMk/>
            <pc:sldMk cId="1537813439" sldId="2147483101"/>
            <ac:spMk id="26" creationId="{86BE1248-165D-C792-586A-EFF33BF02132}"/>
          </ac:spMkLst>
        </pc:spChg>
        <pc:spChg chg="add del mod modVis">
          <ac:chgData name="Yudi Zhu" userId="571e1a55-055f-4c28-8b35-fca6dd1c1369" providerId="ADAL" clId="{75A88773-6EE1-484E-AADE-FE631E01463B}" dt="2025-11-25T11:00:58.425" v="671882"/>
          <ac:spMkLst>
            <pc:docMk/>
            <pc:sldMk cId="1537813439" sldId="2147483101"/>
            <ac:spMk id="28" creationId="{B634F80D-37E8-D7EE-7E28-0FBF2AF509E0}"/>
          </ac:spMkLst>
        </pc:spChg>
        <pc:spChg chg="add del mod modVis">
          <ac:chgData name="Yudi Zhu" userId="571e1a55-055f-4c28-8b35-fca6dd1c1369" providerId="ADAL" clId="{75A88773-6EE1-484E-AADE-FE631E01463B}" dt="2025-11-25T11:01:59.171" v="672497"/>
          <ac:spMkLst>
            <pc:docMk/>
            <pc:sldMk cId="1537813439" sldId="2147483101"/>
            <ac:spMk id="30" creationId="{E772B8AE-EFFA-751E-99D0-86C1C6FD3809}"/>
          </ac:spMkLst>
        </pc:spChg>
        <pc:spChg chg="add del mod ord">
          <ac:chgData name="Yudi Zhu" userId="571e1a55-055f-4c28-8b35-fca6dd1c1369" providerId="ADAL" clId="{75A88773-6EE1-484E-AADE-FE631E01463B}" dt="2025-11-25T11:02:05.475" v="672949"/>
          <ac:spMkLst>
            <pc:docMk/>
            <pc:sldMk cId="1537813439" sldId="2147483101"/>
            <ac:spMk id="31" creationId="{57A99B72-E2E5-13AD-59D3-C0BC5E171405}"/>
          </ac:spMkLst>
        </pc:spChg>
        <pc:spChg chg="add del mod modVis">
          <ac:chgData name="Yudi Zhu" userId="571e1a55-055f-4c28-8b35-fca6dd1c1369" providerId="ADAL" clId="{75A88773-6EE1-484E-AADE-FE631E01463B}" dt="2025-11-25T11:02:06.171" v="673313"/>
          <ac:spMkLst>
            <pc:docMk/>
            <pc:sldMk cId="1537813439" sldId="2147483101"/>
            <ac:spMk id="33" creationId="{92C46196-6243-2C1C-7B91-826E31B6A5D9}"/>
          </ac:spMkLst>
        </pc:spChg>
        <pc:spChg chg="add del mod modVis">
          <ac:chgData name="Yudi Zhu" userId="571e1a55-055f-4c28-8b35-fca6dd1c1369" providerId="ADAL" clId="{75A88773-6EE1-484E-AADE-FE631E01463B}" dt="2025-11-25T11:02:12.824" v="673978"/>
          <ac:spMkLst>
            <pc:docMk/>
            <pc:sldMk cId="1537813439" sldId="2147483101"/>
            <ac:spMk id="41" creationId="{8027D72A-737E-4C33-C984-7FC24BD27043}"/>
          </ac:spMkLst>
        </pc:spChg>
        <pc:spChg chg="add del mod modVis">
          <ac:chgData name="Yudi Zhu" userId="571e1a55-055f-4c28-8b35-fca6dd1c1369" providerId="ADAL" clId="{75A88773-6EE1-484E-AADE-FE631E01463B}" dt="2025-11-25T11:02:28.902" v="674608"/>
          <ac:spMkLst>
            <pc:docMk/>
            <pc:sldMk cId="1537813439" sldId="2147483101"/>
            <ac:spMk id="44" creationId="{B323CCB7-B00E-9925-86F8-A73D000DAA9A}"/>
          </ac:spMkLst>
        </pc:spChg>
        <pc:spChg chg="add del mod modVis">
          <ac:chgData name="Yudi Zhu" userId="571e1a55-055f-4c28-8b35-fca6dd1c1369" providerId="ADAL" clId="{75A88773-6EE1-484E-AADE-FE631E01463B}" dt="2025-11-25T11:02:40.024" v="675300"/>
          <ac:spMkLst>
            <pc:docMk/>
            <pc:sldMk cId="1537813439" sldId="2147483101"/>
            <ac:spMk id="46" creationId="{FDAED589-0EBA-D4FC-5FA8-8F52B8AED1E1}"/>
          </ac:spMkLst>
        </pc:spChg>
        <pc:spChg chg="add del mod modVis">
          <ac:chgData name="Yudi Zhu" userId="571e1a55-055f-4c28-8b35-fca6dd1c1369" providerId="ADAL" clId="{75A88773-6EE1-484E-AADE-FE631E01463B}" dt="2025-11-25T11:03:14.093" v="675786"/>
          <ac:spMkLst>
            <pc:docMk/>
            <pc:sldMk cId="1537813439" sldId="2147483101"/>
            <ac:spMk id="48" creationId="{38CA7377-EAA0-25A8-ECB4-CDE380041531}"/>
          </ac:spMkLst>
        </pc:spChg>
        <pc:spChg chg="mod ord">
          <ac:chgData name="Yudi Zhu" userId="571e1a55-055f-4c28-8b35-fca6dd1c1369" providerId="ADAL" clId="{75A88773-6EE1-484E-AADE-FE631E01463B}" dt="2025-11-25T11:05:14.597" v="681101"/>
          <ac:spMkLst>
            <pc:docMk/>
            <pc:sldMk cId="1537813439" sldId="2147483101"/>
            <ac:spMk id="50" creationId="{02F6331E-5D73-6E69-0D56-C4DE5D68572C}"/>
          </ac:spMkLst>
        </pc:spChg>
        <pc:spChg chg="del mod ord">
          <ac:chgData name="Yudi Zhu" userId="571e1a55-055f-4c28-8b35-fca6dd1c1369" providerId="ADAL" clId="{75A88773-6EE1-484E-AADE-FE631E01463B}" dt="2025-11-25T11:05:13.453" v="680648"/>
          <ac:spMkLst>
            <pc:docMk/>
            <pc:sldMk cId="1537813439" sldId="2147483101"/>
            <ac:spMk id="51" creationId="{9C0C7DC5-9B73-37CA-1B50-CC7A6362A4E2}"/>
          </ac:spMkLst>
        </pc:spChg>
        <pc:spChg chg="del mod ord">
          <ac:chgData name="Yudi Zhu" userId="571e1a55-055f-4c28-8b35-fca6dd1c1369" providerId="ADAL" clId="{75A88773-6EE1-484E-AADE-FE631E01463B}" dt="2025-11-25T11:05:13.585" v="680696"/>
          <ac:spMkLst>
            <pc:docMk/>
            <pc:sldMk cId="1537813439" sldId="2147483101"/>
            <ac:spMk id="52" creationId="{0D711176-2CAE-6464-7127-84B92BFA5A0A}"/>
          </ac:spMkLst>
        </pc:spChg>
        <pc:spChg chg="del mod ord">
          <ac:chgData name="Yudi Zhu" userId="571e1a55-055f-4c28-8b35-fca6dd1c1369" providerId="ADAL" clId="{75A88773-6EE1-484E-AADE-FE631E01463B}" dt="2025-11-25T11:05:13.620" v="680714"/>
          <ac:spMkLst>
            <pc:docMk/>
            <pc:sldMk cId="1537813439" sldId="2147483101"/>
            <ac:spMk id="53" creationId="{D416A439-F437-CB7D-5D8F-C9C806308A88}"/>
          </ac:spMkLst>
        </pc:spChg>
        <pc:spChg chg="del mod ord">
          <ac:chgData name="Yudi Zhu" userId="571e1a55-055f-4c28-8b35-fca6dd1c1369" providerId="ADAL" clId="{75A88773-6EE1-484E-AADE-FE631E01463B}" dt="2025-11-25T11:05:13.668" v="680738"/>
          <ac:spMkLst>
            <pc:docMk/>
            <pc:sldMk cId="1537813439" sldId="2147483101"/>
            <ac:spMk id="54" creationId="{77D4B05C-BCC1-6709-C059-13F84D9F7770}"/>
          </ac:spMkLst>
        </pc:spChg>
        <pc:spChg chg="del mod ord">
          <ac:chgData name="Yudi Zhu" userId="571e1a55-055f-4c28-8b35-fca6dd1c1369" providerId="ADAL" clId="{75A88773-6EE1-484E-AADE-FE631E01463B}" dt="2025-11-25T11:05:13.668" v="680742"/>
          <ac:spMkLst>
            <pc:docMk/>
            <pc:sldMk cId="1537813439" sldId="2147483101"/>
            <ac:spMk id="55" creationId="{7EDBB2B4-EF67-25C3-C8B0-FB513D9A3CD3}"/>
          </ac:spMkLst>
        </pc:spChg>
        <pc:spChg chg="del mod ord">
          <ac:chgData name="Yudi Zhu" userId="571e1a55-055f-4c28-8b35-fca6dd1c1369" providerId="ADAL" clId="{75A88773-6EE1-484E-AADE-FE631E01463B}" dt="2025-11-25T11:05:13.762" v="680774"/>
          <ac:spMkLst>
            <pc:docMk/>
            <pc:sldMk cId="1537813439" sldId="2147483101"/>
            <ac:spMk id="56" creationId="{D0AD0539-7B6F-111C-ED13-D1B443ABA2B3}"/>
          </ac:spMkLst>
        </pc:spChg>
        <pc:spChg chg="mod">
          <ac:chgData name="Yudi Zhu" userId="571e1a55-055f-4c28-8b35-fca6dd1c1369" providerId="ADAL" clId="{75A88773-6EE1-484E-AADE-FE631E01463B}" dt="2025-11-25T11:05:14.491" v="681038"/>
          <ac:spMkLst>
            <pc:docMk/>
            <pc:sldMk cId="1537813439" sldId="2147483101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5T11:05:14.404" v="681009"/>
          <ac:spMkLst>
            <pc:docMk/>
            <pc:sldMk cId="1537813439" sldId="2147483101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5T11:05:14.404" v="681010"/>
          <ac:spMkLst>
            <pc:docMk/>
            <pc:sldMk cId="1537813439" sldId="2147483101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5T11:05:14.404" v="681011"/>
          <ac:spMkLst>
            <pc:docMk/>
            <pc:sldMk cId="1537813439" sldId="2147483101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5T11:05:14.419" v="681012"/>
          <ac:spMkLst>
            <pc:docMk/>
            <pc:sldMk cId="1537813439" sldId="2147483101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5T11:05:14.424" v="681013"/>
          <ac:spMkLst>
            <pc:docMk/>
            <pc:sldMk cId="1537813439" sldId="2147483101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5T11:05:14.424" v="681014"/>
          <ac:spMkLst>
            <pc:docMk/>
            <pc:sldMk cId="1537813439" sldId="2147483101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5T11:05:14.424" v="681015"/>
          <ac:spMkLst>
            <pc:docMk/>
            <pc:sldMk cId="1537813439" sldId="2147483101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5T11:05:14.435" v="681016"/>
          <ac:spMkLst>
            <pc:docMk/>
            <pc:sldMk cId="1537813439" sldId="2147483101"/>
            <ac:spMk id="320" creationId="{E86B3B8E-37AC-519F-45A3-5BD8642641E6}"/>
          </ac:spMkLst>
        </pc:spChg>
        <pc:spChg chg="mod ord">
          <ac:chgData name="Yudi Zhu" userId="571e1a55-055f-4c28-8b35-fca6dd1c1369" providerId="ADAL" clId="{75A88773-6EE1-484E-AADE-FE631E01463B}" dt="2025-11-25T11:05:14.435" v="681017"/>
          <ac:spMkLst>
            <pc:docMk/>
            <pc:sldMk cId="1537813439" sldId="2147483101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5T11:05:14.447" v="681020"/>
          <ac:spMkLst>
            <pc:docMk/>
            <pc:sldMk cId="1537813439" sldId="2147483101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5T11:05:14.444" v="681019"/>
          <ac:spMkLst>
            <pc:docMk/>
            <pc:sldMk cId="1537813439" sldId="2147483101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5T11:05:14.491" v="681039"/>
          <ac:spMkLst>
            <pc:docMk/>
            <pc:sldMk cId="1537813439" sldId="2147483101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5T11:05:14.451" v="681021"/>
          <ac:spMkLst>
            <pc:docMk/>
            <pc:sldMk cId="1537813439" sldId="2147483101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5T11:05:14.454" v="681022"/>
          <ac:spMkLst>
            <pc:docMk/>
            <pc:sldMk cId="1537813439" sldId="2147483101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5T11:05:14.458" v="681023"/>
          <ac:spMkLst>
            <pc:docMk/>
            <pc:sldMk cId="1537813439" sldId="2147483101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5T11:05:14.461" v="681024"/>
          <ac:spMkLst>
            <pc:docMk/>
            <pc:sldMk cId="1537813439" sldId="2147483101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5T11:05:14.465" v="681025"/>
          <ac:spMkLst>
            <pc:docMk/>
            <pc:sldMk cId="1537813439" sldId="2147483101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5T11:05:14.468" v="681026"/>
          <ac:spMkLst>
            <pc:docMk/>
            <pc:sldMk cId="1537813439" sldId="2147483101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5T11:05:14.472" v="681027"/>
          <ac:spMkLst>
            <pc:docMk/>
            <pc:sldMk cId="1537813439" sldId="2147483101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5T11:05:14.472" v="681028"/>
          <ac:spMkLst>
            <pc:docMk/>
            <pc:sldMk cId="1537813439" sldId="2147483101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5T11:05:14.472" v="681032"/>
          <ac:spMkLst>
            <pc:docMk/>
            <pc:sldMk cId="1537813439" sldId="2147483101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5T11:05:14.472" v="681029"/>
          <ac:spMkLst>
            <pc:docMk/>
            <pc:sldMk cId="1537813439" sldId="2147483101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5T11:05:14.472" v="681030"/>
          <ac:spMkLst>
            <pc:docMk/>
            <pc:sldMk cId="1537813439" sldId="2147483101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5T11:05:14.472" v="681031"/>
          <ac:spMkLst>
            <pc:docMk/>
            <pc:sldMk cId="1537813439" sldId="2147483101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5T11:05:14.472" v="681034"/>
          <ac:spMkLst>
            <pc:docMk/>
            <pc:sldMk cId="1537813439" sldId="2147483101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5T11:05:14.440" v="681018"/>
          <ac:spMkLst>
            <pc:docMk/>
            <pc:sldMk cId="1537813439" sldId="2147483101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5T11:05:14.488" v="681035"/>
          <ac:spMkLst>
            <pc:docMk/>
            <pc:sldMk cId="1537813439" sldId="2147483101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5T11:05:14.491" v="681036"/>
          <ac:spMkLst>
            <pc:docMk/>
            <pc:sldMk cId="1537813439" sldId="2147483101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5T11:05:14.491" v="681037"/>
          <ac:spMkLst>
            <pc:docMk/>
            <pc:sldMk cId="1537813439" sldId="2147483101"/>
            <ac:spMk id="347" creationId="{90303146-CD91-5A62-9BB6-085A9E75310C}"/>
          </ac:spMkLst>
        </pc:spChg>
        <pc:spChg chg="mod ord">
          <ac:chgData name="Yudi Zhu" userId="571e1a55-055f-4c28-8b35-fca6dd1c1369" providerId="ADAL" clId="{75A88773-6EE1-484E-AADE-FE631E01463B}" dt="2025-11-25T11:05:14.503" v="681041"/>
          <ac:spMkLst>
            <pc:docMk/>
            <pc:sldMk cId="1537813439" sldId="2147483101"/>
            <ac:spMk id="350" creationId="{29244B0B-E2EE-A2BC-96A2-0D5A3B3BD02C}"/>
          </ac:spMkLst>
        </pc:spChg>
        <pc:spChg chg="mod ord">
          <ac:chgData name="Yudi Zhu" userId="571e1a55-055f-4c28-8b35-fca6dd1c1369" providerId="ADAL" clId="{75A88773-6EE1-484E-AADE-FE631E01463B}" dt="2025-11-25T11:05:14.503" v="681043"/>
          <ac:spMkLst>
            <pc:docMk/>
            <pc:sldMk cId="1537813439" sldId="2147483101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5T11:05:14.503" v="681046"/>
          <ac:spMkLst>
            <pc:docMk/>
            <pc:sldMk cId="1537813439" sldId="2147483101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5T11:05:14.503" v="681047"/>
          <ac:spMkLst>
            <pc:docMk/>
            <pc:sldMk cId="1537813439" sldId="2147483101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5T11:05:14.519" v="681048"/>
          <ac:spMkLst>
            <pc:docMk/>
            <pc:sldMk cId="1537813439" sldId="2147483101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5T11:05:14.519" v="681053"/>
          <ac:spMkLst>
            <pc:docMk/>
            <pc:sldMk cId="1537813439" sldId="2147483101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5T11:05:14.534" v="681054"/>
          <ac:spMkLst>
            <pc:docMk/>
            <pc:sldMk cId="1537813439" sldId="2147483101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5T11:05:14.519" v="681050"/>
          <ac:spMkLst>
            <pc:docMk/>
            <pc:sldMk cId="1537813439" sldId="2147483101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5T11:05:14.519" v="681052"/>
          <ac:spMkLst>
            <pc:docMk/>
            <pc:sldMk cId="1537813439" sldId="2147483101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5T11:05:14.734" v="681173"/>
          <ac:spMkLst>
            <pc:docMk/>
            <pc:sldMk cId="1537813439" sldId="2147483101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5T11:05:14.750" v="681175"/>
          <ac:spMkLst>
            <pc:docMk/>
            <pc:sldMk cId="1537813439" sldId="2147483101"/>
            <ac:spMk id="1003" creationId="{383A4D55-87AC-E7AD-D775-159B8AA91BD4}"/>
          </ac:spMkLst>
        </pc:spChg>
        <pc:spChg chg="mod ord">
          <ac:chgData name="Yudi Zhu" userId="571e1a55-055f-4c28-8b35-fca6dd1c1369" providerId="ADAL" clId="{75A88773-6EE1-484E-AADE-FE631E01463B}" dt="2025-11-25T11:05:14.734" v="681172"/>
          <ac:spMkLst>
            <pc:docMk/>
            <pc:sldMk cId="1537813439" sldId="2147483101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5T11:05:14.749" v="681174"/>
          <ac:spMkLst>
            <pc:docMk/>
            <pc:sldMk cId="1537813439" sldId="2147483101"/>
            <ac:spMk id="1166" creationId="{C21E8AFD-DF88-3440-816B-93B8FDB6B328}"/>
          </ac:spMkLst>
        </pc:spChg>
        <pc:spChg chg="mod ord">
          <ac:chgData name="Yudi Zhu" userId="571e1a55-055f-4c28-8b35-fca6dd1c1369" providerId="ADAL" clId="{75A88773-6EE1-484E-AADE-FE631E01463B}" dt="2025-11-25T11:05:14.340" v="680970"/>
          <ac:spMkLst>
            <pc:docMk/>
            <pc:sldMk cId="1537813439" sldId="2147483101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5T11:05:14.372" v="680979"/>
          <ac:spMkLst>
            <pc:docMk/>
            <pc:sldMk cId="1537813439" sldId="2147483101"/>
            <ac:spMk id="1195" creationId="{5C1C629A-FB4A-9DCD-82D7-CB67AA109C26}"/>
          </ac:spMkLst>
        </pc:spChg>
        <pc:spChg chg="mod">
          <ac:chgData name="Yudi Zhu" userId="571e1a55-055f-4c28-8b35-fca6dd1c1369" providerId="ADAL" clId="{75A88773-6EE1-484E-AADE-FE631E01463B}" dt="2025-11-25T11:05:14.372" v="680980"/>
          <ac:spMkLst>
            <pc:docMk/>
            <pc:sldMk cId="1537813439" sldId="2147483101"/>
            <ac:spMk id="1196" creationId="{C596882D-6FC7-950A-AE47-E000121672A5}"/>
          </ac:spMkLst>
        </pc:spChg>
        <pc:spChg chg="mod ord">
          <ac:chgData name="Yudi Zhu" userId="571e1a55-055f-4c28-8b35-fca6dd1c1369" providerId="ADAL" clId="{75A88773-6EE1-484E-AADE-FE631E01463B}" dt="2025-11-25T11:05:14.372" v="680981"/>
          <ac:spMkLst>
            <pc:docMk/>
            <pc:sldMk cId="1537813439" sldId="2147483101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5T11:05:14.372" v="680982"/>
          <ac:spMkLst>
            <pc:docMk/>
            <pc:sldMk cId="1537813439" sldId="2147483101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5T11:05:14.372" v="680984"/>
          <ac:spMkLst>
            <pc:docMk/>
            <pc:sldMk cId="1537813439" sldId="2147483101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5T11:05:14.372" v="680985"/>
          <ac:spMkLst>
            <pc:docMk/>
            <pc:sldMk cId="1537813439" sldId="2147483101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5T11:05:14.372" v="680987"/>
          <ac:spMkLst>
            <pc:docMk/>
            <pc:sldMk cId="1537813439" sldId="2147483101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5T11:05:14.372" v="680988"/>
          <ac:spMkLst>
            <pc:docMk/>
            <pc:sldMk cId="1537813439" sldId="2147483101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5T11:05:14.372" v="680990"/>
          <ac:spMkLst>
            <pc:docMk/>
            <pc:sldMk cId="1537813439" sldId="2147483101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5T11:05:14.372" v="680992"/>
          <ac:spMkLst>
            <pc:docMk/>
            <pc:sldMk cId="1537813439" sldId="2147483101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5T11:05:14.372" v="680993"/>
          <ac:spMkLst>
            <pc:docMk/>
            <pc:sldMk cId="1537813439" sldId="2147483101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5T11:05:14.372" v="680994"/>
          <ac:spMkLst>
            <pc:docMk/>
            <pc:sldMk cId="1537813439" sldId="2147483101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5T11:05:14.324" v="680963"/>
          <ac:spMkLst>
            <pc:docMk/>
            <pc:sldMk cId="1537813439" sldId="2147483101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5T11:05:14.324" v="680964"/>
          <ac:spMkLst>
            <pc:docMk/>
            <pc:sldMk cId="1537813439" sldId="2147483101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5T11:05:14.340" v="680966"/>
          <ac:spMkLst>
            <pc:docMk/>
            <pc:sldMk cId="1537813439" sldId="2147483101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5T11:05:14.340" v="680968"/>
          <ac:spMkLst>
            <pc:docMk/>
            <pc:sldMk cId="1537813439" sldId="2147483101"/>
            <ac:spMk id="1210" creationId="{1EBFC0FC-B017-5C41-EEC2-FC925CF6E4D7}"/>
          </ac:spMkLst>
        </pc:spChg>
        <pc:spChg chg="mod">
          <ac:chgData name="Yudi Zhu" userId="571e1a55-055f-4c28-8b35-fca6dd1c1369" providerId="ADAL" clId="{75A88773-6EE1-484E-AADE-FE631E01463B}" dt="2025-11-25T11:05:14.340" v="680969"/>
          <ac:spMkLst>
            <pc:docMk/>
            <pc:sldMk cId="1537813439" sldId="2147483101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5T11:05:14.388" v="680995"/>
          <ac:spMkLst>
            <pc:docMk/>
            <pc:sldMk cId="1537813439" sldId="2147483101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5T11:05:14.356" v="680972"/>
          <ac:spMkLst>
            <pc:docMk/>
            <pc:sldMk cId="1537813439" sldId="2147483101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5T11:05:14.356" v="680973"/>
          <ac:spMkLst>
            <pc:docMk/>
            <pc:sldMk cId="1537813439" sldId="2147483101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5T11:05:14.356" v="680975"/>
          <ac:spMkLst>
            <pc:docMk/>
            <pc:sldMk cId="1537813439" sldId="2147483101"/>
            <ac:spMk id="1215" creationId="{0959939C-0A28-522F-5D60-C7E1780901F6}"/>
          </ac:spMkLst>
        </pc:spChg>
        <pc:spChg chg="mod ord">
          <ac:chgData name="Yudi Zhu" userId="571e1a55-055f-4c28-8b35-fca6dd1c1369" providerId="ADAL" clId="{75A88773-6EE1-484E-AADE-FE631E01463B}" dt="2025-11-25T11:05:14.356" v="680977"/>
          <ac:spMkLst>
            <pc:docMk/>
            <pc:sldMk cId="1537813439" sldId="2147483101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5T11:05:14.671" v="681137"/>
          <ac:spMkLst>
            <pc:docMk/>
            <pc:sldMk cId="1537813439" sldId="2147483101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5T11:05:14.686" v="681138"/>
          <ac:spMkLst>
            <pc:docMk/>
            <pc:sldMk cId="1537813439" sldId="2147483101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5T11:05:14.686" v="681139"/>
          <ac:spMkLst>
            <pc:docMk/>
            <pc:sldMk cId="1537813439" sldId="2147483101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5T11:05:14.597" v="681099"/>
          <ac:spMkLst>
            <pc:docMk/>
            <pc:sldMk cId="1537813439" sldId="2147483101"/>
            <ac:spMk id="1442" creationId="{00445C12-10C4-A371-D4EA-BD360FAE32DA}"/>
          </ac:spMkLst>
        </pc:spChg>
        <pc:spChg chg="mod">
          <ac:chgData name="Yudi Zhu" userId="571e1a55-055f-4c28-8b35-fca6dd1c1369" providerId="ADAL" clId="{75A88773-6EE1-484E-AADE-FE631E01463B}" dt="2025-11-25T11:05:14.734" v="681171"/>
          <ac:spMkLst>
            <pc:docMk/>
            <pc:sldMk cId="1537813439" sldId="2147483101"/>
            <ac:spMk id="1446" creationId="{64AF7A77-327B-D09F-2ABB-1BA14094EC19}"/>
          </ac:spMkLst>
        </pc:spChg>
        <pc:spChg chg="del mod ord">
          <ac:chgData name="Yudi Zhu" userId="571e1a55-055f-4c28-8b35-fca6dd1c1369" providerId="ADAL" clId="{75A88773-6EE1-484E-AADE-FE631E01463B}" dt="2025-11-25T11:05:13.769" v="680778"/>
          <ac:spMkLst>
            <pc:docMk/>
            <pc:sldMk cId="1537813439" sldId="2147483101"/>
            <ac:spMk id="1449" creationId="{300E10D2-719E-3D82-5CBF-5A612C09A088}"/>
          </ac:spMkLst>
        </pc:spChg>
        <pc:spChg chg="mod">
          <ac:chgData name="Yudi Zhu" userId="571e1a55-055f-4c28-8b35-fca6dd1c1369" providerId="ADAL" clId="{75A88773-6EE1-484E-AADE-FE631E01463B}" dt="2025-11-25T11:05:14.757" v="681178"/>
          <ac:spMkLst>
            <pc:docMk/>
            <pc:sldMk cId="1537813439" sldId="2147483101"/>
            <ac:spMk id="1452" creationId="{62BA64F5-B2CE-CEB8-BB9B-25B44F9A2E19}"/>
          </ac:spMkLst>
        </pc:spChg>
        <pc:spChg chg="del mod ord">
          <ac:chgData name="Yudi Zhu" userId="571e1a55-055f-4c28-8b35-fca6dd1c1369" providerId="ADAL" clId="{75A88773-6EE1-484E-AADE-FE631E01463B}" dt="2025-11-25T11:05:13.620" v="680718"/>
          <ac:spMkLst>
            <pc:docMk/>
            <pc:sldMk cId="1537813439" sldId="2147483101"/>
            <ac:spMk id="1480" creationId="{5295C0BA-22F3-96FA-1230-66FF8C5051FC}"/>
          </ac:spMkLst>
        </pc:spChg>
        <pc:spChg chg="mod">
          <ac:chgData name="Yudi Zhu" userId="571e1a55-055f-4c28-8b35-fca6dd1c1369" providerId="ADAL" clId="{75A88773-6EE1-484E-AADE-FE631E01463B}" dt="2025-11-25T11:05:14.356" v="680976"/>
          <ac:spMkLst>
            <pc:docMk/>
            <pc:sldMk cId="1537813439" sldId="2147483101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5T11:05:14.285" v="680932"/>
          <ac:spMkLst>
            <pc:docMk/>
            <pc:sldMk cId="1537813439" sldId="2147483101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5T11:05:14.734" v="681170"/>
          <ac:spMkLst>
            <pc:docMk/>
            <pc:sldMk cId="1537813439" sldId="2147483101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5T11:05:14.750" v="681177"/>
          <ac:spMkLst>
            <pc:docMk/>
            <pc:sldMk cId="1537813439" sldId="2147483101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5T11:05:14.757" v="681180"/>
          <ac:spMkLst>
            <pc:docMk/>
            <pc:sldMk cId="1537813439" sldId="2147483101"/>
            <ac:spMk id="1630" creationId="{E05CDD48-0DEC-9132-BDFB-46D714F23D3B}"/>
          </ac:spMkLst>
        </pc:spChg>
        <pc:spChg chg="mod">
          <ac:chgData name="Yudi Zhu" userId="571e1a55-055f-4c28-8b35-fca6dd1c1369" providerId="ADAL" clId="{75A88773-6EE1-484E-AADE-FE631E01463B}" dt="2025-11-25T11:05:14.614" v="681102"/>
          <ac:spMkLst>
            <pc:docMk/>
            <pc:sldMk cId="1537813439" sldId="2147483101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5T11:05:14.655" v="681122"/>
          <ac:spMkLst>
            <pc:docMk/>
            <pc:sldMk cId="1537813439" sldId="2147483101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5T11:05:14.614" v="681103"/>
          <ac:spMkLst>
            <pc:docMk/>
            <pc:sldMk cId="1537813439" sldId="2147483101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5T11:05:14.624" v="681104"/>
          <ac:spMkLst>
            <pc:docMk/>
            <pc:sldMk cId="1537813439" sldId="2147483101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5T11:05:14.627" v="681105"/>
          <ac:spMkLst>
            <pc:docMk/>
            <pc:sldMk cId="1537813439" sldId="2147483101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5T11:05:14.631" v="681106"/>
          <ac:spMkLst>
            <pc:docMk/>
            <pc:sldMk cId="1537813439" sldId="2147483101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5T11:05:14.646" v="681115"/>
          <ac:spMkLst>
            <pc:docMk/>
            <pc:sldMk cId="1537813439" sldId="2147483101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5T11:05:14.655" v="681124"/>
          <ac:spMkLst>
            <pc:docMk/>
            <pc:sldMk cId="1537813439" sldId="2147483101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5T11:05:14.655" v="681123"/>
          <ac:spMkLst>
            <pc:docMk/>
            <pc:sldMk cId="1537813439" sldId="2147483101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5T11:05:14.655" v="681121"/>
          <ac:spMkLst>
            <pc:docMk/>
            <pc:sldMk cId="1537813439" sldId="2147483101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5T11:05:14.655" v="681120"/>
          <ac:spMkLst>
            <pc:docMk/>
            <pc:sldMk cId="1537813439" sldId="2147483101"/>
            <ac:spMk id="1691" creationId="{C50F3DAA-EFE1-8572-5206-F1A4416A7C6F}"/>
          </ac:spMkLst>
        </pc:spChg>
        <pc:spChg chg="del mod ord">
          <ac:chgData name="Yudi Zhu" userId="571e1a55-055f-4c28-8b35-fca6dd1c1369" providerId="ADAL" clId="{75A88773-6EE1-484E-AADE-FE631E01463B}" dt="2025-11-25T11:03:41.257" v="676968"/>
          <ac:spMkLst>
            <pc:docMk/>
            <pc:sldMk cId="1537813439" sldId="2147483101"/>
            <ac:spMk id="1820" creationId="{B6D15CE4-D8E1-C9EE-1076-53DEEB71111D}"/>
          </ac:spMkLst>
        </pc:spChg>
        <pc:spChg chg="mod ord">
          <ac:chgData name="Yudi Zhu" userId="571e1a55-055f-4c28-8b35-fca6dd1c1369" providerId="ADAL" clId="{75A88773-6EE1-484E-AADE-FE631E01463B}" dt="2025-11-25T11:05:14.766" v="681190"/>
          <ac:spMkLst>
            <pc:docMk/>
            <pc:sldMk cId="1537813439" sldId="2147483101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5T11:05:14.766" v="681193"/>
          <ac:spMkLst>
            <pc:docMk/>
            <pc:sldMk cId="1537813439" sldId="2147483101"/>
            <ac:spMk id="1854" creationId="{4E1BFB1E-6485-A062-B5BB-5B285C6BD15C}"/>
          </ac:spMkLst>
        </pc:spChg>
        <pc:spChg chg="add del mod modVis">
          <ac:chgData name="Yudi Zhu" userId="571e1a55-055f-4c28-8b35-fca6dd1c1369" providerId="ADAL" clId="{75A88773-6EE1-484E-AADE-FE631E01463B}" dt="2025-11-25T11:03:17.208" v="676122"/>
          <ac:spMkLst>
            <pc:docMk/>
            <pc:sldMk cId="1537813439" sldId="2147483101"/>
            <ac:spMk id="1862" creationId="{E3E27A8B-9CA0-0C4D-F8C6-3E43B26DD8A3}"/>
          </ac:spMkLst>
        </pc:spChg>
        <pc:spChg chg="add del mod modVis">
          <ac:chgData name="Yudi Zhu" userId="571e1a55-055f-4c28-8b35-fca6dd1c1369" providerId="ADAL" clId="{75A88773-6EE1-484E-AADE-FE631E01463B}" dt="2025-11-25T11:03:36.841" v="676536"/>
          <ac:spMkLst>
            <pc:docMk/>
            <pc:sldMk cId="1537813439" sldId="2147483101"/>
            <ac:spMk id="1864" creationId="{6F54CF76-BA98-FD63-A104-A570E842129F}"/>
          </ac:spMkLst>
        </pc:spChg>
        <pc:spChg chg="add del mod ord">
          <ac:chgData name="Yudi Zhu" userId="571e1a55-055f-4c28-8b35-fca6dd1c1369" providerId="ADAL" clId="{75A88773-6EE1-484E-AADE-FE631E01463B}" dt="2025-11-25T11:03:45.178" v="677278"/>
          <ac:spMkLst>
            <pc:docMk/>
            <pc:sldMk cId="1537813439" sldId="2147483101"/>
            <ac:spMk id="1865" creationId="{F7C8485B-975D-B4E7-BC89-A5890BF301FF}"/>
          </ac:spMkLst>
        </pc:spChg>
        <pc:spChg chg="add del mod modVis">
          <ac:chgData name="Yudi Zhu" userId="571e1a55-055f-4c28-8b35-fca6dd1c1369" providerId="ADAL" clId="{75A88773-6EE1-484E-AADE-FE631E01463B}" dt="2025-11-25T11:03:39.328" v="676907"/>
          <ac:spMkLst>
            <pc:docMk/>
            <pc:sldMk cId="1537813439" sldId="2147483101"/>
            <ac:spMk id="1867" creationId="{28CE349E-F038-A53F-DF75-4BCE91FDB3F1}"/>
          </ac:spMkLst>
        </pc:spChg>
        <pc:spChg chg="add del mod modVis">
          <ac:chgData name="Yudi Zhu" userId="571e1a55-055f-4c28-8b35-fca6dd1c1369" providerId="ADAL" clId="{75A88773-6EE1-484E-AADE-FE631E01463B}" dt="2025-11-25T11:03:41.837" v="677270"/>
          <ac:spMkLst>
            <pc:docMk/>
            <pc:sldMk cId="1537813439" sldId="2147483101"/>
            <ac:spMk id="1869" creationId="{3D2210A5-02C0-C944-E1DB-9BA6B76EC4A7}"/>
          </ac:spMkLst>
        </pc:spChg>
        <pc:spChg chg="add del mod modVis">
          <ac:chgData name="Yudi Zhu" userId="571e1a55-055f-4c28-8b35-fca6dd1c1369" providerId="ADAL" clId="{75A88773-6EE1-484E-AADE-FE631E01463B}" dt="2025-11-25T11:05:14.804" v="681207"/>
          <ac:spMkLst>
            <pc:docMk/>
            <pc:sldMk cId="1537813439" sldId="2147483101"/>
            <ac:spMk id="1879" creationId="{BB19EB84-68A5-A2C6-4851-8707EFFA8A13}"/>
          </ac:spMkLst>
        </pc:spChg>
        <pc:spChg chg="add mod ord">
          <ac:chgData name="Yudi Zhu" userId="571e1a55-055f-4c28-8b35-fca6dd1c1369" providerId="ADAL" clId="{75A88773-6EE1-484E-AADE-FE631E01463B}" dt="2025-11-25T11:05:14.671" v="681126"/>
          <ac:spMkLst>
            <pc:docMk/>
            <pc:sldMk cId="1537813439" sldId="2147483101"/>
            <ac:spMk id="1880" creationId="{AE8B4BA6-D54F-81BD-435A-2D64FA70239D}"/>
          </ac:spMkLst>
        </pc:spChg>
        <pc:spChg chg="add mod ord">
          <ac:chgData name="Yudi Zhu" userId="571e1a55-055f-4c28-8b35-fca6dd1c1369" providerId="ADAL" clId="{75A88773-6EE1-484E-AADE-FE631E01463B}" dt="2025-11-25T11:05:14.671" v="681128"/>
          <ac:spMkLst>
            <pc:docMk/>
            <pc:sldMk cId="1537813439" sldId="2147483101"/>
            <ac:spMk id="1881" creationId="{2AF42E19-7BE5-3476-C0BB-EC9E2A1D0644}"/>
          </ac:spMkLst>
        </pc:spChg>
        <pc:spChg chg="add mod ord">
          <ac:chgData name="Yudi Zhu" userId="571e1a55-055f-4c28-8b35-fca6dd1c1369" providerId="ADAL" clId="{75A88773-6EE1-484E-AADE-FE631E01463B}" dt="2025-11-25T11:05:14.634" v="681108"/>
          <ac:spMkLst>
            <pc:docMk/>
            <pc:sldMk cId="1537813439" sldId="2147483101"/>
            <ac:spMk id="1882" creationId="{803757EA-07D7-E0C8-BC2E-29B54FBEF0A9}"/>
          </ac:spMkLst>
        </pc:spChg>
        <pc:spChg chg="add mod ord">
          <ac:chgData name="Yudi Zhu" userId="571e1a55-055f-4c28-8b35-fca6dd1c1369" providerId="ADAL" clId="{75A88773-6EE1-484E-AADE-FE631E01463B}" dt="2025-11-25T11:05:14.638" v="681110"/>
          <ac:spMkLst>
            <pc:docMk/>
            <pc:sldMk cId="1537813439" sldId="2147483101"/>
            <ac:spMk id="1883" creationId="{EE6BCFFF-20DE-87A8-B4A4-3EB2AA8D80E6}"/>
          </ac:spMkLst>
        </pc:spChg>
        <pc:spChg chg="add mod ord">
          <ac:chgData name="Yudi Zhu" userId="571e1a55-055f-4c28-8b35-fca6dd1c1369" providerId="ADAL" clId="{75A88773-6EE1-484E-AADE-FE631E01463B}" dt="2025-11-25T11:05:14.641" v="681112"/>
          <ac:spMkLst>
            <pc:docMk/>
            <pc:sldMk cId="1537813439" sldId="2147483101"/>
            <ac:spMk id="1884" creationId="{76B5F8B1-7B9C-E2CA-9AE5-71A2720C6368}"/>
          </ac:spMkLst>
        </pc:spChg>
        <pc:spChg chg="add mod ord">
          <ac:chgData name="Yudi Zhu" userId="571e1a55-055f-4c28-8b35-fca6dd1c1369" providerId="ADAL" clId="{75A88773-6EE1-484E-AADE-FE631E01463B}" dt="2025-11-25T11:05:14.644" v="681114"/>
          <ac:spMkLst>
            <pc:docMk/>
            <pc:sldMk cId="1537813439" sldId="2147483101"/>
            <ac:spMk id="1885" creationId="{EA51EBDE-5A72-47FF-CEA0-4AE0B9734B90}"/>
          </ac:spMkLst>
        </pc:spChg>
        <pc:spChg chg="add mod ord">
          <ac:chgData name="Yudi Zhu" userId="571e1a55-055f-4c28-8b35-fca6dd1c1369" providerId="ADAL" clId="{75A88773-6EE1-484E-AADE-FE631E01463B}" dt="2025-11-25T11:05:14.671" v="681130"/>
          <ac:spMkLst>
            <pc:docMk/>
            <pc:sldMk cId="1537813439" sldId="2147483101"/>
            <ac:spMk id="1886" creationId="{BE402BEE-ADF8-3CB6-4744-C918D08D3F5F}"/>
          </ac:spMkLst>
        </pc:spChg>
        <pc:spChg chg="add mod ord">
          <ac:chgData name="Yudi Zhu" userId="571e1a55-055f-4c28-8b35-fca6dd1c1369" providerId="ADAL" clId="{75A88773-6EE1-484E-AADE-FE631E01463B}" dt="2025-11-25T11:05:14.649" v="681117"/>
          <ac:spMkLst>
            <pc:docMk/>
            <pc:sldMk cId="1537813439" sldId="2147483101"/>
            <ac:spMk id="1887" creationId="{B70371F7-C188-261F-F0E1-5C1C9ED55328}"/>
          </ac:spMkLst>
        </pc:spChg>
        <pc:spChg chg="add mod ord">
          <ac:chgData name="Yudi Zhu" userId="571e1a55-055f-4c28-8b35-fca6dd1c1369" providerId="ADAL" clId="{75A88773-6EE1-484E-AADE-FE631E01463B}" dt="2025-11-25T11:05:14.652" v="681119"/>
          <ac:spMkLst>
            <pc:docMk/>
            <pc:sldMk cId="1537813439" sldId="2147483101"/>
            <ac:spMk id="1888" creationId="{FE6EAB55-A3A5-0F9D-5D04-144861F1D5F0}"/>
          </ac:spMkLst>
        </pc:spChg>
        <pc:spChg chg="mod">
          <ac:chgData name="Yudi Zhu" userId="571e1a55-055f-4c28-8b35-fca6dd1c1369" providerId="ADAL" clId="{75A88773-6EE1-484E-AADE-FE631E01463B}" dt="2025-11-25T11:05:14.766" v="681188"/>
          <ac:spMkLst>
            <pc:docMk/>
            <pc:sldMk cId="1537813439" sldId="2147483101"/>
            <ac:spMk id="2006" creationId="{3CC98E16-FB2E-495D-ADCF-FFF663C2DC9B}"/>
          </ac:spMkLst>
        </pc:spChg>
        <pc:spChg chg="mod">
          <ac:chgData name="Yudi Zhu" userId="571e1a55-055f-4c28-8b35-fca6dd1c1369" providerId="ADAL" clId="{75A88773-6EE1-484E-AADE-FE631E01463B}" dt="2025-11-25T11:05:14.766" v="681191"/>
          <ac:spMkLst>
            <pc:docMk/>
            <pc:sldMk cId="1537813439" sldId="2147483101"/>
            <ac:spMk id="2008" creationId="{7BD5FE52-3C31-692C-0431-58206417CADC}"/>
          </ac:spMkLst>
        </pc:spChg>
        <pc:spChg chg="mod">
          <ac:chgData name="Yudi Zhu" userId="571e1a55-055f-4c28-8b35-fca6dd1c1369" providerId="ADAL" clId="{75A88773-6EE1-484E-AADE-FE631E01463B}" dt="2025-11-25T11:05:14.781" v="681194"/>
          <ac:spMkLst>
            <pc:docMk/>
            <pc:sldMk cId="1537813439" sldId="2147483101"/>
            <ac:spMk id="2009" creationId="{7217B9F1-0A58-5B0F-2E64-A84646CA65AE}"/>
          </ac:spMkLst>
        </pc:spChg>
        <pc:spChg chg="mod">
          <ac:chgData name="Yudi Zhu" userId="571e1a55-055f-4c28-8b35-fca6dd1c1369" providerId="ADAL" clId="{75A88773-6EE1-484E-AADE-FE631E01463B}" dt="2025-11-25T11:05:14.790" v="681197"/>
          <ac:spMkLst>
            <pc:docMk/>
            <pc:sldMk cId="1537813439" sldId="2147483101"/>
            <ac:spMk id="2010" creationId="{BC99FD18-8285-240E-2946-45D78FEAB7A6}"/>
          </ac:spMkLst>
        </pc:spChg>
        <pc:spChg chg="mod ord">
          <ac:chgData name="Yudi Zhu" userId="571e1a55-055f-4c28-8b35-fca6dd1c1369" providerId="ADAL" clId="{75A88773-6EE1-484E-AADE-FE631E01463B}" dt="2025-11-25T11:05:14.781" v="681196"/>
          <ac:spMkLst>
            <pc:docMk/>
            <pc:sldMk cId="1537813439" sldId="2147483101"/>
            <ac:spMk id="2025" creationId="{43D55BC5-9920-542B-5943-C2925A23663E}"/>
          </ac:spMkLst>
        </pc:spChg>
        <pc:spChg chg="del mod ord">
          <ac:chgData name="Yudi Zhu" userId="571e1a55-055f-4c28-8b35-fca6dd1c1369" providerId="ADAL" clId="{75A88773-6EE1-484E-AADE-FE631E01463B}" dt="2025-11-25T11:00:44.982" v="670555"/>
          <ac:spMkLst>
            <pc:docMk/>
            <pc:sldMk cId="1537813439" sldId="2147483101"/>
            <ac:spMk id="2059" creationId="{4FF999FA-1CE6-816D-D3B3-94F0A436DD6A}"/>
          </ac:spMkLst>
        </pc:spChg>
        <pc:spChg chg="del mod ord">
          <ac:chgData name="Yudi Zhu" userId="571e1a55-055f-4c28-8b35-fca6dd1c1369" providerId="ADAL" clId="{75A88773-6EE1-484E-AADE-FE631E01463B}" dt="2025-11-25T11:00:45.014" v="670570"/>
          <ac:spMkLst>
            <pc:docMk/>
            <pc:sldMk cId="1537813439" sldId="2147483101"/>
            <ac:spMk id="2060" creationId="{30997A82-F7AD-11CF-FD92-4153AF5D078E}"/>
          </ac:spMkLst>
        </pc:spChg>
        <pc:spChg chg="del mod">
          <ac:chgData name="Yudi Zhu" userId="571e1a55-055f-4c28-8b35-fca6dd1c1369" providerId="ADAL" clId="{75A88773-6EE1-484E-AADE-FE631E01463B}" dt="2025-11-25T11:00:45.051" v="670584"/>
          <ac:spMkLst>
            <pc:docMk/>
            <pc:sldMk cId="1537813439" sldId="2147483101"/>
            <ac:spMk id="2061" creationId="{EC10FD50-1BB5-2F06-E80B-337A1E69A6D3}"/>
          </ac:spMkLst>
        </pc:spChg>
        <pc:spChg chg="del mod ord">
          <ac:chgData name="Yudi Zhu" userId="571e1a55-055f-4c28-8b35-fca6dd1c1369" providerId="ADAL" clId="{75A88773-6EE1-484E-AADE-FE631E01463B}" dt="2025-11-25T11:00:45.093" v="670596"/>
          <ac:spMkLst>
            <pc:docMk/>
            <pc:sldMk cId="1537813439" sldId="2147483101"/>
            <ac:spMk id="2062" creationId="{3D43E4A8-995E-7592-502B-6A11E01635DA}"/>
          </ac:spMkLst>
        </pc:spChg>
        <pc:spChg chg="del mod ord">
          <ac:chgData name="Yudi Zhu" userId="571e1a55-055f-4c28-8b35-fca6dd1c1369" providerId="ADAL" clId="{75A88773-6EE1-484E-AADE-FE631E01463B}" dt="2025-11-25T11:00:45.133" v="670611"/>
          <ac:spMkLst>
            <pc:docMk/>
            <pc:sldMk cId="1537813439" sldId="2147483101"/>
            <ac:spMk id="2063" creationId="{3AE91E55-A997-AF83-6A61-D6AA9CAC5831}"/>
          </ac:spMkLst>
        </pc:spChg>
        <pc:spChg chg="del mod">
          <ac:chgData name="Yudi Zhu" userId="571e1a55-055f-4c28-8b35-fca6dd1c1369" providerId="ADAL" clId="{75A88773-6EE1-484E-AADE-FE631E01463B}" dt="2025-11-25T11:00:45.168" v="670625"/>
          <ac:spMkLst>
            <pc:docMk/>
            <pc:sldMk cId="1537813439" sldId="2147483101"/>
            <ac:spMk id="2064" creationId="{5519771D-DBD9-C3BC-7D7B-A2751226F9CF}"/>
          </ac:spMkLst>
        </pc:spChg>
        <pc:spChg chg="mod ord">
          <ac:chgData name="Yudi Zhu" userId="571e1a55-055f-4c28-8b35-fca6dd1c1369" providerId="ADAL" clId="{75A88773-6EE1-484E-AADE-FE631E01463B}" dt="2025-11-25T11:05:14.793" v="681199"/>
          <ac:spMkLst>
            <pc:docMk/>
            <pc:sldMk cId="1537813439" sldId="2147483101"/>
            <ac:spMk id="2069" creationId="{2C8C7C6E-7854-71B0-B5CD-346A1F62D9D5}"/>
          </ac:spMkLst>
        </pc:spChg>
        <pc:spChg chg="mod ord">
          <ac:chgData name="Yudi Zhu" userId="571e1a55-055f-4c28-8b35-fca6dd1c1369" providerId="ADAL" clId="{75A88773-6EE1-484E-AADE-FE631E01463B}" dt="2025-11-25T11:05:14.796" v="681201"/>
          <ac:spMkLst>
            <pc:docMk/>
            <pc:sldMk cId="1537813439" sldId="2147483101"/>
            <ac:spMk id="2070" creationId="{38C861AF-6F37-5EBF-7BB3-B7968983ADE2}"/>
          </ac:spMkLst>
        </pc:spChg>
        <pc:grpChg chg="mod ord">
          <ac:chgData name="Yudi Zhu" userId="571e1a55-055f-4c28-8b35-fca6dd1c1369" providerId="ADAL" clId="{75A88773-6EE1-484E-AADE-FE631E01463B}" dt="2025-11-25T11:05:14.691" v="681141"/>
          <ac:grpSpMkLst>
            <pc:docMk/>
            <pc:sldMk cId="1537813439" sldId="2147483101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5T11:05:14.691" v="681143"/>
          <ac:grpSpMkLst>
            <pc:docMk/>
            <pc:sldMk cId="1537813439" sldId="2147483101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5T11:05:14.691" v="681145"/>
          <ac:grpSpMkLst>
            <pc:docMk/>
            <pc:sldMk cId="1537813439" sldId="2147483101"/>
            <ac:grpSpMk id="1604" creationId="{CAC77667-D6BB-F83B-AA16-FAE5D5B780AA}"/>
          </ac:grpSpMkLst>
        </pc:grpChg>
        <pc:graphicFrameChg chg="mod ord modGraphic">
          <ac:chgData name="Yudi Zhu" userId="571e1a55-055f-4c28-8b35-fca6dd1c1369" providerId="ADAL" clId="{75A88773-6EE1-484E-AADE-FE631E01463B}" dt="2025-11-26T07:06:51.498" v="765915" actId="20577"/>
          <ac:graphicFrameMkLst>
            <pc:docMk/>
            <pc:sldMk cId="1537813439" sldId="2147483101"/>
            <ac:graphicFrameMk id="3" creationId="{E90D6D2D-2F71-697E-2616-88B6A758C1F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0:16.729" v="669646"/>
          <ac:graphicFrameMkLst>
            <pc:docMk/>
            <pc:sldMk cId="1537813439" sldId="2147483101"/>
            <ac:graphicFrameMk id="6" creationId="{2D24CCE0-6DC8-AC6B-0211-BB1A1D072B91}"/>
          </ac:graphicFrameMkLst>
        </pc:graphicFrameChg>
        <pc:graphicFrameChg chg="del mod">
          <ac:chgData name="Yudi Zhu" userId="571e1a55-055f-4c28-8b35-fca6dd1c1369" providerId="ADAL" clId="{75A88773-6EE1-484E-AADE-FE631E01463B}" dt="2025-11-25T11:05:14.050" v="680880"/>
          <ac:graphicFrameMkLst>
            <pc:docMk/>
            <pc:sldMk cId="1537813439" sldId="2147483101"/>
            <ac:graphicFrameMk id="8" creationId="{B950EE6B-2B3E-265D-E126-5B3D97BAF38F}"/>
          </ac:graphicFrameMkLst>
        </pc:graphicFrameChg>
        <pc:graphicFrameChg chg="mod">
          <ac:chgData name="Yudi Zhu" userId="571e1a55-055f-4c28-8b35-fca6dd1c1369" providerId="ADAL" clId="{75A88773-6EE1-484E-AADE-FE631E01463B}" dt="2025-11-25T11:08:04.617" v="681315"/>
          <ac:graphicFrameMkLst>
            <pc:docMk/>
            <pc:sldMk cId="1537813439" sldId="2147483101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0:24.671" v="670189"/>
          <ac:graphicFrameMkLst>
            <pc:docMk/>
            <pc:sldMk cId="1537813439" sldId="2147483101"/>
            <ac:graphicFrameMk id="15" creationId="{81F95AF9-AB3D-0D84-D619-8AB0F08571D5}"/>
          </ac:graphicFrameMkLst>
        </pc:graphicFrameChg>
        <pc:graphicFrameChg chg="add mod">
          <ac:chgData name="Yudi Zhu" userId="571e1a55-055f-4c28-8b35-fca6dd1c1369" providerId="ADAL" clId="{75A88773-6EE1-484E-AADE-FE631E01463B}" dt="2025-11-25T11:05:14.391" v="680996"/>
          <ac:graphicFrameMkLst>
            <pc:docMk/>
            <pc:sldMk cId="1537813439" sldId="2147483101"/>
            <ac:graphicFrameMk id="17" creationId="{C44B4CB2-2581-2E7D-05BB-14E75D27FE6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0:52.150" v="671170"/>
          <ac:graphicFrameMkLst>
            <pc:docMk/>
            <pc:sldMk cId="1537813439" sldId="2147483101"/>
            <ac:graphicFrameMk id="25" creationId="{88DD74FF-8990-1A01-C68F-FA3F8ABC89E7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0:57.980" v="671578"/>
          <ac:graphicFrameMkLst>
            <pc:docMk/>
            <pc:sldMk cId="1537813439" sldId="2147483101"/>
            <ac:graphicFrameMk id="27" creationId="{B3A8DD08-A489-B9F5-4B54-AE1DB07CCA6E}"/>
          </ac:graphicFrameMkLst>
        </pc:graphicFrameChg>
        <pc:graphicFrameChg chg="add mod">
          <ac:chgData name="Yudi Zhu" userId="571e1a55-055f-4c28-8b35-fca6dd1c1369" providerId="ADAL" clId="{75A88773-6EE1-484E-AADE-FE631E01463B}" dt="2025-11-25T11:05:14.702" v="681152"/>
          <ac:graphicFrameMkLst>
            <pc:docMk/>
            <pc:sldMk cId="1537813439" sldId="2147483101"/>
            <ac:graphicFrameMk id="29" creationId="{1DD43FA1-8629-705E-36A2-AF7AF2F4C4CE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2:05.561" v="673007"/>
          <ac:graphicFrameMkLst>
            <pc:docMk/>
            <pc:sldMk cId="1537813439" sldId="2147483101"/>
            <ac:graphicFrameMk id="32" creationId="{E4923F40-AC0B-393F-623F-A0465B68477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2:12.193" v="673669"/>
          <ac:graphicFrameMkLst>
            <pc:docMk/>
            <pc:sldMk cId="1537813439" sldId="2147483101"/>
            <ac:graphicFrameMk id="40" creationId="{E6E4CBD8-9435-6BFA-461A-EB5AD356BDF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2:28.387" v="674303"/>
          <ac:graphicFrameMkLst>
            <pc:docMk/>
            <pc:sldMk cId="1537813439" sldId="2147483101"/>
            <ac:graphicFrameMk id="43" creationId="{7C4F82A7-F200-8F9F-2525-7F06DC2A4797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2:39.524" v="675002"/>
          <ac:graphicFrameMkLst>
            <pc:docMk/>
            <pc:sldMk cId="1537813439" sldId="2147483101"/>
            <ac:graphicFrameMk id="45" creationId="{AF44B915-97B4-B964-5567-EC3120463E8C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13.441" v="675491"/>
          <ac:graphicFrameMkLst>
            <pc:docMk/>
            <pc:sldMk cId="1537813439" sldId="2147483101"/>
            <ac:graphicFrameMk id="47" creationId="{1EA16E42-0F01-0137-B127-8B3E7B8DC3B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16.280" v="675827"/>
          <ac:graphicFrameMkLst>
            <pc:docMk/>
            <pc:sldMk cId="1537813439" sldId="2147483101"/>
            <ac:graphicFrameMk id="49" creationId="{703EE15D-424C-98D5-EC9F-0874ECA88826}"/>
          </ac:graphicFrameMkLst>
        </pc:graphicFrameChg>
        <pc:graphicFrameChg chg="add mod">
          <ac:chgData name="Yudi Zhu" userId="571e1a55-055f-4c28-8b35-fca6dd1c1369" providerId="ADAL" clId="{75A88773-6EE1-484E-AADE-FE631E01463B}" dt="2025-11-25T11:05:14.324" v="680957"/>
          <ac:graphicFrameMkLst>
            <pc:docMk/>
            <pc:sldMk cId="1537813439" sldId="2147483101"/>
            <ac:graphicFrameMk id="1863" creationId="{0306C65A-5F0B-F29B-0B7D-951806006ECB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38.773" v="676617"/>
          <ac:graphicFrameMkLst>
            <pc:docMk/>
            <pc:sldMk cId="1537813439" sldId="2147483101"/>
            <ac:graphicFrameMk id="1866" creationId="{67EE7C1F-6762-75BE-C425-2E8D3FF29CBC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41.271" v="676982"/>
          <ac:graphicFrameMkLst>
            <pc:docMk/>
            <pc:sldMk cId="1537813439" sldId="2147483101"/>
            <ac:graphicFrameMk id="1868" creationId="{46ED496B-CB91-CBA0-CF70-58553B11ADC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45.202" v="677300"/>
          <ac:graphicFrameMkLst>
            <pc:docMk/>
            <pc:sldMk cId="1537813439" sldId="2147483101"/>
            <ac:graphicFrameMk id="1870" creationId="{6873A8EF-2C52-99CB-705E-BE2C01166FCE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49.611" v="677624"/>
          <ac:graphicFrameMkLst>
            <pc:docMk/>
            <pc:sldMk cId="1537813439" sldId="2147483101"/>
            <ac:graphicFrameMk id="1871" creationId="{0C0CE863-526B-07E9-AA79-3A3939231B33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3:56.565" v="677938"/>
          <ac:graphicFrameMkLst>
            <pc:docMk/>
            <pc:sldMk cId="1537813439" sldId="2147483101"/>
            <ac:graphicFrameMk id="1872" creationId="{6A1C62ED-5875-07B6-EFE5-260813CEF26E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4:02.384" v="678252"/>
          <ac:graphicFrameMkLst>
            <pc:docMk/>
            <pc:sldMk cId="1537813439" sldId="2147483101"/>
            <ac:graphicFrameMk id="1873" creationId="{03D62B91-3BD3-B015-2474-AA097A836011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4:05.040" v="678568"/>
          <ac:graphicFrameMkLst>
            <pc:docMk/>
            <pc:sldMk cId="1537813439" sldId="2147483101"/>
            <ac:graphicFrameMk id="1874" creationId="{42A04D36-62EC-D536-1BB4-65F862C020A3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4:14.355" v="678872"/>
          <ac:graphicFrameMkLst>
            <pc:docMk/>
            <pc:sldMk cId="1537813439" sldId="2147483101"/>
            <ac:graphicFrameMk id="1875" creationId="{239E6881-E6F0-4BEA-8A87-FF4520D05092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4:43.920" v="679176"/>
          <ac:graphicFrameMkLst>
            <pc:docMk/>
            <pc:sldMk cId="1537813439" sldId="2147483101"/>
            <ac:graphicFrameMk id="1876" creationId="{DF5446CE-D4BB-988D-4766-FBE46A146F39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4:45.791" v="679480"/>
          <ac:graphicFrameMkLst>
            <pc:docMk/>
            <pc:sldMk cId="1537813439" sldId="2147483101"/>
            <ac:graphicFrameMk id="1877" creationId="{E8B5977B-4F0B-16B1-40C9-0EEF1CD2DA5B}"/>
          </ac:graphicFrameMkLst>
        </pc:graphicFrameChg>
        <pc:graphicFrameChg chg="add mod">
          <ac:chgData name="Yudi Zhu" userId="571e1a55-055f-4c28-8b35-fca6dd1c1369" providerId="ADAL" clId="{75A88773-6EE1-484E-AADE-FE631E01463B}" dt="2025-11-25T11:05:14.766" v="681187"/>
          <ac:graphicFrameMkLst>
            <pc:docMk/>
            <pc:sldMk cId="1537813439" sldId="2147483101"/>
            <ac:graphicFrameMk id="1878" creationId="{F6B07597-E09D-6B8A-C0CC-E61625698C1D}"/>
          </ac:graphicFrameMkLst>
        </pc:graphicFrameChg>
        <pc:graphicFrameChg chg="add mod">
          <ac:chgData name="Yudi Zhu" userId="571e1a55-055f-4c28-8b35-fca6dd1c1369" providerId="ADAL" clId="{75A88773-6EE1-484E-AADE-FE631E01463B}" dt="2025-11-25T11:05:14.534" v="681055"/>
          <ac:graphicFrameMkLst>
            <pc:docMk/>
            <pc:sldMk cId="1537813439" sldId="2147483101"/>
            <ac:graphicFrameMk id="1896" creationId="{6C9B6B82-FE09-9AD5-5DF7-0201B76398BD}"/>
          </ac:graphicFrameMkLst>
        </pc:graphicFrameChg>
        <pc:graphicFrameChg chg="del mod">
          <ac:chgData name="Yudi Zhu" userId="571e1a55-055f-4c28-8b35-fca6dd1c1369" providerId="ADAL" clId="{75A88773-6EE1-484E-AADE-FE631E01463B}" dt="2025-11-25T11:03:36.265" v="676246"/>
          <ac:graphicFrameMkLst>
            <pc:docMk/>
            <pc:sldMk cId="1537813439" sldId="2147483101"/>
            <ac:graphicFrameMk id="2035" creationId="{0E196CA3-0CC6-6288-BC09-465FAA5A4E75}"/>
          </ac:graphicFrameMkLst>
        </pc:graphicFrameChg>
        <pc:graphicFrameChg chg="del mod">
          <ac:chgData name="Yudi Zhu" userId="571e1a55-055f-4c28-8b35-fca6dd1c1369" providerId="ADAL" clId="{75A88773-6EE1-484E-AADE-FE631E01463B}" dt="2025-11-25T11:01:58.663" v="672190"/>
          <ac:graphicFrameMkLst>
            <pc:docMk/>
            <pc:sldMk cId="1537813439" sldId="2147483101"/>
            <ac:graphicFrameMk id="2058" creationId="{2033C248-D87E-636A-5623-FB3463F1424D}"/>
          </ac:graphicFrameMkLst>
        </pc:graphicFrameChg>
        <pc:graphicFrameChg chg="del mod">
          <ac:chgData name="Yudi Zhu" userId="571e1a55-055f-4c28-8b35-fca6dd1c1369" providerId="ADAL" clId="{75A88773-6EE1-484E-AADE-FE631E01463B}" dt="2025-11-25T11:00:45.747" v="670756"/>
          <ac:graphicFrameMkLst>
            <pc:docMk/>
            <pc:sldMk cId="1537813439" sldId="2147483101"/>
            <ac:graphicFrameMk id="2068" creationId="{EC480910-6387-3F16-6F43-2ED7976114A1}"/>
          </ac:graphicFrameMkLst>
        </pc:graphicFrameChg>
        <pc:graphicFrameChg chg="del">
          <ac:chgData name="Yudi Zhu" userId="571e1a55-055f-4c28-8b35-fca6dd1c1369" providerId="ADAL" clId="{75A88773-6EE1-484E-AADE-FE631E01463B}" dt="2025-11-25T11:00:05.120" v="669052"/>
          <ac:graphicFrameMkLst>
            <pc:docMk/>
            <pc:sldMk cId="1537813439" sldId="2147483101"/>
            <ac:graphicFrameMk id="2072" creationId="{71071794-EF62-02C5-E864-46A37481E123}"/>
          </ac:graphicFrameMkLst>
        </pc:graphicFrameChg>
        <pc:cxnChg chg="mod ord">
          <ac:chgData name="Yudi Zhu" userId="571e1a55-055f-4c28-8b35-fca6dd1c1369" providerId="ADAL" clId="{75A88773-6EE1-484E-AADE-FE631E01463B}" dt="2025-11-25T11:05:14.534" v="681059"/>
          <ac:cxnSpMkLst>
            <pc:docMk/>
            <pc:sldMk cId="1537813439" sldId="2147483101"/>
            <ac:cxnSpMk id="7" creationId="{CBC9BAD9-0F24-9106-3CAE-E7247D7A0B79}"/>
          </ac:cxnSpMkLst>
        </pc:cxnChg>
        <pc:cxnChg chg="add mod ord">
          <ac:chgData name="Yudi Zhu" userId="571e1a55-055f-4c28-8b35-fca6dd1c1369" providerId="ADAL" clId="{75A88773-6EE1-484E-AADE-FE631E01463B}" dt="2025-11-25T11:05:14.397" v="681002"/>
          <ac:cxnSpMkLst>
            <pc:docMk/>
            <pc:sldMk cId="1537813439" sldId="2147483101"/>
            <ac:cxnSpMk id="10" creationId="{5B0ABE23-7C49-51AB-6DB5-922B92F8A7FE}"/>
          </ac:cxnSpMkLst>
        </pc:cxnChg>
        <pc:cxnChg chg="add mod ord">
          <ac:chgData name="Yudi Zhu" userId="571e1a55-055f-4c28-8b35-fca6dd1c1369" providerId="ADAL" clId="{75A88773-6EE1-484E-AADE-FE631E01463B}" dt="2025-11-25T11:05:14.397" v="681004"/>
          <ac:cxnSpMkLst>
            <pc:docMk/>
            <pc:sldMk cId="1537813439" sldId="2147483101"/>
            <ac:cxnSpMk id="12" creationId="{70CEFFBD-34B4-3369-8548-CA96722DC757}"/>
          </ac:cxnSpMkLst>
        </pc:cxnChg>
        <pc:cxnChg chg="add mod ord">
          <ac:chgData name="Yudi Zhu" userId="571e1a55-055f-4c28-8b35-fca6dd1c1369" providerId="ADAL" clId="{75A88773-6EE1-484E-AADE-FE631E01463B}" dt="2025-11-25T11:05:14.404" v="681006"/>
          <ac:cxnSpMkLst>
            <pc:docMk/>
            <pc:sldMk cId="1537813439" sldId="2147483101"/>
            <ac:cxnSpMk id="13" creationId="{A07348E1-08C9-256B-69A8-297B471B5B09}"/>
          </ac:cxnSpMkLst>
        </pc:cxnChg>
        <pc:cxnChg chg="add mod ord">
          <ac:chgData name="Yudi Zhu" userId="571e1a55-055f-4c28-8b35-fca6dd1c1369" providerId="ADAL" clId="{75A88773-6EE1-484E-AADE-FE631E01463B}" dt="2025-11-25T11:05:14.404" v="681008"/>
          <ac:cxnSpMkLst>
            <pc:docMk/>
            <pc:sldMk cId="1537813439" sldId="2147483101"/>
            <ac:cxnSpMk id="14" creationId="{BBDFF7FB-C774-865F-F947-DE8574691B03}"/>
          </ac:cxnSpMkLst>
        </pc:cxnChg>
        <pc:cxnChg chg="add del mod ord">
          <ac:chgData name="Yudi Zhu" userId="571e1a55-055f-4c28-8b35-fca6dd1c1369" providerId="ADAL" clId="{75A88773-6EE1-484E-AADE-FE631E01463B}" dt="2025-11-25T11:02:38.990" v="674784"/>
          <ac:cxnSpMkLst>
            <pc:docMk/>
            <pc:sldMk cId="1537813439" sldId="2147483101"/>
            <ac:cxnSpMk id="34" creationId="{C8F0BD30-D753-78F8-6497-38F6937D881E}"/>
          </ac:cxnSpMkLst>
        </pc:cxnChg>
        <pc:cxnChg chg="add del mod ord">
          <ac:chgData name="Yudi Zhu" userId="571e1a55-055f-4c28-8b35-fca6dd1c1369" providerId="ADAL" clId="{75A88773-6EE1-484E-AADE-FE631E01463B}" dt="2025-11-25T11:03:13.138" v="675351"/>
          <ac:cxnSpMkLst>
            <pc:docMk/>
            <pc:sldMk cId="1537813439" sldId="2147483101"/>
            <ac:cxnSpMk id="35" creationId="{401E0740-8C8E-9F9F-225F-DB5CB26290FB}"/>
          </ac:cxnSpMkLst>
        </pc:cxnChg>
        <pc:cxnChg chg="add del mod ord">
          <ac:chgData name="Yudi Zhu" userId="571e1a55-055f-4c28-8b35-fca6dd1c1369" providerId="ADAL" clId="{75A88773-6EE1-484E-AADE-FE631E01463B}" dt="2025-11-25T11:02:39.110" v="674824"/>
          <ac:cxnSpMkLst>
            <pc:docMk/>
            <pc:sldMk cId="1537813439" sldId="2147483101"/>
            <ac:cxnSpMk id="36" creationId="{3684F616-0357-63B4-8E2B-9A17A7FCF7DA}"/>
          </ac:cxnSpMkLst>
        </pc:cxnChg>
        <pc:cxnChg chg="add mod ord">
          <ac:chgData name="Yudi Zhu" userId="571e1a55-055f-4c28-8b35-fca6dd1c1369" providerId="ADAL" clId="{75A88773-6EE1-484E-AADE-FE631E01463B}" dt="2025-11-25T11:05:14.324" v="680961"/>
          <ac:cxnSpMkLst>
            <pc:docMk/>
            <pc:sldMk cId="1537813439" sldId="2147483101"/>
            <ac:cxnSpMk id="37" creationId="{BEE505BD-9974-853B-BAB6-762371492AE3}"/>
          </ac:cxnSpMkLst>
        </pc:cxnChg>
        <pc:cxnChg chg="add del mod ord">
          <ac:chgData name="Yudi Zhu" userId="571e1a55-055f-4c28-8b35-fca6dd1c1369" providerId="ADAL" clId="{75A88773-6EE1-484E-AADE-FE631E01463B}" dt="2025-11-25T11:02:39.239" v="674871"/>
          <ac:cxnSpMkLst>
            <pc:docMk/>
            <pc:sldMk cId="1537813439" sldId="2147483101"/>
            <ac:cxnSpMk id="38" creationId="{00861557-99BE-88E3-0879-31784DD1FBFB}"/>
          </ac:cxnSpMkLst>
        </pc:cxnChg>
        <pc:cxnChg chg="add del mod ord">
          <ac:chgData name="Yudi Zhu" userId="571e1a55-055f-4c28-8b35-fca6dd1c1369" providerId="ADAL" clId="{75A88773-6EE1-484E-AADE-FE631E01463B}" dt="2025-11-25T11:02:39.405" v="674938"/>
          <ac:cxnSpMkLst>
            <pc:docMk/>
            <pc:sldMk cId="1537813439" sldId="2147483101"/>
            <ac:cxnSpMk id="39" creationId="{5D83981B-181B-E3C2-75C5-15C63B50EF9E}"/>
          </ac:cxnSpMkLst>
        </pc:cxnChg>
        <pc:cxnChg chg="add del mod ord">
          <ac:chgData name="Yudi Zhu" userId="571e1a55-055f-4c28-8b35-fca6dd1c1369" providerId="ADAL" clId="{75A88773-6EE1-484E-AADE-FE631E01463B}" dt="2025-11-25T11:02:39.037" v="674798"/>
          <ac:cxnSpMkLst>
            <pc:docMk/>
            <pc:sldMk cId="1537813439" sldId="2147483101"/>
            <ac:cxnSpMk id="42" creationId="{75DAEB93-48A3-B646-D015-15DD3A3AFA46}"/>
          </ac:cxnSpMkLst>
        </pc:cxnChg>
        <pc:cxnChg chg="mod ord">
          <ac:chgData name="Yudi Zhu" userId="571e1a55-055f-4c28-8b35-fca6dd1c1369" providerId="ADAL" clId="{75A88773-6EE1-484E-AADE-FE631E01463B}" dt="2025-11-25T11:05:14.550" v="681069"/>
          <ac:cxnSpMkLst>
            <pc:docMk/>
            <pc:sldMk cId="1537813439" sldId="2147483101"/>
            <ac:cxnSpMk id="57" creationId="{B8A70BC4-880F-79F8-BF39-DEB7ECF3AAAF}"/>
          </ac:cxnSpMkLst>
        </pc:cxnChg>
        <pc:cxnChg chg="mod ord">
          <ac:chgData name="Yudi Zhu" userId="571e1a55-055f-4c28-8b35-fca6dd1c1369" providerId="ADAL" clId="{75A88773-6EE1-484E-AADE-FE631E01463B}" dt="2025-11-25T11:05:14.550" v="681073"/>
          <ac:cxnSpMkLst>
            <pc:docMk/>
            <pc:sldMk cId="1537813439" sldId="2147483101"/>
            <ac:cxnSpMk id="58" creationId="{544E8E06-7A8F-3954-A4AA-EE20FECFFF3B}"/>
          </ac:cxnSpMkLst>
        </pc:cxnChg>
        <pc:cxnChg chg="del mod ord">
          <ac:chgData name="Yudi Zhu" userId="571e1a55-055f-4c28-8b35-fca6dd1c1369" providerId="ADAL" clId="{75A88773-6EE1-484E-AADE-FE631E01463B}" dt="2025-11-25T11:05:13.437" v="680646"/>
          <ac:cxnSpMkLst>
            <pc:docMk/>
            <pc:sldMk cId="1537813439" sldId="2147483101"/>
            <ac:cxnSpMk id="59" creationId="{F626354A-02F7-D8D1-C43E-6F2AA2506D97}"/>
          </ac:cxnSpMkLst>
        </pc:cxnChg>
        <pc:cxnChg chg="del mod ord">
          <ac:chgData name="Yudi Zhu" userId="571e1a55-055f-4c28-8b35-fca6dd1c1369" providerId="ADAL" clId="{75A88773-6EE1-484E-AADE-FE631E01463B}" dt="2025-11-25T11:05:13.453" v="680650"/>
          <ac:cxnSpMkLst>
            <pc:docMk/>
            <pc:sldMk cId="1537813439" sldId="2147483101"/>
            <ac:cxnSpMk id="60" creationId="{920FA605-E38D-0766-1BEA-D0809D4F30B1}"/>
          </ac:cxnSpMkLst>
        </pc:cxnChg>
        <pc:cxnChg chg="del mod ord">
          <ac:chgData name="Yudi Zhu" userId="571e1a55-055f-4c28-8b35-fca6dd1c1369" providerId="ADAL" clId="{75A88773-6EE1-484E-AADE-FE631E01463B}" dt="2025-11-25T11:05:13.534" v="680678"/>
          <ac:cxnSpMkLst>
            <pc:docMk/>
            <pc:sldMk cId="1537813439" sldId="2147483101"/>
            <ac:cxnSpMk id="61" creationId="{5460B9C1-B478-B2EA-64C1-1F3A3ED7DB5F}"/>
          </ac:cxnSpMkLst>
        </pc:cxnChg>
        <pc:cxnChg chg="del mod ord">
          <ac:chgData name="Yudi Zhu" userId="571e1a55-055f-4c28-8b35-fca6dd1c1369" providerId="ADAL" clId="{75A88773-6EE1-484E-AADE-FE631E01463B}" dt="2025-11-25T11:05:13.588" v="680698"/>
          <ac:cxnSpMkLst>
            <pc:docMk/>
            <pc:sldMk cId="1537813439" sldId="2147483101"/>
            <ac:cxnSpMk id="62" creationId="{D3FC26B7-159F-8978-6453-5F5B3488596A}"/>
          </ac:cxnSpMkLst>
        </pc:cxnChg>
        <pc:cxnChg chg="del mod ord">
          <ac:chgData name="Yudi Zhu" userId="571e1a55-055f-4c28-8b35-fca6dd1c1369" providerId="ADAL" clId="{75A88773-6EE1-484E-AADE-FE631E01463B}" dt="2025-11-25T11:05:13.620" v="680716"/>
          <ac:cxnSpMkLst>
            <pc:docMk/>
            <pc:sldMk cId="1537813439" sldId="2147483101"/>
            <ac:cxnSpMk id="63" creationId="{036720A8-6C47-441D-7C79-B2E3C0977058}"/>
          </ac:cxnSpMkLst>
        </pc:cxnChg>
        <pc:cxnChg chg="mod ord">
          <ac:chgData name="Yudi Zhu" userId="571e1a55-055f-4c28-8b35-fca6dd1c1369" providerId="ADAL" clId="{75A88773-6EE1-484E-AADE-FE631E01463B}" dt="2025-11-25T11:05:14.294" v="680938"/>
          <ac:cxnSpMkLst>
            <pc:docMk/>
            <pc:sldMk cId="1537813439" sldId="2147483101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5T11:05:14.503" v="681045"/>
          <ac:cxnSpMkLst>
            <pc:docMk/>
            <pc:sldMk cId="1537813439" sldId="2147483101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5T11:05:14.298" v="680940"/>
          <ac:cxnSpMkLst>
            <pc:docMk/>
            <pc:sldMk cId="1537813439" sldId="2147483101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5T11:05:14.301" v="680942"/>
          <ac:cxnSpMkLst>
            <pc:docMk/>
            <pc:sldMk cId="1537813439" sldId="2147483101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5T11:05:14.702" v="681149"/>
          <ac:cxnSpMkLst>
            <pc:docMk/>
            <pc:sldMk cId="1537813439" sldId="2147483101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5T11:05:14.702" v="681151"/>
          <ac:cxnSpMkLst>
            <pc:docMk/>
            <pc:sldMk cId="1537813439" sldId="2147483101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5T11:05:14.671" v="681132"/>
          <ac:cxnSpMkLst>
            <pc:docMk/>
            <pc:sldMk cId="1537813439" sldId="2147483101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5T11:05:14.671" v="681134"/>
          <ac:cxnSpMkLst>
            <pc:docMk/>
            <pc:sldMk cId="1537813439" sldId="2147483101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5T11:05:14.671" v="681136"/>
          <ac:cxnSpMkLst>
            <pc:docMk/>
            <pc:sldMk cId="1537813439" sldId="2147483101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5T11:05:14.550" v="681065"/>
          <ac:cxnSpMkLst>
            <pc:docMk/>
            <pc:sldMk cId="1537813439" sldId="2147483101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5T11:05:14.534" v="681057"/>
          <ac:cxnSpMkLst>
            <pc:docMk/>
            <pc:sldMk cId="1537813439" sldId="2147483101"/>
            <ac:cxnSpMk id="1427" creationId="{8CD1BFBD-29D4-7EFA-3730-7685282ECB0D}"/>
          </ac:cxnSpMkLst>
        </pc:cxnChg>
        <pc:cxnChg chg="mod ord">
          <ac:chgData name="Yudi Zhu" userId="571e1a55-055f-4c28-8b35-fca6dd1c1369" providerId="ADAL" clId="{75A88773-6EE1-484E-AADE-FE631E01463B}" dt="2025-11-25T11:05:14.566" v="681083"/>
          <ac:cxnSpMkLst>
            <pc:docMk/>
            <pc:sldMk cId="1537813439" sldId="2147483101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5T11:05:14.581" v="681089"/>
          <ac:cxnSpMkLst>
            <pc:docMk/>
            <pc:sldMk cId="1537813439" sldId="2147483101"/>
            <ac:cxnSpMk id="1462" creationId="{B25EED74-3BE6-1A25-FFAA-ED5F7EF0AB47}"/>
          </ac:cxnSpMkLst>
        </pc:cxnChg>
        <pc:cxnChg chg="mod ord">
          <ac:chgData name="Yudi Zhu" userId="571e1a55-055f-4c28-8b35-fca6dd1c1369" providerId="ADAL" clId="{75A88773-6EE1-484E-AADE-FE631E01463B}" dt="2025-11-25T11:05:14.591" v="681091"/>
          <ac:cxnSpMkLst>
            <pc:docMk/>
            <pc:sldMk cId="1537813439" sldId="2147483101"/>
            <ac:cxnSpMk id="1466" creationId="{D3EC2432-4617-5266-2DF0-2F8BEF10B77E}"/>
          </ac:cxnSpMkLst>
        </pc:cxnChg>
        <pc:cxnChg chg="mod ord">
          <ac:chgData name="Yudi Zhu" userId="571e1a55-055f-4c28-8b35-fca6dd1c1369" providerId="ADAL" clId="{75A88773-6EE1-484E-AADE-FE631E01463B}" dt="2025-11-25T11:05:14.597" v="681093"/>
          <ac:cxnSpMkLst>
            <pc:docMk/>
            <pc:sldMk cId="1537813439" sldId="2147483101"/>
            <ac:cxnSpMk id="1467" creationId="{B04EF4F2-7F38-9EBF-D340-CFB75FC1FB25}"/>
          </ac:cxnSpMkLst>
        </pc:cxnChg>
        <pc:cxnChg chg="mod ord">
          <ac:chgData name="Yudi Zhu" userId="571e1a55-055f-4c28-8b35-fca6dd1c1369" providerId="ADAL" clId="{75A88773-6EE1-484E-AADE-FE631E01463B}" dt="2025-11-25T11:05:14.566" v="681077"/>
          <ac:cxnSpMkLst>
            <pc:docMk/>
            <pc:sldMk cId="1537813439" sldId="2147483101"/>
            <ac:cxnSpMk id="1468" creationId="{DB3DA2FD-3F9C-7D07-1499-92AEE88BBABE}"/>
          </ac:cxnSpMkLst>
        </pc:cxnChg>
        <pc:cxnChg chg="mod ord">
          <ac:chgData name="Yudi Zhu" userId="571e1a55-055f-4c28-8b35-fca6dd1c1369" providerId="ADAL" clId="{75A88773-6EE1-484E-AADE-FE631E01463B}" dt="2025-11-25T11:05:14.597" v="681095"/>
          <ac:cxnSpMkLst>
            <pc:docMk/>
            <pc:sldMk cId="1537813439" sldId="2147483101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5T11:05:14.534" v="681061"/>
          <ac:cxnSpMkLst>
            <pc:docMk/>
            <pc:sldMk cId="1537813439" sldId="2147483101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5T11:05:14.691" v="681147"/>
          <ac:cxnSpMkLst>
            <pc:docMk/>
            <pc:sldMk cId="1537813439" sldId="2147483101"/>
            <ac:cxnSpMk id="1477" creationId="{152B86F5-FAEA-60A6-7C19-C68CC06B21E4}"/>
          </ac:cxnSpMkLst>
        </pc:cxnChg>
        <pc:cxnChg chg="mod ord">
          <ac:chgData name="Yudi Zhu" userId="571e1a55-055f-4c28-8b35-fca6dd1c1369" providerId="ADAL" clId="{75A88773-6EE1-484E-AADE-FE631E01463B}" dt="2025-11-25T11:05:14.307" v="680946"/>
          <ac:cxnSpMkLst>
            <pc:docMk/>
            <pc:sldMk cId="1537813439" sldId="2147483101"/>
            <ac:cxnSpMk id="1519" creationId="{DB475FC9-58A8-F50C-7AD4-C76A1BA430D5}"/>
          </ac:cxnSpMkLst>
        </pc:cxnChg>
        <pc:cxnChg chg="mod ord">
          <ac:chgData name="Yudi Zhu" userId="571e1a55-055f-4c28-8b35-fca6dd1c1369" providerId="ADAL" clId="{75A88773-6EE1-484E-AADE-FE631E01463B}" dt="2025-11-25T11:05:14.309" v="680956"/>
          <ac:cxnSpMkLst>
            <pc:docMk/>
            <pc:sldMk cId="1537813439" sldId="2147483101"/>
            <ac:cxnSpMk id="1524" creationId="{C473C6AD-8681-B41F-FEBD-B32D433102CF}"/>
          </ac:cxnSpMkLst>
        </pc:cxnChg>
        <pc:cxnChg chg="del mod ord">
          <ac:chgData name="Yudi Zhu" userId="571e1a55-055f-4c28-8b35-fca6dd1c1369" providerId="ADAL" clId="{75A88773-6EE1-484E-AADE-FE631E01463B}" dt="2025-11-25T11:01:58.648" v="672162"/>
          <ac:cxnSpMkLst>
            <pc:docMk/>
            <pc:sldMk cId="1537813439" sldId="2147483101"/>
            <ac:cxnSpMk id="1581" creationId="{822DC2B8-79ED-2E97-65D5-B24BD6099DE3}"/>
          </ac:cxnSpMkLst>
        </pc:cxnChg>
        <pc:cxnChg chg="del mod ord">
          <ac:chgData name="Yudi Zhu" userId="571e1a55-055f-4c28-8b35-fca6dd1c1369" providerId="ADAL" clId="{75A88773-6EE1-484E-AADE-FE631E01463B}" dt="2025-11-25T11:02:05.529" v="672987"/>
          <ac:cxnSpMkLst>
            <pc:docMk/>
            <pc:sldMk cId="1537813439" sldId="2147483101"/>
            <ac:cxnSpMk id="1582" creationId="{522C1A32-4C1E-7C5A-1A1F-AB0C8073B48E}"/>
          </ac:cxnSpMkLst>
        </pc:cxnChg>
        <pc:cxnChg chg="del mod ord">
          <ac:chgData name="Yudi Zhu" userId="571e1a55-055f-4c28-8b35-fca6dd1c1369" providerId="ADAL" clId="{75A88773-6EE1-484E-AADE-FE631E01463B}" dt="2025-11-25T11:02:39.157" v="674840"/>
          <ac:cxnSpMkLst>
            <pc:docMk/>
            <pc:sldMk cId="1537813439" sldId="2147483101"/>
            <ac:cxnSpMk id="1585" creationId="{26453B75-A203-AEA1-F433-D2A84081DC3A}"/>
          </ac:cxnSpMkLst>
        </pc:cxnChg>
        <pc:cxnChg chg="del mod ord">
          <ac:chgData name="Yudi Zhu" userId="571e1a55-055f-4c28-8b35-fca6dd1c1369" providerId="ADAL" clId="{75A88773-6EE1-484E-AADE-FE631E01463B}" dt="2025-11-25T11:02:39.292" v="674893"/>
          <ac:cxnSpMkLst>
            <pc:docMk/>
            <pc:sldMk cId="1537813439" sldId="2147483101"/>
            <ac:cxnSpMk id="1587" creationId="{1F80F8EE-7195-5C60-7F36-66FFA93BEE7C}"/>
          </ac:cxnSpMkLst>
        </pc:cxnChg>
        <pc:cxnChg chg="mod ord">
          <ac:chgData name="Yudi Zhu" userId="571e1a55-055f-4c28-8b35-fca6dd1c1369" providerId="ADAL" clId="{75A88773-6EE1-484E-AADE-FE631E01463B}" dt="2025-11-25T11:05:14.324" v="680959"/>
          <ac:cxnSpMkLst>
            <pc:docMk/>
            <pc:sldMk cId="1537813439" sldId="2147483101"/>
            <ac:cxnSpMk id="1591" creationId="{45B3B88D-C4D2-857C-DE64-D5056A9386D8}"/>
          </ac:cxnSpMkLst>
        </pc:cxnChg>
        <pc:cxnChg chg="del mod ord">
          <ac:chgData name="Yudi Zhu" userId="571e1a55-055f-4c28-8b35-fca6dd1c1369" providerId="ADAL" clId="{75A88773-6EE1-484E-AADE-FE631E01463B}" dt="2025-11-25T11:03:13.293" v="675415"/>
          <ac:cxnSpMkLst>
            <pc:docMk/>
            <pc:sldMk cId="1537813439" sldId="2147483101"/>
            <ac:cxnSpMk id="1592" creationId="{80A237D9-085B-F196-46AA-6ECF5BCFF128}"/>
          </ac:cxnSpMkLst>
        </pc:cxnChg>
        <pc:cxnChg chg="del mod ord">
          <ac:chgData name="Yudi Zhu" userId="571e1a55-055f-4c28-8b35-fca6dd1c1369" providerId="ADAL" clId="{75A88773-6EE1-484E-AADE-FE631E01463B}" dt="2025-11-25T11:01:58.575" v="672110"/>
          <ac:cxnSpMkLst>
            <pc:docMk/>
            <pc:sldMk cId="1537813439" sldId="2147483101"/>
            <ac:cxnSpMk id="1593" creationId="{6BDEA4E6-357A-2358-2347-22267E74416D}"/>
          </ac:cxnSpMkLst>
        </pc:cxnChg>
        <pc:cxnChg chg="del mod ord">
          <ac:chgData name="Yudi Zhu" userId="571e1a55-055f-4c28-8b35-fca6dd1c1369" providerId="ADAL" clId="{75A88773-6EE1-484E-AADE-FE631E01463B}" dt="2025-11-25T11:01:58.638" v="672146"/>
          <ac:cxnSpMkLst>
            <pc:docMk/>
            <pc:sldMk cId="1537813439" sldId="2147483101"/>
            <ac:cxnSpMk id="1594" creationId="{CA8BCBDE-7919-DFD2-CB10-EA88A315DC7B}"/>
          </ac:cxnSpMkLst>
        </pc:cxnChg>
        <pc:cxnChg chg="mod ord">
          <ac:chgData name="Yudi Zhu" userId="571e1a55-055f-4c28-8b35-fca6dd1c1369" providerId="ADAL" clId="{75A88773-6EE1-484E-AADE-FE631E01463B}" dt="2025-11-25T11:05:14.309" v="680952"/>
          <ac:cxnSpMkLst>
            <pc:docMk/>
            <pc:sldMk cId="1537813439" sldId="2147483101"/>
            <ac:cxnSpMk id="1595" creationId="{A73ED295-15B4-2F3B-66BB-F98525C1C7AA}"/>
          </ac:cxnSpMkLst>
        </pc:cxnChg>
        <pc:cxnChg chg="mod ord">
          <ac:chgData name="Yudi Zhu" userId="571e1a55-055f-4c28-8b35-fca6dd1c1369" providerId="ADAL" clId="{75A88773-6EE1-484E-AADE-FE631E01463B}" dt="2025-11-25T11:05:14.309" v="680954"/>
          <ac:cxnSpMkLst>
            <pc:docMk/>
            <pc:sldMk cId="1537813439" sldId="2147483101"/>
            <ac:cxnSpMk id="1596" creationId="{C82C9374-0347-8640-AD18-C259C5B53F7E}"/>
          </ac:cxnSpMkLst>
        </pc:cxnChg>
        <pc:cxnChg chg="del mod ord">
          <ac:chgData name="Yudi Zhu" userId="571e1a55-055f-4c28-8b35-fca6dd1c1369" providerId="ADAL" clId="{75A88773-6EE1-484E-AADE-FE631E01463B}" dt="2025-11-25T11:01:58.424" v="672032"/>
          <ac:cxnSpMkLst>
            <pc:docMk/>
            <pc:sldMk cId="1537813439" sldId="2147483101"/>
            <ac:cxnSpMk id="1599" creationId="{82B80641-5327-76DC-CF0C-CA9AB465B612}"/>
          </ac:cxnSpMkLst>
        </pc:cxnChg>
        <pc:cxnChg chg="del mod ord">
          <ac:chgData name="Yudi Zhu" userId="571e1a55-055f-4c28-8b35-fca6dd1c1369" providerId="ADAL" clId="{75A88773-6EE1-484E-AADE-FE631E01463B}" dt="2025-11-25T11:01:58.607" v="672130"/>
          <ac:cxnSpMkLst>
            <pc:docMk/>
            <pc:sldMk cId="1537813439" sldId="2147483101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5T11:05:14.718" v="681164"/>
          <ac:cxnSpMkLst>
            <pc:docMk/>
            <pc:sldMk cId="1537813439" sldId="2147483101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5T11:05:14.718" v="681166"/>
          <ac:cxnSpMkLst>
            <pc:docMk/>
            <pc:sldMk cId="1537813439" sldId="2147483101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5T11:05:14.718" v="681168"/>
          <ac:cxnSpMkLst>
            <pc:docMk/>
            <pc:sldMk cId="1537813439" sldId="2147483101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5T11:05:14.757" v="681184"/>
          <ac:cxnSpMkLst>
            <pc:docMk/>
            <pc:sldMk cId="1537813439" sldId="2147483101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5T11:05:14.757" v="681182"/>
          <ac:cxnSpMkLst>
            <pc:docMk/>
            <pc:sldMk cId="1537813439" sldId="2147483101"/>
            <ac:cxnSpMk id="1753" creationId="{6F89B6DC-E3F5-CD48-0D46-FFAA36062107}"/>
          </ac:cxnSpMkLst>
        </pc:cxnChg>
        <pc:cxnChg chg="mod ord">
          <ac:chgData name="Yudi Zhu" userId="571e1a55-055f-4c28-8b35-fca6dd1c1369" providerId="ADAL" clId="{75A88773-6EE1-484E-AADE-FE631E01463B}" dt="2025-11-25T11:05:14.597" v="681097"/>
          <ac:cxnSpMkLst>
            <pc:docMk/>
            <pc:sldMk cId="1537813439" sldId="2147483101"/>
            <ac:cxnSpMk id="1819" creationId="{89A23327-5608-B9B1-48B6-09A5B94BD12A}"/>
          </ac:cxnSpMkLst>
        </pc:cxnChg>
        <pc:cxnChg chg="del mod ord">
          <ac:chgData name="Yudi Zhu" userId="571e1a55-055f-4c28-8b35-fca6dd1c1369" providerId="ADAL" clId="{75A88773-6EE1-484E-AADE-FE631E01463B}" dt="2025-11-25T11:05:13.668" v="680740"/>
          <ac:cxnSpMkLst>
            <pc:docMk/>
            <pc:sldMk cId="1537813439" sldId="2147483101"/>
            <ac:cxnSpMk id="1856" creationId="{D1BA9907-3658-82E5-F2ED-A6180F1B2854}"/>
          </ac:cxnSpMkLst>
        </pc:cxnChg>
        <pc:cxnChg chg="del mod ord">
          <ac:chgData name="Yudi Zhu" userId="571e1a55-055f-4c28-8b35-fca6dd1c1369" providerId="ADAL" clId="{75A88773-6EE1-484E-AADE-FE631E01463B}" dt="2025-11-25T11:05:13.668" v="680744"/>
          <ac:cxnSpMkLst>
            <pc:docMk/>
            <pc:sldMk cId="1537813439" sldId="2147483101"/>
            <ac:cxnSpMk id="1857" creationId="{CF12010B-7B22-DD94-C36D-C11F4ECD2C5D}"/>
          </ac:cxnSpMkLst>
        </pc:cxnChg>
        <pc:cxnChg chg="del mod ord">
          <ac:chgData name="Yudi Zhu" userId="571e1a55-055f-4c28-8b35-fca6dd1c1369" providerId="ADAL" clId="{75A88773-6EE1-484E-AADE-FE631E01463B}" dt="2025-11-25T11:05:13.766" v="680776"/>
          <ac:cxnSpMkLst>
            <pc:docMk/>
            <pc:sldMk cId="1537813439" sldId="2147483101"/>
            <ac:cxnSpMk id="1858" creationId="{0D4B99E3-DB56-6849-EF97-337EA1B0324A}"/>
          </ac:cxnSpMkLst>
        </pc:cxnChg>
        <pc:cxnChg chg="del mod ord">
          <ac:chgData name="Yudi Zhu" userId="571e1a55-055f-4c28-8b35-fca6dd1c1369" providerId="ADAL" clId="{75A88773-6EE1-484E-AADE-FE631E01463B}" dt="2025-11-25T11:05:13.898" v="680816"/>
          <ac:cxnSpMkLst>
            <pc:docMk/>
            <pc:sldMk cId="1537813439" sldId="2147483101"/>
            <ac:cxnSpMk id="1859" creationId="{FD8FF0CA-37CF-D887-74DE-07CF29094DE7}"/>
          </ac:cxnSpMkLst>
        </pc:cxnChg>
        <pc:cxnChg chg="del mod ord">
          <ac:chgData name="Yudi Zhu" userId="571e1a55-055f-4c28-8b35-fca6dd1c1369" providerId="ADAL" clId="{75A88773-6EE1-484E-AADE-FE631E01463B}" dt="2025-11-25T11:05:13.971" v="680838"/>
          <ac:cxnSpMkLst>
            <pc:docMk/>
            <pc:sldMk cId="1537813439" sldId="2147483101"/>
            <ac:cxnSpMk id="1860" creationId="{1A93DD93-BD90-4150-D381-32F900E769FB}"/>
          </ac:cxnSpMkLst>
        </pc:cxnChg>
        <pc:cxnChg chg="mod ord">
          <ac:chgData name="Yudi Zhu" userId="571e1a55-055f-4c28-8b35-fca6dd1c1369" providerId="ADAL" clId="{75A88773-6EE1-484E-AADE-FE631E01463B}" dt="2025-11-25T11:05:14.534" v="681063"/>
          <ac:cxnSpMkLst>
            <pc:docMk/>
            <pc:sldMk cId="1537813439" sldId="2147483101"/>
            <ac:cxnSpMk id="1861" creationId="{15660DEE-4916-933D-E2C2-A4D09FBA11D1}"/>
          </ac:cxnSpMkLst>
        </pc:cxnChg>
        <pc:cxnChg chg="add mod ord">
          <ac:chgData name="Yudi Zhu" userId="571e1a55-055f-4c28-8b35-fca6dd1c1369" providerId="ADAL" clId="{75A88773-6EE1-484E-AADE-FE631E01463B}" dt="2025-11-25T11:05:14.550" v="681071"/>
          <ac:cxnSpMkLst>
            <pc:docMk/>
            <pc:sldMk cId="1537813439" sldId="2147483101"/>
            <ac:cxnSpMk id="1889" creationId="{114AB349-CA07-0A07-BAB4-30609FD082C9}"/>
          </ac:cxnSpMkLst>
        </pc:cxnChg>
        <pc:cxnChg chg="add mod ord">
          <ac:chgData name="Yudi Zhu" userId="571e1a55-055f-4c28-8b35-fca6dd1c1369" providerId="ADAL" clId="{75A88773-6EE1-484E-AADE-FE631E01463B}" dt="2025-11-25T11:05:14.566" v="681075"/>
          <ac:cxnSpMkLst>
            <pc:docMk/>
            <pc:sldMk cId="1537813439" sldId="2147483101"/>
            <ac:cxnSpMk id="1890" creationId="{FC91AC8D-7C7D-3F18-FE92-F31296D9A68D}"/>
          </ac:cxnSpMkLst>
        </pc:cxnChg>
        <pc:cxnChg chg="add mod ord">
          <ac:chgData name="Yudi Zhu" userId="571e1a55-055f-4c28-8b35-fca6dd1c1369" providerId="ADAL" clId="{75A88773-6EE1-484E-AADE-FE631E01463B}" dt="2025-11-25T11:05:14.550" v="681067"/>
          <ac:cxnSpMkLst>
            <pc:docMk/>
            <pc:sldMk cId="1537813439" sldId="2147483101"/>
            <ac:cxnSpMk id="1891" creationId="{72450C2A-0417-39AE-99E8-4C46C3DD28C2}"/>
          </ac:cxnSpMkLst>
        </pc:cxnChg>
        <pc:cxnChg chg="add mod ord">
          <ac:chgData name="Yudi Zhu" userId="571e1a55-055f-4c28-8b35-fca6dd1c1369" providerId="ADAL" clId="{75A88773-6EE1-484E-AADE-FE631E01463B}" dt="2025-11-25T11:05:14.566" v="681079"/>
          <ac:cxnSpMkLst>
            <pc:docMk/>
            <pc:sldMk cId="1537813439" sldId="2147483101"/>
            <ac:cxnSpMk id="1892" creationId="{633E5191-A880-7288-6A77-9C8B960D4EBF}"/>
          </ac:cxnSpMkLst>
        </pc:cxnChg>
        <pc:cxnChg chg="add mod ord">
          <ac:chgData name="Yudi Zhu" userId="571e1a55-055f-4c28-8b35-fca6dd1c1369" providerId="ADAL" clId="{75A88773-6EE1-484E-AADE-FE631E01463B}" dt="2025-11-25T11:05:14.566" v="681081"/>
          <ac:cxnSpMkLst>
            <pc:docMk/>
            <pc:sldMk cId="1537813439" sldId="2147483101"/>
            <ac:cxnSpMk id="1893" creationId="{2E3D9163-F49E-6CA6-61D1-A15192D729FE}"/>
          </ac:cxnSpMkLst>
        </pc:cxnChg>
        <pc:cxnChg chg="add mod ord">
          <ac:chgData name="Yudi Zhu" userId="571e1a55-055f-4c28-8b35-fca6dd1c1369" providerId="ADAL" clId="{75A88773-6EE1-484E-AADE-FE631E01463B}" dt="2025-11-25T11:05:14.581" v="681085"/>
          <ac:cxnSpMkLst>
            <pc:docMk/>
            <pc:sldMk cId="1537813439" sldId="2147483101"/>
            <ac:cxnSpMk id="1894" creationId="{1DD2A45F-EF24-C6F6-0ACB-ABB1057849F1}"/>
          </ac:cxnSpMkLst>
        </pc:cxnChg>
        <pc:cxnChg chg="add mod ord">
          <ac:chgData name="Yudi Zhu" userId="571e1a55-055f-4c28-8b35-fca6dd1c1369" providerId="ADAL" clId="{75A88773-6EE1-484E-AADE-FE631E01463B}" dt="2025-11-25T11:05:14.581" v="681087"/>
          <ac:cxnSpMkLst>
            <pc:docMk/>
            <pc:sldMk cId="1537813439" sldId="2147483101"/>
            <ac:cxnSpMk id="1895" creationId="{EB8C5CA4-CCAE-90F1-8351-78B18B726787}"/>
          </ac:cxnSpMkLst>
        </pc:cxnChg>
        <pc:cxnChg chg="mod ord">
          <ac:chgData name="Yudi Zhu" userId="571e1a55-055f-4c28-8b35-fca6dd1c1369" providerId="ADAL" clId="{75A88773-6EE1-484E-AADE-FE631E01463B}" dt="2025-11-25T11:05:14.394" v="680998"/>
          <ac:cxnSpMkLst>
            <pc:docMk/>
            <pc:sldMk cId="1537813439" sldId="2147483101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5T11:05:14.397" v="681000"/>
          <ac:cxnSpMkLst>
            <pc:docMk/>
            <pc:sldMk cId="1537813439" sldId="2147483101"/>
            <ac:cxnSpMk id="1916" creationId="{7945F6A2-9F38-277D-F5AE-EF96B3C11E5E}"/>
          </ac:cxnSpMkLst>
        </pc:cxnChg>
        <pc:cxnChg chg="mod ord">
          <ac:chgData name="Yudi Zhu" userId="571e1a55-055f-4c28-8b35-fca6dd1c1369" providerId="ADAL" clId="{75A88773-6EE1-484E-AADE-FE631E01463B}" dt="2025-11-25T11:05:14.766" v="681186"/>
          <ac:cxnSpMkLst>
            <pc:docMk/>
            <pc:sldMk cId="1537813439" sldId="2147483101"/>
            <ac:cxnSpMk id="2027" creationId="{EDEC6A54-327B-6A29-4374-80B7580FFFF9}"/>
          </ac:cxnSpMkLst>
        </pc:cxnChg>
        <pc:cxnChg chg="mod ord">
          <ac:chgData name="Yudi Zhu" userId="571e1a55-055f-4c28-8b35-fca6dd1c1369" providerId="ADAL" clId="{75A88773-6EE1-484E-AADE-FE631E01463B}" dt="2025-11-25T11:05:14.292" v="680936"/>
          <ac:cxnSpMkLst>
            <pc:docMk/>
            <pc:sldMk cId="1537813439" sldId="2147483101"/>
            <ac:cxnSpMk id="2048" creationId="{977756EB-51BC-9FC9-0AE4-4BD27EE431BC}"/>
          </ac:cxnSpMkLst>
        </pc:cxnChg>
        <pc:cxnChg chg="mod ord">
          <ac:chgData name="Yudi Zhu" userId="571e1a55-055f-4c28-8b35-fca6dd1c1369" providerId="ADAL" clId="{75A88773-6EE1-484E-AADE-FE631E01463B}" dt="2025-11-25T11:05:14.304" v="680944"/>
          <ac:cxnSpMkLst>
            <pc:docMk/>
            <pc:sldMk cId="1537813439" sldId="2147483101"/>
            <ac:cxnSpMk id="2049" creationId="{A165F795-E25E-73C6-34EF-CDE2FFF090E5}"/>
          </ac:cxnSpMkLst>
        </pc:cxnChg>
        <pc:cxnChg chg="mod ord">
          <ac:chgData name="Yudi Zhu" userId="571e1a55-055f-4c28-8b35-fca6dd1c1369" providerId="ADAL" clId="{75A88773-6EE1-484E-AADE-FE631E01463B}" dt="2025-11-25T11:05:14.309" v="680948"/>
          <ac:cxnSpMkLst>
            <pc:docMk/>
            <pc:sldMk cId="1537813439" sldId="2147483101"/>
            <ac:cxnSpMk id="2050" creationId="{EDE25A69-B05D-15E3-7AA6-CD653F7DBFDD}"/>
          </ac:cxnSpMkLst>
        </pc:cxnChg>
        <pc:cxnChg chg="mod ord">
          <ac:chgData name="Yudi Zhu" userId="571e1a55-055f-4c28-8b35-fca6dd1c1369" providerId="ADAL" clId="{75A88773-6EE1-484E-AADE-FE631E01463B}" dt="2025-11-25T11:05:14.309" v="680950"/>
          <ac:cxnSpMkLst>
            <pc:docMk/>
            <pc:sldMk cId="1537813439" sldId="2147483101"/>
            <ac:cxnSpMk id="2051" creationId="{2E9608A4-AA98-2C22-9C43-2579A93B7E18}"/>
          </ac:cxnSpMkLst>
        </pc:cxnChg>
        <pc:cxnChg chg="mod ord">
          <ac:chgData name="Yudi Zhu" userId="571e1a55-055f-4c28-8b35-fca6dd1c1369" providerId="ADAL" clId="{75A88773-6EE1-484E-AADE-FE631E01463B}" dt="2025-11-25T11:05:14.799" v="681203"/>
          <ac:cxnSpMkLst>
            <pc:docMk/>
            <pc:sldMk cId="1537813439" sldId="2147483101"/>
            <ac:cxnSpMk id="2074" creationId="{DC085743-D412-C3E0-BD8A-77CCC98E3B10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7:07:21.685" v="765919" actId="20577"/>
        <pc:sldMkLst>
          <pc:docMk/>
          <pc:sldMk cId="3559958120" sldId="2147483102"/>
        </pc:sldMkLst>
        <pc:spChg chg="mod ord">
          <ac:chgData name="Yudi Zhu" userId="571e1a55-055f-4c28-8b35-fca6dd1c1369" providerId="ADAL" clId="{75A88773-6EE1-484E-AADE-FE631E01463B}" dt="2025-11-25T11:13:18.665" v="690905" actId="948"/>
          <ac:spMkLst>
            <pc:docMk/>
            <pc:sldMk cId="3559958120" sldId="2147483102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5T10:40:16.164" v="659347"/>
          <ac:spMkLst>
            <pc:docMk/>
            <pc:sldMk cId="3559958120" sldId="2147483102"/>
            <ac:spMk id="4" creationId="{A50C41E5-6CCF-80BA-77CB-619A2169A20F}"/>
          </ac:spMkLst>
        </pc:spChg>
        <pc:spChg chg="add del mod modVis">
          <ac:chgData name="Yudi Zhu" userId="571e1a55-055f-4c28-8b35-fca6dd1c1369" providerId="ADAL" clId="{75A88773-6EE1-484E-AADE-FE631E01463B}" dt="2025-11-25T11:08:48.010" v="682082"/>
          <ac:spMkLst>
            <pc:docMk/>
            <pc:sldMk cId="3559958120" sldId="2147483102"/>
            <ac:spMk id="5" creationId="{7B58F277-805D-6A84-D1CB-715C69B80BE4}"/>
          </ac:spMkLst>
        </pc:spChg>
        <pc:spChg chg="add del mod modVis">
          <ac:chgData name="Yudi Zhu" userId="571e1a55-055f-4c28-8b35-fca6dd1c1369" providerId="ADAL" clId="{75A88773-6EE1-484E-AADE-FE631E01463B}" dt="2025-11-25T11:08:53.442" v="682668"/>
          <ac:spMkLst>
            <pc:docMk/>
            <pc:sldMk cId="3559958120" sldId="2147483102"/>
            <ac:spMk id="9" creationId="{7DA8DB2B-6F10-D7B0-0522-3827CEF759C1}"/>
          </ac:spMkLst>
        </pc:spChg>
        <pc:spChg chg="add del mod modVis">
          <ac:chgData name="Yudi Zhu" userId="571e1a55-055f-4c28-8b35-fca6dd1c1369" providerId="ADAL" clId="{75A88773-6EE1-484E-AADE-FE631E01463B}" dt="2025-11-25T11:08:58.772" v="683215"/>
          <ac:spMkLst>
            <pc:docMk/>
            <pc:sldMk cId="3559958120" sldId="2147483102"/>
            <ac:spMk id="12" creationId="{ED55E4DF-933C-950A-45F4-DA8E0297E2B6}"/>
          </ac:spMkLst>
        </pc:spChg>
        <pc:spChg chg="add mod ord">
          <ac:chgData name="Yudi Zhu" userId="571e1a55-055f-4c28-8b35-fca6dd1c1369" providerId="ADAL" clId="{75A88773-6EE1-484E-AADE-FE631E01463B}" dt="2025-11-25T11:11:22.473" v="690775"/>
          <ac:spMkLst>
            <pc:docMk/>
            <pc:sldMk cId="3559958120" sldId="2147483102"/>
            <ac:spMk id="15" creationId="{11884DB9-8C36-7B2B-749A-F190FA0EC13C}"/>
          </ac:spMkLst>
        </pc:spChg>
        <pc:spChg chg="add mod ord">
          <ac:chgData name="Yudi Zhu" userId="571e1a55-055f-4c28-8b35-fca6dd1c1369" providerId="ADAL" clId="{75A88773-6EE1-484E-AADE-FE631E01463B}" dt="2025-11-25T11:11:22.475" v="690777"/>
          <ac:spMkLst>
            <pc:docMk/>
            <pc:sldMk cId="3559958120" sldId="2147483102"/>
            <ac:spMk id="16" creationId="{4C785DA2-3F13-60FB-75E0-EA7AF43B5273}"/>
          </ac:spMkLst>
        </pc:spChg>
        <pc:spChg chg="add mod">
          <ac:chgData name="Yudi Zhu" userId="571e1a55-055f-4c28-8b35-fca6dd1c1369" providerId="ADAL" clId="{75A88773-6EE1-484E-AADE-FE631E01463B}" dt="2025-11-25T11:11:22.464" v="690772"/>
          <ac:spMkLst>
            <pc:docMk/>
            <pc:sldMk cId="3559958120" sldId="2147483102"/>
            <ac:spMk id="17" creationId="{62EA751D-C65F-4058-63F5-73CE8D49B2F7}"/>
          </ac:spMkLst>
        </pc:spChg>
        <pc:spChg chg="add mod ord">
          <ac:chgData name="Yudi Zhu" userId="571e1a55-055f-4c28-8b35-fca6dd1c1369" providerId="ADAL" clId="{75A88773-6EE1-484E-AADE-FE631E01463B}" dt="2025-11-25T11:11:22.477" v="690779"/>
          <ac:spMkLst>
            <pc:docMk/>
            <pc:sldMk cId="3559958120" sldId="2147483102"/>
            <ac:spMk id="18" creationId="{721C6413-A234-0644-6E94-693DDBCE6F3A}"/>
          </ac:spMkLst>
        </pc:spChg>
        <pc:spChg chg="add mod ord">
          <ac:chgData name="Yudi Zhu" userId="571e1a55-055f-4c28-8b35-fca6dd1c1369" providerId="ADAL" clId="{75A88773-6EE1-484E-AADE-FE631E01463B}" dt="2025-11-25T11:11:22.478" v="690781"/>
          <ac:spMkLst>
            <pc:docMk/>
            <pc:sldMk cId="3559958120" sldId="2147483102"/>
            <ac:spMk id="19" creationId="{E51D88E6-02D4-4320-BFE0-C5D0FEECBE0D}"/>
          </ac:spMkLst>
        </pc:spChg>
        <pc:spChg chg="add mod">
          <ac:chgData name="Yudi Zhu" userId="571e1a55-055f-4c28-8b35-fca6dd1c1369" providerId="ADAL" clId="{75A88773-6EE1-484E-AADE-FE631E01463B}" dt="2025-11-25T11:11:22.464" v="690773"/>
          <ac:spMkLst>
            <pc:docMk/>
            <pc:sldMk cId="3559958120" sldId="2147483102"/>
            <ac:spMk id="20" creationId="{59D8980E-0F19-6197-89BA-005C2ED979E5}"/>
          </ac:spMkLst>
        </pc:spChg>
        <pc:spChg chg="add del mod modVis">
          <ac:chgData name="Yudi Zhu" userId="571e1a55-055f-4c28-8b35-fca6dd1c1369" providerId="ADAL" clId="{75A88773-6EE1-484E-AADE-FE631E01463B}" dt="2025-11-25T11:09:13.978" v="683764"/>
          <ac:spMkLst>
            <pc:docMk/>
            <pc:sldMk cId="3559958120" sldId="2147483102"/>
            <ac:spMk id="21" creationId="{FE6295E6-86C8-8F2E-2571-204AE0080A12}"/>
          </ac:spMkLst>
        </pc:spChg>
        <pc:spChg chg="add del mod modVis">
          <ac:chgData name="Yudi Zhu" userId="571e1a55-055f-4c28-8b35-fca6dd1c1369" providerId="ADAL" clId="{75A88773-6EE1-484E-AADE-FE631E01463B}" dt="2025-11-25T11:09:19.220" v="684167"/>
          <ac:spMkLst>
            <pc:docMk/>
            <pc:sldMk cId="3559958120" sldId="2147483102"/>
            <ac:spMk id="23" creationId="{9872BD6D-C39D-40AC-D560-4F1A51723BF4}"/>
          </ac:spMkLst>
        </pc:spChg>
        <pc:spChg chg="add del mod modVis">
          <ac:chgData name="Yudi Zhu" userId="571e1a55-055f-4c28-8b35-fca6dd1c1369" providerId="ADAL" clId="{75A88773-6EE1-484E-AADE-FE631E01463B}" dt="2025-11-25T11:09:22.810" v="684558"/>
          <ac:spMkLst>
            <pc:docMk/>
            <pc:sldMk cId="3559958120" sldId="2147483102"/>
            <ac:spMk id="25" creationId="{AFA72554-8E6A-4230-89B0-5ED31B53014D}"/>
          </ac:spMkLst>
        </pc:spChg>
        <pc:spChg chg="add del mod modVis">
          <ac:chgData name="Yudi Zhu" userId="571e1a55-055f-4c28-8b35-fca6dd1c1369" providerId="ADAL" clId="{75A88773-6EE1-484E-AADE-FE631E01463B}" dt="2025-11-25T11:09:44.664" v="685405"/>
          <ac:spMkLst>
            <pc:docMk/>
            <pc:sldMk cId="3559958120" sldId="2147483102"/>
            <ac:spMk id="27" creationId="{A4F6F094-4D22-23CB-4B7A-03366DB9E706}"/>
          </ac:spMkLst>
        </pc:spChg>
        <pc:spChg chg="add del mod modVis">
          <ac:chgData name="Yudi Zhu" userId="571e1a55-055f-4c28-8b35-fca6dd1c1369" providerId="ADAL" clId="{75A88773-6EE1-484E-AADE-FE631E01463B}" dt="2025-11-25T11:09:48.660" v="685920"/>
          <ac:spMkLst>
            <pc:docMk/>
            <pc:sldMk cId="3559958120" sldId="2147483102"/>
            <ac:spMk id="32" creationId="{ADFA8D07-1698-AD66-601D-6E6435B1F5A5}"/>
          </ac:spMkLst>
        </pc:spChg>
        <pc:spChg chg="add del mod modVis">
          <ac:chgData name="Yudi Zhu" userId="571e1a55-055f-4c28-8b35-fca6dd1c1369" providerId="ADAL" clId="{75A88773-6EE1-484E-AADE-FE631E01463B}" dt="2025-11-25T11:09:54.857" v="686563"/>
          <ac:spMkLst>
            <pc:docMk/>
            <pc:sldMk cId="3559958120" sldId="2147483102"/>
            <ac:spMk id="35" creationId="{284D6FA7-12E4-D198-75F2-62B84F558E4D}"/>
          </ac:spMkLst>
        </pc:spChg>
        <pc:spChg chg="add del mod modVis">
          <ac:chgData name="Yudi Zhu" userId="571e1a55-055f-4c28-8b35-fca6dd1c1369" providerId="ADAL" clId="{75A88773-6EE1-484E-AADE-FE631E01463B}" dt="2025-11-25T11:10:05.467" v="686936"/>
          <ac:spMkLst>
            <pc:docMk/>
            <pc:sldMk cId="3559958120" sldId="2147483102"/>
            <ac:spMk id="37" creationId="{85BD8792-49E5-72EE-EFFA-7A4D5193883C}"/>
          </ac:spMkLst>
        </pc:spChg>
        <pc:spChg chg="add del mod modVis">
          <ac:chgData name="Yudi Zhu" userId="571e1a55-055f-4c28-8b35-fca6dd1c1369" providerId="ADAL" clId="{75A88773-6EE1-484E-AADE-FE631E01463B}" dt="2025-11-25T11:10:08.784" v="687290"/>
          <ac:spMkLst>
            <pc:docMk/>
            <pc:sldMk cId="3559958120" sldId="2147483102"/>
            <ac:spMk id="39" creationId="{43762AD3-CCB9-A157-4658-381AA13E16C8}"/>
          </ac:spMkLst>
        </pc:spChg>
        <pc:spChg chg="add mod ord">
          <ac:chgData name="Yudi Zhu" userId="571e1a55-055f-4c28-8b35-fca6dd1c1369" providerId="ADAL" clId="{75A88773-6EE1-484E-AADE-FE631E01463B}" dt="2025-11-25T11:11:22.510" v="690806"/>
          <ac:spMkLst>
            <pc:docMk/>
            <pc:sldMk cId="3559958120" sldId="2147483102"/>
            <ac:spMk id="41" creationId="{4920BE46-8453-33B5-C51B-5FCEDCCF07CB}"/>
          </ac:spMkLst>
        </pc:spChg>
        <pc:spChg chg="add del mod modVis">
          <ac:chgData name="Yudi Zhu" userId="571e1a55-055f-4c28-8b35-fca6dd1c1369" providerId="ADAL" clId="{75A88773-6EE1-484E-AADE-FE631E01463B}" dt="2025-11-25T11:10:18.726" v="687964"/>
          <ac:spMkLst>
            <pc:docMk/>
            <pc:sldMk cId="3559958120" sldId="2147483102"/>
            <ac:spMk id="43" creationId="{98C0AFDF-2C3C-B422-93E4-2D3E77C40A4D}"/>
          </ac:spMkLst>
        </pc:spChg>
        <pc:spChg chg="add del mod modVis">
          <ac:chgData name="Yudi Zhu" userId="571e1a55-055f-4c28-8b35-fca6dd1c1369" providerId="ADAL" clId="{75A88773-6EE1-484E-AADE-FE631E01463B}" dt="2025-11-25T11:10:21.384" v="688316"/>
          <ac:spMkLst>
            <pc:docMk/>
            <pc:sldMk cId="3559958120" sldId="2147483102"/>
            <ac:spMk id="45" creationId="{3BC0D488-6577-4C26-8C73-5122BADD98EB}"/>
          </ac:spMkLst>
        </pc:spChg>
        <pc:spChg chg="mod ord">
          <ac:chgData name="Yudi Zhu" userId="571e1a55-055f-4c28-8b35-fca6dd1c1369" providerId="ADAL" clId="{75A88773-6EE1-484E-AADE-FE631E01463B}" dt="2025-11-25T11:11:22.371" v="690730"/>
          <ac:spMkLst>
            <pc:docMk/>
            <pc:sldMk cId="3559958120" sldId="2147483102"/>
            <ac:spMk id="50" creationId="{02F6331E-5D73-6E69-0D56-C4DE5D68572C}"/>
          </ac:spMkLst>
        </pc:spChg>
        <pc:spChg chg="del mod ord">
          <ac:chgData name="Yudi Zhu" userId="571e1a55-055f-4c28-8b35-fca6dd1c1369" providerId="ADAL" clId="{75A88773-6EE1-484E-AADE-FE631E01463B}" dt="2025-11-25T11:11:21.598" v="690394"/>
          <ac:spMkLst>
            <pc:docMk/>
            <pc:sldMk cId="3559958120" sldId="2147483102"/>
            <ac:spMk id="51" creationId="{9C0C7DC5-9B73-37CA-1B50-CC7A6362A4E2}"/>
          </ac:spMkLst>
        </pc:spChg>
        <pc:spChg chg="del mod ord">
          <ac:chgData name="Yudi Zhu" userId="571e1a55-055f-4c28-8b35-fca6dd1c1369" providerId="ADAL" clId="{75A88773-6EE1-484E-AADE-FE631E01463B}" dt="2025-11-25T11:11:21.612" v="690404"/>
          <ac:spMkLst>
            <pc:docMk/>
            <pc:sldMk cId="3559958120" sldId="2147483102"/>
            <ac:spMk id="52" creationId="{0D711176-2CAE-6464-7127-84B92BFA5A0A}"/>
          </ac:spMkLst>
        </pc:spChg>
        <pc:spChg chg="mod ord">
          <ac:chgData name="Yudi Zhu" userId="571e1a55-055f-4c28-8b35-fca6dd1c1369" providerId="ADAL" clId="{75A88773-6EE1-484E-AADE-FE631E01463B}" dt="2025-11-25T11:11:22.416" v="690745"/>
          <ac:spMkLst>
            <pc:docMk/>
            <pc:sldMk cId="3559958120" sldId="2147483102"/>
            <ac:spMk id="53" creationId="{D416A439-F437-CB7D-5D8F-C9C806308A88}"/>
          </ac:spMkLst>
        </pc:spChg>
        <pc:spChg chg="mod ord">
          <ac:chgData name="Yudi Zhu" userId="571e1a55-055f-4c28-8b35-fca6dd1c1369" providerId="ADAL" clId="{75A88773-6EE1-484E-AADE-FE631E01463B}" dt="2025-11-25T11:11:22.416" v="690748"/>
          <ac:spMkLst>
            <pc:docMk/>
            <pc:sldMk cId="3559958120" sldId="2147483102"/>
            <ac:spMk id="54" creationId="{77D4B05C-BCC1-6709-C059-13F84D9F7770}"/>
          </ac:spMkLst>
        </pc:spChg>
        <pc:spChg chg="del mod ord">
          <ac:chgData name="Yudi Zhu" userId="571e1a55-055f-4c28-8b35-fca6dd1c1369" providerId="ADAL" clId="{75A88773-6EE1-484E-AADE-FE631E01463B}" dt="2025-11-25T11:11:21.652" v="690432"/>
          <ac:spMkLst>
            <pc:docMk/>
            <pc:sldMk cId="3559958120" sldId="2147483102"/>
            <ac:spMk id="55" creationId="{7EDBB2B4-EF67-25C3-C8B0-FB513D9A3CD3}"/>
          </ac:spMkLst>
        </pc:spChg>
        <pc:spChg chg="mod ord">
          <ac:chgData name="Yudi Zhu" userId="571e1a55-055f-4c28-8b35-fca6dd1c1369" providerId="ADAL" clId="{75A88773-6EE1-484E-AADE-FE631E01463B}" dt="2025-11-25T11:11:22.371" v="690728"/>
          <ac:spMkLst>
            <pc:docMk/>
            <pc:sldMk cId="3559958120" sldId="2147483102"/>
            <ac:spMk id="56" creationId="{D0AD0539-7B6F-111C-ED13-D1B443ABA2B3}"/>
          </ac:spMkLst>
        </pc:spChg>
        <pc:spChg chg="mod ord">
          <ac:chgData name="Yudi Zhu" userId="571e1a55-055f-4c28-8b35-fca6dd1c1369" providerId="ADAL" clId="{75A88773-6EE1-484E-AADE-FE631E01463B}" dt="2025-11-25T11:11:22.186" v="690646"/>
          <ac:spMkLst>
            <pc:docMk/>
            <pc:sldMk cId="3559958120" sldId="2147483102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5T11:11:22.186" v="690647"/>
          <ac:spMkLst>
            <pc:docMk/>
            <pc:sldMk cId="3559958120" sldId="2147483102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5T11:11:22.186" v="690648"/>
          <ac:spMkLst>
            <pc:docMk/>
            <pc:sldMk cId="3559958120" sldId="2147483102"/>
            <ac:spMk id="312" creationId="{5889A2F9-795A-D383-2D23-CFB5A874C50A}"/>
          </ac:spMkLst>
        </pc:spChg>
        <pc:spChg chg="mod ord">
          <ac:chgData name="Yudi Zhu" userId="571e1a55-055f-4c28-8b35-fca6dd1c1369" providerId="ADAL" clId="{75A88773-6EE1-484E-AADE-FE631E01463B}" dt="2025-11-25T11:11:22.201" v="690649"/>
          <ac:spMkLst>
            <pc:docMk/>
            <pc:sldMk cId="3559958120" sldId="2147483102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5T11:11:22.201" v="690650"/>
          <ac:spMkLst>
            <pc:docMk/>
            <pc:sldMk cId="3559958120" sldId="2147483102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5T11:11:22.201" v="690651"/>
          <ac:spMkLst>
            <pc:docMk/>
            <pc:sldMk cId="3559958120" sldId="2147483102"/>
            <ac:spMk id="316" creationId="{FF8775EC-9A38-2C66-D0FF-C4924FD32796}"/>
          </ac:spMkLst>
        </pc:spChg>
        <pc:spChg chg="mod ord">
          <ac:chgData name="Yudi Zhu" userId="571e1a55-055f-4c28-8b35-fca6dd1c1369" providerId="ADAL" clId="{75A88773-6EE1-484E-AADE-FE631E01463B}" dt="2025-11-25T11:11:22.201" v="690652"/>
          <ac:spMkLst>
            <pc:docMk/>
            <pc:sldMk cId="3559958120" sldId="2147483102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5T11:11:22.201" v="690653"/>
          <ac:spMkLst>
            <pc:docMk/>
            <pc:sldMk cId="3559958120" sldId="2147483102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5T11:11:22.217" v="690654"/>
          <ac:spMkLst>
            <pc:docMk/>
            <pc:sldMk cId="3559958120" sldId="2147483102"/>
            <ac:spMk id="320" creationId="{E86B3B8E-37AC-519F-45A3-5BD8642641E6}"/>
          </ac:spMkLst>
        </pc:spChg>
        <pc:spChg chg="mod ord">
          <ac:chgData name="Yudi Zhu" userId="571e1a55-055f-4c28-8b35-fca6dd1c1369" providerId="ADAL" clId="{75A88773-6EE1-484E-AADE-FE631E01463B}" dt="2025-11-25T11:11:22.217" v="690655"/>
          <ac:spMkLst>
            <pc:docMk/>
            <pc:sldMk cId="3559958120" sldId="2147483102"/>
            <ac:spMk id="322" creationId="{CE952EB7-012F-2155-70B6-F7D7E5AC2462}"/>
          </ac:spMkLst>
        </pc:spChg>
        <pc:spChg chg="mod">
          <ac:chgData name="Yudi Zhu" userId="571e1a55-055f-4c28-8b35-fca6dd1c1369" providerId="ADAL" clId="{75A88773-6EE1-484E-AADE-FE631E01463B}" dt="2025-11-25T11:11:22.217" v="690657"/>
          <ac:spMkLst>
            <pc:docMk/>
            <pc:sldMk cId="3559958120" sldId="2147483102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5T11:11:22.272" v="690674"/>
          <ac:spMkLst>
            <pc:docMk/>
            <pc:sldMk cId="3559958120" sldId="2147483102"/>
            <ac:spMk id="324" creationId="{74A31F23-C56E-0C58-DE25-C3822C2C7702}"/>
          </ac:spMkLst>
        </pc:spChg>
        <pc:spChg chg="mod ord">
          <ac:chgData name="Yudi Zhu" userId="571e1a55-055f-4c28-8b35-fca6dd1c1369" providerId="ADAL" clId="{75A88773-6EE1-484E-AADE-FE631E01463B}" dt="2025-11-25T11:11:22.217" v="690658"/>
          <ac:spMkLst>
            <pc:docMk/>
            <pc:sldMk cId="3559958120" sldId="2147483102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5T11:11:22.217" v="690659"/>
          <ac:spMkLst>
            <pc:docMk/>
            <pc:sldMk cId="3559958120" sldId="2147483102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5T11:11:22.233" v="690660"/>
          <ac:spMkLst>
            <pc:docMk/>
            <pc:sldMk cId="3559958120" sldId="2147483102"/>
            <ac:spMk id="328" creationId="{96ACB3D1-E63C-5146-0E96-44B1BC1BF511}"/>
          </ac:spMkLst>
        </pc:spChg>
        <pc:spChg chg="mod ord">
          <ac:chgData name="Yudi Zhu" userId="571e1a55-055f-4c28-8b35-fca6dd1c1369" providerId="ADAL" clId="{75A88773-6EE1-484E-AADE-FE631E01463B}" dt="2025-11-25T11:11:22.233" v="690661"/>
          <ac:spMkLst>
            <pc:docMk/>
            <pc:sldMk cId="3559958120" sldId="2147483102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5T11:11:22.233" v="690662"/>
          <ac:spMkLst>
            <pc:docMk/>
            <pc:sldMk cId="3559958120" sldId="2147483102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5T11:11:22.233" v="690663"/>
          <ac:spMkLst>
            <pc:docMk/>
            <pc:sldMk cId="3559958120" sldId="2147483102"/>
            <ac:spMk id="332" creationId="{E808FE89-996D-415C-DBB1-0A3FFCE5ABC0}"/>
          </ac:spMkLst>
        </pc:spChg>
        <pc:spChg chg="mod ord">
          <ac:chgData name="Yudi Zhu" userId="571e1a55-055f-4c28-8b35-fca6dd1c1369" providerId="ADAL" clId="{75A88773-6EE1-484E-AADE-FE631E01463B}" dt="2025-11-25T11:11:22.233" v="690664"/>
          <ac:spMkLst>
            <pc:docMk/>
            <pc:sldMk cId="3559958120" sldId="2147483102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5T11:11:22.248" v="690665"/>
          <ac:spMkLst>
            <pc:docMk/>
            <pc:sldMk cId="3559958120" sldId="2147483102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5T11:11:22.248" v="690666"/>
          <ac:spMkLst>
            <pc:docMk/>
            <pc:sldMk cId="3559958120" sldId="2147483102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5T11:11:22.264" v="690670"/>
          <ac:spMkLst>
            <pc:docMk/>
            <pc:sldMk cId="3559958120" sldId="2147483102"/>
            <ac:spMk id="337" creationId="{36AB1D7E-40D3-61B5-A55C-A396D415FF17}"/>
          </ac:spMkLst>
        </pc:spChg>
        <pc:spChg chg="mod ord">
          <ac:chgData name="Yudi Zhu" userId="571e1a55-055f-4c28-8b35-fca6dd1c1369" providerId="ADAL" clId="{75A88773-6EE1-484E-AADE-FE631E01463B}" dt="2025-11-25T11:11:22.248" v="690667"/>
          <ac:spMkLst>
            <pc:docMk/>
            <pc:sldMk cId="3559958120" sldId="2147483102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5T11:11:22.248" v="690668"/>
          <ac:spMkLst>
            <pc:docMk/>
            <pc:sldMk cId="3559958120" sldId="2147483102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5T11:11:22.248" v="690669"/>
          <ac:spMkLst>
            <pc:docMk/>
            <pc:sldMk cId="3559958120" sldId="2147483102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5T11:11:22.264" v="690672"/>
          <ac:spMkLst>
            <pc:docMk/>
            <pc:sldMk cId="3559958120" sldId="2147483102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5T11:11:22.217" v="690656"/>
          <ac:spMkLst>
            <pc:docMk/>
            <pc:sldMk cId="3559958120" sldId="2147483102"/>
            <ac:spMk id="343" creationId="{93F781B8-58D3-037B-422F-B97F243A4ADD}"/>
          </ac:spMkLst>
        </pc:spChg>
        <pc:spChg chg="mod ord">
          <ac:chgData name="Yudi Zhu" userId="571e1a55-055f-4c28-8b35-fca6dd1c1369" providerId="ADAL" clId="{75A88773-6EE1-484E-AADE-FE631E01463B}" dt="2025-11-25T11:11:22.272" v="690673"/>
          <ac:spMkLst>
            <pc:docMk/>
            <pc:sldMk cId="3559958120" sldId="2147483102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5T11:11:22.180" v="690644"/>
          <ac:spMkLst>
            <pc:docMk/>
            <pc:sldMk cId="3559958120" sldId="2147483102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5T11:11:22.186" v="690645"/>
          <ac:spMkLst>
            <pc:docMk/>
            <pc:sldMk cId="3559958120" sldId="2147483102"/>
            <ac:spMk id="347" creationId="{90303146-CD91-5A62-9BB6-085A9E75310C}"/>
          </ac:spMkLst>
        </pc:spChg>
        <pc:spChg chg="mod ord">
          <ac:chgData name="Yudi Zhu" userId="571e1a55-055f-4c28-8b35-fca6dd1c1369" providerId="ADAL" clId="{75A88773-6EE1-484E-AADE-FE631E01463B}" dt="2025-11-25T11:11:22.280" v="690676"/>
          <ac:spMkLst>
            <pc:docMk/>
            <pc:sldMk cId="3559958120" sldId="2147483102"/>
            <ac:spMk id="350" creationId="{29244B0B-E2EE-A2BC-96A2-0D5A3B3BD02C}"/>
          </ac:spMkLst>
        </pc:spChg>
        <pc:spChg chg="mod ord">
          <ac:chgData name="Yudi Zhu" userId="571e1a55-055f-4c28-8b35-fca6dd1c1369" providerId="ADAL" clId="{75A88773-6EE1-484E-AADE-FE631E01463B}" dt="2025-11-25T11:11:22.280" v="690678"/>
          <ac:spMkLst>
            <pc:docMk/>
            <pc:sldMk cId="3559958120" sldId="2147483102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5T11:11:22.290" v="690681"/>
          <ac:spMkLst>
            <pc:docMk/>
            <pc:sldMk cId="3559958120" sldId="2147483102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5T11:11:22.294" v="690682"/>
          <ac:spMkLst>
            <pc:docMk/>
            <pc:sldMk cId="3559958120" sldId="2147483102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5T11:11:22.297" v="690683"/>
          <ac:spMkLst>
            <pc:docMk/>
            <pc:sldMk cId="3559958120" sldId="2147483102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5T11:11:22.306" v="690688"/>
          <ac:spMkLst>
            <pc:docMk/>
            <pc:sldMk cId="3559958120" sldId="2147483102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5T11:11:22.308" v="690689"/>
          <ac:spMkLst>
            <pc:docMk/>
            <pc:sldMk cId="3559958120" sldId="2147483102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5T11:11:22.301" v="690685"/>
          <ac:spMkLst>
            <pc:docMk/>
            <pc:sldMk cId="3559958120" sldId="2147483102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5T11:11:22.304" v="690687"/>
          <ac:spMkLst>
            <pc:docMk/>
            <pc:sldMk cId="3559958120" sldId="2147483102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5T11:11:22.489" v="690791"/>
          <ac:spMkLst>
            <pc:docMk/>
            <pc:sldMk cId="3559958120" sldId="2147483102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5T11:11:22.496" v="690793"/>
          <ac:spMkLst>
            <pc:docMk/>
            <pc:sldMk cId="3559958120" sldId="2147483102"/>
            <ac:spMk id="1003" creationId="{383A4D55-87AC-E7AD-D775-159B8AA91BD4}"/>
          </ac:spMkLst>
        </pc:spChg>
        <pc:spChg chg="mod ord">
          <ac:chgData name="Yudi Zhu" userId="571e1a55-055f-4c28-8b35-fca6dd1c1369" providerId="ADAL" clId="{75A88773-6EE1-484E-AADE-FE631E01463B}" dt="2025-11-25T11:11:22.487" v="690790"/>
          <ac:spMkLst>
            <pc:docMk/>
            <pc:sldMk cId="3559958120" sldId="2147483102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5T11:11:22.493" v="690792"/>
          <ac:spMkLst>
            <pc:docMk/>
            <pc:sldMk cId="3559958120" sldId="2147483102"/>
            <ac:spMk id="1166" creationId="{C21E8AFD-DF88-3440-816B-93B8FDB6B328}"/>
          </ac:spMkLst>
        </pc:spChg>
        <pc:spChg chg="mod">
          <ac:chgData name="Yudi Zhu" userId="571e1a55-055f-4c28-8b35-fca6dd1c1369" providerId="ADAL" clId="{75A88773-6EE1-484E-AADE-FE631E01463B}" dt="2025-11-25T11:11:22.114" v="690610"/>
          <ac:spMkLst>
            <pc:docMk/>
            <pc:sldMk cId="3559958120" sldId="2147483102"/>
            <ac:spMk id="1194" creationId="{BBCCF612-1129-BBB4-5844-0BA70960BFD5}"/>
          </ac:spMkLst>
        </pc:spChg>
        <pc:spChg chg="mod ord">
          <ac:chgData name="Yudi Zhu" userId="571e1a55-055f-4c28-8b35-fca6dd1c1369" providerId="ADAL" clId="{75A88773-6EE1-484E-AADE-FE631E01463B}" dt="2025-11-25T11:11:22.135" v="690618"/>
          <ac:spMkLst>
            <pc:docMk/>
            <pc:sldMk cId="3559958120" sldId="2147483102"/>
            <ac:spMk id="1195" creationId="{5C1C629A-FB4A-9DCD-82D7-CB67AA109C26}"/>
          </ac:spMkLst>
        </pc:spChg>
        <pc:spChg chg="mod ord">
          <ac:chgData name="Yudi Zhu" userId="571e1a55-055f-4c28-8b35-fca6dd1c1369" providerId="ADAL" clId="{75A88773-6EE1-484E-AADE-FE631E01463B}" dt="2025-11-25T11:11:22.139" v="690619"/>
          <ac:spMkLst>
            <pc:docMk/>
            <pc:sldMk cId="3559958120" sldId="2147483102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5T11:11:22.142" v="690620"/>
          <ac:spMkLst>
            <pc:docMk/>
            <pc:sldMk cId="3559958120" sldId="2147483102"/>
            <ac:spMk id="1197" creationId="{4420D0BB-BF1F-19EC-B0A4-93BCE704F5E8}"/>
          </ac:spMkLst>
        </pc:spChg>
        <pc:spChg chg="mod ord">
          <ac:chgData name="Yudi Zhu" userId="571e1a55-055f-4c28-8b35-fca6dd1c1369" providerId="ADAL" clId="{75A88773-6EE1-484E-AADE-FE631E01463B}" dt="2025-11-25T11:11:22.145" v="690621"/>
          <ac:spMkLst>
            <pc:docMk/>
            <pc:sldMk cId="3559958120" sldId="2147483102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5T11:11:22.147" v="690623"/>
          <ac:spMkLst>
            <pc:docMk/>
            <pc:sldMk cId="3559958120" sldId="2147483102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5T11:11:22.150" v="690624"/>
          <ac:spMkLst>
            <pc:docMk/>
            <pc:sldMk cId="3559958120" sldId="2147483102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5T11:11:22.153" v="690626"/>
          <ac:spMkLst>
            <pc:docMk/>
            <pc:sldMk cId="3559958120" sldId="2147483102"/>
            <ac:spMk id="1201" creationId="{D27ECED9-C5E6-3DC2-9121-0FE6BFAC6398}"/>
          </ac:spMkLst>
        </pc:spChg>
        <pc:spChg chg="mod ord">
          <ac:chgData name="Yudi Zhu" userId="571e1a55-055f-4c28-8b35-fca6dd1c1369" providerId="ADAL" clId="{75A88773-6EE1-484E-AADE-FE631E01463B}" dt="2025-11-25T11:11:22.155" v="690628"/>
          <ac:spMkLst>
            <pc:docMk/>
            <pc:sldMk cId="3559958120" sldId="2147483102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5T11:11:22.155" v="690630"/>
          <ac:spMkLst>
            <pc:docMk/>
            <pc:sldMk cId="3559958120" sldId="2147483102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5T11:11:22.155" v="690632"/>
          <ac:spMkLst>
            <pc:docMk/>
            <pc:sldMk cId="3559958120" sldId="2147483102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5T11:11:22.155" v="690634"/>
          <ac:spMkLst>
            <pc:docMk/>
            <pc:sldMk cId="3559958120" sldId="2147483102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5T11:11:22.155" v="690635"/>
          <ac:spMkLst>
            <pc:docMk/>
            <pc:sldMk cId="3559958120" sldId="2147483102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5T11:11:22.100" v="690601"/>
          <ac:spMkLst>
            <pc:docMk/>
            <pc:sldMk cId="3559958120" sldId="2147483102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5T11:11:22.100" v="690603"/>
          <ac:spMkLst>
            <pc:docMk/>
            <pc:sldMk cId="3559958120" sldId="2147483102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5T11:11:22.106" v="690605"/>
          <ac:spMkLst>
            <pc:docMk/>
            <pc:sldMk cId="3559958120" sldId="2147483102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5T11:11:22.110" v="690607"/>
          <ac:spMkLst>
            <pc:docMk/>
            <pc:sldMk cId="3559958120" sldId="2147483102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5T11:11:22.111" v="690609"/>
          <ac:spMkLst>
            <pc:docMk/>
            <pc:sldMk cId="3559958120" sldId="2147483102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5T11:11:22.170" v="690636"/>
          <ac:spMkLst>
            <pc:docMk/>
            <pc:sldMk cId="3559958120" sldId="2147483102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5T11:11:22.117" v="690612"/>
          <ac:spMkLst>
            <pc:docMk/>
            <pc:sldMk cId="3559958120" sldId="2147483102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5T11:11:22.122" v="690613"/>
          <ac:spMkLst>
            <pc:docMk/>
            <pc:sldMk cId="3559958120" sldId="2147483102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5T11:11:22.125" v="690614"/>
          <ac:spMkLst>
            <pc:docMk/>
            <pc:sldMk cId="3559958120" sldId="2147483102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5T11:11:22.131" v="690616"/>
          <ac:spMkLst>
            <pc:docMk/>
            <pc:sldMk cId="3559958120" sldId="2147483102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5T11:11:22.432" v="690756"/>
          <ac:spMkLst>
            <pc:docMk/>
            <pc:sldMk cId="3559958120" sldId="2147483102"/>
            <ac:spMk id="1376" creationId="{2B4EDBBB-72E6-B151-182E-B189521C5BAC}"/>
          </ac:spMkLst>
        </pc:spChg>
        <pc:spChg chg="mod">
          <ac:chgData name="Yudi Zhu" userId="571e1a55-055f-4c28-8b35-fca6dd1c1369" providerId="ADAL" clId="{75A88773-6EE1-484E-AADE-FE631E01463B}" dt="2025-11-25T11:11:22.439" v="690757"/>
          <ac:spMkLst>
            <pc:docMk/>
            <pc:sldMk cId="3559958120" sldId="2147483102"/>
            <ac:spMk id="1378" creationId="{BD933162-8B62-1004-8AE5-8CA06E5D7DE9}"/>
          </ac:spMkLst>
        </pc:spChg>
        <pc:spChg chg="mod">
          <ac:chgData name="Yudi Zhu" userId="571e1a55-055f-4c28-8b35-fca6dd1c1369" providerId="ADAL" clId="{75A88773-6EE1-484E-AADE-FE631E01463B}" dt="2025-11-25T11:11:22.440" v="690758"/>
          <ac:spMkLst>
            <pc:docMk/>
            <pc:sldMk cId="3559958120" sldId="2147483102"/>
            <ac:spMk id="1379" creationId="{9ECFB1DA-48A2-EF26-C44B-C3EC1ABE4988}"/>
          </ac:spMkLst>
        </pc:spChg>
        <pc:spChg chg="mod ord">
          <ac:chgData name="Yudi Zhu" userId="571e1a55-055f-4c28-8b35-fca6dd1c1369" providerId="ADAL" clId="{75A88773-6EE1-484E-AADE-FE631E01463B}" dt="2025-11-25T11:11:22.370" v="690726"/>
          <ac:spMkLst>
            <pc:docMk/>
            <pc:sldMk cId="3559958120" sldId="2147483102"/>
            <ac:spMk id="1442" creationId="{00445C12-10C4-A371-D4EA-BD360FAE32DA}"/>
          </ac:spMkLst>
        </pc:spChg>
        <pc:spChg chg="mod">
          <ac:chgData name="Yudi Zhu" userId="571e1a55-055f-4c28-8b35-fca6dd1c1369" providerId="ADAL" clId="{75A88773-6EE1-484E-AADE-FE631E01463B}" dt="2025-11-25T11:11:22.485" v="690789"/>
          <ac:spMkLst>
            <pc:docMk/>
            <pc:sldMk cId="3559958120" sldId="2147483102"/>
            <ac:spMk id="1446" creationId="{64AF7A77-327B-D09F-2ABB-1BA14094EC19}"/>
          </ac:spMkLst>
        </pc:spChg>
        <pc:spChg chg="del mod ord">
          <ac:chgData name="Yudi Zhu" userId="571e1a55-055f-4c28-8b35-fca6dd1c1369" providerId="ADAL" clId="{75A88773-6EE1-484E-AADE-FE631E01463B}" dt="2025-11-25T11:11:21.668" v="690444"/>
          <ac:spMkLst>
            <pc:docMk/>
            <pc:sldMk cId="3559958120" sldId="2147483102"/>
            <ac:spMk id="1449" creationId="{300E10D2-719E-3D82-5CBF-5A612C09A088}"/>
          </ac:spMkLst>
        </pc:spChg>
        <pc:spChg chg="mod">
          <ac:chgData name="Yudi Zhu" userId="571e1a55-055f-4c28-8b35-fca6dd1c1369" providerId="ADAL" clId="{75A88773-6EE1-484E-AADE-FE631E01463B}" dt="2025-11-25T11:11:22.500" v="690795"/>
          <ac:spMkLst>
            <pc:docMk/>
            <pc:sldMk cId="3559958120" sldId="2147483102"/>
            <ac:spMk id="1452" creationId="{62BA64F5-B2CE-CEB8-BB9B-25B44F9A2E19}"/>
          </ac:spMkLst>
        </pc:spChg>
        <pc:spChg chg="del mod ord">
          <ac:chgData name="Yudi Zhu" userId="571e1a55-055f-4c28-8b35-fca6dd1c1369" providerId="ADAL" clId="{75A88773-6EE1-484E-AADE-FE631E01463B}" dt="2025-11-25T11:11:21.621" v="690418"/>
          <ac:spMkLst>
            <pc:docMk/>
            <pc:sldMk cId="3559958120" sldId="2147483102"/>
            <ac:spMk id="1480" creationId="{5295C0BA-22F3-96FA-1230-66FF8C5051FC}"/>
          </ac:spMkLst>
        </pc:spChg>
        <pc:spChg chg="mod ord">
          <ac:chgData name="Yudi Zhu" userId="571e1a55-055f-4c28-8b35-fca6dd1c1369" providerId="ADAL" clId="{75A88773-6EE1-484E-AADE-FE631E01463B}" dt="2025-11-25T11:11:22.128" v="690615"/>
          <ac:spMkLst>
            <pc:docMk/>
            <pc:sldMk cId="3559958120" sldId="2147483102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5T11:11:22.058" v="690572"/>
          <ac:spMkLst>
            <pc:docMk/>
            <pc:sldMk cId="3559958120" sldId="2147483102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5T11:11:22.484" v="690788"/>
          <ac:spMkLst>
            <pc:docMk/>
            <pc:sldMk cId="3559958120" sldId="2147483102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5T11:11:22.498" v="690794"/>
          <ac:spMkLst>
            <pc:docMk/>
            <pc:sldMk cId="3559958120" sldId="2147483102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5T11:11:22.503" v="690797"/>
          <ac:spMkLst>
            <pc:docMk/>
            <pc:sldMk cId="3559958120" sldId="2147483102"/>
            <ac:spMk id="1630" creationId="{E05CDD48-0DEC-9132-BDFB-46D714F23D3B}"/>
          </ac:spMkLst>
        </pc:spChg>
        <pc:spChg chg="mod">
          <ac:chgData name="Yudi Zhu" userId="571e1a55-055f-4c28-8b35-fca6dd1c1369" providerId="ADAL" clId="{75A88773-6EE1-484E-AADE-FE631E01463B}" dt="2025-11-25T11:11:22.380" v="690732"/>
          <ac:spMkLst>
            <pc:docMk/>
            <pc:sldMk cId="3559958120" sldId="2147483102"/>
            <ac:spMk id="1681" creationId="{AD047B8F-920B-5600-6840-3C274E6980C6}"/>
          </ac:spMkLst>
        </pc:spChg>
        <pc:spChg chg="mod">
          <ac:chgData name="Yudi Zhu" userId="571e1a55-055f-4c28-8b35-fca6dd1c1369" providerId="ADAL" clId="{75A88773-6EE1-484E-AADE-FE631E01463B}" dt="2025-11-25T11:11:22.385" v="690734"/>
          <ac:spMkLst>
            <pc:docMk/>
            <pc:sldMk cId="3559958120" sldId="2147483102"/>
            <ac:spMk id="1682" creationId="{6DC21B57-A2D3-D89A-22E6-3EBF752375C8}"/>
          </ac:spMkLst>
        </pc:spChg>
        <pc:spChg chg="mod">
          <ac:chgData name="Yudi Zhu" userId="571e1a55-055f-4c28-8b35-fca6dd1c1369" providerId="ADAL" clId="{75A88773-6EE1-484E-AADE-FE631E01463B}" dt="2025-11-25T11:11:22.385" v="690736"/>
          <ac:spMkLst>
            <pc:docMk/>
            <pc:sldMk cId="3559958120" sldId="2147483102"/>
            <ac:spMk id="1683" creationId="{3EDE77E4-6C85-3185-A84F-4AA13F641CDB}"/>
          </ac:spMkLst>
        </pc:spChg>
        <pc:spChg chg="mod">
          <ac:chgData name="Yudi Zhu" userId="571e1a55-055f-4c28-8b35-fca6dd1c1369" providerId="ADAL" clId="{75A88773-6EE1-484E-AADE-FE631E01463B}" dt="2025-11-25T11:11:22.401" v="690737"/>
          <ac:spMkLst>
            <pc:docMk/>
            <pc:sldMk cId="3559958120" sldId="2147483102"/>
            <ac:spMk id="1684" creationId="{BF771EE0-A3E5-68C6-1A6D-0EFEE0E2CFC9}"/>
          </ac:spMkLst>
        </pc:spChg>
        <pc:spChg chg="mod">
          <ac:chgData name="Yudi Zhu" userId="571e1a55-055f-4c28-8b35-fca6dd1c1369" providerId="ADAL" clId="{75A88773-6EE1-484E-AADE-FE631E01463B}" dt="2025-11-25T11:11:22.401" v="690738"/>
          <ac:spMkLst>
            <pc:docMk/>
            <pc:sldMk cId="3559958120" sldId="2147483102"/>
            <ac:spMk id="1685" creationId="{AB1D084B-48F0-C954-DD65-F56B3845EBA5}"/>
          </ac:spMkLst>
        </pc:spChg>
        <pc:spChg chg="mod">
          <ac:chgData name="Yudi Zhu" userId="571e1a55-055f-4c28-8b35-fca6dd1c1369" providerId="ADAL" clId="{75A88773-6EE1-484E-AADE-FE631E01463B}" dt="2025-11-25T11:11:22.401" v="690739"/>
          <ac:spMkLst>
            <pc:docMk/>
            <pc:sldMk cId="3559958120" sldId="2147483102"/>
            <ac:spMk id="1686" creationId="{2C544DAD-0BC2-0C32-FDFD-31AC14873EF1}"/>
          </ac:spMkLst>
        </pc:spChg>
        <pc:spChg chg="mod">
          <ac:chgData name="Yudi Zhu" userId="571e1a55-055f-4c28-8b35-fca6dd1c1369" providerId="ADAL" clId="{75A88773-6EE1-484E-AADE-FE631E01463B}" dt="2025-11-25T11:11:22.416" v="690746"/>
          <ac:spMkLst>
            <pc:docMk/>
            <pc:sldMk cId="3559958120" sldId="2147483102"/>
            <ac:spMk id="1687" creationId="{807F5679-15B8-4C76-DCA3-2ED29ECFCF51}"/>
          </ac:spMkLst>
        </pc:spChg>
        <pc:spChg chg="mod">
          <ac:chgData name="Yudi Zhu" userId="571e1a55-055f-4c28-8b35-fca6dd1c1369" providerId="ADAL" clId="{75A88773-6EE1-484E-AADE-FE631E01463B}" dt="2025-11-25T11:11:22.416" v="690749"/>
          <ac:spMkLst>
            <pc:docMk/>
            <pc:sldMk cId="3559958120" sldId="2147483102"/>
            <ac:spMk id="1688" creationId="{03480C23-7FC1-2FF7-BC97-25519BB18339}"/>
          </ac:spMkLst>
        </pc:spChg>
        <pc:spChg chg="mod">
          <ac:chgData name="Yudi Zhu" userId="571e1a55-055f-4c28-8b35-fca6dd1c1369" providerId="ADAL" clId="{75A88773-6EE1-484E-AADE-FE631E01463B}" dt="2025-11-25T11:11:22.380" v="690731"/>
          <ac:spMkLst>
            <pc:docMk/>
            <pc:sldMk cId="3559958120" sldId="2147483102"/>
            <ac:spMk id="1689" creationId="{C5C70E6E-BFEB-1045-1E13-15AAB372D0B9}"/>
          </ac:spMkLst>
        </pc:spChg>
        <pc:spChg chg="mod">
          <ac:chgData name="Yudi Zhu" userId="571e1a55-055f-4c28-8b35-fca6dd1c1369" providerId="ADAL" clId="{75A88773-6EE1-484E-AADE-FE631E01463B}" dt="2025-11-25T11:11:22.385" v="690733"/>
          <ac:spMkLst>
            <pc:docMk/>
            <pc:sldMk cId="3559958120" sldId="2147483102"/>
            <ac:spMk id="1690" creationId="{91F5A5A7-2825-7668-8E0A-E582189F05C5}"/>
          </ac:spMkLst>
        </pc:spChg>
        <pc:spChg chg="mod">
          <ac:chgData name="Yudi Zhu" userId="571e1a55-055f-4c28-8b35-fca6dd1c1369" providerId="ADAL" clId="{75A88773-6EE1-484E-AADE-FE631E01463B}" dt="2025-11-25T11:11:22.385" v="690735"/>
          <ac:spMkLst>
            <pc:docMk/>
            <pc:sldMk cId="3559958120" sldId="2147483102"/>
            <ac:spMk id="1691" creationId="{C50F3DAA-EFE1-8572-5206-F1A4416A7C6F}"/>
          </ac:spMkLst>
        </pc:spChg>
        <pc:spChg chg="del mod ord">
          <ac:chgData name="Yudi Zhu" userId="571e1a55-055f-4c28-8b35-fca6dd1c1369" providerId="ADAL" clId="{75A88773-6EE1-484E-AADE-FE631E01463B}" dt="2025-11-25T11:10:08.188" v="686996"/>
          <ac:spMkLst>
            <pc:docMk/>
            <pc:sldMk cId="3559958120" sldId="2147483102"/>
            <ac:spMk id="1820" creationId="{B6D15CE4-D8E1-C9EE-1076-53DEEB71111D}"/>
          </ac:spMkLst>
        </pc:spChg>
        <pc:spChg chg="mod ord">
          <ac:chgData name="Yudi Zhu" userId="571e1a55-055f-4c28-8b35-fca6dd1c1369" providerId="ADAL" clId="{75A88773-6EE1-484E-AADE-FE631E01463B}" dt="2025-11-25T11:11:22.519" v="690808"/>
          <ac:spMkLst>
            <pc:docMk/>
            <pc:sldMk cId="3559958120" sldId="2147483102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5T11:11:22.519" v="690811"/>
          <ac:spMkLst>
            <pc:docMk/>
            <pc:sldMk cId="3559958120" sldId="2147483102"/>
            <ac:spMk id="1854" creationId="{4E1BFB1E-6485-A062-B5BB-5B285C6BD15C}"/>
          </ac:spMkLst>
        </pc:spChg>
        <pc:spChg chg="add del mod modVis">
          <ac:chgData name="Yudi Zhu" userId="571e1a55-055f-4c28-8b35-fca6dd1c1369" providerId="ADAL" clId="{75A88773-6EE1-484E-AADE-FE631E01463B}" dt="2025-11-25T11:11:22.535" v="690825"/>
          <ac:spMkLst>
            <pc:docMk/>
            <pc:sldMk cId="3559958120" sldId="2147483102"/>
            <ac:spMk id="1862" creationId="{768D36E5-884F-CF3B-C4CB-7357128ECA76}"/>
          </ac:spMkLst>
        </pc:spChg>
        <pc:spChg chg="add mod ord">
          <ac:chgData name="Yudi Zhu" userId="571e1a55-055f-4c28-8b35-fca6dd1c1369" providerId="ADAL" clId="{75A88773-6EE1-484E-AADE-FE631E01463B}" dt="2025-11-25T11:11:22.401" v="690741"/>
          <ac:spMkLst>
            <pc:docMk/>
            <pc:sldMk cId="3559958120" sldId="2147483102"/>
            <ac:spMk id="1863" creationId="{EDE88964-CC94-0196-1AC7-C6A0A8D489E9}"/>
          </ac:spMkLst>
        </pc:spChg>
        <pc:spChg chg="add mod ord">
          <ac:chgData name="Yudi Zhu" userId="571e1a55-055f-4c28-8b35-fca6dd1c1369" providerId="ADAL" clId="{75A88773-6EE1-484E-AADE-FE631E01463B}" dt="2025-11-25T11:11:22.401" v="690743"/>
          <ac:spMkLst>
            <pc:docMk/>
            <pc:sldMk cId="3559958120" sldId="2147483102"/>
            <ac:spMk id="1864" creationId="{EB7D7D57-9140-2382-7CD3-FC687894D372}"/>
          </ac:spMkLst>
        </pc:spChg>
        <pc:spChg chg="add del mod modVis">
          <ac:chgData name="Yudi Zhu" userId="571e1a55-055f-4c28-8b35-fca6dd1c1369" providerId="ADAL" clId="{75A88773-6EE1-484E-AADE-FE631E01463B}" dt="2025-11-25T11:13:15.811" v="690901"/>
          <ac:spMkLst>
            <pc:docMk/>
            <pc:sldMk cId="3559958120" sldId="2147483102"/>
            <ac:spMk id="1869" creationId="{63114841-A43E-616E-CC80-0BF3060F5757}"/>
          </ac:spMkLst>
        </pc:spChg>
        <pc:spChg chg="add del mod modVis">
          <ac:chgData name="Yudi Zhu" userId="571e1a55-055f-4c28-8b35-fca6dd1c1369" providerId="ADAL" clId="{75A88773-6EE1-484E-AADE-FE631E01463B}" dt="2025-11-25T11:13:18.699" v="690927"/>
          <ac:spMkLst>
            <pc:docMk/>
            <pc:sldMk cId="3559958120" sldId="2147483102"/>
            <ac:spMk id="1870" creationId="{474F009A-A8F7-1C16-D1D8-FC27C116D221}"/>
          </ac:spMkLst>
        </pc:spChg>
        <pc:spChg chg="mod">
          <ac:chgData name="Yudi Zhu" userId="571e1a55-055f-4c28-8b35-fca6dd1c1369" providerId="ADAL" clId="{75A88773-6EE1-484E-AADE-FE631E01463B}" dt="2025-11-25T11:11:22.510" v="690807"/>
          <ac:spMkLst>
            <pc:docMk/>
            <pc:sldMk cId="3559958120" sldId="2147483102"/>
            <ac:spMk id="2006" creationId="{3CC98E16-FB2E-495D-ADCF-FFF663C2DC9B}"/>
          </ac:spMkLst>
        </pc:spChg>
        <pc:spChg chg="mod">
          <ac:chgData name="Yudi Zhu" userId="571e1a55-055f-4c28-8b35-fca6dd1c1369" providerId="ADAL" clId="{75A88773-6EE1-484E-AADE-FE631E01463B}" dt="2025-11-25T11:11:22.519" v="690809"/>
          <ac:spMkLst>
            <pc:docMk/>
            <pc:sldMk cId="3559958120" sldId="2147483102"/>
            <ac:spMk id="2008" creationId="{7BD5FE52-3C31-692C-0431-58206417CADC}"/>
          </ac:spMkLst>
        </pc:spChg>
        <pc:spChg chg="mod">
          <ac:chgData name="Yudi Zhu" userId="571e1a55-055f-4c28-8b35-fca6dd1c1369" providerId="ADAL" clId="{75A88773-6EE1-484E-AADE-FE631E01463B}" dt="2025-11-25T11:11:22.519" v="690812"/>
          <ac:spMkLst>
            <pc:docMk/>
            <pc:sldMk cId="3559958120" sldId="2147483102"/>
            <ac:spMk id="2009" creationId="{7217B9F1-0A58-5B0F-2E64-A84646CA65AE}"/>
          </ac:spMkLst>
        </pc:spChg>
        <pc:spChg chg="mod">
          <ac:chgData name="Yudi Zhu" userId="571e1a55-055f-4c28-8b35-fca6dd1c1369" providerId="ADAL" clId="{75A88773-6EE1-484E-AADE-FE631E01463B}" dt="2025-11-25T11:11:22.519" v="690815"/>
          <ac:spMkLst>
            <pc:docMk/>
            <pc:sldMk cId="3559958120" sldId="2147483102"/>
            <ac:spMk id="2010" creationId="{BC99FD18-8285-240E-2946-45D78FEAB7A6}"/>
          </ac:spMkLst>
        </pc:spChg>
        <pc:spChg chg="mod ord">
          <ac:chgData name="Yudi Zhu" userId="571e1a55-055f-4c28-8b35-fca6dd1c1369" providerId="ADAL" clId="{75A88773-6EE1-484E-AADE-FE631E01463B}" dt="2025-11-25T11:11:22.519" v="690814"/>
          <ac:spMkLst>
            <pc:docMk/>
            <pc:sldMk cId="3559958120" sldId="2147483102"/>
            <ac:spMk id="2025" creationId="{43D55BC5-9920-542B-5943-C2925A23663E}"/>
          </ac:spMkLst>
        </pc:spChg>
        <pc:spChg chg="del mod ord">
          <ac:chgData name="Yudi Zhu" userId="571e1a55-055f-4c28-8b35-fca6dd1c1369" providerId="ADAL" clId="{75A88773-6EE1-484E-AADE-FE631E01463B}" dt="2025-11-25T11:09:12.824" v="683255"/>
          <ac:spMkLst>
            <pc:docMk/>
            <pc:sldMk cId="3559958120" sldId="2147483102"/>
            <ac:spMk id="2059" creationId="{4FF999FA-1CE6-816D-D3B3-94F0A436DD6A}"/>
          </ac:spMkLst>
        </pc:spChg>
        <pc:spChg chg="del mod ord">
          <ac:chgData name="Yudi Zhu" userId="571e1a55-055f-4c28-8b35-fca6dd1c1369" providerId="ADAL" clId="{75A88773-6EE1-484E-AADE-FE631E01463B}" dt="2025-11-25T11:09:12.846" v="683270"/>
          <ac:spMkLst>
            <pc:docMk/>
            <pc:sldMk cId="3559958120" sldId="2147483102"/>
            <ac:spMk id="2060" creationId="{30997A82-F7AD-11CF-FD92-4153AF5D078E}"/>
          </ac:spMkLst>
        </pc:spChg>
        <pc:spChg chg="del mod">
          <ac:chgData name="Yudi Zhu" userId="571e1a55-055f-4c28-8b35-fca6dd1c1369" providerId="ADAL" clId="{75A88773-6EE1-484E-AADE-FE631E01463B}" dt="2025-11-25T11:09:12.891" v="683284"/>
          <ac:spMkLst>
            <pc:docMk/>
            <pc:sldMk cId="3559958120" sldId="2147483102"/>
            <ac:spMk id="2061" creationId="{EC10FD50-1BB5-2F06-E80B-337A1E69A6D3}"/>
          </ac:spMkLst>
        </pc:spChg>
        <pc:spChg chg="del mod ord">
          <ac:chgData name="Yudi Zhu" userId="571e1a55-055f-4c28-8b35-fca6dd1c1369" providerId="ADAL" clId="{75A88773-6EE1-484E-AADE-FE631E01463B}" dt="2025-11-25T11:09:12.923" v="683296"/>
          <ac:spMkLst>
            <pc:docMk/>
            <pc:sldMk cId="3559958120" sldId="2147483102"/>
            <ac:spMk id="2062" creationId="{3D43E4A8-995E-7592-502B-6A11E01635DA}"/>
          </ac:spMkLst>
        </pc:spChg>
        <pc:spChg chg="del mod ord">
          <ac:chgData name="Yudi Zhu" userId="571e1a55-055f-4c28-8b35-fca6dd1c1369" providerId="ADAL" clId="{75A88773-6EE1-484E-AADE-FE631E01463B}" dt="2025-11-25T11:09:12.960" v="683311"/>
          <ac:spMkLst>
            <pc:docMk/>
            <pc:sldMk cId="3559958120" sldId="2147483102"/>
            <ac:spMk id="2063" creationId="{3AE91E55-A997-AF83-6A61-D6AA9CAC5831}"/>
          </ac:spMkLst>
        </pc:spChg>
        <pc:spChg chg="del mod">
          <ac:chgData name="Yudi Zhu" userId="571e1a55-055f-4c28-8b35-fca6dd1c1369" providerId="ADAL" clId="{75A88773-6EE1-484E-AADE-FE631E01463B}" dt="2025-11-25T11:09:12.997" v="683325"/>
          <ac:spMkLst>
            <pc:docMk/>
            <pc:sldMk cId="3559958120" sldId="2147483102"/>
            <ac:spMk id="2064" creationId="{5519771D-DBD9-C3BC-7D7B-A2751226F9CF}"/>
          </ac:spMkLst>
        </pc:spChg>
        <pc:spChg chg="mod ord">
          <ac:chgData name="Yudi Zhu" userId="571e1a55-055f-4c28-8b35-fca6dd1c1369" providerId="ADAL" clId="{75A88773-6EE1-484E-AADE-FE631E01463B}" dt="2025-11-25T11:11:22.519" v="690817"/>
          <ac:spMkLst>
            <pc:docMk/>
            <pc:sldMk cId="3559958120" sldId="2147483102"/>
            <ac:spMk id="2069" creationId="{2C8C7C6E-7854-71B0-B5CD-346A1F62D9D5}"/>
          </ac:spMkLst>
        </pc:spChg>
        <pc:spChg chg="mod ord">
          <ac:chgData name="Yudi Zhu" userId="571e1a55-055f-4c28-8b35-fca6dd1c1369" providerId="ADAL" clId="{75A88773-6EE1-484E-AADE-FE631E01463B}" dt="2025-11-25T11:11:22.519" v="690819"/>
          <ac:spMkLst>
            <pc:docMk/>
            <pc:sldMk cId="3559958120" sldId="2147483102"/>
            <ac:spMk id="2070" creationId="{38C861AF-6F37-5EBF-7BB3-B7968983ADE2}"/>
          </ac:spMkLst>
        </pc:spChg>
        <pc:grpChg chg="mod ord">
          <ac:chgData name="Yudi Zhu" userId="571e1a55-055f-4c28-8b35-fca6dd1c1369" providerId="ADAL" clId="{75A88773-6EE1-484E-AADE-FE631E01463B}" dt="2025-11-25T11:11:22.440" v="690760"/>
          <ac:grpSpMkLst>
            <pc:docMk/>
            <pc:sldMk cId="3559958120" sldId="2147483102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5T11:11:22.448" v="690762"/>
          <ac:grpSpMkLst>
            <pc:docMk/>
            <pc:sldMk cId="3559958120" sldId="2147483102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5T11:11:22.448" v="690764"/>
          <ac:grpSpMkLst>
            <pc:docMk/>
            <pc:sldMk cId="3559958120" sldId="2147483102"/>
            <ac:grpSpMk id="1604" creationId="{CAC77667-D6BB-F83B-AA16-FAE5D5B780AA}"/>
          </ac:grpSpMkLst>
        </pc:grpChg>
        <pc:graphicFrameChg chg="mod ord modGraphic">
          <ac:chgData name="Yudi Zhu" userId="571e1a55-055f-4c28-8b35-fca6dd1c1369" providerId="ADAL" clId="{75A88773-6EE1-484E-AADE-FE631E01463B}" dt="2025-11-26T07:07:21.685" v="765919" actId="20577"/>
          <ac:graphicFrameMkLst>
            <pc:docMk/>
            <pc:sldMk cId="3559958120" sldId="2147483102"/>
            <ac:graphicFrameMk id="3" creationId="{E90D6D2D-2F71-697E-2616-88B6A758C1F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8:52.837" v="682350"/>
          <ac:graphicFrameMkLst>
            <pc:docMk/>
            <pc:sldMk cId="3559958120" sldId="2147483102"/>
            <ac:graphicFrameMk id="6" creationId="{F6F95E78-25FC-3CAB-8091-A6632929D1F0}"/>
          </ac:graphicFrameMkLst>
        </pc:graphicFrameChg>
        <pc:graphicFrameChg chg="del mod">
          <ac:chgData name="Yudi Zhu" userId="571e1a55-055f-4c28-8b35-fca6dd1c1369" providerId="ADAL" clId="{75A88773-6EE1-484E-AADE-FE631E01463B}" dt="2025-11-25T11:11:21.852" v="690520"/>
          <ac:graphicFrameMkLst>
            <pc:docMk/>
            <pc:sldMk cId="3559958120" sldId="2147483102"/>
            <ac:graphicFrameMk id="8" creationId="{B950EE6B-2B3E-265D-E126-5B3D97BAF38F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8:58.087" v="682895"/>
          <ac:graphicFrameMkLst>
            <pc:docMk/>
            <pc:sldMk cId="3559958120" sldId="2147483102"/>
            <ac:graphicFrameMk id="10" creationId="{8CFEAAD3-EBAB-AF94-5079-9B3C2975C986}"/>
          </ac:graphicFrameMkLst>
        </pc:graphicFrameChg>
        <pc:graphicFrameChg chg="mod">
          <ac:chgData name="Yudi Zhu" userId="571e1a55-055f-4c28-8b35-fca6dd1c1369" providerId="ADAL" clId="{75A88773-6EE1-484E-AADE-FE631E01463B}" dt="2025-11-25T11:13:18.699" v="690929"/>
          <ac:graphicFrameMkLst>
            <pc:docMk/>
            <pc:sldMk cId="3559958120" sldId="2147483102"/>
            <ac:graphicFrameMk id="11" creationId="{06D8B66D-C873-80E6-487B-D6B21C51228A}"/>
          </ac:graphicFrameMkLst>
        </pc:graphicFrameChg>
        <pc:graphicFrameChg chg="add mod">
          <ac:chgData name="Yudi Zhu" userId="571e1a55-055f-4c28-8b35-fca6dd1c1369" providerId="ADAL" clId="{75A88773-6EE1-484E-AADE-FE631E01463B}" dt="2025-11-25T11:11:22.170" v="690637"/>
          <ac:graphicFrameMkLst>
            <pc:docMk/>
            <pc:sldMk cId="3559958120" sldId="2147483102"/>
            <ac:graphicFrameMk id="14" creationId="{0382F9FF-2DA9-EE23-ABB4-795F42D65C8E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9:18.584" v="683869"/>
          <ac:graphicFrameMkLst>
            <pc:docMk/>
            <pc:sldMk cId="3559958120" sldId="2147483102"/>
            <ac:graphicFrameMk id="22" creationId="{A3D75B2B-B002-6A60-5868-B731B2E84BA4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9:22.210" v="684262"/>
          <ac:graphicFrameMkLst>
            <pc:docMk/>
            <pc:sldMk cId="3559958120" sldId="2147483102"/>
            <ac:graphicFrameMk id="24" creationId="{EB2F74C6-3E30-C7F2-0254-6187A95D5F46}"/>
          </ac:graphicFrameMkLst>
        </pc:graphicFrameChg>
        <pc:graphicFrameChg chg="add mod">
          <ac:chgData name="Yudi Zhu" userId="571e1a55-055f-4c28-8b35-fca6dd1c1369" providerId="ADAL" clId="{75A88773-6EE1-484E-AADE-FE631E01463B}" dt="2025-11-25T11:11:22.464" v="690771"/>
          <ac:graphicFrameMkLst>
            <pc:docMk/>
            <pc:sldMk cId="3559958120" sldId="2147483102"/>
            <ac:graphicFrameMk id="26" creationId="{7F6058B9-2216-C5B7-F230-CE3505133961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9:48.056" v="685628"/>
          <ac:graphicFrameMkLst>
            <pc:docMk/>
            <pc:sldMk cId="3559958120" sldId="2147483102"/>
            <ac:graphicFrameMk id="31" creationId="{B3A20D4B-88F3-9AD6-78A5-D3235990C5A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09:54.356" v="686275"/>
          <ac:graphicFrameMkLst>
            <pc:docMk/>
            <pc:sldMk cId="3559958120" sldId="2147483102"/>
            <ac:graphicFrameMk id="34" creationId="{0C7C999B-FC4D-8BE0-96BC-CB8977EF56BA}"/>
          </ac:graphicFrameMkLst>
        </pc:graphicFrameChg>
        <pc:graphicFrameChg chg="add mod">
          <ac:chgData name="Yudi Zhu" userId="571e1a55-055f-4c28-8b35-fca6dd1c1369" providerId="ADAL" clId="{75A88773-6EE1-484E-AADE-FE631E01463B}" dt="2025-11-25T11:11:22.094" v="690597"/>
          <ac:graphicFrameMkLst>
            <pc:docMk/>
            <pc:sldMk cId="3559958120" sldId="2147483102"/>
            <ac:graphicFrameMk id="36" creationId="{8ED125DC-8E1E-27DC-EB0A-84C31B3CE0CC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08.221" v="687012"/>
          <ac:graphicFrameMkLst>
            <pc:docMk/>
            <pc:sldMk cId="3559958120" sldId="2147483102"/>
            <ac:graphicFrameMk id="38" creationId="{22604D5A-C78F-7174-AE19-BF85D647CB1D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14.369" v="687337"/>
          <ac:graphicFrameMkLst>
            <pc:docMk/>
            <pc:sldMk cId="3559958120" sldId="2147483102"/>
            <ac:graphicFrameMk id="40" creationId="{A99316FE-8F8B-A82A-B203-1AF167199EB6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18.204" v="687684"/>
          <ac:graphicFrameMkLst>
            <pc:docMk/>
            <pc:sldMk cId="3559958120" sldId="2147483102"/>
            <ac:graphicFrameMk id="42" creationId="{D412FE70-FA19-65E8-0029-274CD5C798BD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20.803" v="688037"/>
          <ac:graphicFrameMkLst>
            <pc:docMk/>
            <pc:sldMk cId="3559958120" sldId="2147483102"/>
            <ac:graphicFrameMk id="44" creationId="{219377B0-698D-27BB-E19C-25F9987EDFF1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28.002" v="688351"/>
          <ac:graphicFrameMkLst>
            <pc:docMk/>
            <pc:sldMk cId="3559958120" sldId="2147483102"/>
            <ac:graphicFrameMk id="46" creationId="{E732C73F-EC7E-6AE2-7114-88B2AA7A5530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34.129" v="688663"/>
          <ac:graphicFrameMkLst>
            <pc:docMk/>
            <pc:sldMk cId="3559958120" sldId="2147483102"/>
            <ac:graphicFrameMk id="47" creationId="{C40E9828-EC01-88BB-6644-3F6E853D74B5}"/>
          </ac:graphicFrameMkLst>
        </pc:graphicFrameChg>
        <pc:graphicFrameChg chg="add del mod">
          <ac:chgData name="Yudi Zhu" userId="571e1a55-055f-4c28-8b35-fca6dd1c1369" providerId="ADAL" clId="{75A88773-6EE1-484E-AADE-FE631E01463B}" dt="2025-11-25T11:10:43.855" v="688975"/>
          <ac:graphicFrameMkLst>
            <pc:docMk/>
            <pc:sldMk cId="3559958120" sldId="2147483102"/>
            <ac:graphicFrameMk id="48" creationId="{2E8814ED-936D-E0D4-6F39-A58045CCA991}"/>
          </ac:graphicFrameMkLst>
        </pc:graphicFrameChg>
        <pc:graphicFrameChg chg="add mod">
          <ac:chgData name="Yudi Zhu" userId="571e1a55-055f-4c28-8b35-fca6dd1c1369" providerId="ADAL" clId="{75A88773-6EE1-484E-AADE-FE631E01463B}" dt="2025-11-25T11:11:22.510" v="690804"/>
          <ac:graphicFrameMkLst>
            <pc:docMk/>
            <pc:sldMk cId="3559958120" sldId="2147483102"/>
            <ac:graphicFrameMk id="49" creationId="{315497D3-65A2-21ED-A9C6-F3367B568E75}"/>
          </ac:graphicFrameMkLst>
        </pc:graphicFrameChg>
        <pc:graphicFrameChg chg="add mod">
          <ac:chgData name="Yudi Zhu" userId="571e1a55-055f-4c28-8b35-fca6dd1c1369" providerId="ADAL" clId="{75A88773-6EE1-484E-AADE-FE631E01463B}" dt="2025-11-25T11:11:22.311" v="690690"/>
          <ac:graphicFrameMkLst>
            <pc:docMk/>
            <pc:sldMk cId="3559958120" sldId="2147483102"/>
            <ac:graphicFrameMk id="1868" creationId="{A665299D-D91C-F851-318A-933DB46ED4C1}"/>
          </ac:graphicFrameMkLst>
        </pc:graphicFrameChg>
        <pc:graphicFrameChg chg="del mod">
          <ac:chgData name="Yudi Zhu" userId="571e1a55-055f-4c28-8b35-fca6dd1c1369" providerId="ADAL" clId="{75A88773-6EE1-484E-AADE-FE631E01463B}" dt="2025-11-25T11:10:04.878" v="686656"/>
          <ac:graphicFrameMkLst>
            <pc:docMk/>
            <pc:sldMk cId="3559958120" sldId="2147483102"/>
            <ac:graphicFrameMk id="2035" creationId="{0E196CA3-0CC6-6288-BC09-465FAA5A4E75}"/>
          </ac:graphicFrameMkLst>
        </pc:graphicFrameChg>
        <pc:graphicFrameChg chg="del mod">
          <ac:chgData name="Yudi Zhu" userId="571e1a55-055f-4c28-8b35-fca6dd1c1369" providerId="ADAL" clId="{75A88773-6EE1-484E-AADE-FE631E01463B}" dt="2025-11-25T11:09:44.007" v="685105"/>
          <ac:graphicFrameMkLst>
            <pc:docMk/>
            <pc:sldMk cId="3559958120" sldId="2147483102"/>
            <ac:graphicFrameMk id="2058" creationId="{2033C248-D87E-636A-5623-FB3463F1424D}"/>
          </ac:graphicFrameMkLst>
        </pc:graphicFrameChg>
        <pc:graphicFrameChg chg="del mod">
          <ac:chgData name="Yudi Zhu" userId="571e1a55-055f-4c28-8b35-fca6dd1c1369" providerId="ADAL" clId="{75A88773-6EE1-484E-AADE-FE631E01463B}" dt="2025-11-25T11:09:13.441" v="683468"/>
          <ac:graphicFrameMkLst>
            <pc:docMk/>
            <pc:sldMk cId="3559958120" sldId="2147483102"/>
            <ac:graphicFrameMk id="2068" creationId="{EC480910-6387-3F16-6F43-2ED7976114A1}"/>
          </ac:graphicFrameMkLst>
        </pc:graphicFrameChg>
        <pc:graphicFrameChg chg="del">
          <ac:chgData name="Yudi Zhu" userId="571e1a55-055f-4c28-8b35-fca6dd1c1369" providerId="ADAL" clId="{75A88773-6EE1-484E-AADE-FE631E01463B}" dt="2025-11-25T11:08:47.429" v="681752"/>
          <ac:graphicFrameMkLst>
            <pc:docMk/>
            <pc:sldMk cId="3559958120" sldId="2147483102"/>
            <ac:graphicFrameMk id="2072" creationId="{71071794-EF62-02C5-E864-46A37481E123}"/>
          </ac:graphicFrameMkLst>
        </pc:graphicFrameChg>
        <pc:cxnChg chg="del mod ord">
          <ac:chgData name="Yudi Zhu" userId="571e1a55-055f-4c28-8b35-fca6dd1c1369" providerId="ADAL" clId="{75A88773-6EE1-484E-AADE-FE631E01463B}" dt="2025-11-25T11:11:21.805" v="690490"/>
          <ac:cxnSpMkLst>
            <pc:docMk/>
            <pc:sldMk cId="3559958120" sldId="2147483102"/>
            <ac:cxnSpMk id="7" creationId="{CBC9BAD9-0F24-9106-3CAE-E7247D7A0B79}"/>
          </ac:cxnSpMkLst>
        </pc:cxnChg>
        <pc:cxnChg chg="add mod ord">
          <ac:chgData name="Yudi Zhu" userId="571e1a55-055f-4c28-8b35-fca6dd1c1369" providerId="ADAL" clId="{75A88773-6EE1-484E-AADE-FE631E01463B}" dt="2025-11-25T11:11:22.180" v="690643"/>
          <ac:cxnSpMkLst>
            <pc:docMk/>
            <pc:sldMk cId="3559958120" sldId="2147483102"/>
            <ac:cxnSpMk id="13" creationId="{A756F925-930D-133C-BC21-5B7A4C996636}"/>
          </ac:cxnSpMkLst>
        </pc:cxnChg>
        <pc:cxnChg chg="add del mod ord">
          <ac:chgData name="Yudi Zhu" userId="571e1a55-055f-4c28-8b35-fca6dd1c1369" providerId="ADAL" clId="{75A88773-6EE1-484E-AADE-FE631E01463B}" dt="2025-11-25T11:09:47.728" v="685458"/>
          <ac:cxnSpMkLst>
            <pc:docMk/>
            <pc:sldMk cId="3559958120" sldId="2147483102"/>
            <ac:cxnSpMk id="28" creationId="{511C6448-952A-4E03-E29D-64B3DBBCF41D}"/>
          </ac:cxnSpMkLst>
        </pc:cxnChg>
        <pc:cxnChg chg="add del mod ord">
          <ac:chgData name="Yudi Zhu" userId="571e1a55-055f-4c28-8b35-fca6dd1c1369" providerId="ADAL" clId="{75A88773-6EE1-484E-AADE-FE631E01463B}" dt="2025-11-25T11:09:54.126" v="686122"/>
          <ac:cxnSpMkLst>
            <pc:docMk/>
            <pc:sldMk cId="3559958120" sldId="2147483102"/>
            <ac:cxnSpMk id="29" creationId="{BD41D2B5-71BD-6D29-AB27-BD292CE370FE}"/>
          </ac:cxnSpMkLst>
        </pc:cxnChg>
        <pc:cxnChg chg="add mod ord">
          <ac:chgData name="Yudi Zhu" userId="571e1a55-055f-4c28-8b35-fca6dd1c1369" providerId="ADAL" clId="{75A88773-6EE1-484E-AADE-FE631E01463B}" dt="2025-11-25T11:11:22.098" v="690599"/>
          <ac:cxnSpMkLst>
            <pc:docMk/>
            <pc:sldMk cId="3559958120" sldId="2147483102"/>
            <ac:cxnSpMk id="30" creationId="{6C73E5F4-8CD7-D890-050A-A55946E0F5B8}"/>
          </ac:cxnSpMkLst>
        </pc:cxnChg>
        <pc:cxnChg chg="add mod ord">
          <ac:chgData name="Yudi Zhu" userId="571e1a55-055f-4c28-8b35-fca6dd1c1369" providerId="ADAL" clId="{75A88773-6EE1-484E-AADE-FE631E01463B}" dt="2025-11-25T11:11:22.094" v="690596"/>
          <ac:cxnSpMkLst>
            <pc:docMk/>
            <pc:sldMk cId="3559958120" sldId="2147483102"/>
            <ac:cxnSpMk id="33" creationId="{5C037236-7A25-F6BC-75AA-289381327B8A}"/>
          </ac:cxnSpMkLst>
        </pc:cxnChg>
        <pc:cxnChg chg="del mod ord">
          <ac:chgData name="Yudi Zhu" userId="571e1a55-055f-4c28-8b35-fca6dd1c1369" providerId="ADAL" clId="{75A88773-6EE1-484E-AADE-FE631E01463B}" dt="2025-11-25T11:11:21.478" v="690338"/>
          <ac:cxnSpMkLst>
            <pc:docMk/>
            <pc:sldMk cId="3559958120" sldId="2147483102"/>
            <ac:cxnSpMk id="57" creationId="{B8A70BC4-880F-79F8-BF39-DEB7ECF3AAAF}"/>
          </ac:cxnSpMkLst>
        </pc:cxnChg>
        <pc:cxnChg chg="mod ord">
          <ac:chgData name="Yudi Zhu" userId="571e1a55-055f-4c28-8b35-fca6dd1c1369" providerId="ADAL" clId="{75A88773-6EE1-484E-AADE-FE631E01463B}" dt="2025-11-25T11:11:22.322" v="690702"/>
          <ac:cxnSpMkLst>
            <pc:docMk/>
            <pc:sldMk cId="3559958120" sldId="2147483102"/>
            <ac:cxnSpMk id="58" creationId="{544E8E06-7A8F-3954-A4AA-EE20FECFFF3B}"/>
          </ac:cxnSpMkLst>
        </pc:cxnChg>
        <pc:cxnChg chg="mod ord">
          <ac:chgData name="Yudi Zhu" userId="571e1a55-055f-4c28-8b35-fca6dd1c1369" providerId="ADAL" clId="{75A88773-6EE1-484E-AADE-FE631E01463B}" dt="2025-11-25T11:11:22.337" v="690710"/>
          <ac:cxnSpMkLst>
            <pc:docMk/>
            <pc:sldMk cId="3559958120" sldId="2147483102"/>
            <ac:cxnSpMk id="59" creationId="{F626354A-02F7-D8D1-C43E-6F2AA2506D97}"/>
          </ac:cxnSpMkLst>
        </pc:cxnChg>
        <pc:cxnChg chg="mod ord">
          <ac:chgData name="Yudi Zhu" userId="571e1a55-055f-4c28-8b35-fca6dd1c1369" providerId="ADAL" clId="{75A88773-6EE1-484E-AADE-FE631E01463B}" dt="2025-11-25T11:11:22.337" v="690712"/>
          <ac:cxnSpMkLst>
            <pc:docMk/>
            <pc:sldMk cId="3559958120" sldId="2147483102"/>
            <ac:cxnSpMk id="60" creationId="{920FA605-E38D-0766-1BEA-D0809D4F30B1}"/>
          </ac:cxnSpMkLst>
        </pc:cxnChg>
        <pc:cxnChg chg="del mod ord">
          <ac:chgData name="Yudi Zhu" userId="571e1a55-055f-4c28-8b35-fca6dd1c1369" providerId="ADAL" clId="{75A88773-6EE1-484E-AADE-FE631E01463B}" dt="2025-11-25T11:11:21.607" v="690400"/>
          <ac:cxnSpMkLst>
            <pc:docMk/>
            <pc:sldMk cId="3559958120" sldId="2147483102"/>
            <ac:cxnSpMk id="61" creationId="{5460B9C1-B478-B2EA-64C1-1F3A3ED7DB5F}"/>
          </ac:cxnSpMkLst>
        </pc:cxnChg>
        <pc:cxnChg chg="mod ord">
          <ac:chgData name="Yudi Zhu" userId="571e1a55-055f-4c28-8b35-fca6dd1c1369" providerId="ADAL" clId="{75A88773-6EE1-484E-AADE-FE631E01463B}" dt="2025-11-25T11:11:22.322" v="690706"/>
          <ac:cxnSpMkLst>
            <pc:docMk/>
            <pc:sldMk cId="3559958120" sldId="2147483102"/>
            <ac:cxnSpMk id="62" creationId="{D3FC26B7-159F-8978-6453-5F5B3488596A}"/>
          </ac:cxnSpMkLst>
        </pc:cxnChg>
        <pc:cxnChg chg="mod ord">
          <ac:chgData name="Yudi Zhu" userId="571e1a55-055f-4c28-8b35-fca6dd1c1369" providerId="ADAL" clId="{75A88773-6EE1-484E-AADE-FE631E01463B}" dt="2025-11-25T11:11:22.322" v="690704"/>
          <ac:cxnSpMkLst>
            <pc:docMk/>
            <pc:sldMk cId="3559958120" sldId="2147483102"/>
            <ac:cxnSpMk id="63" creationId="{036720A8-6C47-441D-7C79-B2E3C0977058}"/>
          </ac:cxnSpMkLst>
        </pc:cxnChg>
        <pc:cxnChg chg="mod ord">
          <ac:chgData name="Yudi Zhu" userId="571e1a55-055f-4c28-8b35-fca6dd1c1369" providerId="ADAL" clId="{75A88773-6EE1-484E-AADE-FE631E01463B}" dt="2025-11-25T11:11:22.067" v="690578"/>
          <ac:cxnSpMkLst>
            <pc:docMk/>
            <pc:sldMk cId="3559958120" sldId="2147483102"/>
            <ac:cxnSpMk id="153" creationId="{3D86BA23-82AC-89CB-0C7A-64BE0C2149C7}"/>
          </ac:cxnSpMkLst>
        </pc:cxnChg>
        <pc:cxnChg chg="mod ord">
          <ac:chgData name="Yudi Zhu" userId="571e1a55-055f-4c28-8b35-fca6dd1c1369" providerId="ADAL" clId="{75A88773-6EE1-484E-AADE-FE631E01463B}" dt="2025-11-25T11:11:22.280" v="690680"/>
          <ac:cxnSpMkLst>
            <pc:docMk/>
            <pc:sldMk cId="3559958120" sldId="2147483102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5T11:11:22.067" v="690580"/>
          <ac:cxnSpMkLst>
            <pc:docMk/>
            <pc:sldMk cId="3559958120" sldId="2147483102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5T11:11:22.073" v="690582"/>
          <ac:cxnSpMkLst>
            <pc:docMk/>
            <pc:sldMk cId="3559958120" sldId="2147483102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5T11:11:22.457" v="690768"/>
          <ac:cxnSpMkLst>
            <pc:docMk/>
            <pc:sldMk cId="3559958120" sldId="2147483102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5T11:11:22.457" v="690770"/>
          <ac:cxnSpMkLst>
            <pc:docMk/>
            <pc:sldMk cId="3559958120" sldId="2147483102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5T11:11:22.432" v="690751"/>
          <ac:cxnSpMkLst>
            <pc:docMk/>
            <pc:sldMk cId="3559958120" sldId="2147483102"/>
            <ac:cxnSpMk id="1381" creationId="{60F9A687-49A7-9139-83E6-DE0BDC247892}"/>
          </ac:cxnSpMkLst>
        </pc:cxnChg>
        <pc:cxnChg chg="mod ord">
          <ac:chgData name="Yudi Zhu" userId="571e1a55-055f-4c28-8b35-fca6dd1c1369" providerId="ADAL" clId="{75A88773-6EE1-484E-AADE-FE631E01463B}" dt="2025-11-25T11:11:22.432" v="690753"/>
          <ac:cxnSpMkLst>
            <pc:docMk/>
            <pc:sldMk cId="3559958120" sldId="2147483102"/>
            <ac:cxnSpMk id="1382" creationId="{81D9BC2E-43BF-0B4D-346D-E07E1572AC4E}"/>
          </ac:cxnSpMkLst>
        </pc:cxnChg>
        <pc:cxnChg chg="mod ord">
          <ac:chgData name="Yudi Zhu" userId="571e1a55-055f-4c28-8b35-fca6dd1c1369" providerId="ADAL" clId="{75A88773-6EE1-484E-AADE-FE631E01463B}" dt="2025-11-25T11:11:22.432" v="690755"/>
          <ac:cxnSpMkLst>
            <pc:docMk/>
            <pc:sldMk cId="3559958120" sldId="2147483102"/>
            <ac:cxnSpMk id="1383" creationId="{06C80ABB-ADE7-9188-D748-6A0BB890BA72}"/>
          </ac:cxnSpMkLst>
        </pc:cxnChg>
        <pc:cxnChg chg="mod ord">
          <ac:chgData name="Yudi Zhu" userId="571e1a55-055f-4c28-8b35-fca6dd1c1369" providerId="ADAL" clId="{75A88773-6EE1-484E-AADE-FE631E01463B}" dt="2025-11-25T11:11:22.315" v="690692"/>
          <ac:cxnSpMkLst>
            <pc:docMk/>
            <pc:sldMk cId="3559958120" sldId="2147483102"/>
            <ac:cxnSpMk id="1416" creationId="{72D85A7C-D068-4FDE-7721-9FFD5EE00CF7}"/>
          </ac:cxnSpMkLst>
        </pc:cxnChg>
        <pc:cxnChg chg="mod ord">
          <ac:chgData name="Yudi Zhu" userId="571e1a55-055f-4c28-8b35-fca6dd1c1369" providerId="ADAL" clId="{75A88773-6EE1-484E-AADE-FE631E01463B}" dt="2025-11-25T11:11:22.322" v="690698"/>
          <ac:cxnSpMkLst>
            <pc:docMk/>
            <pc:sldMk cId="3559958120" sldId="2147483102"/>
            <ac:cxnSpMk id="1427" creationId="{8CD1BFBD-29D4-7EFA-3730-7685282ECB0D}"/>
          </ac:cxnSpMkLst>
        </pc:cxnChg>
        <pc:cxnChg chg="del mod ord">
          <ac:chgData name="Yudi Zhu" userId="571e1a55-055f-4c28-8b35-fca6dd1c1369" providerId="ADAL" clId="{75A88773-6EE1-484E-AADE-FE631E01463B}" dt="2025-11-25T11:11:21.609" v="690402"/>
          <ac:cxnSpMkLst>
            <pc:docMk/>
            <pc:sldMk cId="3559958120" sldId="2147483102"/>
            <ac:cxnSpMk id="1459" creationId="{16AAA7D6-7B2F-3A99-2825-6C1703FEC375}"/>
          </ac:cxnSpMkLst>
        </pc:cxnChg>
        <pc:cxnChg chg="mod ord">
          <ac:chgData name="Yudi Zhu" userId="571e1a55-055f-4c28-8b35-fca6dd1c1369" providerId="ADAL" clId="{75A88773-6EE1-484E-AADE-FE631E01463B}" dt="2025-11-25T11:11:22.337" v="690708"/>
          <ac:cxnSpMkLst>
            <pc:docMk/>
            <pc:sldMk cId="3559958120" sldId="2147483102"/>
            <ac:cxnSpMk id="1462" creationId="{B25EED74-3BE6-1A25-FFAA-ED5F7EF0AB47}"/>
          </ac:cxnSpMkLst>
        </pc:cxnChg>
        <pc:cxnChg chg="del mod ord">
          <ac:chgData name="Yudi Zhu" userId="571e1a55-055f-4c28-8b35-fca6dd1c1369" providerId="ADAL" clId="{75A88773-6EE1-484E-AADE-FE631E01463B}" dt="2025-11-25T11:11:21.668" v="690446"/>
          <ac:cxnSpMkLst>
            <pc:docMk/>
            <pc:sldMk cId="3559958120" sldId="2147483102"/>
            <ac:cxnSpMk id="1466" creationId="{D3EC2432-4617-5266-2DF0-2F8BEF10B77E}"/>
          </ac:cxnSpMkLst>
        </pc:cxnChg>
        <pc:cxnChg chg="del mod ord">
          <ac:chgData name="Yudi Zhu" userId="571e1a55-055f-4c28-8b35-fca6dd1c1369" providerId="ADAL" clId="{75A88773-6EE1-484E-AADE-FE631E01463B}" dt="2025-11-25T11:11:21.679" v="690448"/>
          <ac:cxnSpMkLst>
            <pc:docMk/>
            <pc:sldMk cId="3559958120" sldId="2147483102"/>
            <ac:cxnSpMk id="1467" creationId="{B04EF4F2-7F38-9EBF-D340-CFB75FC1FB25}"/>
          </ac:cxnSpMkLst>
        </pc:cxnChg>
        <pc:cxnChg chg="del mod ord">
          <ac:chgData name="Yudi Zhu" userId="571e1a55-055f-4c28-8b35-fca6dd1c1369" providerId="ADAL" clId="{75A88773-6EE1-484E-AADE-FE631E01463B}" dt="2025-11-25T11:11:21.684" v="690450"/>
          <ac:cxnSpMkLst>
            <pc:docMk/>
            <pc:sldMk cId="3559958120" sldId="2147483102"/>
            <ac:cxnSpMk id="1468" creationId="{DB3DA2FD-3F9C-7D07-1499-92AEE88BBABE}"/>
          </ac:cxnSpMkLst>
        </pc:cxnChg>
        <pc:cxnChg chg="del mod ord">
          <ac:chgData name="Yudi Zhu" userId="571e1a55-055f-4c28-8b35-fca6dd1c1369" providerId="ADAL" clId="{75A88773-6EE1-484E-AADE-FE631E01463B}" dt="2025-11-25T11:11:21.747" v="690470"/>
          <ac:cxnSpMkLst>
            <pc:docMk/>
            <pc:sldMk cId="3559958120" sldId="2147483102"/>
            <ac:cxnSpMk id="1469" creationId="{E7FB9AEA-E911-CF9F-9FF2-E4588B47992B}"/>
          </ac:cxnSpMkLst>
        </pc:cxnChg>
        <pc:cxnChg chg="mod ord">
          <ac:chgData name="Yudi Zhu" userId="571e1a55-055f-4c28-8b35-fca6dd1c1369" providerId="ADAL" clId="{75A88773-6EE1-484E-AADE-FE631E01463B}" dt="2025-11-25T11:11:22.322" v="690696"/>
          <ac:cxnSpMkLst>
            <pc:docMk/>
            <pc:sldMk cId="3559958120" sldId="2147483102"/>
            <ac:cxnSpMk id="1474" creationId="{967E8F84-C6F1-30BA-DDED-462B5D7B17E2}"/>
          </ac:cxnSpMkLst>
        </pc:cxnChg>
        <pc:cxnChg chg="mod ord">
          <ac:chgData name="Yudi Zhu" userId="571e1a55-055f-4c28-8b35-fca6dd1c1369" providerId="ADAL" clId="{75A88773-6EE1-484E-AADE-FE631E01463B}" dt="2025-11-25T11:11:22.448" v="690766"/>
          <ac:cxnSpMkLst>
            <pc:docMk/>
            <pc:sldMk cId="3559958120" sldId="2147483102"/>
            <ac:cxnSpMk id="1477" creationId="{152B86F5-FAEA-60A6-7C19-C68CC06B21E4}"/>
          </ac:cxnSpMkLst>
        </pc:cxnChg>
        <pc:cxnChg chg="mod ord">
          <ac:chgData name="Yudi Zhu" userId="571e1a55-055f-4c28-8b35-fca6dd1c1369" providerId="ADAL" clId="{75A88773-6EE1-484E-AADE-FE631E01463B}" dt="2025-11-25T11:11:22.073" v="690586"/>
          <ac:cxnSpMkLst>
            <pc:docMk/>
            <pc:sldMk cId="3559958120" sldId="2147483102"/>
            <ac:cxnSpMk id="1519" creationId="{DB475FC9-58A8-F50C-7AD4-C76A1BA430D5}"/>
          </ac:cxnSpMkLst>
        </pc:cxnChg>
        <pc:cxnChg chg="del mod ord">
          <ac:chgData name="Yudi Zhu" userId="571e1a55-055f-4c28-8b35-fca6dd1c1369" providerId="ADAL" clId="{75A88773-6EE1-484E-AADE-FE631E01463B}" dt="2025-11-25T11:09:54.340" v="686259"/>
          <ac:cxnSpMkLst>
            <pc:docMk/>
            <pc:sldMk cId="3559958120" sldId="2147483102"/>
            <ac:cxnSpMk id="1524" creationId="{C473C6AD-8681-B41F-FEBD-B32D433102CF}"/>
          </ac:cxnSpMkLst>
        </pc:cxnChg>
        <pc:cxnChg chg="del mod ord">
          <ac:chgData name="Yudi Zhu" userId="571e1a55-055f-4c28-8b35-fca6dd1c1369" providerId="ADAL" clId="{75A88773-6EE1-484E-AADE-FE631E01463B}" dt="2025-11-25T11:09:43.960" v="685069"/>
          <ac:cxnSpMkLst>
            <pc:docMk/>
            <pc:sldMk cId="3559958120" sldId="2147483102"/>
            <ac:cxnSpMk id="1581" creationId="{822DC2B8-79ED-2E97-65D5-B24BD6099DE3}"/>
          </ac:cxnSpMkLst>
        </pc:cxnChg>
        <pc:cxnChg chg="del mod ord">
          <ac:chgData name="Yudi Zhu" userId="571e1a55-055f-4c28-8b35-fca6dd1c1369" providerId="ADAL" clId="{75A88773-6EE1-484E-AADE-FE631E01463B}" dt="2025-11-25T11:09:43.986" v="685085"/>
          <ac:cxnSpMkLst>
            <pc:docMk/>
            <pc:sldMk cId="3559958120" sldId="2147483102"/>
            <ac:cxnSpMk id="1582" creationId="{522C1A32-4C1E-7C5A-1A1F-AB0C8073B48E}"/>
          </ac:cxnSpMkLst>
        </pc:cxnChg>
        <pc:cxnChg chg="del mod ord">
          <ac:chgData name="Yudi Zhu" userId="571e1a55-055f-4c28-8b35-fca6dd1c1369" providerId="ADAL" clId="{75A88773-6EE1-484E-AADE-FE631E01463B}" dt="2025-11-25T11:09:43.487" v="684859"/>
          <ac:cxnSpMkLst>
            <pc:docMk/>
            <pc:sldMk cId="3559958120" sldId="2147483102"/>
            <ac:cxnSpMk id="1585" creationId="{26453B75-A203-AEA1-F433-D2A84081DC3A}"/>
          </ac:cxnSpMkLst>
        </pc:cxnChg>
        <pc:cxnChg chg="del mod ord">
          <ac:chgData name="Yudi Zhu" userId="571e1a55-055f-4c28-8b35-fca6dd1c1369" providerId="ADAL" clId="{75A88773-6EE1-484E-AADE-FE631E01463B}" dt="2025-11-25T11:09:43.618" v="684908"/>
          <ac:cxnSpMkLst>
            <pc:docMk/>
            <pc:sldMk cId="3559958120" sldId="2147483102"/>
            <ac:cxnSpMk id="1587" creationId="{1F80F8EE-7195-5C60-7F36-66FFA93BEE7C}"/>
          </ac:cxnSpMkLst>
        </pc:cxnChg>
        <pc:cxnChg chg="del mod ord">
          <ac:chgData name="Yudi Zhu" userId="571e1a55-055f-4c28-8b35-fca6dd1c1369" providerId="ADAL" clId="{75A88773-6EE1-484E-AADE-FE631E01463B}" dt="2025-11-25T11:09:43.670" v="684927"/>
          <ac:cxnSpMkLst>
            <pc:docMk/>
            <pc:sldMk cId="3559958120" sldId="2147483102"/>
            <ac:cxnSpMk id="1591" creationId="{45B3B88D-C4D2-857C-DE64-D5056A9386D8}"/>
          </ac:cxnSpMkLst>
        </pc:cxnChg>
        <pc:cxnChg chg="del mod ord">
          <ac:chgData name="Yudi Zhu" userId="571e1a55-055f-4c28-8b35-fca6dd1c1369" providerId="ADAL" clId="{75A88773-6EE1-484E-AADE-FE631E01463B}" dt="2025-11-25T11:09:47.864" v="685525"/>
          <ac:cxnSpMkLst>
            <pc:docMk/>
            <pc:sldMk cId="3559958120" sldId="2147483102"/>
            <ac:cxnSpMk id="1592" creationId="{80A237D9-085B-F196-46AA-6ECF5BCFF128}"/>
          </ac:cxnSpMkLst>
        </pc:cxnChg>
        <pc:cxnChg chg="del mod ord">
          <ac:chgData name="Yudi Zhu" userId="571e1a55-055f-4c28-8b35-fca6dd1c1369" providerId="ADAL" clId="{75A88773-6EE1-484E-AADE-FE631E01463B}" dt="2025-11-25T11:09:43.856" v="685017"/>
          <ac:cxnSpMkLst>
            <pc:docMk/>
            <pc:sldMk cId="3559958120" sldId="2147483102"/>
            <ac:cxnSpMk id="1593" creationId="{6BDEA4E6-357A-2358-2347-22267E74416D}"/>
          </ac:cxnSpMkLst>
        </pc:cxnChg>
        <pc:cxnChg chg="del mod ord">
          <ac:chgData name="Yudi Zhu" userId="571e1a55-055f-4c28-8b35-fca6dd1c1369" providerId="ADAL" clId="{75A88773-6EE1-484E-AADE-FE631E01463B}" dt="2025-11-25T11:09:43.919" v="685053"/>
          <ac:cxnSpMkLst>
            <pc:docMk/>
            <pc:sldMk cId="3559958120" sldId="2147483102"/>
            <ac:cxnSpMk id="1594" creationId="{CA8BCBDE-7919-DFD2-CB10-EA88A315DC7B}"/>
          </ac:cxnSpMkLst>
        </pc:cxnChg>
        <pc:cxnChg chg="mod ord">
          <ac:chgData name="Yudi Zhu" userId="571e1a55-055f-4c28-8b35-fca6dd1c1369" providerId="ADAL" clId="{75A88773-6EE1-484E-AADE-FE631E01463B}" dt="2025-11-25T11:11:22.084" v="690592"/>
          <ac:cxnSpMkLst>
            <pc:docMk/>
            <pc:sldMk cId="3559958120" sldId="2147483102"/>
            <ac:cxnSpMk id="1595" creationId="{A73ED295-15B4-2F3B-66BB-F98525C1C7AA}"/>
          </ac:cxnSpMkLst>
        </pc:cxnChg>
        <pc:cxnChg chg="mod ord">
          <ac:chgData name="Yudi Zhu" userId="571e1a55-055f-4c28-8b35-fca6dd1c1369" providerId="ADAL" clId="{75A88773-6EE1-484E-AADE-FE631E01463B}" dt="2025-11-25T11:11:22.089" v="690594"/>
          <ac:cxnSpMkLst>
            <pc:docMk/>
            <pc:sldMk cId="3559958120" sldId="2147483102"/>
            <ac:cxnSpMk id="1596" creationId="{C82C9374-0347-8640-AD18-C259C5B53F7E}"/>
          </ac:cxnSpMkLst>
        </pc:cxnChg>
        <pc:cxnChg chg="del mod ord">
          <ac:chgData name="Yudi Zhu" userId="571e1a55-055f-4c28-8b35-fca6dd1c1369" providerId="ADAL" clId="{75A88773-6EE1-484E-AADE-FE631E01463B}" dt="2025-11-25T11:09:43.561" v="684890"/>
          <ac:cxnSpMkLst>
            <pc:docMk/>
            <pc:sldMk cId="3559958120" sldId="2147483102"/>
            <ac:cxnSpMk id="1599" creationId="{82B80641-5327-76DC-CF0C-CA9AB465B612}"/>
          </ac:cxnSpMkLst>
        </pc:cxnChg>
        <pc:cxnChg chg="del mod ord">
          <ac:chgData name="Yudi Zhu" userId="571e1a55-055f-4c28-8b35-fca6dd1c1369" providerId="ADAL" clId="{75A88773-6EE1-484E-AADE-FE631E01463B}" dt="2025-11-25T11:09:43.903" v="685037"/>
          <ac:cxnSpMkLst>
            <pc:docMk/>
            <pc:sldMk cId="3559958120" sldId="2147483102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5T11:11:22.479" v="690783"/>
          <ac:cxnSpMkLst>
            <pc:docMk/>
            <pc:sldMk cId="3559958120" sldId="2147483102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5T11:11:22.481" v="690785"/>
          <ac:cxnSpMkLst>
            <pc:docMk/>
            <pc:sldMk cId="3559958120" sldId="2147483102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5T11:11:22.482" v="690787"/>
          <ac:cxnSpMkLst>
            <pc:docMk/>
            <pc:sldMk cId="3559958120" sldId="2147483102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5T11:11:22.506" v="690801"/>
          <ac:cxnSpMkLst>
            <pc:docMk/>
            <pc:sldMk cId="3559958120" sldId="2147483102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5T11:11:22.505" v="690799"/>
          <ac:cxnSpMkLst>
            <pc:docMk/>
            <pc:sldMk cId="3559958120" sldId="2147483102"/>
            <ac:cxnSpMk id="1753" creationId="{6F89B6DC-E3F5-CD48-0D46-FFAA36062107}"/>
          </ac:cxnSpMkLst>
        </pc:cxnChg>
        <pc:cxnChg chg="mod ord">
          <ac:chgData name="Yudi Zhu" userId="571e1a55-055f-4c28-8b35-fca6dd1c1369" providerId="ADAL" clId="{75A88773-6EE1-484E-AADE-FE631E01463B}" dt="2025-11-25T11:11:22.355" v="690718"/>
          <ac:cxnSpMkLst>
            <pc:docMk/>
            <pc:sldMk cId="3559958120" sldId="2147483102"/>
            <ac:cxnSpMk id="1819" creationId="{89A23327-5608-B9B1-48B6-09A5B94BD12A}"/>
          </ac:cxnSpMkLst>
        </pc:cxnChg>
        <pc:cxnChg chg="mod ord">
          <ac:chgData name="Yudi Zhu" userId="571e1a55-055f-4c28-8b35-fca6dd1c1369" providerId="ADAL" clId="{75A88773-6EE1-484E-AADE-FE631E01463B}" dt="2025-11-25T11:11:22.322" v="690700"/>
          <ac:cxnSpMkLst>
            <pc:docMk/>
            <pc:sldMk cId="3559958120" sldId="2147483102"/>
            <ac:cxnSpMk id="1856" creationId="{D1BA9907-3658-82E5-F2ED-A6180F1B2854}"/>
          </ac:cxnSpMkLst>
        </pc:cxnChg>
        <pc:cxnChg chg="del mod ord">
          <ac:chgData name="Yudi Zhu" userId="571e1a55-055f-4c28-8b35-fca6dd1c1369" providerId="ADAL" clId="{75A88773-6EE1-484E-AADE-FE631E01463B}" dt="2025-11-25T11:11:21.652" v="690434"/>
          <ac:cxnSpMkLst>
            <pc:docMk/>
            <pc:sldMk cId="3559958120" sldId="2147483102"/>
            <ac:cxnSpMk id="1857" creationId="{CF12010B-7B22-DD94-C36D-C11F4ECD2C5D}"/>
          </ac:cxnSpMkLst>
        </pc:cxnChg>
        <pc:cxnChg chg="mod ord">
          <ac:chgData name="Yudi Zhu" userId="571e1a55-055f-4c28-8b35-fca6dd1c1369" providerId="ADAL" clId="{75A88773-6EE1-484E-AADE-FE631E01463B}" dt="2025-11-25T11:11:22.337" v="690714"/>
          <ac:cxnSpMkLst>
            <pc:docMk/>
            <pc:sldMk cId="3559958120" sldId="2147483102"/>
            <ac:cxnSpMk id="1858" creationId="{0D4B99E3-DB56-6849-EF97-337EA1B0324A}"/>
          </ac:cxnSpMkLst>
        </pc:cxnChg>
        <pc:cxnChg chg="mod ord">
          <ac:chgData name="Yudi Zhu" userId="571e1a55-055f-4c28-8b35-fca6dd1c1369" providerId="ADAL" clId="{75A88773-6EE1-484E-AADE-FE631E01463B}" dt="2025-11-25T11:11:22.337" v="690716"/>
          <ac:cxnSpMkLst>
            <pc:docMk/>
            <pc:sldMk cId="3559958120" sldId="2147483102"/>
            <ac:cxnSpMk id="1859" creationId="{FD8FF0CA-37CF-D887-74DE-07CF29094DE7}"/>
          </ac:cxnSpMkLst>
        </pc:cxnChg>
        <pc:cxnChg chg="del mod ord">
          <ac:chgData name="Yudi Zhu" userId="571e1a55-055f-4c28-8b35-fca6dd1c1369" providerId="ADAL" clId="{75A88773-6EE1-484E-AADE-FE631E01463B}" dt="2025-11-25T11:11:21.803" v="690488"/>
          <ac:cxnSpMkLst>
            <pc:docMk/>
            <pc:sldMk cId="3559958120" sldId="2147483102"/>
            <ac:cxnSpMk id="1860" creationId="{1A93DD93-BD90-4150-D381-32F900E769FB}"/>
          </ac:cxnSpMkLst>
        </pc:cxnChg>
        <pc:cxnChg chg="mod ord">
          <ac:chgData name="Yudi Zhu" userId="571e1a55-055f-4c28-8b35-fca6dd1c1369" providerId="ADAL" clId="{75A88773-6EE1-484E-AADE-FE631E01463B}" dt="2025-11-25T11:11:22.318" v="690694"/>
          <ac:cxnSpMkLst>
            <pc:docMk/>
            <pc:sldMk cId="3559958120" sldId="2147483102"/>
            <ac:cxnSpMk id="1861" creationId="{15660DEE-4916-933D-E2C2-A4D09FBA11D1}"/>
          </ac:cxnSpMkLst>
        </pc:cxnChg>
        <pc:cxnChg chg="add mod ord">
          <ac:chgData name="Yudi Zhu" userId="571e1a55-055f-4c28-8b35-fca6dd1c1369" providerId="ADAL" clId="{75A88773-6EE1-484E-AADE-FE631E01463B}" dt="2025-11-25T11:11:22.355" v="690720"/>
          <ac:cxnSpMkLst>
            <pc:docMk/>
            <pc:sldMk cId="3559958120" sldId="2147483102"/>
            <ac:cxnSpMk id="1865" creationId="{FE1E9853-6D1A-B025-F3F5-1712368E4245}"/>
          </ac:cxnSpMkLst>
        </pc:cxnChg>
        <pc:cxnChg chg="add mod ord">
          <ac:chgData name="Yudi Zhu" userId="571e1a55-055f-4c28-8b35-fca6dd1c1369" providerId="ADAL" clId="{75A88773-6EE1-484E-AADE-FE631E01463B}" dt="2025-11-25T11:11:22.355" v="690722"/>
          <ac:cxnSpMkLst>
            <pc:docMk/>
            <pc:sldMk cId="3559958120" sldId="2147483102"/>
            <ac:cxnSpMk id="1866" creationId="{E4A51DBB-36B4-8FC1-AF4E-233C2839F310}"/>
          </ac:cxnSpMkLst>
        </pc:cxnChg>
        <pc:cxnChg chg="add mod ord">
          <ac:chgData name="Yudi Zhu" userId="571e1a55-055f-4c28-8b35-fca6dd1c1369" providerId="ADAL" clId="{75A88773-6EE1-484E-AADE-FE631E01463B}" dt="2025-11-25T11:11:22.355" v="690724"/>
          <ac:cxnSpMkLst>
            <pc:docMk/>
            <pc:sldMk cId="3559958120" sldId="2147483102"/>
            <ac:cxnSpMk id="1867" creationId="{B83B551F-380A-061F-E558-DBFABC036034}"/>
          </ac:cxnSpMkLst>
        </pc:cxnChg>
        <pc:cxnChg chg="mod ord">
          <ac:chgData name="Yudi Zhu" userId="571e1a55-055f-4c28-8b35-fca6dd1c1369" providerId="ADAL" clId="{75A88773-6EE1-484E-AADE-FE631E01463B}" dt="2025-11-25T11:11:22.170" v="690639"/>
          <ac:cxnSpMkLst>
            <pc:docMk/>
            <pc:sldMk cId="3559958120" sldId="2147483102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5T11:11:22.170" v="690641"/>
          <ac:cxnSpMkLst>
            <pc:docMk/>
            <pc:sldMk cId="3559958120" sldId="2147483102"/>
            <ac:cxnSpMk id="1916" creationId="{7945F6A2-9F38-277D-F5AE-EF96B3C11E5E}"/>
          </ac:cxnSpMkLst>
        </pc:cxnChg>
        <pc:cxnChg chg="mod ord">
          <ac:chgData name="Yudi Zhu" userId="571e1a55-055f-4c28-8b35-fca6dd1c1369" providerId="ADAL" clId="{75A88773-6EE1-484E-AADE-FE631E01463B}" dt="2025-11-25T11:11:22.506" v="690803"/>
          <ac:cxnSpMkLst>
            <pc:docMk/>
            <pc:sldMk cId="3559958120" sldId="2147483102"/>
            <ac:cxnSpMk id="2027" creationId="{EDEC6A54-327B-6A29-4374-80B7580FFFF9}"/>
          </ac:cxnSpMkLst>
        </pc:cxnChg>
        <pc:cxnChg chg="mod ord">
          <ac:chgData name="Yudi Zhu" userId="571e1a55-055f-4c28-8b35-fca6dd1c1369" providerId="ADAL" clId="{75A88773-6EE1-484E-AADE-FE631E01463B}" dt="2025-11-25T11:11:22.058" v="690576"/>
          <ac:cxnSpMkLst>
            <pc:docMk/>
            <pc:sldMk cId="3559958120" sldId="2147483102"/>
            <ac:cxnSpMk id="2048" creationId="{977756EB-51BC-9FC9-0AE4-4BD27EE431BC}"/>
          </ac:cxnSpMkLst>
        </pc:cxnChg>
        <pc:cxnChg chg="mod ord">
          <ac:chgData name="Yudi Zhu" userId="571e1a55-055f-4c28-8b35-fca6dd1c1369" providerId="ADAL" clId="{75A88773-6EE1-484E-AADE-FE631E01463B}" dt="2025-11-25T11:11:22.073" v="690584"/>
          <ac:cxnSpMkLst>
            <pc:docMk/>
            <pc:sldMk cId="3559958120" sldId="2147483102"/>
            <ac:cxnSpMk id="2049" creationId="{A165F795-E25E-73C6-34EF-CDE2FFF090E5}"/>
          </ac:cxnSpMkLst>
        </pc:cxnChg>
        <pc:cxnChg chg="mod ord">
          <ac:chgData name="Yudi Zhu" userId="571e1a55-055f-4c28-8b35-fca6dd1c1369" providerId="ADAL" clId="{75A88773-6EE1-484E-AADE-FE631E01463B}" dt="2025-11-25T11:11:22.079" v="690588"/>
          <ac:cxnSpMkLst>
            <pc:docMk/>
            <pc:sldMk cId="3559958120" sldId="2147483102"/>
            <ac:cxnSpMk id="2050" creationId="{EDE25A69-B05D-15E3-7AA6-CD653F7DBFDD}"/>
          </ac:cxnSpMkLst>
        </pc:cxnChg>
        <pc:cxnChg chg="mod ord">
          <ac:chgData name="Yudi Zhu" userId="571e1a55-055f-4c28-8b35-fca6dd1c1369" providerId="ADAL" clId="{75A88773-6EE1-484E-AADE-FE631E01463B}" dt="2025-11-25T11:11:22.084" v="690590"/>
          <ac:cxnSpMkLst>
            <pc:docMk/>
            <pc:sldMk cId="3559958120" sldId="2147483102"/>
            <ac:cxnSpMk id="2051" creationId="{2E9608A4-AA98-2C22-9C43-2579A93B7E18}"/>
          </ac:cxnSpMkLst>
        </pc:cxnChg>
        <pc:cxnChg chg="mod ord">
          <ac:chgData name="Yudi Zhu" userId="571e1a55-055f-4c28-8b35-fca6dd1c1369" providerId="ADAL" clId="{75A88773-6EE1-484E-AADE-FE631E01463B}" dt="2025-11-25T11:11:22.535" v="690821"/>
          <ac:cxnSpMkLst>
            <pc:docMk/>
            <pc:sldMk cId="3559958120" sldId="2147483102"/>
            <ac:cxnSpMk id="2074" creationId="{DC085743-D412-C3E0-BD8A-77CCC98E3B10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3:58:23.679" v="750057"/>
        <pc:sldMkLst>
          <pc:docMk/>
          <pc:sldMk cId="3562512749" sldId="2147483103"/>
        </pc:sldMkLst>
        <pc:spChg chg="mod ord">
          <ac:chgData name="Yudi Zhu" userId="571e1a55-055f-4c28-8b35-fca6dd1c1369" providerId="ADAL" clId="{75A88773-6EE1-484E-AADE-FE631E01463B}" dt="2025-11-26T03:58:23.527" v="749647"/>
          <ac:spMkLst>
            <pc:docMk/>
            <pc:sldMk cId="3562512749" sldId="2147483103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6T03:40:25.001" v="708742"/>
          <ac:spMkLst>
            <pc:docMk/>
            <pc:sldMk cId="3562512749" sldId="2147483103"/>
            <ac:spMk id="3" creationId="{63FAB83B-3BE4-268B-8BC4-12B70C641D76}"/>
          </ac:spMkLst>
        </pc:spChg>
        <pc:spChg chg="del mod ord">
          <ac:chgData name="Yudi Zhu" userId="571e1a55-055f-4c28-8b35-fca6dd1c1369" providerId="ADAL" clId="{75A88773-6EE1-484E-AADE-FE631E01463B}" dt="2025-11-26T03:47:45.043" v="715250"/>
          <ac:spMkLst>
            <pc:docMk/>
            <pc:sldMk cId="3562512749" sldId="2147483103"/>
            <ac:spMk id="4" creationId="{ABF05F1C-33DD-11FD-0425-CA8E1F53B05D}"/>
          </ac:spMkLst>
        </pc:spChg>
        <pc:spChg chg="del mod ord">
          <ac:chgData name="Yudi Zhu" userId="571e1a55-055f-4c28-8b35-fca6dd1c1369" providerId="ADAL" clId="{75A88773-6EE1-484E-AADE-FE631E01463B}" dt="2025-11-26T03:47:45.053" v="715265"/>
          <ac:spMkLst>
            <pc:docMk/>
            <pc:sldMk cId="3562512749" sldId="2147483103"/>
            <ac:spMk id="5" creationId="{B23C1F1A-3BC3-0799-840F-2C298F88B503}"/>
          </ac:spMkLst>
        </pc:spChg>
        <pc:spChg chg="del mod">
          <ac:chgData name="Yudi Zhu" userId="571e1a55-055f-4c28-8b35-fca6dd1c1369" providerId="ADAL" clId="{75A88773-6EE1-484E-AADE-FE631E01463B}" dt="2025-11-26T03:47:45.053" v="715279"/>
          <ac:spMkLst>
            <pc:docMk/>
            <pc:sldMk cId="3562512749" sldId="2147483103"/>
            <ac:spMk id="6" creationId="{2C2C4ED7-102B-7A76-0459-EFFFF9DA3BA3}"/>
          </ac:spMkLst>
        </pc:spChg>
        <pc:spChg chg="del mod ord">
          <ac:chgData name="Yudi Zhu" userId="571e1a55-055f-4c28-8b35-fca6dd1c1369" providerId="ADAL" clId="{75A88773-6EE1-484E-AADE-FE631E01463B}" dt="2025-11-26T03:47:45.074" v="715291"/>
          <ac:spMkLst>
            <pc:docMk/>
            <pc:sldMk cId="3562512749" sldId="2147483103"/>
            <ac:spMk id="7" creationId="{4297C3C8-DAFC-C3E7-B6A2-6544A4C7CC5D}"/>
          </ac:spMkLst>
        </pc:spChg>
        <pc:spChg chg="del mod ord">
          <ac:chgData name="Yudi Zhu" userId="571e1a55-055f-4c28-8b35-fca6dd1c1369" providerId="ADAL" clId="{75A88773-6EE1-484E-AADE-FE631E01463B}" dt="2025-11-26T03:47:45.084" v="715306"/>
          <ac:spMkLst>
            <pc:docMk/>
            <pc:sldMk cId="3562512749" sldId="2147483103"/>
            <ac:spMk id="8" creationId="{BD021103-5F81-10F4-C4B4-1850B5EE2255}"/>
          </ac:spMkLst>
        </pc:spChg>
        <pc:spChg chg="del mod">
          <ac:chgData name="Yudi Zhu" userId="571e1a55-055f-4c28-8b35-fca6dd1c1369" providerId="ADAL" clId="{75A88773-6EE1-484E-AADE-FE631E01463B}" dt="2025-11-26T03:47:45.086" v="715320"/>
          <ac:spMkLst>
            <pc:docMk/>
            <pc:sldMk cId="3562512749" sldId="2147483103"/>
            <ac:spMk id="9" creationId="{016566AD-0B56-AD0F-0663-30E06A491A07}"/>
          </ac:spMkLst>
        </pc:spChg>
        <pc:spChg chg="add del mod modVis">
          <ac:chgData name="Yudi Zhu" userId="571e1a55-055f-4c28-8b35-fca6dd1c1369" providerId="ADAL" clId="{75A88773-6EE1-484E-AADE-FE631E01463B}" dt="2025-11-26T03:43:36.613" v="709500"/>
          <ac:spMkLst>
            <pc:docMk/>
            <pc:sldMk cId="3562512749" sldId="2147483103"/>
            <ac:spMk id="10" creationId="{657E9378-BDB6-1553-D32F-8DA33B15FA25}"/>
          </ac:spMkLst>
        </pc:spChg>
        <pc:spChg chg="add del mod modVis">
          <ac:chgData name="Yudi Zhu" userId="571e1a55-055f-4c28-8b35-fca6dd1c1369" providerId="ADAL" clId="{75A88773-6EE1-484E-AADE-FE631E01463B}" dt="2025-11-26T03:47:15.853" v="714040"/>
          <ac:spMkLst>
            <pc:docMk/>
            <pc:sldMk cId="3562512749" sldId="2147483103"/>
            <ac:spMk id="17" creationId="{A4624F54-5EA6-F802-2D38-40CE38B4B099}"/>
          </ac:spMkLst>
        </pc:spChg>
        <pc:spChg chg="add del mod modVis">
          <ac:chgData name="Yudi Zhu" userId="571e1a55-055f-4c28-8b35-fca6dd1c1369" providerId="ADAL" clId="{75A88773-6EE1-484E-AADE-FE631E01463B}" dt="2025-11-26T03:47:24.321" v="714657"/>
          <ac:spMkLst>
            <pc:docMk/>
            <pc:sldMk cId="3562512749" sldId="2147483103"/>
            <ac:spMk id="19" creationId="{1CE45ED5-2C79-FD0A-7EFB-A6995371AFBB}"/>
          </ac:spMkLst>
        </pc:spChg>
        <pc:spChg chg="add del mod modVis">
          <ac:chgData name="Yudi Zhu" userId="571e1a55-055f-4c28-8b35-fca6dd1c1369" providerId="ADAL" clId="{75A88773-6EE1-484E-AADE-FE631E01463B}" dt="2025-11-26T03:47:28.295" v="715210"/>
          <ac:spMkLst>
            <pc:docMk/>
            <pc:sldMk cId="3562512749" sldId="2147483103"/>
            <ac:spMk id="32" creationId="{0E0D9BCA-C154-0D21-8F68-7C6BB9E2A9AA}"/>
          </ac:spMkLst>
        </pc:spChg>
        <pc:spChg chg="add mod ord">
          <ac:chgData name="Yudi Zhu" userId="571e1a55-055f-4c28-8b35-fca6dd1c1369" providerId="ADAL" clId="{75A88773-6EE1-484E-AADE-FE631E01463B}" dt="2025-11-26T03:58:23.590" v="749805"/>
          <ac:spMkLst>
            <pc:docMk/>
            <pc:sldMk cId="3562512749" sldId="2147483103"/>
            <ac:spMk id="38" creationId="{88E1A231-81BD-A7C6-B96A-2F5188C7102D}"/>
          </ac:spMkLst>
        </pc:spChg>
        <pc:spChg chg="add mod ord">
          <ac:chgData name="Yudi Zhu" userId="571e1a55-055f-4c28-8b35-fca6dd1c1369" providerId="ADAL" clId="{75A88773-6EE1-484E-AADE-FE631E01463B}" dt="2025-11-26T03:58:23.590" v="749807"/>
          <ac:spMkLst>
            <pc:docMk/>
            <pc:sldMk cId="3562512749" sldId="2147483103"/>
            <ac:spMk id="39" creationId="{5C47971A-FB34-0619-AE05-C159F1E1B333}"/>
          </ac:spMkLst>
        </pc:spChg>
        <pc:spChg chg="add mod">
          <ac:chgData name="Yudi Zhu" userId="571e1a55-055f-4c28-8b35-fca6dd1c1369" providerId="ADAL" clId="{75A88773-6EE1-484E-AADE-FE631E01463B}" dt="2025-11-26T03:58:23.590" v="749802"/>
          <ac:spMkLst>
            <pc:docMk/>
            <pc:sldMk cId="3562512749" sldId="2147483103"/>
            <ac:spMk id="40" creationId="{44062965-9F7B-10DA-6410-A5FD233F93E2}"/>
          </ac:spMkLst>
        </pc:spChg>
        <pc:spChg chg="add mod ord">
          <ac:chgData name="Yudi Zhu" userId="571e1a55-055f-4c28-8b35-fca6dd1c1369" providerId="ADAL" clId="{75A88773-6EE1-484E-AADE-FE631E01463B}" dt="2025-11-26T03:58:23.590" v="749809"/>
          <ac:spMkLst>
            <pc:docMk/>
            <pc:sldMk cId="3562512749" sldId="2147483103"/>
            <ac:spMk id="41" creationId="{9F401824-FC96-DC5B-FEEA-29FF906AA7FB}"/>
          </ac:spMkLst>
        </pc:spChg>
        <pc:spChg chg="add mod ord">
          <ac:chgData name="Yudi Zhu" userId="571e1a55-055f-4c28-8b35-fca6dd1c1369" providerId="ADAL" clId="{75A88773-6EE1-484E-AADE-FE631E01463B}" dt="2025-11-26T03:58:23.590" v="749811"/>
          <ac:spMkLst>
            <pc:docMk/>
            <pc:sldMk cId="3562512749" sldId="2147483103"/>
            <ac:spMk id="42" creationId="{E2103FE2-2275-8E70-EEAE-7FC22E9042C8}"/>
          </ac:spMkLst>
        </pc:spChg>
        <pc:spChg chg="add mod">
          <ac:chgData name="Yudi Zhu" userId="571e1a55-055f-4c28-8b35-fca6dd1c1369" providerId="ADAL" clId="{75A88773-6EE1-484E-AADE-FE631E01463B}" dt="2025-11-26T03:58:23.590" v="749803"/>
          <ac:spMkLst>
            <pc:docMk/>
            <pc:sldMk cId="3562512749" sldId="2147483103"/>
            <ac:spMk id="46" creationId="{F513F91F-6A53-E6AC-C845-C35B619B4DC7}"/>
          </ac:spMkLst>
        </pc:spChg>
        <pc:spChg chg="add del mod modVis">
          <ac:chgData name="Yudi Zhu" userId="571e1a55-055f-4c28-8b35-fca6dd1c1369" providerId="ADAL" clId="{75A88773-6EE1-484E-AADE-FE631E01463B}" dt="2025-11-26T03:47:45.558" v="715842"/>
          <ac:spMkLst>
            <pc:docMk/>
            <pc:sldMk cId="3562512749" sldId="2147483103"/>
            <ac:spMk id="50" creationId="{43619471-E81A-97E8-72C6-EF114FD71D26}"/>
          </ac:spMkLst>
        </pc:spChg>
        <pc:spChg chg="add del mod modVis">
          <ac:chgData name="Yudi Zhu" userId="571e1a55-055f-4c28-8b35-fca6dd1c1369" providerId="ADAL" clId="{75A88773-6EE1-484E-AADE-FE631E01463B}" dt="2025-11-26T03:47:48.987" v="716334"/>
          <ac:spMkLst>
            <pc:docMk/>
            <pc:sldMk cId="3562512749" sldId="2147483103"/>
            <ac:spMk id="52" creationId="{C0433E42-0DA4-2D2B-1F65-0D80A6C9693E}"/>
          </ac:spMkLst>
        </pc:spChg>
        <pc:spChg chg="add del mod modVis">
          <ac:chgData name="Yudi Zhu" userId="571e1a55-055f-4c28-8b35-fca6dd1c1369" providerId="ADAL" clId="{75A88773-6EE1-484E-AADE-FE631E01463B}" dt="2025-11-26T03:47:52.580" v="716826"/>
          <ac:spMkLst>
            <pc:docMk/>
            <pc:sldMk cId="3562512749" sldId="2147483103"/>
            <ac:spMk id="54" creationId="{FD8FD113-62CE-5CED-5C47-B32E9FD64FB8}"/>
          </ac:spMkLst>
        </pc:spChg>
        <pc:spChg chg="add del mod modVis">
          <ac:chgData name="Yudi Zhu" userId="571e1a55-055f-4c28-8b35-fca6dd1c1369" providerId="ADAL" clId="{75A88773-6EE1-484E-AADE-FE631E01463B}" dt="2025-11-26T03:48:16.552" v="717789"/>
          <ac:spMkLst>
            <pc:docMk/>
            <pc:sldMk cId="3562512749" sldId="2147483103"/>
            <ac:spMk id="56" creationId="{28CAD3AC-68D5-16A8-E10A-50BD52710821}"/>
          </ac:spMkLst>
        </pc:spChg>
        <pc:spChg chg="mod ord">
          <ac:chgData name="Yudi Zhu" userId="571e1a55-055f-4c28-8b35-fca6dd1c1369" providerId="ADAL" clId="{75A88773-6EE1-484E-AADE-FE631E01463B}" dt="2025-11-26T03:58:23.647" v="749991"/>
          <ac:spMkLst>
            <pc:docMk/>
            <pc:sldMk cId="3562512749" sldId="2147483103"/>
            <ac:spMk id="128" creationId="{406C4F68-E406-2910-B1EB-71C7C57EF1DD}"/>
          </ac:spMkLst>
        </pc:spChg>
        <pc:spChg chg="mod ord">
          <ac:chgData name="Yudi Zhu" userId="571e1a55-055f-4c28-8b35-fca6dd1c1369" providerId="ADAL" clId="{75A88773-6EE1-484E-AADE-FE631E01463B}" dt="2025-11-26T03:58:23.647" v="749990"/>
          <ac:spMkLst>
            <pc:docMk/>
            <pc:sldMk cId="3562512749" sldId="2147483103"/>
            <ac:spMk id="129" creationId="{B0C8AEF4-39AF-183D-83E0-75D4AEF3F2B2}"/>
          </ac:spMkLst>
        </pc:spChg>
        <pc:spChg chg="del mod ord">
          <ac:chgData name="Yudi Zhu" userId="571e1a55-055f-4c28-8b35-fca6dd1c1369" providerId="ADAL" clId="{75A88773-6EE1-484E-AADE-FE631E01463B}" dt="2025-11-26T03:51:34.224" v="729005"/>
          <ac:spMkLst>
            <pc:docMk/>
            <pc:sldMk cId="3562512749" sldId="2147483103"/>
            <ac:spMk id="147" creationId="{8AC93658-285F-9E93-75E9-096FA300096A}"/>
          </ac:spMkLst>
        </pc:spChg>
        <pc:spChg chg="del mod ord">
          <ac:chgData name="Yudi Zhu" userId="571e1a55-055f-4c28-8b35-fca6dd1c1369" providerId="ADAL" clId="{75A88773-6EE1-484E-AADE-FE631E01463B}" dt="2025-11-26T03:51:34.290" v="729048"/>
          <ac:spMkLst>
            <pc:docMk/>
            <pc:sldMk cId="3562512749" sldId="2147483103"/>
            <ac:spMk id="148" creationId="{5F499E19-41E8-DB26-3E42-E587A115979D}"/>
          </ac:spMkLst>
        </pc:spChg>
        <pc:spChg chg="del mod ord">
          <ac:chgData name="Yudi Zhu" userId="571e1a55-055f-4c28-8b35-fca6dd1c1369" providerId="ADAL" clId="{75A88773-6EE1-484E-AADE-FE631E01463B}" dt="2025-11-26T03:51:34.328" v="729072"/>
          <ac:spMkLst>
            <pc:docMk/>
            <pc:sldMk cId="3562512749" sldId="2147483103"/>
            <ac:spMk id="149" creationId="{13FB7897-25D1-76AE-1F95-0A7BEA1C3C06}"/>
          </ac:spMkLst>
        </pc:spChg>
        <pc:spChg chg="del mod ord">
          <ac:chgData name="Yudi Zhu" userId="571e1a55-055f-4c28-8b35-fca6dd1c1369" providerId="ADAL" clId="{75A88773-6EE1-484E-AADE-FE631E01463B}" dt="2025-11-26T03:51:34.457" v="729146"/>
          <ac:spMkLst>
            <pc:docMk/>
            <pc:sldMk cId="3562512749" sldId="2147483103"/>
            <ac:spMk id="150" creationId="{B313F119-5079-3C27-29BE-A89A580929FA}"/>
          </ac:spMkLst>
        </pc:spChg>
        <pc:spChg chg="mod ord">
          <ac:chgData name="Yudi Zhu" userId="571e1a55-055f-4c28-8b35-fca6dd1c1369" providerId="ADAL" clId="{75A88773-6EE1-484E-AADE-FE631E01463B}" dt="2025-11-26T03:58:23.660" v="750001"/>
          <ac:spMkLst>
            <pc:docMk/>
            <pc:sldMk cId="3562512749" sldId="2147483103"/>
            <ac:spMk id="154" creationId="{CBDB35F6-6B9A-BF4E-E283-0B21641E0117}"/>
          </ac:spMkLst>
        </pc:spChg>
        <pc:spChg chg="mod ord">
          <ac:chgData name="Yudi Zhu" userId="571e1a55-055f-4c28-8b35-fca6dd1c1369" providerId="ADAL" clId="{75A88773-6EE1-484E-AADE-FE631E01463B}" dt="2025-11-26T03:58:23.660" v="750000"/>
          <ac:spMkLst>
            <pc:docMk/>
            <pc:sldMk cId="3562512749" sldId="2147483103"/>
            <ac:spMk id="155" creationId="{702CA7B5-A535-FAC0-8440-4BC4CF141BB7}"/>
          </ac:spMkLst>
        </pc:spChg>
        <pc:spChg chg="mod">
          <ac:chgData name="Yudi Zhu" userId="571e1a55-055f-4c28-8b35-fca6dd1c1369" providerId="ADAL" clId="{75A88773-6EE1-484E-AADE-FE631E01463B}" dt="2025-11-26T03:58:23.660" v="749998"/>
          <ac:spMkLst>
            <pc:docMk/>
            <pc:sldMk cId="3562512749" sldId="2147483103"/>
            <ac:spMk id="156" creationId="{78057A8B-CABE-ABE5-3079-1741B1A8B335}"/>
          </ac:spMkLst>
        </pc:spChg>
        <pc:spChg chg="add del mod modVis">
          <ac:chgData name="Yudi Zhu" userId="571e1a55-055f-4c28-8b35-fca6dd1c1369" providerId="ADAL" clId="{75A88773-6EE1-484E-AADE-FE631E01463B}" dt="2025-11-26T03:51:40.023" v="731499"/>
          <ac:spMkLst>
            <pc:docMk/>
            <pc:sldMk cId="3562512749" sldId="2147483103"/>
            <ac:spMk id="164" creationId="{29A4AFCB-31E8-37CB-E2D0-D4B2203592BA}"/>
          </ac:spMkLst>
        </pc:spChg>
        <pc:spChg chg="add mod ord">
          <ac:chgData name="Yudi Zhu" userId="571e1a55-055f-4c28-8b35-fca6dd1c1369" providerId="ADAL" clId="{75A88773-6EE1-484E-AADE-FE631E01463B}" dt="2025-11-26T03:58:23.622" v="749888"/>
          <ac:spMkLst>
            <pc:docMk/>
            <pc:sldMk cId="3562512749" sldId="2147483103"/>
            <ac:spMk id="168" creationId="{4AD4E95B-8ED6-1230-331A-F73873FE5053}"/>
          </ac:spMkLst>
        </pc:spChg>
        <pc:spChg chg="add mod ord">
          <ac:chgData name="Yudi Zhu" userId="571e1a55-055f-4c28-8b35-fca6dd1c1369" providerId="ADAL" clId="{75A88773-6EE1-484E-AADE-FE631E01463B}" dt="2025-11-26T03:58:23.622" v="749886"/>
          <ac:spMkLst>
            <pc:docMk/>
            <pc:sldMk cId="3562512749" sldId="2147483103"/>
            <ac:spMk id="169" creationId="{F42B79B8-AD1A-7AB6-6B39-44050B677316}"/>
          </ac:spMkLst>
        </pc:spChg>
        <pc:spChg chg="add mod ord">
          <ac:chgData name="Yudi Zhu" userId="571e1a55-055f-4c28-8b35-fca6dd1c1369" providerId="ADAL" clId="{75A88773-6EE1-484E-AADE-FE631E01463B}" dt="2025-11-26T03:58:23.621" v="749884"/>
          <ac:spMkLst>
            <pc:docMk/>
            <pc:sldMk cId="3562512749" sldId="2147483103"/>
            <ac:spMk id="171" creationId="{88C64FDB-D3E9-9AE8-3BCB-832D12AE7EA1}"/>
          </ac:spMkLst>
        </pc:spChg>
        <pc:spChg chg="add mod ord">
          <ac:chgData name="Yudi Zhu" userId="571e1a55-055f-4c28-8b35-fca6dd1c1369" providerId="ADAL" clId="{75A88773-6EE1-484E-AADE-FE631E01463B}" dt="2025-11-26T03:58:23.620" v="749882"/>
          <ac:spMkLst>
            <pc:docMk/>
            <pc:sldMk cId="3562512749" sldId="2147483103"/>
            <ac:spMk id="173" creationId="{1A1A15AD-EC5D-3E5F-21BB-CBC18DC7BC9A}"/>
          </ac:spMkLst>
        </pc:spChg>
        <pc:spChg chg="add mod ord">
          <ac:chgData name="Yudi Zhu" userId="571e1a55-055f-4c28-8b35-fca6dd1c1369" providerId="ADAL" clId="{75A88773-6EE1-484E-AADE-FE631E01463B}" dt="2025-11-26T03:58:23.620" v="749880"/>
          <ac:spMkLst>
            <pc:docMk/>
            <pc:sldMk cId="3562512749" sldId="2147483103"/>
            <ac:spMk id="174" creationId="{0546E207-927B-61CF-5D6C-FB8985CB4C29}"/>
          </ac:spMkLst>
        </pc:spChg>
        <pc:spChg chg="add mod ord">
          <ac:chgData name="Yudi Zhu" userId="571e1a55-055f-4c28-8b35-fca6dd1c1369" providerId="ADAL" clId="{75A88773-6EE1-484E-AADE-FE631E01463B}" dt="2025-11-26T03:58:23.619" v="749878"/>
          <ac:spMkLst>
            <pc:docMk/>
            <pc:sldMk cId="3562512749" sldId="2147483103"/>
            <ac:spMk id="176" creationId="{33921748-8B2C-5AEE-8D96-F689DAED2379}"/>
          </ac:spMkLst>
        </pc:spChg>
        <pc:spChg chg="add mod ord">
          <ac:chgData name="Yudi Zhu" userId="571e1a55-055f-4c28-8b35-fca6dd1c1369" providerId="ADAL" clId="{75A88773-6EE1-484E-AADE-FE631E01463B}" dt="2025-11-26T03:58:23.618" v="749876"/>
          <ac:spMkLst>
            <pc:docMk/>
            <pc:sldMk cId="3562512749" sldId="2147483103"/>
            <ac:spMk id="178" creationId="{BB04A0DE-1C58-1CF8-5850-F0DB032BA1F5}"/>
          </ac:spMkLst>
        </pc:spChg>
        <pc:spChg chg="add mod ord">
          <ac:chgData name="Yudi Zhu" userId="571e1a55-055f-4c28-8b35-fca6dd1c1369" providerId="ADAL" clId="{75A88773-6EE1-484E-AADE-FE631E01463B}" dt="2025-11-26T03:58:23.618" v="749874"/>
          <ac:spMkLst>
            <pc:docMk/>
            <pc:sldMk cId="3562512749" sldId="2147483103"/>
            <ac:spMk id="180" creationId="{6EBAF1EB-C478-FAE7-1B79-CB6304E06118}"/>
          </ac:spMkLst>
        </pc:spChg>
        <pc:spChg chg="mod">
          <ac:chgData name="Yudi Zhu" userId="571e1a55-055f-4c28-8b35-fca6dd1c1369" providerId="ADAL" clId="{75A88773-6EE1-484E-AADE-FE631E01463B}" dt="2025-11-26T03:58:23.663" v="750011"/>
          <ac:spMkLst>
            <pc:docMk/>
            <pc:sldMk cId="3562512749" sldId="2147483103"/>
            <ac:spMk id="182" creationId="{1018C9FC-2E0F-03E8-DD80-2216768A8CC7}"/>
          </ac:spMkLst>
        </pc:spChg>
        <pc:spChg chg="mod">
          <ac:chgData name="Yudi Zhu" userId="571e1a55-055f-4c28-8b35-fca6dd1c1369" providerId="ADAL" clId="{75A88773-6EE1-484E-AADE-FE631E01463B}" dt="2025-11-26T03:58:23.548" v="749715"/>
          <ac:spMkLst>
            <pc:docMk/>
            <pc:sldMk cId="3562512749" sldId="2147483103"/>
            <ac:spMk id="185" creationId="{CB21D502-9241-3FA4-E504-AA9F1B448F9B}"/>
          </ac:spMkLst>
        </pc:spChg>
        <pc:spChg chg="del mod ord">
          <ac:chgData name="Yudi Zhu" userId="571e1a55-055f-4c28-8b35-fca6dd1c1369" providerId="ADAL" clId="{75A88773-6EE1-484E-AADE-FE631E01463B}" dt="2025-11-26T03:48:16.097" v="717103"/>
          <ac:spMkLst>
            <pc:docMk/>
            <pc:sldMk cId="3562512749" sldId="2147483103"/>
            <ac:spMk id="186" creationId="{33ED4FAF-31BF-1539-5341-2EDEF95869F9}"/>
          </ac:spMkLst>
        </pc:spChg>
        <pc:spChg chg="del mod ord">
          <ac:chgData name="Yudi Zhu" userId="571e1a55-055f-4c28-8b35-fca6dd1c1369" providerId="ADAL" clId="{75A88773-6EE1-484E-AADE-FE631E01463B}" dt="2025-11-26T03:48:16.097" v="717109"/>
          <ac:spMkLst>
            <pc:docMk/>
            <pc:sldMk cId="3562512749" sldId="2147483103"/>
            <ac:spMk id="187" creationId="{60C05FFC-31AE-FF35-5341-5B840258A5B1}"/>
          </ac:spMkLst>
        </pc:spChg>
        <pc:spChg chg="del mod ord">
          <ac:chgData name="Yudi Zhu" userId="571e1a55-055f-4c28-8b35-fca6dd1c1369" providerId="ADAL" clId="{75A88773-6EE1-484E-AADE-FE631E01463B}" dt="2025-11-26T03:48:16.097" v="717123"/>
          <ac:spMkLst>
            <pc:docMk/>
            <pc:sldMk cId="3562512749" sldId="2147483103"/>
            <ac:spMk id="188" creationId="{C965EC32-EE33-323D-65C7-1C5BED4C1599}"/>
          </ac:spMkLst>
        </pc:spChg>
        <pc:spChg chg="add del mod modVis">
          <ac:chgData name="Yudi Zhu" userId="571e1a55-055f-4c28-8b35-fca6dd1c1369" providerId="ADAL" clId="{75A88773-6EE1-484E-AADE-FE631E01463B}" dt="2025-11-26T03:55:37.917" v="742793"/>
          <ac:spMkLst>
            <pc:docMk/>
            <pc:sldMk cId="3562512749" sldId="2147483103"/>
            <ac:spMk id="256" creationId="{7EE3E7E0-04DA-0BAA-BF68-8ABD9494B057}"/>
          </ac:spMkLst>
        </pc:spChg>
        <pc:spChg chg="add del mod modVis">
          <ac:chgData name="Yudi Zhu" userId="571e1a55-055f-4c28-8b35-fca6dd1c1369" providerId="ADAL" clId="{75A88773-6EE1-484E-AADE-FE631E01463B}" dt="2025-11-26T03:55:42.465" v="743677"/>
          <ac:spMkLst>
            <pc:docMk/>
            <pc:sldMk cId="3562512749" sldId="2147483103"/>
            <ac:spMk id="260" creationId="{F660F35C-4938-5DC4-CB72-65560253A20B}"/>
          </ac:spMkLst>
        </pc:spChg>
        <pc:spChg chg="add del mod modVis">
          <ac:chgData name="Yudi Zhu" userId="571e1a55-055f-4c28-8b35-fca6dd1c1369" providerId="ADAL" clId="{75A88773-6EE1-484E-AADE-FE631E01463B}" dt="2025-11-26T03:55:45.214" v="744126"/>
          <ac:spMkLst>
            <pc:docMk/>
            <pc:sldMk cId="3562512749" sldId="2147483103"/>
            <ac:spMk id="262" creationId="{41F0D6A0-5154-47F5-24F8-F79FA0ED135D}"/>
          </ac:spMkLst>
        </pc:spChg>
        <pc:spChg chg="mod">
          <ac:chgData name="Yudi Zhu" userId="571e1a55-055f-4c28-8b35-fca6dd1c1369" providerId="ADAL" clId="{75A88773-6EE1-484E-AADE-FE631E01463B}" dt="2025-11-26T03:58:23.560" v="749748"/>
          <ac:spMkLst>
            <pc:docMk/>
            <pc:sldMk cId="3562512749" sldId="2147483103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6T03:58:23.560" v="749749"/>
          <ac:spMkLst>
            <pc:docMk/>
            <pc:sldMk cId="3562512749" sldId="2147483103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6T03:58:23.560" v="749750"/>
          <ac:spMkLst>
            <pc:docMk/>
            <pc:sldMk cId="3562512749" sldId="2147483103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6T03:58:23.560" v="749751"/>
          <ac:spMkLst>
            <pc:docMk/>
            <pc:sldMk cId="3562512749" sldId="2147483103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6T03:58:23.560" v="749752"/>
          <ac:spMkLst>
            <pc:docMk/>
            <pc:sldMk cId="3562512749" sldId="2147483103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6T03:58:23.560" v="749753"/>
          <ac:spMkLst>
            <pc:docMk/>
            <pc:sldMk cId="3562512749" sldId="2147483103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6T03:58:23.560" v="749754"/>
          <ac:spMkLst>
            <pc:docMk/>
            <pc:sldMk cId="3562512749" sldId="2147483103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6T03:58:23.560" v="749755"/>
          <ac:spMkLst>
            <pc:docMk/>
            <pc:sldMk cId="3562512749" sldId="2147483103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6T03:58:23.560" v="749756"/>
          <ac:spMkLst>
            <pc:docMk/>
            <pc:sldMk cId="3562512749" sldId="2147483103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6T03:58:23.560" v="749757"/>
          <ac:spMkLst>
            <pc:docMk/>
            <pc:sldMk cId="3562512749" sldId="2147483103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6T03:58:23.560" v="749758"/>
          <ac:spMkLst>
            <pc:docMk/>
            <pc:sldMk cId="3562512749" sldId="2147483103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6T03:58:23.560" v="749759"/>
          <ac:spMkLst>
            <pc:docMk/>
            <pc:sldMk cId="3562512749" sldId="2147483103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6T03:58:23.560" v="749760"/>
          <ac:spMkLst>
            <pc:docMk/>
            <pc:sldMk cId="3562512749" sldId="2147483103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6T03:58:23.560" v="749761"/>
          <ac:spMkLst>
            <pc:docMk/>
            <pc:sldMk cId="3562512749" sldId="2147483103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6T03:58:23.560" v="749762"/>
          <ac:spMkLst>
            <pc:docMk/>
            <pc:sldMk cId="3562512749" sldId="2147483103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6T03:58:23.560" v="749763"/>
          <ac:spMkLst>
            <pc:docMk/>
            <pc:sldMk cId="3562512749" sldId="2147483103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6T03:58:23.560" v="749764"/>
          <ac:spMkLst>
            <pc:docMk/>
            <pc:sldMk cId="3562512749" sldId="2147483103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6T03:58:23.560" v="749765"/>
          <ac:spMkLst>
            <pc:docMk/>
            <pc:sldMk cId="3562512749" sldId="2147483103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6T03:58:23.560" v="749766"/>
          <ac:spMkLst>
            <pc:docMk/>
            <pc:sldMk cId="3562512749" sldId="2147483103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6T03:58:23.575" v="749767"/>
          <ac:spMkLst>
            <pc:docMk/>
            <pc:sldMk cId="3562512749" sldId="2147483103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6T03:58:23.575" v="749768"/>
          <ac:spMkLst>
            <pc:docMk/>
            <pc:sldMk cId="3562512749" sldId="2147483103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6T03:58:23.575" v="749772"/>
          <ac:spMkLst>
            <pc:docMk/>
            <pc:sldMk cId="3562512749" sldId="2147483103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6T03:58:23.575" v="749769"/>
          <ac:spMkLst>
            <pc:docMk/>
            <pc:sldMk cId="3562512749" sldId="2147483103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6T03:58:23.575" v="749770"/>
          <ac:spMkLst>
            <pc:docMk/>
            <pc:sldMk cId="3562512749" sldId="2147483103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6T03:58:23.575" v="749771"/>
          <ac:spMkLst>
            <pc:docMk/>
            <pc:sldMk cId="3562512749" sldId="2147483103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6T03:58:23.575" v="749774"/>
          <ac:spMkLst>
            <pc:docMk/>
            <pc:sldMk cId="3562512749" sldId="2147483103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6T03:58:23.575" v="749775"/>
          <ac:spMkLst>
            <pc:docMk/>
            <pc:sldMk cId="3562512749" sldId="2147483103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6T03:58:23.560" v="749745"/>
          <ac:spMkLst>
            <pc:docMk/>
            <pc:sldMk cId="3562512749" sldId="2147483103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6T03:58:23.560" v="749746"/>
          <ac:spMkLst>
            <pc:docMk/>
            <pc:sldMk cId="3562512749" sldId="2147483103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6T03:58:23.560" v="749747"/>
          <ac:spMkLst>
            <pc:docMk/>
            <pc:sldMk cId="3562512749" sldId="2147483103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6T03:58:23.575" v="749776"/>
          <ac:spMkLst>
            <pc:docMk/>
            <pc:sldMk cId="3562512749" sldId="2147483103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6T03:58:23.575" v="749777"/>
          <ac:spMkLst>
            <pc:docMk/>
            <pc:sldMk cId="3562512749" sldId="2147483103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6T03:58:23.581" v="749780"/>
          <ac:spMkLst>
            <pc:docMk/>
            <pc:sldMk cId="3562512749" sldId="2147483103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6T03:58:23.581" v="749781"/>
          <ac:spMkLst>
            <pc:docMk/>
            <pc:sldMk cId="3562512749" sldId="2147483103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6T03:58:23.581" v="749782"/>
          <ac:spMkLst>
            <pc:docMk/>
            <pc:sldMk cId="3562512749" sldId="2147483103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6T03:58:23.581" v="749787"/>
          <ac:spMkLst>
            <pc:docMk/>
            <pc:sldMk cId="3562512749" sldId="2147483103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6T03:58:23.581" v="749788"/>
          <ac:spMkLst>
            <pc:docMk/>
            <pc:sldMk cId="3562512749" sldId="2147483103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6T03:58:23.581" v="749784"/>
          <ac:spMkLst>
            <pc:docMk/>
            <pc:sldMk cId="3562512749" sldId="2147483103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6T03:58:23.581" v="749786"/>
          <ac:spMkLst>
            <pc:docMk/>
            <pc:sldMk cId="3562512749" sldId="2147483103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6T03:58:23.598" v="749822"/>
          <ac:spMkLst>
            <pc:docMk/>
            <pc:sldMk cId="3562512749" sldId="2147483103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6T03:58:23.598" v="749824"/>
          <ac:spMkLst>
            <pc:docMk/>
            <pc:sldMk cId="3562512749" sldId="2147483103"/>
            <ac:spMk id="1003" creationId="{383A4D55-87AC-E7AD-D775-159B8AA91BD4}"/>
          </ac:spMkLst>
        </pc:spChg>
        <pc:spChg chg="mod">
          <ac:chgData name="Yudi Zhu" userId="571e1a55-055f-4c28-8b35-fca6dd1c1369" providerId="ADAL" clId="{75A88773-6EE1-484E-AADE-FE631E01463B}" dt="2025-11-26T03:58:23.598" v="749821"/>
          <ac:spMkLst>
            <pc:docMk/>
            <pc:sldMk cId="3562512749" sldId="2147483103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6T03:58:23.598" v="749823"/>
          <ac:spMkLst>
            <pc:docMk/>
            <pc:sldMk cId="3562512749" sldId="2147483103"/>
            <ac:spMk id="1166" creationId="{C21E8AFD-DF88-3440-816B-93B8FDB6B328}"/>
          </ac:spMkLst>
        </pc:spChg>
        <pc:spChg chg="mod">
          <ac:chgData name="Yudi Zhu" userId="571e1a55-055f-4c28-8b35-fca6dd1c1369" providerId="ADAL" clId="{75A88773-6EE1-484E-AADE-FE631E01463B}" dt="2025-11-26T03:58:23.549" v="749738"/>
          <ac:spMkLst>
            <pc:docMk/>
            <pc:sldMk cId="3562512749" sldId="2147483103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6T03:58:23.559" v="749739"/>
          <ac:spMkLst>
            <pc:docMk/>
            <pc:sldMk cId="3562512749" sldId="2147483103"/>
            <ac:spMk id="1197" creationId="{4420D0BB-BF1F-19EC-B0A4-93BCE704F5E8}"/>
          </ac:spMkLst>
        </pc:spChg>
        <pc:spChg chg="mod ord">
          <ac:chgData name="Yudi Zhu" userId="571e1a55-055f-4c28-8b35-fca6dd1c1369" providerId="ADAL" clId="{75A88773-6EE1-484E-AADE-FE631E01463B}" dt="2025-11-26T03:58:23.543" v="749710"/>
          <ac:spMkLst>
            <pc:docMk/>
            <pc:sldMk cId="3562512749" sldId="2147483103"/>
            <ac:spMk id="1198" creationId="{14422C41-DE00-2E40-428B-7BDBD0F319FD}"/>
          </ac:spMkLst>
        </pc:spChg>
        <pc:spChg chg="mod">
          <ac:chgData name="Yudi Zhu" userId="571e1a55-055f-4c28-8b35-fca6dd1c1369" providerId="ADAL" clId="{75A88773-6EE1-484E-AADE-FE631E01463B}" dt="2025-11-26T03:58:23.543" v="749711"/>
          <ac:spMkLst>
            <pc:docMk/>
            <pc:sldMk cId="3562512749" sldId="2147483103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6T03:58:23.549" v="749736"/>
          <ac:spMkLst>
            <pc:docMk/>
            <pc:sldMk cId="3562512749" sldId="2147483103"/>
            <ac:spMk id="1200" creationId="{65884DE8-E4B8-56B7-66A1-A6CA9A59D6A1}"/>
          </ac:spMkLst>
        </pc:spChg>
        <pc:spChg chg="mod">
          <ac:chgData name="Yudi Zhu" userId="571e1a55-055f-4c28-8b35-fca6dd1c1369" providerId="ADAL" clId="{75A88773-6EE1-484E-AADE-FE631E01463B}" dt="2025-11-26T03:58:23.543" v="749713"/>
          <ac:spMkLst>
            <pc:docMk/>
            <pc:sldMk cId="3562512749" sldId="2147483103"/>
            <ac:spMk id="1201" creationId="{D27ECED9-C5E6-3DC2-9121-0FE6BFAC6398}"/>
          </ac:spMkLst>
        </pc:spChg>
        <pc:spChg chg="mod">
          <ac:chgData name="Yudi Zhu" userId="571e1a55-055f-4c28-8b35-fca6dd1c1369" providerId="ADAL" clId="{75A88773-6EE1-484E-AADE-FE631E01463B}" dt="2025-11-26T03:58:23.543" v="749714"/>
          <ac:spMkLst>
            <pc:docMk/>
            <pc:sldMk cId="3562512749" sldId="2147483103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6T03:58:23.549" v="749717"/>
          <ac:spMkLst>
            <pc:docMk/>
            <pc:sldMk cId="3562512749" sldId="2147483103"/>
            <ac:spMk id="1203" creationId="{43C5F107-3657-38DE-B0D7-E78431A033B8}"/>
          </ac:spMkLst>
        </pc:spChg>
        <pc:spChg chg="mod ord">
          <ac:chgData name="Yudi Zhu" userId="571e1a55-055f-4c28-8b35-fca6dd1c1369" providerId="ADAL" clId="{75A88773-6EE1-484E-AADE-FE631E01463B}" dt="2025-11-26T03:58:23.549" v="749719"/>
          <ac:spMkLst>
            <pc:docMk/>
            <pc:sldMk cId="3562512749" sldId="2147483103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6T03:58:23.549" v="749720"/>
          <ac:spMkLst>
            <pc:docMk/>
            <pc:sldMk cId="3562512749" sldId="2147483103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6T03:58:23.549" v="749722"/>
          <ac:spMkLst>
            <pc:docMk/>
            <pc:sldMk cId="3562512749" sldId="2147483103"/>
            <ac:spMk id="1206" creationId="{F964BC34-C9C5-D8CF-21E7-DC1A68C87E8B}"/>
          </ac:spMkLst>
        </pc:spChg>
        <pc:spChg chg="mod">
          <ac:chgData name="Yudi Zhu" userId="571e1a55-055f-4c28-8b35-fca6dd1c1369" providerId="ADAL" clId="{75A88773-6EE1-484E-AADE-FE631E01463B}" dt="2025-11-26T03:58:23.549" v="749723"/>
          <ac:spMkLst>
            <pc:docMk/>
            <pc:sldMk cId="3562512749" sldId="2147483103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6T03:58:23.549" v="749724"/>
          <ac:spMkLst>
            <pc:docMk/>
            <pc:sldMk cId="3562512749" sldId="2147483103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6T03:58:23.549" v="749726"/>
          <ac:spMkLst>
            <pc:docMk/>
            <pc:sldMk cId="3562512749" sldId="2147483103"/>
            <ac:spMk id="1209" creationId="{5E4E0E8C-5937-5531-54CF-473F4F815657}"/>
          </ac:spMkLst>
        </pc:spChg>
        <pc:spChg chg="mod">
          <ac:chgData name="Yudi Zhu" userId="571e1a55-055f-4c28-8b35-fca6dd1c1369" providerId="ADAL" clId="{75A88773-6EE1-484E-AADE-FE631E01463B}" dt="2025-11-26T03:58:23.549" v="749727"/>
          <ac:spMkLst>
            <pc:docMk/>
            <pc:sldMk cId="3562512749" sldId="2147483103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6T03:58:23.549" v="749732"/>
          <ac:spMkLst>
            <pc:docMk/>
            <pc:sldMk cId="3562512749" sldId="2147483103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6T03:58:23.549" v="749729"/>
          <ac:spMkLst>
            <pc:docMk/>
            <pc:sldMk cId="3562512749" sldId="2147483103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6T03:58:23.549" v="749730"/>
          <ac:spMkLst>
            <pc:docMk/>
            <pc:sldMk cId="3562512749" sldId="2147483103"/>
            <ac:spMk id="1213" creationId="{897F1C59-B104-E769-B6DA-AF5B290FE874}"/>
          </ac:spMkLst>
        </pc:spChg>
        <pc:spChg chg="mod">
          <ac:chgData name="Yudi Zhu" userId="571e1a55-055f-4c28-8b35-fca6dd1c1369" providerId="ADAL" clId="{75A88773-6EE1-484E-AADE-FE631E01463B}" dt="2025-11-26T03:58:23.549" v="749733"/>
          <ac:spMkLst>
            <pc:docMk/>
            <pc:sldMk cId="3562512749" sldId="2147483103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6T03:58:23.549" v="749735"/>
          <ac:spMkLst>
            <pc:docMk/>
            <pc:sldMk cId="3562512749" sldId="2147483103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6T03:58:23.549" v="749737"/>
          <ac:spMkLst>
            <pc:docMk/>
            <pc:sldMk cId="3562512749" sldId="2147483103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6T03:58:23.590" v="749820"/>
          <ac:spMkLst>
            <pc:docMk/>
            <pc:sldMk cId="3562512749" sldId="2147483103"/>
            <ac:spMk id="1446" creationId="{64AF7A77-327B-D09F-2ABB-1BA14094EC19}"/>
          </ac:spMkLst>
        </pc:spChg>
        <pc:spChg chg="mod">
          <ac:chgData name="Yudi Zhu" userId="571e1a55-055f-4c28-8b35-fca6dd1c1369" providerId="ADAL" clId="{75A88773-6EE1-484E-AADE-FE631E01463B}" dt="2025-11-26T03:58:23.598" v="749827"/>
          <ac:spMkLst>
            <pc:docMk/>
            <pc:sldMk cId="3562512749" sldId="2147483103"/>
            <ac:spMk id="1452" creationId="{62BA64F5-B2CE-CEB8-BB9B-25B44F9A2E19}"/>
          </ac:spMkLst>
        </pc:spChg>
        <pc:spChg chg="mod">
          <ac:chgData name="Yudi Zhu" userId="571e1a55-055f-4c28-8b35-fca6dd1c1369" providerId="ADAL" clId="{75A88773-6EE1-484E-AADE-FE631E01463B}" dt="2025-11-26T03:58:23.543" v="749712"/>
          <ac:spMkLst>
            <pc:docMk/>
            <pc:sldMk cId="3562512749" sldId="2147483103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6T03:58:23.512" v="749645"/>
          <ac:spMkLst>
            <pc:docMk/>
            <pc:sldMk cId="3562512749" sldId="2147483103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6T03:58:23.590" v="749819"/>
          <ac:spMkLst>
            <pc:docMk/>
            <pc:sldMk cId="3562512749" sldId="2147483103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6T03:58:23.598" v="749826"/>
          <ac:spMkLst>
            <pc:docMk/>
            <pc:sldMk cId="3562512749" sldId="2147483103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6T03:58:23.598" v="749829"/>
          <ac:spMkLst>
            <pc:docMk/>
            <pc:sldMk cId="3562512749" sldId="2147483103"/>
            <ac:spMk id="1630" creationId="{E05CDD48-0DEC-9132-BDFB-46D714F23D3B}"/>
          </ac:spMkLst>
        </pc:spChg>
        <pc:spChg chg="mod ord">
          <ac:chgData name="Yudi Zhu" userId="571e1a55-055f-4c28-8b35-fca6dd1c1369" providerId="ADAL" clId="{75A88773-6EE1-484E-AADE-FE631E01463B}" dt="2025-11-26T03:58:23.598" v="749839"/>
          <ac:spMkLst>
            <pc:docMk/>
            <pc:sldMk cId="3562512749" sldId="2147483103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6T03:58:23.607" v="749842"/>
          <ac:spMkLst>
            <pc:docMk/>
            <pc:sldMk cId="3562512749" sldId="2147483103"/>
            <ac:spMk id="1854" creationId="{4E1BFB1E-6485-A062-B5BB-5B285C6BD15C}"/>
          </ac:spMkLst>
        </pc:spChg>
        <pc:spChg chg="mod">
          <ac:chgData name="Yudi Zhu" userId="571e1a55-055f-4c28-8b35-fca6dd1c1369" providerId="ADAL" clId="{75A88773-6EE1-484E-AADE-FE631E01463B}" dt="2025-11-26T03:58:23.607" v="749844"/>
          <ac:spMkLst>
            <pc:docMk/>
            <pc:sldMk cId="3562512749" sldId="2147483103"/>
            <ac:spMk id="1855" creationId="{1BE56B6A-3C30-4B59-A6C7-170064E01044}"/>
          </ac:spMkLst>
        </pc:spChg>
        <pc:spChg chg="add del mod modVis">
          <ac:chgData name="Yudi Zhu" userId="571e1a55-055f-4c28-8b35-fca6dd1c1369" providerId="ADAL" clId="{75A88773-6EE1-484E-AADE-FE631E01463B}" dt="2025-11-26T03:48:26.294" v="718775"/>
          <ac:spMkLst>
            <pc:docMk/>
            <pc:sldMk cId="3562512749" sldId="2147483103"/>
            <ac:spMk id="1856" creationId="{76DC0585-C074-6071-BE7D-070D335C408B}"/>
          </ac:spMkLst>
        </pc:spChg>
        <pc:spChg chg="add mod ord">
          <ac:chgData name="Yudi Zhu" userId="571e1a55-055f-4c28-8b35-fca6dd1c1369" providerId="ADAL" clId="{75A88773-6EE1-484E-AADE-FE631E01463B}" dt="2025-11-26T03:58:23.527" v="749688"/>
          <ac:spMkLst>
            <pc:docMk/>
            <pc:sldMk cId="3562512749" sldId="2147483103"/>
            <ac:spMk id="1857" creationId="{EFB5A419-2967-731C-FB9F-C690E7F37230}"/>
          </ac:spMkLst>
        </pc:spChg>
        <pc:spChg chg="add mod ord">
          <ac:chgData name="Yudi Zhu" userId="571e1a55-055f-4c28-8b35-fca6dd1c1369" providerId="ADAL" clId="{75A88773-6EE1-484E-AADE-FE631E01463B}" dt="2025-11-26T03:58:23.527" v="749686"/>
          <ac:spMkLst>
            <pc:docMk/>
            <pc:sldMk cId="3562512749" sldId="2147483103"/>
            <ac:spMk id="1858" creationId="{894B0C4C-DD76-9364-9623-E19121CFF680}"/>
          </ac:spMkLst>
        </pc:spChg>
        <pc:spChg chg="add mod ord">
          <ac:chgData name="Yudi Zhu" userId="571e1a55-055f-4c28-8b35-fca6dd1c1369" providerId="ADAL" clId="{75A88773-6EE1-484E-AADE-FE631E01463B}" dt="2025-11-26T03:58:23.527" v="749684"/>
          <ac:spMkLst>
            <pc:docMk/>
            <pc:sldMk cId="3562512749" sldId="2147483103"/>
            <ac:spMk id="1860" creationId="{61026630-E7F0-42C0-B4F6-742AD3502B0F}"/>
          </ac:spMkLst>
        </pc:spChg>
        <pc:spChg chg="add mod ord">
          <ac:chgData name="Yudi Zhu" userId="571e1a55-055f-4c28-8b35-fca6dd1c1369" providerId="ADAL" clId="{75A88773-6EE1-484E-AADE-FE631E01463B}" dt="2025-11-26T03:58:23.527" v="749682"/>
          <ac:spMkLst>
            <pc:docMk/>
            <pc:sldMk cId="3562512749" sldId="2147483103"/>
            <ac:spMk id="1861" creationId="{B3DDED41-4881-574D-6592-FA76165197BF}"/>
          </ac:spMkLst>
        </pc:spChg>
        <pc:spChg chg="mod">
          <ac:chgData name="Yudi Zhu" userId="571e1a55-055f-4c28-8b35-fca6dd1c1369" providerId="ADAL" clId="{75A88773-6EE1-484E-AADE-FE631E01463B}" dt="2025-11-26T03:58:23.647" v="749977"/>
          <ac:spMkLst>
            <pc:docMk/>
            <pc:sldMk cId="3562512749" sldId="2147483103"/>
            <ac:spMk id="1868" creationId="{D517B235-34AE-0C88-574E-EE674E6E106A}"/>
          </ac:spMkLst>
        </pc:spChg>
        <pc:spChg chg="add mod ord">
          <ac:chgData name="Yudi Zhu" userId="571e1a55-055f-4c28-8b35-fca6dd1c1369" providerId="ADAL" clId="{75A88773-6EE1-484E-AADE-FE631E01463B}" dt="2025-11-26T03:58:23.527" v="749680"/>
          <ac:spMkLst>
            <pc:docMk/>
            <pc:sldMk cId="3562512749" sldId="2147483103"/>
            <ac:spMk id="1869" creationId="{17833553-7D8A-745C-76D3-34091837BE52}"/>
          </ac:spMkLst>
        </pc:spChg>
        <pc:spChg chg="mod">
          <ac:chgData name="Yudi Zhu" userId="571e1a55-055f-4c28-8b35-fca6dd1c1369" providerId="ADAL" clId="{75A88773-6EE1-484E-AADE-FE631E01463B}" dt="2025-11-26T03:58:23.647" v="749985"/>
          <ac:spMkLst>
            <pc:docMk/>
            <pc:sldMk cId="3562512749" sldId="2147483103"/>
            <ac:spMk id="1870" creationId="{C6E07732-9031-9168-BFB0-CEF03BD54EC3}"/>
          </ac:spMkLst>
        </pc:spChg>
        <pc:spChg chg="mod">
          <ac:chgData name="Yudi Zhu" userId="571e1a55-055f-4c28-8b35-fca6dd1c1369" providerId="ADAL" clId="{75A88773-6EE1-484E-AADE-FE631E01463B}" dt="2025-11-26T03:58:23.679" v="750035"/>
          <ac:spMkLst>
            <pc:docMk/>
            <pc:sldMk cId="3562512749" sldId="2147483103"/>
            <ac:spMk id="1871" creationId="{88E6662D-0776-7053-4A00-AC49E629CB98}"/>
          </ac:spMkLst>
        </pc:spChg>
        <pc:spChg chg="mod">
          <ac:chgData name="Yudi Zhu" userId="571e1a55-055f-4c28-8b35-fca6dd1c1369" providerId="ADAL" clId="{75A88773-6EE1-484E-AADE-FE631E01463B}" dt="2025-11-26T03:58:23.647" v="749987"/>
          <ac:spMkLst>
            <pc:docMk/>
            <pc:sldMk cId="3562512749" sldId="2147483103"/>
            <ac:spMk id="1872" creationId="{09AB5DCE-0365-9D0D-3880-236DD3DFA061}"/>
          </ac:spMkLst>
        </pc:spChg>
        <pc:spChg chg="mod ord">
          <ac:chgData name="Yudi Zhu" userId="571e1a55-055f-4c28-8b35-fca6dd1c1369" providerId="ADAL" clId="{75A88773-6EE1-484E-AADE-FE631E01463B}" dt="2025-11-26T03:58:23.679" v="750037"/>
          <ac:spMkLst>
            <pc:docMk/>
            <pc:sldMk cId="3562512749" sldId="2147483103"/>
            <ac:spMk id="1873" creationId="{05407D80-E416-6E11-84C7-DD78FC13A95D}"/>
          </ac:spMkLst>
        </pc:spChg>
        <pc:spChg chg="mod ord">
          <ac:chgData name="Yudi Zhu" userId="571e1a55-055f-4c28-8b35-fca6dd1c1369" providerId="ADAL" clId="{75A88773-6EE1-484E-AADE-FE631E01463B}" dt="2025-11-26T03:58:23.647" v="749995"/>
          <ac:spMkLst>
            <pc:docMk/>
            <pc:sldMk cId="3562512749" sldId="2147483103"/>
            <ac:spMk id="1874" creationId="{C78E0AD3-36D9-095B-2798-4F5FE0BC4885}"/>
          </ac:spMkLst>
        </pc:spChg>
        <pc:spChg chg="mod">
          <ac:chgData name="Yudi Zhu" userId="571e1a55-055f-4c28-8b35-fca6dd1c1369" providerId="ADAL" clId="{75A88773-6EE1-484E-AADE-FE631E01463B}" dt="2025-11-26T03:58:23.647" v="749996"/>
          <ac:spMkLst>
            <pc:docMk/>
            <pc:sldMk cId="3562512749" sldId="2147483103"/>
            <ac:spMk id="1875" creationId="{0CCFA2B6-0C72-5E6F-55EA-74947500111E}"/>
          </ac:spMkLst>
        </pc:spChg>
        <pc:spChg chg="mod ord">
          <ac:chgData name="Yudi Zhu" userId="571e1a55-055f-4c28-8b35-fca6dd1c1369" providerId="ADAL" clId="{75A88773-6EE1-484E-AADE-FE631E01463B}" dt="2025-11-26T03:58:23.647" v="749984"/>
          <ac:spMkLst>
            <pc:docMk/>
            <pc:sldMk cId="3562512749" sldId="2147483103"/>
            <ac:spMk id="1876" creationId="{30D492D9-5BDD-171C-A10A-02BDAD3A9C9A}"/>
          </ac:spMkLst>
        </pc:spChg>
        <pc:spChg chg="mod ord">
          <ac:chgData name="Yudi Zhu" userId="571e1a55-055f-4c28-8b35-fca6dd1c1369" providerId="ADAL" clId="{75A88773-6EE1-484E-AADE-FE631E01463B}" dt="2025-11-26T03:58:23.660" v="750004"/>
          <ac:spMkLst>
            <pc:docMk/>
            <pc:sldMk cId="3562512749" sldId="2147483103"/>
            <ac:spMk id="1877" creationId="{EF6689EC-B591-6AF1-C4EC-3227A6F667A9}"/>
          </ac:spMkLst>
        </pc:spChg>
        <pc:spChg chg="mod">
          <ac:chgData name="Yudi Zhu" userId="571e1a55-055f-4c28-8b35-fca6dd1c1369" providerId="ADAL" clId="{75A88773-6EE1-484E-AADE-FE631E01463B}" dt="2025-11-26T03:58:23.663" v="750005"/>
          <ac:spMkLst>
            <pc:docMk/>
            <pc:sldMk cId="3562512749" sldId="2147483103"/>
            <ac:spMk id="1878" creationId="{8365F0EE-90DC-3C07-287A-94B206AADA28}"/>
          </ac:spMkLst>
        </pc:spChg>
        <pc:spChg chg="mod">
          <ac:chgData name="Yudi Zhu" userId="571e1a55-055f-4c28-8b35-fca6dd1c1369" providerId="ADAL" clId="{75A88773-6EE1-484E-AADE-FE631E01463B}" dt="2025-11-26T03:58:23.663" v="750009"/>
          <ac:spMkLst>
            <pc:docMk/>
            <pc:sldMk cId="3562512749" sldId="2147483103"/>
            <ac:spMk id="1879" creationId="{8FADCA6A-0D3C-3458-0D6D-4974113153D6}"/>
          </ac:spMkLst>
        </pc:spChg>
        <pc:spChg chg="mod">
          <ac:chgData name="Yudi Zhu" userId="571e1a55-055f-4c28-8b35-fca6dd1c1369" providerId="ADAL" clId="{75A88773-6EE1-484E-AADE-FE631E01463B}" dt="2025-11-26T03:58:23.598" v="749837"/>
          <ac:spMkLst>
            <pc:docMk/>
            <pc:sldMk cId="3562512749" sldId="2147483103"/>
            <ac:spMk id="1880" creationId="{4B9753A8-D625-4D4F-29EB-DB60BCAC028E}"/>
          </ac:spMkLst>
        </pc:spChg>
        <pc:spChg chg="mod">
          <ac:chgData name="Yudi Zhu" userId="571e1a55-055f-4c28-8b35-fca6dd1c1369" providerId="ADAL" clId="{75A88773-6EE1-484E-AADE-FE631E01463B}" dt="2025-11-26T03:58:23.647" v="749988"/>
          <ac:spMkLst>
            <pc:docMk/>
            <pc:sldMk cId="3562512749" sldId="2147483103"/>
            <ac:spMk id="1881" creationId="{08716696-DF0E-ED84-2AFA-2C9F7E84F462}"/>
          </ac:spMkLst>
        </pc:spChg>
        <pc:spChg chg="mod">
          <ac:chgData name="Yudi Zhu" userId="571e1a55-055f-4c28-8b35-fca6dd1c1369" providerId="ADAL" clId="{75A88773-6EE1-484E-AADE-FE631E01463B}" dt="2025-11-26T03:58:23.607" v="749840"/>
          <ac:spMkLst>
            <pc:docMk/>
            <pc:sldMk cId="3562512749" sldId="2147483103"/>
            <ac:spMk id="1882" creationId="{226A4E37-E112-9678-9034-CF8BCA141FDE}"/>
          </ac:spMkLst>
        </pc:spChg>
        <pc:spChg chg="mod">
          <ac:chgData name="Yudi Zhu" userId="571e1a55-055f-4c28-8b35-fca6dd1c1369" providerId="ADAL" clId="{75A88773-6EE1-484E-AADE-FE631E01463B}" dt="2025-11-26T03:58:23.607" v="749843"/>
          <ac:spMkLst>
            <pc:docMk/>
            <pc:sldMk cId="3562512749" sldId="2147483103"/>
            <ac:spMk id="1883" creationId="{929925F6-0E93-EC22-B300-E21F72946F4C}"/>
          </ac:spMkLst>
        </pc:spChg>
        <pc:spChg chg="mod">
          <ac:chgData name="Yudi Zhu" userId="571e1a55-055f-4c28-8b35-fca6dd1c1369" providerId="ADAL" clId="{75A88773-6EE1-484E-AADE-FE631E01463B}" dt="2025-11-26T03:58:23.607" v="749845"/>
          <ac:spMkLst>
            <pc:docMk/>
            <pc:sldMk cId="3562512749" sldId="2147483103"/>
            <ac:spMk id="1884" creationId="{7D8DCB6C-4AAA-0195-9FB6-084C41ED8B42}"/>
          </ac:spMkLst>
        </pc:spChg>
        <pc:spChg chg="mod">
          <ac:chgData name="Yudi Zhu" userId="571e1a55-055f-4c28-8b35-fca6dd1c1369" providerId="ADAL" clId="{75A88773-6EE1-484E-AADE-FE631E01463B}" dt="2025-11-26T03:58:23.663" v="750010"/>
          <ac:spMkLst>
            <pc:docMk/>
            <pc:sldMk cId="3562512749" sldId="2147483103"/>
            <ac:spMk id="1885" creationId="{E7F286C7-2CCE-DF57-5848-56017BDA4A58}"/>
          </ac:spMkLst>
        </pc:spChg>
        <pc:spChg chg="mod">
          <ac:chgData name="Yudi Zhu" userId="571e1a55-055f-4c28-8b35-fca6dd1c1369" providerId="ADAL" clId="{75A88773-6EE1-484E-AADE-FE631E01463B}" dt="2025-11-26T03:58:23.663" v="750016"/>
          <ac:spMkLst>
            <pc:docMk/>
            <pc:sldMk cId="3562512749" sldId="2147483103"/>
            <ac:spMk id="1886" creationId="{956B8C20-51FE-937D-8B3F-ED50A9704246}"/>
          </ac:spMkLst>
        </pc:spChg>
        <pc:spChg chg="mod">
          <ac:chgData name="Yudi Zhu" userId="571e1a55-055f-4c28-8b35-fca6dd1c1369" providerId="ADAL" clId="{75A88773-6EE1-484E-AADE-FE631E01463B}" dt="2025-11-26T03:58:23.663" v="750017"/>
          <ac:spMkLst>
            <pc:docMk/>
            <pc:sldMk cId="3562512749" sldId="2147483103"/>
            <ac:spMk id="1887" creationId="{3505B40A-A35F-45C7-8F2D-FD3AF84F0164}"/>
          </ac:spMkLst>
        </pc:spChg>
        <pc:spChg chg="mod">
          <ac:chgData name="Yudi Zhu" userId="571e1a55-055f-4c28-8b35-fca6dd1c1369" providerId="ADAL" clId="{75A88773-6EE1-484E-AADE-FE631E01463B}" dt="2025-11-26T03:58:23.663" v="750024"/>
          <ac:spMkLst>
            <pc:docMk/>
            <pc:sldMk cId="3562512749" sldId="2147483103"/>
            <ac:spMk id="1889" creationId="{5C1A9586-BBAB-1982-558D-BDE434FF3DE0}"/>
          </ac:spMkLst>
        </pc:spChg>
        <pc:spChg chg="mod">
          <ac:chgData name="Yudi Zhu" userId="571e1a55-055f-4c28-8b35-fca6dd1c1369" providerId="ADAL" clId="{75A88773-6EE1-484E-AADE-FE631E01463B}" dt="2025-11-26T03:58:23.647" v="749986"/>
          <ac:spMkLst>
            <pc:docMk/>
            <pc:sldMk cId="3562512749" sldId="2147483103"/>
            <ac:spMk id="1890" creationId="{A0D250D8-7915-2211-F695-A7C95122C779}"/>
          </ac:spMkLst>
        </pc:spChg>
        <pc:spChg chg="mod">
          <ac:chgData name="Yudi Zhu" userId="571e1a55-055f-4c28-8b35-fca6dd1c1369" providerId="ADAL" clId="{75A88773-6EE1-484E-AADE-FE631E01463B}" dt="2025-11-26T03:58:23.663" v="750025"/>
          <ac:spMkLst>
            <pc:docMk/>
            <pc:sldMk cId="3562512749" sldId="2147483103"/>
            <ac:spMk id="1891" creationId="{DDB59E46-B3D0-DBF1-3D2D-D4343AC8894F}"/>
          </ac:spMkLst>
        </pc:spChg>
        <pc:spChg chg="mod">
          <ac:chgData name="Yudi Zhu" userId="571e1a55-055f-4c28-8b35-fca6dd1c1369" providerId="ADAL" clId="{75A88773-6EE1-484E-AADE-FE631E01463B}" dt="2025-11-26T03:58:23.663" v="750028"/>
          <ac:spMkLst>
            <pc:docMk/>
            <pc:sldMk cId="3562512749" sldId="2147483103"/>
            <ac:spMk id="1892" creationId="{C37B7ED7-4EBB-6773-ED9A-6A67640B094A}"/>
          </ac:spMkLst>
        </pc:spChg>
        <pc:spChg chg="mod">
          <ac:chgData name="Yudi Zhu" userId="571e1a55-055f-4c28-8b35-fca6dd1c1369" providerId="ADAL" clId="{75A88773-6EE1-484E-AADE-FE631E01463B}" dt="2025-11-26T03:58:23.663" v="750029"/>
          <ac:spMkLst>
            <pc:docMk/>
            <pc:sldMk cId="3562512749" sldId="2147483103"/>
            <ac:spMk id="1893" creationId="{E0E6EB9C-DE28-14B6-3D4A-624AC9CC823B}"/>
          </ac:spMkLst>
        </pc:spChg>
        <pc:spChg chg="mod">
          <ac:chgData name="Yudi Zhu" userId="571e1a55-055f-4c28-8b35-fca6dd1c1369" providerId="ADAL" clId="{75A88773-6EE1-484E-AADE-FE631E01463B}" dt="2025-11-26T03:58:23.679" v="750034"/>
          <ac:spMkLst>
            <pc:docMk/>
            <pc:sldMk cId="3562512749" sldId="2147483103"/>
            <ac:spMk id="1894" creationId="{8077CC67-114E-440D-72A2-735F5CE7AAD4}"/>
          </ac:spMkLst>
        </pc:spChg>
        <pc:spChg chg="add mod ord">
          <ac:chgData name="Yudi Zhu" userId="571e1a55-055f-4c28-8b35-fca6dd1c1369" providerId="ADAL" clId="{75A88773-6EE1-484E-AADE-FE631E01463B}" dt="2025-11-26T03:58:23.527" v="749678"/>
          <ac:spMkLst>
            <pc:docMk/>
            <pc:sldMk cId="3562512749" sldId="2147483103"/>
            <ac:spMk id="1895" creationId="{7E1C5523-46FD-60A0-8108-9C93C814C10C}"/>
          </ac:spMkLst>
        </pc:spChg>
        <pc:spChg chg="mod">
          <ac:chgData name="Yudi Zhu" userId="571e1a55-055f-4c28-8b35-fca6dd1c1369" providerId="ADAL" clId="{75A88773-6EE1-484E-AADE-FE631E01463B}" dt="2025-11-26T03:58:23.647" v="749975"/>
          <ac:spMkLst>
            <pc:docMk/>
            <pc:sldMk cId="3562512749" sldId="2147483103"/>
            <ac:spMk id="1896" creationId="{A0DF08CB-77C3-AF09-DD50-ECBA6C70CD31}"/>
          </ac:spMkLst>
        </pc:spChg>
        <pc:spChg chg="mod ord">
          <ac:chgData name="Yudi Zhu" userId="571e1a55-055f-4c28-8b35-fca6dd1c1369" providerId="ADAL" clId="{75A88773-6EE1-484E-AADE-FE631E01463B}" dt="2025-11-26T03:58:23.679" v="750042"/>
          <ac:spMkLst>
            <pc:docMk/>
            <pc:sldMk cId="3562512749" sldId="2147483103"/>
            <ac:spMk id="1897" creationId="{7E61645E-D4DE-1737-7C85-F151A4F78B3A}"/>
          </ac:spMkLst>
        </pc:spChg>
        <pc:spChg chg="mod ord">
          <ac:chgData name="Yudi Zhu" userId="571e1a55-055f-4c28-8b35-fca6dd1c1369" providerId="ADAL" clId="{75A88773-6EE1-484E-AADE-FE631E01463B}" dt="2025-11-26T03:58:23.679" v="750044"/>
          <ac:spMkLst>
            <pc:docMk/>
            <pc:sldMk cId="3562512749" sldId="2147483103"/>
            <ac:spMk id="1898" creationId="{50793C40-3217-B638-6CF8-06766F96E06F}"/>
          </ac:spMkLst>
        </pc:spChg>
        <pc:spChg chg="mod">
          <ac:chgData name="Yudi Zhu" userId="571e1a55-055f-4c28-8b35-fca6dd1c1369" providerId="ADAL" clId="{75A88773-6EE1-484E-AADE-FE631E01463B}" dt="2025-11-26T03:58:23.679" v="750051"/>
          <ac:spMkLst>
            <pc:docMk/>
            <pc:sldMk cId="3562512749" sldId="2147483103"/>
            <ac:spMk id="1899" creationId="{35F861E0-E670-1833-A66F-B9FC34A0216A}"/>
          </ac:spMkLst>
        </pc:spChg>
        <pc:spChg chg="mod">
          <ac:chgData name="Yudi Zhu" userId="571e1a55-055f-4c28-8b35-fca6dd1c1369" providerId="ADAL" clId="{75A88773-6EE1-484E-AADE-FE631E01463B}" dt="2025-11-26T03:58:23.679" v="750052"/>
          <ac:spMkLst>
            <pc:docMk/>
            <pc:sldMk cId="3562512749" sldId="2147483103"/>
            <ac:spMk id="1900" creationId="{66A09093-1895-D3C6-4933-8D3795C3DE61}"/>
          </ac:spMkLst>
        </pc:spChg>
        <pc:spChg chg="add mod ord">
          <ac:chgData name="Yudi Zhu" userId="571e1a55-055f-4c28-8b35-fca6dd1c1369" providerId="ADAL" clId="{75A88773-6EE1-484E-AADE-FE631E01463B}" dt="2025-11-26T03:58:23.527" v="749676"/>
          <ac:spMkLst>
            <pc:docMk/>
            <pc:sldMk cId="3562512749" sldId="2147483103"/>
            <ac:spMk id="1902" creationId="{B7DABE4A-2E4E-0D91-AF2E-5FBEDC844CA1}"/>
          </ac:spMkLst>
        </pc:spChg>
        <pc:spChg chg="add mod ord">
          <ac:chgData name="Yudi Zhu" userId="571e1a55-055f-4c28-8b35-fca6dd1c1369" providerId="ADAL" clId="{75A88773-6EE1-484E-AADE-FE631E01463B}" dt="2025-11-26T03:58:23.527" v="749674"/>
          <ac:spMkLst>
            <pc:docMk/>
            <pc:sldMk cId="3562512749" sldId="2147483103"/>
            <ac:spMk id="1903" creationId="{A18FBB56-B43D-94C1-5785-BE27C90CE3E1}"/>
          </ac:spMkLst>
        </pc:spChg>
        <pc:spChg chg="mod">
          <ac:chgData name="Yudi Zhu" userId="571e1a55-055f-4c28-8b35-fca6dd1c1369" providerId="ADAL" clId="{75A88773-6EE1-484E-AADE-FE631E01463B}" dt="2025-11-26T03:58:23.679" v="750053"/>
          <ac:spMkLst>
            <pc:docMk/>
            <pc:sldMk cId="3562512749" sldId="2147483103"/>
            <ac:spMk id="1905" creationId="{4156B008-6D61-B92C-2524-4B32E6E7E8B7}"/>
          </ac:spMkLst>
        </pc:spChg>
        <pc:spChg chg="mod">
          <ac:chgData name="Yudi Zhu" userId="571e1a55-055f-4c28-8b35-fca6dd1c1369" providerId="ADAL" clId="{75A88773-6EE1-484E-AADE-FE631E01463B}" dt="2025-11-26T03:58:23.679" v="750054"/>
          <ac:spMkLst>
            <pc:docMk/>
            <pc:sldMk cId="3562512749" sldId="2147483103"/>
            <ac:spMk id="1906" creationId="{0E609E70-D654-E093-CABC-E441DF9087D7}"/>
          </ac:spMkLst>
        </pc:spChg>
        <pc:spChg chg="mod">
          <ac:chgData name="Yudi Zhu" userId="571e1a55-055f-4c28-8b35-fca6dd1c1369" providerId="ADAL" clId="{75A88773-6EE1-484E-AADE-FE631E01463B}" dt="2025-11-26T03:58:23.679" v="750055"/>
          <ac:spMkLst>
            <pc:docMk/>
            <pc:sldMk cId="3562512749" sldId="2147483103"/>
            <ac:spMk id="1907" creationId="{48297C37-4A2A-B186-8641-4658A474097B}"/>
          </ac:spMkLst>
        </pc:spChg>
        <pc:spChg chg="add del mod modVis">
          <ac:chgData name="Yudi Zhu" userId="571e1a55-055f-4c28-8b35-fca6dd1c1369" providerId="ADAL" clId="{75A88773-6EE1-484E-AADE-FE631E01463B}" dt="2025-11-26T03:49:35.304" v="724386"/>
          <ac:spMkLst>
            <pc:docMk/>
            <pc:sldMk cId="3562512749" sldId="2147483103"/>
            <ac:spMk id="1909" creationId="{76EB845C-B88C-3027-A7B1-3C4373F88E62}"/>
          </ac:spMkLst>
        </pc:spChg>
        <pc:spChg chg="mod ord">
          <ac:chgData name="Yudi Zhu" userId="571e1a55-055f-4c28-8b35-fca6dd1c1369" providerId="ADAL" clId="{75A88773-6EE1-484E-AADE-FE631E01463B}" dt="2025-11-26T03:58:23.647" v="749978"/>
          <ac:spMkLst>
            <pc:docMk/>
            <pc:sldMk cId="3562512749" sldId="2147483103"/>
            <ac:spMk id="1911" creationId="{5B56FCE9-40A0-6DB6-DE94-BB939049C5E6}"/>
          </ac:spMkLst>
        </pc:spChg>
        <pc:spChg chg="mod">
          <ac:chgData name="Yudi Zhu" userId="571e1a55-055f-4c28-8b35-fca6dd1c1369" providerId="ADAL" clId="{75A88773-6EE1-484E-AADE-FE631E01463B}" dt="2025-11-26T03:58:23.647" v="749976"/>
          <ac:spMkLst>
            <pc:docMk/>
            <pc:sldMk cId="3562512749" sldId="2147483103"/>
            <ac:spMk id="1912" creationId="{4BA3AAFE-425B-0FE9-F37C-6372EE6EF387}"/>
          </ac:spMkLst>
        </pc:spChg>
        <pc:spChg chg="mod">
          <ac:chgData name="Yudi Zhu" userId="571e1a55-055f-4c28-8b35-fca6dd1c1369" providerId="ADAL" clId="{75A88773-6EE1-484E-AADE-FE631E01463B}" dt="2025-11-26T03:58:23.647" v="749974"/>
          <ac:spMkLst>
            <pc:docMk/>
            <pc:sldMk cId="3562512749" sldId="2147483103"/>
            <ac:spMk id="1913" creationId="{EAFD658F-06C7-F532-5625-5D9375F58080}"/>
          </ac:spMkLst>
        </pc:spChg>
        <pc:spChg chg="mod">
          <ac:chgData name="Yudi Zhu" userId="571e1a55-055f-4c28-8b35-fca6dd1c1369" providerId="ADAL" clId="{75A88773-6EE1-484E-AADE-FE631E01463B}" dt="2025-11-26T03:58:23.660" v="750002"/>
          <ac:spMkLst>
            <pc:docMk/>
            <pc:sldMk cId="3562512749" sldId="2147483103"/>
            <ac:spMk id="1914" creationId="{BD8D97C7-D102-EA5B-14FE-83D8616F578E}"/>
          </ac:spMkLst>
        </pc:spChg>
        <pc:spChg chg="mod ord">
          <ac:chgData name="Yudi Zhu" userId="571e1a55-055f-4c28-8b35-fca6dd1c1369" providerId="ADAL" clId="{75A88773-6EE1-484E-AADE-FE631E01463B}" dt="2025-11-26T03:58:23.647" v="749997"/>
          <ac:spMkLst>
            <pc:docMk/>
            <pc:sldMk cId="3562512749" sldId="2147483103"/>
            <ac:spMk id="1917" creationId="{151EFE26-6235-2295-A10E-FF7300A2E6EA}"/>
          </ac:spMkLst>
        </pc:spChg>
        <pc:spChg chg="mod">
          <ac:chgData name="Yudi Zhu" userId="571e1a55-055f-4c28-8b35-fca6dd1c1369" providerId="ADAL" clId="{75A88773-6EE1-484E-AADE-FE631E01463B}" dt="2025-11-26T03:58:23.647" v="749993"/>
          <ac:spMkLst>
            <pc:docMk/>
            <pc:sldMk cId="3562512749" sldId="2147483103"/>
            <ac:spMk id="1918" creationId="{F7FFD5AC-6408-3AD4-A244-A3C8BA6B9DA4}"/>
          </ac:spMkLst>
        </pc:spChg>
        <pc:spChg chg="mod">
          <ac:chgData name="Yudi Zhu" userId="571e1a55-055f-4c28-8b35-fca6dd1c1369" providerId="ADAL" clId="{75A88773-6EE1-484E-AADE-FE631E01463B}" dt="2025-11-26T03:58:23.663" v="750008"/>
          <ac:spMkLst>
            <pc:docMk/>
            <pc:sldMk cId="3562512749" sldId="2147483103"/>
            <ac:spMk id="1920" creationId="{C0C96CC1-849D-C47F-3011-B0A9D1D4E46A}"/>
          </ac:spMkLst>
        </pc:spChg>
        <pc:spChg chg="mod ord">
          <ac:chgData name="Yudi Zhu" userId="571e1a55-055f-4c28-8b35-fca6dd1c1369" providerId="ADAL" clId="{75A88773-6EE1-484E-AADE-FE631E01463B}" dt="2025-11-26T03:58:23.663" v="750007"/>
          <ac:spMkLst>
            <pc:docMk/>
            <pc:sldMk cId="3562512749" sldId="2147483103"/>
            <ac:spMk id="1921" creationId="{699F3721-4FDE-B4E5-B0C4-A7324B1A6704}"/>
          </ac:spMkLst>
        </pc:spChg>
        <pc:spChg chg="mod">
          <ac:chgData name="Yudi Zhu" userId="571e1a55-055f-4c28-8b35-fca6dd1c1369" providerId="ADAL" clId="{75A88773-6EE1-484E-AADE-FE631E01463B}" dt="2025-11-26T03:58:23.663" v="750006"/>
          <ac:spMkLst>
            <pc:docMk/>
            <pc:sldMk cId="3562512749" sldId="2147483103"/>
            <ac:spMk id="1922" creationId="{A9B3259F-B65B-1C87-8132-D8E45EDDAC6A}"/>
          </ac:spMkLst>
        </pc:spChg>
        <pc:spChg chg="mod">
          <ac:chgData name="Yudi Zhu" userId="571e1a55-055f-4c28-8b35-fca6dd1c1369" providerId="ADAL" clId="{75A88773-6EE1-484E-AADE-FE631E01463B}" dt="2025-11-26T03:58:23.663" v="750015"/>
          <ac:spMkLst>
            <pc:docMk/>
            <pc:sldMk cId="3562512749" sldId="2147483103"/>
            <ac:spMk id="1923" creationId="{95028E2A-B9BC-DEC6-9A2E-050FDA19E099}"/>
          </ac:spMkLst>
        </pc:spChg>
        <pc:spChg chg="mod ord">
          <ac:chgData name="Yudi Zhu" userId="571e1a55-055f-4c28-8b35-fca6dd1c1369" providerId="ADAL" clId="{75A88773-6EE1-484E-AADE-FE631E01463B}" dt="2025-11-26T03:58:23.663" v="750014"/>
          <ac:spMkLst>
            <pc:docMk/>
            <pc:sldMk cId="3562512749" sldId="2147483103"/>
            <ac:spMk id="1924" creationId="{90545DD3-659F-D754-8837-27C997A85952}"/>
          </ac:spMkLst>
        </pc:spChg>
        <pc:spChg chg="mod">
          <ac:chgData name="Yudi Zhu" userId="571e1a55-055f-4c28-8b35-fca6dd1c1369" providerId="ADAL" clId="{75A88773-6EE1-484E-AADE-FE631E01463B}" dt="2025-11-26T03:58:23.663" v="750012"/>
          <ac:spMkLst>
            <pc:docMk/>
            <pc:sldMk cId="3562512749" sldId="2147483103"/>
            <ac:spMk id="1925" creationId="{3485C98C-7F6A-4103-CB05-09FDBE33F85D}"/>
          </ac:spMkLst>
        </pc:spChg>
        <pc:spChg chg="mod">
          <ac:chgData name="Yudi Zhu" userId="571e1a55-055f-4c28-8b35-fca6dd1c1369" providerId="ADAL" clId="{75A88773-6EE1-484E-AADE-FE631E01463B}" dt="2025-11-26T03:58:23.663" v="750023"/>
          <ac:spMkLst>
            <pc:docMk/>
            <pc:sldMk cId="3562512749" sldId="2147483103"/>
            <ac:spMk id="1926" creationId="{40A97F92-77F9-D634-083D-B75C1A67E2A8}"/>
          </ac:spMkLst>
        </pc:spChg>
        <pc:spChg chg="mod ord">
          <ac:chgData name="Yudi Zhu" userId="571e1a55-055f-4c28-8b35-fca6dd1c1369" providerId="ADAL" clId="{75A88773-6EE1-484E-AADE-FE631E01463B}" dt="2025-11-26T03:58:23.663" v="750020"/>
          <ac:spMkLst>
            <pc:docMk/>
            <pc:sldMk cId="3562512749" sldId="2147483103"/>
            <ac:spMk id="1927" creationId="{4D8A25B8-F747-13B9-00B1-74E9ECE446A3}"/>
          </ac:spMkLst>
        </pc:spChg>
        <pc:spChg chg="mod ord">
          <ac:chgData name="Yudi Zhu" userId="571e1a55-055f-4c28-8b35-fca6dd1c1369" providerId="ADAL" clId="{75A88773-6EE1-484E-AADE-FE631E01463B}" dt="2025-11-26T03:58:23.663" v="750019"/>
          <ac:spMkLst>
            <pc:docMk/>
            <pc:sldMk cId="3562512749" sldId="2147483103"/>
            <ac:spMk id="1928" creationId="{ADE6BD44-08A7-C077-246D-6A1B8E33A367}"/>
          </ac:spMkLst>
        </pc:spChg>
        <pc:spChg chg="mod">
          <ac:chgData name="Yudi Zhu" userId="571e1a55-055f-4c28-8b35-fca6dd1c1369" providerId="ADAL" clId="{75A88773-6EE1-484E-AADE-FE631E01463B}" dt="2025-11-26T03:58:23.663" v="750027"/>
          <ac:spMkLst>
            <pc:docMk/>
            <pc:sldMk cId="3562512749" sldId="2147483103"/>
            <ac:spMk id="1929" creationId="{2BA62A35-183B-B661-2347-DD78A0764786}"/>
          </ac:spMkLst>
        </pc:spChg>
        <pc:spChg chg="mod ord">
          <ac:chgData name="Yudi Zhu" userId="571e1a55-055f-4c28-8b35-fca6dd1c1369" providerId="ADAL" clId="{75A88773-6EE1-484E-AADE-FE631E01463B}" dt="2025-11-26T03:58:23.663" v="750026"/>
          <ac:spMkLst>
            <pc:docMk/>
            <pc:sldMk cId="3562512749" sldId="2147483103"/>
            <ac:spMk id="1930" creationId="{F2909F36-E45F-A4F3-D879-823A37455F98}"/>
          </ac:spMkLst>
        </pc:spChg>
        <pc:spChg chg="mod ord">
          <ac:chgData name="Yudi Zhu" userId="571e1a55-055f-4c28-8b35-fca6dd1c1369" providerId="ADAL" clId="{75A88773-6EE1-484E-AADE-FE631E01463B}" dt="2025-11-26T03:58:23.663" v="750022"/>
          <ac:spMkLst>
            <pc:docMk/>
            <pc:sldMk cId="3562512749" sldId="2147483103"/>
            <ac:spMk id="1931" creationId="{85F6D3EE-7D32-B4F2-506D-26DA59EA740A}"/>
          </ac:spMkLst>
        </pc:spChg>
        <pc:spChg chg="mod">
          <ac:chgData name="Yudi Zhu" userId="571e1a55-055f-4c28-8b35-fca6dd1c1369" providerId="ADAL" clId="{75A88773-6EE1-484E-AADE-FE631E01463B}" dt="2025-11-26T03:58:23.663" v="750033"/>
          <ac:spMkLst>
            <pc:docMk/>
            <pc:sldMk cId="3562512749" sldId="2147483103"/>
            <ac:spMk id="1932" creationId="{870F128C-4204-436C-15CB-2F061BDDC964}"/>
          </ac:spMkLst>
        </pc:spChg>
        <pc:spChg chg="mod ord">
          <ac:chgData name="Yudi Zhu" userId="571e1a55-055f-4c28-8b35-fca6dd1c1369" providerId="ADAL" clId="{75A88773-6EE1-484E-AADE-FE631E01463B}" dt="2025-11-26T03:58:23.663" v="750032"/>
          <ac:spMkLst>
            <pc:docMk/>
            <pc:sldMk cId="3562512749" sldId="2147483103"/>
            <ac:spMk id="1933" creationId="{DF51D229-C6DB-4285-4680-002C8CD3AEEE}"/>
          </ac:spMkLst>
        </pc:spChg>
        <pc:spChg chg="mod">
          <ac:chgData name="Yudi Zhu" userId="571e1a55-055f-4c28-8b35-fca6dd1c1369" providerId="ADAL" clId="{75A88773-6EE1-484E-AADE-FE631E01463B}" dt="2025-11-26T03:58:23.663" v="750030"/>
          <ac:spMkLst>
            <pc:docMk/>
            <pc:sldMk cId="3562512749" sldId="2147483103"/>
            <ac:spMk id="1934" creationId="{AC51F0AD-1BDA-29CF-4190-73CECF6F9CA3}"/>
          </ac:spMkLst>
        </pc:spChg>
        <pc:spChg chg="mod">
          <ac:chgData name="Yudi Zhu" userId="571e1a55-055f-4c28-8b35-fca6dd1c1369" providerId="ADAL" clId="{75A88773-6EE1-484E-AADE-FE631E01463B}" dt="2025-11-26T03:58:23.647" v="749973"/>
          <ac:spMkLst>
            <pc:docMk/>
            <pc:sldMk cId="3562512749" sldId="2147483103"/>
            <ac:spMk id="1935" creationId="{F78ED92F-515F-C4BF-58DB-998EDD5BE519}"/>
          </ac:spMkLst>
        </pc:spChg>
        <pc:spChg chg="mod ord">
          <ac:chgData name="Yudi Zhu" userId="571e1a55-055f-4c28-8b35-fca6dd1c1369" providerId="ADAL" clId="{75A88773-6EE1-484E-AADE-FE631E01463B}" dt="2025-11-26T03:58:23.679" v="750040"/>
          <ac:spMkLst>
            <pc:docMk/>
            <pc:sldMk cId="3562512749" sldId="2147483103"/>
            <ac:spMk id="1936" creationId="{BD4723EF-B9F8-BE01-6B9B-B7369FFB0132}"/>
          </ac:spMkLst>
        </pc:spChg>
        <pc:spChg chg="mod ord">
          <ac:chgData name="Yudi Zhu" userId="571e1a55-055f-4c28-8b35-fca6dd1c1369" providerId="ADAL" clId="{75A88773-6EE1-484E-AADE-FE631E01463B}" dt="2025-11-26T03:58:23.679" v="750039"/>
          <ac:spMkLst>
            <pc:docMk/>
            <pc:sldMk cId="3562512749" sldId="2147483103"/>
            <ac:spMk id="1937" creationId="{92E78387-A1A9-4B85-85D5-C376AF73F395}"/>
          </ac:spMkLst>
        </pc:spChg>
        <pc:spChg chg="mod">
          <ac:chgData name="Yudi Zhu" userId="571e1a55-055f-4c28-8b35-fca6dd1c1369" providerId="ADAL" clId="{75A88773-6EE1-484E-AADE-FE631E01463B}" dt="2025-11-26T03:58:23.647" v="749982"/>
          <ac:spMkLst>
            <pc:docMk/>
            <pc:sldMk cId="3562512749" sldId="2147483103"/>
            <ac:spMk id="1938" creationId="{C4488964-0B6C-771A-98DA-3243D06D7B48}"/>
          </ac:spMkLst>
        </pc:spChg>
        <pc:spChg chg="mod ord">
          <ac:chgData name="Yudi Zhu" userId="571e1a55-055f-4c28-8b35-fca6dd1c1369" providerId="ADAL" clId="{75A88773-6EE1-484E-AADE-FE631E01463B}" dt="2025-11-26T03:58:23.647" v="749981"/>
          <ac:spMkLst>
            <pc:docMk/>
            <pc:sldMk cId="3562512749" sldId="2147483103"/>
            <ac:spMk id="1939" creationId="{7B391AF9-8203-6A30-657C-FBFB56AE25F8}"/>
          </ac:spMkLst>
        </pc:spChg>
        <pc:spChg chg="mod ord">
          <ac:chgData name="Yudi Zhu" userId="571e1a55-055f-4c28-8b35-fca6dd1c1369" providerId="ADAL" clId="{75A88773-6EE1-484E-AADE-FE631E01463B}" dt="2025-11-26T03:58:23.647" v="749980"/>
          <ac:spMkLst>
            <pc:docMk/>
            <pc:sldMk cId="3562512749" sldId="2147483103"/>
            <ac:spMk id="1940" creationId="{5506685F-6CA3-05CA-6610-3EA74C0D2B1B}"/>
          </ac:spMkLst>
        </pc:spChg>
        <pc:spChg chg="add del mod modVis">
          <ac:chgData name="Yudi Zhu" userId="571e1a55-055f-4c28-8b35-fca6dd1c1369" providerId="ADAL" clId="{75A88773-6EE1-484E-AADE-FE631E01463B}" dt="2025-11-26T03:50:00.115" v="725727"/>
          <ac:spMkLst>
            <pc:docMk/>
            <pc:sldMk cId="3562512749" sldId="2147483103"/>
            <ac:spMk id="1943" creationId="{5125158C-62A5-EC8A-6CC1-D00F21B35443}"/>
          </ac:spMkLst>
        </pc:spChg>
        <pc:spChg chg="add del mod modVis">
          <ac:chgData name="Yudi Zhu" userId="571e1a55-055f-4c28-8b35-fca6dd1c1369" providerId="ADAL" clId="{75A88773-6EE1-484E-AADE-FE631E01463B}" dt="2025-11-26T03:50:03.147" v="726181"/>
          <ac:spMkLst>
            <pc:docMk/>
            <pc:sldMk cId="3562512749" sldId="2147483103"/>
            <ac:spMk id="1945" creationId="{77F98B6D-8BE7-9737-EC99-6E284D65A2EC}"/>
          </ac:spMkLst>
        </pc:spChg>
        <pc:spChg chg="add del mod modVis">
          <ac:chgData name="Yudi Zhu" userId="571e1a55-055f-4c28-8b35-fca6dd1c1369" providerId="ADAL" clId="{75A88773-6EE1-484E-AADE-FE631E01463B}" dt="2025-11-26T03:50:09.057" v="726627"/>
          <ac:spMkLst>
            <pc:docMk/>
            <pc:sldMk cId="3562512749" sldId="2147483103"/>
            <ac:spMk id="1951" creationId="{551FE38E-B0AD-1AE0-9D7E-C403CAD544D7}"/>
          </ac:spMkLst>
        </pc:spChg>
        <pc:spChg chg="add del mod ord">
          <ac:chgData name="Yudi Zhu" userId="571e1a55-055f-4c28-8b35-fca6dd1c1369" providerId="ADAL" clId="{75A88773-6EE1-484E-AADE-FE631E01463B}" dt="2025-11-26T03:50:15.115" v="727086"/>
          <ac:spMkLst>
            <pc:docMk/>
            <pc:sldMk cId="3562512749" sldId="2147483103"/>
            <ac:spMk id="1955" creationId="{32A6BCAB-8CF3-307D-E7B7-976BA4ACBA18}"/>
          </ac:spMkLst>
        </pc:spChg>
        <pc:spChg chg="add del mod modVis">
          <ac:chgData name="Yudi Zhu" userId="571e1a55-055f-4c28-8b35-fca6dd1c1369" providerId="ADAL" clId="{75A88773-6EE1-484E-AADE-FE631E01463B}" dt="2025-11-26T03:51:35.244" v="729949"/>
          <ac:spMkLst>
            <pc:docMk/>
            <pc:sldMk cId="3562512749" sldId="2147483103"/>
            <ac:spMk id="1964" creationId="{DC677564-4EE5-079C-5F51-3FC5A6A3570C}"/>
          </ac:spMkLst>
        </pc:spChg>
        <pc:spChg chg="mod ord">
          <ac:chgData name="Yudi Zhu" userId="571e1a55-055f-4c28-8b35-fca6dd1c1369" providerId="ADAL" clId="{75A88773-6EE1-484E-AADE-FE631E01463B}" dt="2025-11-26T03:58:23.679" v="750046"/>
          <ac:spMkLst>
            <pc:docMk/>
            <pc:sldMk cId="3562512749" sldId="2147483103"/>
            <ac:spMk id="1980" creationId="{774D4541-7094-3614-1ACD-51F27C222F81}"/>
          </ac:spMkLst>
        </pc:spChg>
        <pc:spChg chg="mod ord">
          <ac:chgData name="Yudi Zhu" userId="571e1a55-055f-4c28-8b35-fca6dd1c1369" providerId="ADAL" clId="{75A88773-6EE1-484E-AADE-FE631E01463B}" dt="2025-11-26T03:58:23.679" v="750048"/>
          <ac:spMkLst>
            <pc:docMk/>
            <pc:sldMk cId="3562512749" sldId="2147483103"/>
            <ac:spMk id="1981" creationId="{3682E853-CF7F-8E6C-CDC0-01FE31016B72}"/>
          </ac:spMkLst>
        </pc:spChg>
        <pc:spChg chg="mod ord">
          <ac:chgData name="Yudi Zhu" userId="571e1a55-055f-4c28-8b35-fca6dd1c1369" providerId="ADAL" clId="{75A88773-6EE1-484E-AADE-FE631E01463B}" dt="2025-11-26T03:58:23.679" v="750050"/>
          <ac:spMkLst>
            <pc:docMk/>
            <pc:sldMk cId="3562512749" sldId="2147483103"/>
            <ac:spMk id="1982" creationId="{3D7A7767-D695-A3C3-A43D-F11BD7B18C6C}"/>
          </ac:spMkLst>
        </pc:spChg>
        <pc:spChg chg="mod">
          <ac:chgData name="Yudi Zhu" userId="571e1a55-055f-4c28-8b35-fca6dd1c1369" providerId="ADAL" clId="{75A88773-6EE1-484E-AADE-FE631E01463B}" dt="2025-11-26T03:58:23.647" v="749992"/>
          <ac:spMkLst>
            <pc:docMk/>
            <pc:sldMk cId="3562512749" sldId="2147483103"/>
            <ac:spMk id="1983" creationId="{125A8E3A-1E53-7643-7C89-103156266D85}"/>
          </ac:spMkLst>
        </pc:spChg>
        <pc:grpChg chg="mod ord">
          <ac:chgData name="Yudi Zhu" userId="571e1a55-055f-4c28-8b35-fca6dd1c1369" providerId="ADAL" clId="{75A88773-6EE1-484E-AADE-FE631E01463B}" dt="2025-11-26T03:58:23.581" v="749790"/>
          <ac:grpSpMkLst>
            <pc:docMk/>
            <pc:sldMk cId="3562512749" sldId="2147483103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6T03:58:23.581" v="749792"/>
          <ac:grpSpMkLst>
            <pc:docMk/>
            <pc:sldMk cId="3562512749" sldId="2147483103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6T03:58:23.581" v="749794"/>
          <ac:grpSpMkLst>
            <pc:docMk/>
            <pc:sldMk cId="3562512749" sldId="2147483103"/>
            <ac:grpSpMk id="1604" creationId="{CAC77667-D6BB-F83B-AA16-FAE5D5B780AA}"/>
          </ac:grpSpMkLst>
        </pc:grpChg>
        <pc:graphicFrameChg chg="mod">
          <ac:chgData name="Yudi Zhu" userId="571e1a55-055f-4c28-8b35-fca6dd1c1369" providerId="ADAL" clId="{75A88773-6EE1-484E-AADE-FE631E01463B}" dt="2025-11-26T03:58:23.679" v="750057"/>
          <ac:graphicFrameMkLst>
            <pc:docMk/>
            <pc:sldMk cId="3562512749" sldId="2147483103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3:46.177" v="709506"/>
          <ac:graphicFrameMkLst>
            <pc:docMk/>
            <pc:sldMk cId="3562512749" sldId="2147483103"/>
            <ac:graphicFrameMk id="12" creationId="{FE1F1F2C-6543-262F-4BD6-636F3FBFF6A4}"/>
          </ac:graphicFrameMkLst>
        </pc:graphicFrameChg>
        <pc:graphicFrameChg chg="del mod">
          <ac:chgData name="Yudi Zhu" userId="571e1a55-055f-4c28-8b35-fca6dd1c1369" providerId="ADAL" clId="{75A88773-6EE1-484E-AADE-FE631E01463B}" dt="2025-11-26T03:47:45.300" v="715451"/>
          <ac:graphicFrameMkLst>
            <pc:docMk/>
            <pc:sldMk cId="3562512749" sldId="2147483103"/>
            <ac:graphicFrameMk id="13" creationId="{F8832ABA-3008-773F-734D-F262687ABB7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6:10.638" v="711596"/>
          <ac:graphicFrameMkLst>
            <pc:docMk/>
            <pc:sldMk cId="3562512749" sldId="2147483103"/>
            <ac:graphicFrameMk id="14" creationId="{1043FAA0-E94B-B1FD-0940-E728586AFE88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1:34.820" v="729522"/>
          <ac:graphicFrameMkLst>
            <pc:docMk/>
            <pc:sldMk cId="3562512749" sldId="2147483103"/>
            <ac:graphicFrameMk id="15" creationId="{14395A66-2CEA-4A30-C3DF-C11B168FD1A5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7:24.053" v="714252"/>
          <ac:graphicFrameMkLst>
            <pc:docMk/>
            <pc:sldMk cId="3562512749" sldId="2147483103"/>
            <ac:graphicFrameMk id="18" creationId="{6A893208-F0A4-0EE2-ED62-EF1F2809CBC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7:28.062" v="714805"/>
          <ac:graphicFrameMkLst>
            <pc:docMk/>
            <pc:sldMk cId="3562512749" sldId="2147483103"/>
            <ac:graphicFrameMk id="22" creationId="{81ECABB2-1F84-0AA8-EA9A-29F45D00104D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23.559" v="749740"/>
          <ac:graphicFrameMkLst>
            <pc:docMk/>
            <pc:sldMk cId="3562512749" sldId="2147483103"/>
            <ac:graphicFrameMk id="37" creationId="{35A2B46E-1019-A40B-2B7D-CBCE1EB076A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7:48.695" v="715943"/>
          <ac:graphicFrameMkLst>
            <pc:docMk/>
            <pc:sldMk cId="3562512749" sldId="2147483103"/>
            <ac:graphicFrameMk id="51" creationId="{F9E71A6B-A2F4-4B5A-4584-4BBC8B6B94D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7:52.374" v="716435"/>
          <ac:graphicFrameMkLst>
            <pc:docMk/>
            <pc:sldMk cId="3562512749" sldId="2147483103"/>
            <ac:graphicFrameMk id="53" creationId="{9C7A48F9-238D-9943-BEED-5A93F5FCA251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23.590" v="749801"/>
          <ac:graphicFrameMkLst>
            <pc:docMk/>
            <pc:sldMk cId="3562512749" sldId="2147483103"/>
            <ac:graphicFrameMk id="55" creationId="{7678F999-6F6C-2A51-E591-159E380A9D7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8:26.033" v="718361"/>
          <ac:graphicFrameMkLst>
            <pc:docMk/>
            <pc:sldMk cId="3562512749" sldId="2147483103"/>
            <ac:graphicFrameMk id="63" creationId="{F190A5FE-CA8B-FDA5-8BDF-63E3CF9E74D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1:39.663" v="731060"/>
          <ac:graphicFrameMkLst>
            <pc:docMk/>
            <pc:sldMk cId="3562512749" sldId="2147483103"/>
            <ac:graphicFrameMk id="163" creationId="{F6C90EE9-4F0E-68FF-BD2C-293D0935740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39.583" v="742804"/>
          <ac:graphicFrameMkLst>
            <pc:docMk/>
            <pc:sldMk cId="3562512749" sldId="2147483103"/>
            <ac:graphicFrameMk id="184" creationId="{095FBCE4-1D37-B09C-F73D-F7D8067CB36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37.727" v="742374"/>
          <ac:graphicFrameMkLst>
            <pc:docMk/>
            <pc:sldMk cId="3562512749" sldId="2147483103"/>
            <ac:graphicFrameMk id="189" creationId="{65E008BB-DD2D-DB36-325C-81B01EDCD127}"/>
          </ac:graphicFrameMkLst>
        </pc:graphicFrameChg>
        <pc:graphicFrameChg chg="del mod">
          <ac:chgData name="Yudi Zhu" userId="571e1a55-055f-4c28-8b35-fca6dd1c1369" providerId="ADAL" clId="{75A88773-6EE1-484E-AADE-FE631E01463B}" dt="2025-11-26T03:48:16.280" v="717385"/>
          <ac:graphicFrameMkLst>
            <pc:docMk/>
            <pc:sldMk cId="3562512749" sldId="2147483103"/>
            <ac:graphicFrameMk id="190" creationId="{68D2CCEB-5497-ABDD-8D69-2E5B11DEDAE5}"/>
          </ac:graphicFrameMkLst>
        </pc:graphicFrameChg>
        <pc:graphicFrameChg chg="del">
          <ac:chgData name="Yudi Zhu" userId="571e1a55-055f-4c28-8b35-fca6dd1c1369" providerId="ADAL" clId="{75A88773-6EE1-484E-AADE-FE631E01463B}" dt="2025-11-26T03:43:36.400" v="709081"/>
          <ac:graphicFrameMkLst>
            <pc:docMk/>
            <pc:sldMk cId="3562512749" sldId="2147483103"/>
            <ac:graphicFrameMk id="191" creationId="{548B0600-0D97-E797-7745-BB995D2CEE8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39.536" v="742797"/>
          <ac:graphicFrameMkLst>
            <pc:docMk/>
            <pc:sldMk cId="3562512749" sldId="2147483103"/>
            <ac:graphicFrameMk id="257" creationId="{A0926B39-A3FE-5E4E-BFBB-A44F6E40ABBF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23.527" v="749672"/>
          <ac:graphicFrameMkLst>
            <pc:docMk/>
            <pc:sldMk cId="3562512749" sldId="2147483103"/>
            <ac:graphicFrameMk id="258" creationId="{144BCF39-9B0D-BFF0-E39C-72A812538AE0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42.273" v="743258"/>
          <ac:graphicFrameMkLst>
            <pc:docMk/>
            <pc:sldMk cId="3562512749" sldId="2147483103"/>
            <ac:graphicFrameMk id="259" creationId="{34FD22D3-EE9B-0F4E-9ACC-751D292C958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44.972" v="743707"/>
          <ac:graphicFrameMkLst>
            <pc:docMk/>
            <pc:sldMk cId="3562512749" sldId="2147483103"/>
            <ac:graphicFrameMk id="261" creationId="{FFD05EAB-970C-24BA-960A-2D574AE1B5A5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46.482" v="744130"/>
          <ac:graphicFrameMkLst>
            <pc:docMk/>
            <pc:sldMk cId="3562512749" sldId="2147483103"/>
            <ac:graphicFrameMk id="263" creationId="{46A5B902-5354-A0D6-A45F-A85FB9A27CF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23.481" v="749616"/>
          <ac:graphicFrameMkLst>
            <pc:docMk/>
            <pc:sldMk cId="3562512749" sldId="2147483103"/>
            <ac:graphicFrameMk id="264" creationId="{C7E52A99-F679-4FAE-857A-F4822B5ED173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23.617" v="749872"/>
          <ac:graphicFrameMkLst>
            <pc:docMk/>
            <pc:sldMk cId="3562512749" sldId="2147483103"/>
            <ac:graphicFrameMk id="265" creationId="{A633A5A0-68AF-ABA6-5215-DEA732C2B8A7}"/>
          </ac:graphicFrameMkLst>
        </pc:graphicFrameChg>
        <pc:graphicFrameChg chg="del mod">
          <ac:chgData name="Yudi Zhu" userId="571e1a55-055f-4c28-8b35-fca6dd1c1369" providerId="ADAL" clId="{75A88773-6EE1-484E-AADE-FE631E01463B}" dt="2025-11-26T03:49:35.063" v="723980"/>
          <ac:graphicFrameMkLst>
            <pc:docMk/>
            <pc:sldMk cId="3562512749" sldId="2147483103"/>
            <ac:graphicFrameMk id="1888" creationId="{702FC4A6-FA80-AEC2-D512-DAF96444C42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34.532" v="741922"/>
          <ac:graphicFrameMkLst>
            <pc:docMk/>
            <pc:sldMk cId="3562512749" sldId="2147483103"/>
            <ac:graphicFrameMk id="1908" creationId="{D4D1C59D-C56F-C9E5-EBD4-FC60BDD6D635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39.441" v="724418"/>
          <ac:graphicFrameMkLst>
            <pc:docMk/>
            <pc:sldMk cId="3562512749" sldId="2147483103"/>
            <ac:graphicFrameMk id="1910" creationId="{AF6EF0D2-2954-1F5C-39ED-C7F6C5410598}"/>
          </ac:graphicFrameMkLst>
        </pc:graphicFrameChg>
        <pc:graphicFrameChg chg="del mod">
          <ac:chgData name="Yudi Zhu" userId="571e1a55-055f-4c28-8b35-fca6dd1c1369" providerId="ADAL" clId="{75A88773-6EE1-484E-AADE-FE631E01463B}" dt="2025-11-26T03:47:15.471" v="713632"/>
          <ac:graphicFrameMkLst>
            <pc:docMk/>
            <pc:sldMk cId="3562512749" sldId="2147483103"/>
            <ac:graphicFrameMk id="1919" creationId="{679052DD-CF71-D946-1EF0-65274069EA7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40.566" v="724854"/>
          <ac:graphicFrameMkLst>
            <pc:docMk/>
            <pc:sldMk cId="3562512749" sldId="2147483103"/>
            <ac:graphicFrameMk id="1941" creationId="{6CE4090E-495B-5C3A-354A-D87661EDFED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49:59.663" v="725320"/>
          <ac:graphicFrameMkLst>
            <pc:docMk/>
            <pc:sldMk cId="3562512749" sldId="2147483103"/>
            <ac:graphicFrameMk id="1942" creationId="{0F7B63D7-FE40-613D-D81B-D0C39CE8D9E8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02.678" v="725774"/>
          <ac:graphicFrameMkLst>
            <pc:docMk/>
            <pc:sldMk cId="3562512749" sldId="2147483103"/>
            <ac:graphicFrameMk id="1944" creationId="{9080C16A-B07F-F498-F869-6EA04FCC9A5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08.817" v="726220"/>
          <ac:graphicFrameMkLst>
            <pc:docMk/>
            <pc:sldMk cId="3562512749" sldId="2147483103"/>
            <ac:graphicFrameMk id="1948" creationId="{D362854F-33DD-6A60-FCF9-7A3026422A6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14.145" v="726667"/>
          <ac:graphicFrameMkLst>
            <pc:docMk/>
            <pc:sldMk cId="3562512749" sldId="2147483103"/>
            <ac:graphicFrameMk id="1953" creationId="{4B779B59-AE08-4F8D-FBE7-53185CD34D4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15.120" v="727102"/>
          <ac:graphicFrameMkLst>
            <pc:docMk/>
            <pc:sldMk cId="3562512749" sldId="2147483103"/>
            <ac:graphicFrameMk id="1957" creationId="{F3C9D553-6AC5-CD9D-40DC-66D068A0893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0:21.842" v="727537"/>
          <ac:graphicFrameMkLst>
            <pc:docMk/>
            <pc:sldMk cId="3562512749" sldId="2147483103"/>
            <ac:graphicFrameMk id="1959" creationId="{F891F180-C59A-38D3-F1D2-9004ECA8686D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23.598" v="749836"/>
          <ac:graphicFrameMkLst>
            <pc:docMk/>
            <pc:sldMk cId="3562512749" sldId="2147483103"/>
            <ac:graphicFrameMk id="1962" creationId="{89726040-AF33-904E-6BAF-FC107599766D}"/>
          </ac:graphicFrameMkLst>
        </pc:graphicFrameChg>
        <pc:cxnChg chg="mod ord">
          <ac:chgData name="Yudi Zhu" userId="571e1a55-055f-4c28-8b35-fca6dd1c1369" providerId="ADAL" clId="{75A88773-6EE1-484E-AADE-FE631E01463B}" dt="2025-11-26T03:58:23.607" v="749851"/>
          <ac:cxnSpMkLst>
            <pc:docMk/>
            <pc:sldMk cId="3562512749" sldId="2147483103"/>
            <ac:cxnSpMk id="16" creationId="{F8D999A4-47CD-480C-D9EB-7552B724F0C4}"/>
          </ac:cxnSpMkLst>
        </pc:cxnChg>
        <pc:cxnChg chg="mod ord">
          <ac:chgData name="Yudi Zhu" userId="571e1a55-055f-4c28-8b35-fca6dd1c1369" providerId="ADAL" clId="{75A88773-6EE1-484E-AADE-FE631E01463B}" dt="2025-11-26T03:58:23.527" v="749657"/>
          <ac:cxnSpMkLst>
            <pc:docMk/>
            <pc:sldMk cId="3562512749" sldId="2147483103"/>
            <ac:cxnSpMk id="20" creationId="{F42D15B7-5521-12CB-D591-CE08548AB2AC}"/>
          </ac:cxnSpMkLst>
        </pc:cxnChg>
        <pc:cxnChg chg="del mod ord">
          <ac:chgData name="Yudi Zhu" userId="571e1a55-055f-4c28-8b35-fca6dd1c1369" providerId="ADAL" clId="{75A88773-6EE1-484E-AADE-FE631E01463B}" dt="2025-11-26T03:51:34.741" v="729436"/>
          <ac:cxnSpMkLst>
            <pc:docMk/>
            <pc:sldMk cId="3562512749" sldId="2147483103"/>
            <ac:cxnSpMk id="21" creationId="{20572583-446A-9E12-D592-41BAAB8975DE}"/>
          </ac:cxnSpMkLst>
        </pc:cxnChg>
        <pc:cxnChg chg="mod ord">
          <ac:chgData name="Yudi Zhu" userId="571e1a55-055f-4c28-8b35-fca6dd1c1369" providerId="ADAL" clId="{75A88773-6EE1-484E-AADE-FE631E01463B}" dt="2025-11-26T03:58:23.527" v="749692"/>
          <ac:cxnSpMkLst>
            <pc:docMk/>
            <pc:sldMk cId="3562512749" sldId="2147483103"/>
            <ac:cxnSpMk id="23" creationId="{9AFFC76A-95C2-7038-5B05-41730F055690}"/>
          </ac:cxnSpMkLst>
        </pc:cxnChg>
        <pc:cxnChg chg="del mod ord">
          <ac:chgData name="Yudi Zhu" userId="571e1a55-055f-4c28-8b35-fca6dd1c1369" providerId="ADAL" clId="{75A88773-6EE1-484E-AADE-FE631E01463B}" dt="2025-11-26T03:48:25.778" v="718092"/>
          <ac:cxnSpMkLst>
            <pc:docMk/>
            <pc:sldMk cId="3562512749" sldId="2147483103"/>
            <ac:cxnSpMk id="24" creationId="{23C45A0A-366D-7C03-79DE-77CDCA0DC855}"/>
          </ac:cxnSpMkLst>
        </pc:cxnChg>
        <pc:cxnChg chg="mod ord">
          <ac:chgData name="Yudi Zhu" userId="571e1a55-055f-4c28-8b35-fca6dd1c1369" providerId="ADAL" clId="{75A88773-6EE1-484E-AADE-FE631E01463B}" dt="2025-11-26T03:58:23.527" v="749700"/>
          <ac:cxnSpMkLst>
            <pc:docMk/>
            <pc:sldMk cId="3562512749" sldId="2147483103"/>
            <ac:cxnSpMk id="25" creationId="{F19C5EC0-0FD3-D98D-2D1A-BCF0CFFDAAA0}"/>
          </ac:cxnSpMkLst>
        </pc:cxnChg>
        <pc:cxnChg chg="mod ord">
          <ac:chgData name="Yudi Zhu" userId="571e1a55-055f-4c28-8b35-fca6dd1c1369" providerId="ADAL" clId="{75A88773-6EE1-484E-AADE-FE631E01463B}" dt="2025-11-26T03:58:23.607" v="749857"/>
          <ac:cxnSpMkLst>
            <pc:docMk/>
            <pc:sldMk cId="3562512749" sldId="2147483103"/>
            <ac:cxnSpMk id="26" creationId="{9CDBEADC-815A-1DE7-CA91-4CB63C47DC69}"/>
          </ac:cxnSpMkLst>
        </pc:cxnChg>
        <pc:cxnChg chg="del mod ord">
          <ac:chgData name="Yudi Zhu" userId="571e1a55-055f-4c28-8b35-fca6dd1c1369" providerId="ADAL" clId="{75A88773-6EE1-484E-AADE-FE631E01463B}" dt="2025-11-26T03:51:39.640" v="731028"/>
          <ac:cxnSpMkLst>
            <pc:docMk/>
            <pc:sldMk cId="3562512749" sldId="2147483103"/>
            <ac:cxnSpMk id="27" creationId="{C0567C39-9F79-6F76-49F7-7CB10EA59979}"/>
          </ac:cxnSpMkLst>
        </pc:cxnChg>
        <pc:cxnChg chg="mod ord">
          <ac:chgData name="Yudi Zhu" userId="571e1a55-055f-4c28-8b35-fca6dd1c1369" providerId="ADAL" clId="{75A88773-6EE1-484E-AADE-FE631E01463B}" dt="2025-11-26T03:58:23.527" v="749696"/>
          <ac:cxnSpMkLst>
            <pc:docMk/>
            <pc:sldMk cId="3562512749" sldId="2147483103"/>
            <ac:cxnSpMk id="28" creationId="{A40D63EF-C94A-281F-7D75-446D6A803007}"/>
          </ac:cxnSpMkLst>
        </pc:cxnChg>
        <pc:cxnChg chg="del mod ord">
          <ac:chgData name="Yudi Zhu" userId="571e1a55-055f-4c28-8b35-fca6dd1c1369" providerId="ADAL" clId="{75A88773-6EE1-484E-AADE-FE631E01463B}" dt="2025-11-26T03:48:16.113" v="717149"/>
          <ac:cxnSpMkLst>
            <pc:docMk/>
            <pc:sldMk cId="3562512749" sldId="2147483103"/>
            <ac:cxnSpMk id="29" creationId="{48B05335-9390-1CA5-6B14-31F7AA0943EA}"/>
          </ac:cxnSpMkLst>
        </pc:cxnChg>
        <pc:cxnChg chg="del mod ord">
          <ac:chgData name="Yudi Zhu" userId="571e1a55-055f-4c28-8b35-fca6dd1c1369" providerId="ADAL" clId="{75A88773-6EE1-484E-AADE-FE631E01463B}" dt="2025-11-26T03:48:16.145" v="717197"/>
          <ac:cxnSpMkLst>
            <pc:docMk/>
            <pc:sldMk cId="3562512749" sldId="2147483103"/>
            <ac:cxnSpMk id="30" creationId="{EF9EBDB4-8B7E-1BAE-BA6D-A82B810740DD}"/>
          </ac:cxnSpMkLst>
        </pc:cxnChg>
        <pc:cxnChg chg="mod ord">
          <ac:chgData name="Yudi Zhu" userId="571e1a55-055f-4c28-8b35-fca6dd1c1369" providerId="ADAL" clId="{75A88773-6EE1-484E-AADE-FE631E01463B}" dt="2025-11-26T03:58:23.527" v="749694"/>
          <ac:cxnSpMkLst>
            <pc:docMk/>
            <pc:sldMk cId="3562512749" sldId="2147483103"/>
            <ac:cxnSpMk id="31" creationId="{79955FD4-CA7B-6254-FDB9-81026BCE9368}"/>
          </ac:cxnSpMkLst>
        </pc:cxnChg>
        <pc:cxnChg chg="mod ord">
          <ac:chgData name="Yudi Zhu" userId="571e1a55-055f-4c28-8b35-fca6dd1c1369" providerId="ADAL" clId="{75A88773-6EE1-484E-AADE-FE631E01463B}" dt="2025-11-26T03:58:23.527" v="749659"/>
          <ac:cxnSpMkLst>
            <pc:docMk/>
            <pc:sldMk cId="3562512749" sldId="2147483103"/>
            <ac:cxnSpMk id="33" creationId="{7404C743-8614-C318-7925-9AA0F052DF37}"/>
          </ac:cxnSpMkLst>
        </pc:cxnChg>
        <pc:cxnChg chg="del mod ord">
          <ac:chgData name="Yudi Zhu" userId="571e1a55-055f-4c28-8b35-fca6dd1c1369" providerId="ADAL" clId="{75A88773-6EE1-484E-AADE-FE631E01463B}" dt="2025-11-26T03:48:26.009" v="718317"/>
          <ac:cxnSpMkLst>
            <pc:docMk/>
            <pc:sldMk cId="3562512749" sldId="2147483103"/>
            <ac:cxnSpMk id="34" creationId="{CDE96436-D6F8-EA3B-0FB1-E87640B0B6D2}"/>
          </ac:cxnSpMkLst>
        </pc:cxnChg>
        <pc:cxnChg chg="mod ord">
          <ac:chgData name="Yudi Zhu" userId="571e1a55-055f-4c28-8b35-fca6dd1c1369" providerId="ADAL" clId="{75A88773-6EE1-484E-AADE-FE631E01463B}" dt="2025-11-26T03:58:23.527" v="749661"/>
          <ac:cxnSpMkLst>
            <pc:docMk/>
            <pc:sldMk cId="3562512749" sldId="2147483103"/>
            <ac:cxnSpMk id="35" creationId="{6E65C362-3D27-0291-6F0A-0BC7EA743099}"/>
          </ac:cxnSpMkLst>
        </pc:cxnChg>
        <pc:cxnChg chg="del mod ord">
          <ac:chgData name="Yudi Zhu" userId="571e1a55-055f-4c28-8b35-fca6dd1c1369" providerId="ADAL" clId="{75A88773-6EE1-484E-AADE-FE631E01463B}" dt="2025-11-26T03:48:26.017" v="718345"/>
          <ac:cxnSpMkLst>
            <pc:docMk/>
            <pc:sldMk cId="3562512749" sldId="2147483103"/>
            <ac:cxnSpMk id="36" creationId="{3AB8B903-A16B-BA8C-3D32-0D85BAB2F5BD}"/>
          </ac:cxnSpMkLst>
        </pc:cxnChg>
        <pc:cxnChg chg="mod ord">
          <ac:chgData name="Yudi Zhu" userId="571e1a55-055f-4c28-8b35-fca6dd1c1369" providerId="ADAL" clId="{75A88773-6EE1-484E-AADE-FE631E01463B}" dt="2025-11-26T03:58:23.624" v="749896"/>
          <ac:cxnSpMkLst>
            <pc:docMk/>
            <pc:sldMk cId="3562512749" sldId="2147483103"/>
            <ac:cxnSpMk id="43" creationId="{D0706066-60C2-4883-715C-9FC2C4B1684F}"/>
          </ac:cxnSpMkLst>
        </pc:cxnChg>
        <pc:cxnChg chg="mod ord">
          <ac:chgData name="Yudi Zhu" userId="571e1a55-055f-4c28-8b35-fca6dd1c1369" providerId="ADAL" clId="{75A88773-6EE1-484E-AADE-FE631E01463B}" dt="2025-11-26T03:58:23.645" v="749966"/>
          <ac:cxnSpMkLst>
            <pc:docMk/>
            <pc:sldMk cId="3562512749" sldId="2147483103"/>
            <ac:cxnSpMk id="44" creationId="{7F758961-9016-F5C2-68B7-AAE51E36BFF0}"/>
          </ac:cxnSpMkLst>
        </pc:cxnChg>
        <pc:cxnChg chg="mod ord">
          <ac:chgData name="Yudi Zhu" userId="571e1a55-055f-4c28-8b35-fca6dd1c1369" providerId="ADAL" clId="{75A88773-6EE1-484E-AADE-FE631E01463B}" dt="2025-11-26T03:58:23.644" v="749962"/>
          <ac:cxnSpMkLst>
            <pc:docMk/>
            <pc:sldMk cId="3562512749" sldId="2147483103"/>
            <ac:cxnSpMk id="45" creationId="{E19570DC-5F68-7B15-B82D-8FF823FAA4BF}"/>
          </ac:cxnSpMkLst>
        </pc:cxnChg>
        <pc:cxnChg chg="mod ord">
          <ac:chgData name="Yudi Zhu" userId="571e1a55-055f-4c28-8b35-fca6dd1c1369" providerId="ADAL" clId="{75A88773-6EE1-484E-AADE-FE631E01463B}" dt="2025-11-26T03:58:23.641" v="749952"/>
          <ac:cxnSpMkLst>
            <pc:docMk/>
            <pc:sldMk cId="3562512749" sldId="2147483103"/>
            <ac:cxnSpMk id="47" creationId="{5FD6F803-9FF9-C590-DCAD-BD9BBDABE600}"/>
          </ac:cxnSpMkLst>
        </pc:cxnChg>
        <pc:cxnChg chg="mod ord">
          <ac:chgData name="Yudi Zhu" userId="571e1a55-055f-4c28-8b35-fca6dd1c1369" providerId="ADAL" clId="{75A88773-6EE1-484E-AADE-FE631E01463B}" dt="2025-11-26T03:58:23.636" v="749934"/>
          <ac:cxnSpMkLst>
            <pc:docMk/>
            <pc:sldMk cId="3562512749" sldId="2147483103"/>
            <ac:cxnSpMk id="48" creationId="{3EFA5799-B11E-7367-92C5-B2E499273415}"/>
          </ac:cxnSpMkLst>
        </pc:cxnChg>
        <pc:cxnChg chg="mod ord">
          <ac:chgData name="Yudi Zhu" userId="571e1a55-055f-4c28-8b35-fca6dd1c1369" providerId="ADAL" clId="{75A88773-6EE1-484E-AADE-FE631E01463B}" dt="2025-11-26T03:58:23.637" v="749936"/>
          <ac:cxnSpMkLst>
            <pc:docMk/>
            <pc:sldMk cId="3562512749" sldId="2147483103"/>
            <ac:cxnSpMk id="49" creationId="{6E16BA44-DF5E-92A1-A324-C50C080F024E}"/>
          </ac:cxnSpMkLst>
        </pc:cxnChg>
        <pc:cxnChg chg="add mod ord">
          <ac:chgData name="Yudi Zhu" userId="571e1a55-055f-4c28-8b35-fca6dd1c1369" providerId="ADAL" clId="{75A88773-6EE1-484E-AADE-FE631E01463B}" dt="2025-11-26T03:58:23.543" v="749704"/>
          <ac:cxnSpMkLst>
            <pc:docMk/>
            <pc:sldMk cId="3562512749" sldId="2147483103"/>
            <ac:cxnSpMk id="57" creationId="{33EA418D-69FB-3AD4-B618-C1E52F0CBB7F}"/>
          </ac:cxnSpMkLst>
        </pc:cxnChg>
        <pc:cxnChg chg="add del mod ord">
          <ac:chgData name="Yudi Zhu" userId="571e1a55-055f-4c28-8b35-fca6dd1c1369" providerId="ADAL" clId="{75A88773-6EE1-484E-AADE-FE631E01463B}" dt="2025-11-26T03:48:25.912" v="718218"/>
          <ac:cxnSpMkLst>
            <pc:docMk/>
            <pc:sldMk cId="3562512749" sldId="2147483103"/>
            <ac:cxnSpMk id="58" creationId="{2B350B33-E3DC-F830-49BF-852F313D387B}"/>
          </ac:cxnSpMkLst>
        </pc:cxnChg>
        <pc:cxnChg chg="add mod ord">
          <ac:chgData name="Yudi Zhu" userId="571e1a55-055f-4c28-8b35-fca6dd1c1369" providerId="ADAL" clId="{75A88773-6EE1-484E-AADE-FE631E01463B}" dt="2025-11-26T03:58:23.527" v="749663"/>
          <ac:cxnSpMkLst>
            <pc:docMk/>
            <pc:sldMk cId="3562512749" sldId="2147483103"/>
            <ac:cxnSpMk id="59" creationId="{1F8EB092-7E62-EFF7-47DE-ABC13F237CEE}"/>
          </ac:cxnSpMkLst>
        </pc:cxnChg>
        <pc:cxnChg chg="add mod ord">
          <ac:chgData name="Yudi Zhu" userId="571e1a55-055f-4c28-8b35-fca6dd1c1369" providerId="ADAL" clId="{75A88773-6EE1-484E-AADE-FE631E01463B}" dt="2025-11-26T03:58:23.527" v="749665"/>
          <ac:cxnSpMkLst>
            <pc:docMk/>
            <pc:sldMk cId="3562512749" sldId="2147483103"/>
            <ac:cxnSpMk id="60" creationId="{5E5C19AF-CE0E-D7B3-4DEA-80112F185A2E}"/>
          </ac:cxnSpMkLst>
        </pc:cxnChg>
        <pc:cxnChg chg="add mod ord">
          <ac:chgData name="Yudi Zhu" userId="571e1a55-055f-4c28-8b35-fca6dd1c1369" providerId="ADAL" clId="{75A88773-6EE1-484E-AADE-FE631E01463B}" dt="2025-11-26T03:58:23.527" v="749667"/>
          <ac:cxnSpMkLst>
            <pc:docMk/>
            <pc:sldMk cId="3562512749" sldId="2147483103"/>
            <ac:cxnSpMk id="61" creationId="{B9ABF089-6C66-E7B1-6BBA-3583B3B368F0}"/>
          </ac:cxnSpMkLst>
        </pc:cxnChg>
        <pc:cxnChg chg="add mod ord">
          <ac:chgData name="Yudi Zhu" userId="571e1a55-055f-4c28-8b35-fca6dd1c1369" providerId="ADAL" clId="{75A88773-6EE1-484E-AADE-FE631E01463B}" dt="2025-11-26T03:58:23.527" v="749669"/>
          <ac:cxnSpMkLst>
            <pc:docMk/>
            <pc:sldMk cId="3562512749" sldId="2147483103"/>
            <ac:cxnSpMk id="62" creationId="{AEFA2DE6-C066-5A14-D140-6D96F7496328}"/>
          </ac:cxnSpMkLst>
        </pc:cxnChg>
        <pc:cxnChg chg="add del mod ord">
          <ac:chgData name="Yudi Zhu" userId="571e1a55-055f-4c28-8b35-fca6dd1c1369" providerId="ADAL" clId="{75A88773-6EE1-484E-AADE-FE631E01463B}" dt="2025-11-26T03:51:39.475" v="730746"/>
          <ac:cxnSpMkLst>
            <pc:docMk/>
            <pc:sldMk cId="3562512749" sldId="2147483103"/>
            <ac:cxnSpMk id="130" creationId="{05752B04-AA36-B0E9-B299-CDD525A97A55}"/>
          </ac:cxnSpMkLst>
        </pc:cxnChg>
        <pc:cxnChg chg="mod ord">
          <ac:chgData name="Yudi Zhu" userId="571e1a55-055f-4c28-8b35-fca6dd1c1369" providerId="ADAL" clId="{75A88773-6EE1-484E-AADE-FE631E01463B}" dt="2025-11-26T03:58:23.631" v="749916"/>
          <ac:cxnSpMkLst>
            <pc:docMk/>
            <pc:sldMk cId="3562512749" sldId="2147483103"/>
            <ac:cxnSpMk id="131" creationId="{302D367C-1A02-3459-9C2D-9BD3F848C065}"/>
          </ac:cxnSpMkLst>
        </pc:cxnChg>
        <pc:cxnChg chg="del mod ord">
          <ac:chgData name="Yudi Zhu" userId="571e1a55-055f-4c28-8b35-fca6dd1c1369" providerId="ADAL" clId="{75A88773-6EE1-484E-AADE-FE631E01463B}" dt="2025-11-26T03:51:34.209" v="728992"/>
          <ac:cxnSpMkLst>
            <pc:docMk/>
            <pc:sldMk cId="3562512749" sldId="2147483103"/>
            <ac:cxnSpMk id="132" creationId="{497CD7EF-2824-5BEF-62B8-0B80F9A1815F}"/>
          </ac:cxnSpMkLst>
        </pc:cxnChg>
        <pc:cxnChg chg="mod ord">
          <ac:chgData name="Yudi Zhu" userId="571e1a55-055f-4c28-8b35-fca6dd1c1369" providerId="ADAL" clId="{75A88773-6EE1-484E-AADE-FE631E01463B}" dt="2025-11-26T03:58:23.635" v="749930"/>
          <ac:cxnSpMkLst>
            <pc:docMk/>
            <pc:sldMk cId="3562512749" sldId="2147483103"/>
            <ac:cxnSpMk id="133" creationId="{5A4BDDAB-C480-572D-E7FF-824340033891}"/>
          </ac:cxnSpMkLst>
        </pc:cxnChg>
        <pc:cxnChg chg="del mod ord">
          <ac:chgData name="Yudi Zhu" userId="571e1a55-055f-4c28-8b35-fca6dd1c1369" providerId="ADAL" clId="{75A88773-6EE1-484E-AADE-FE631E01463B}" dt="2025-11-26T03:51:39.355" v="730560"/>
          <ac:cxnSpMkLst>
            <pc:docMk/>
            <pc:sldMk cId="3562512749" sldId="2147483103"/>
            <ac:cxnSpMk id="134" creationId="{F39DE797-6E83-C6E1-E872-5E203764A14F}"/>
          </ac:cxnSpMkLst>
        </pc:cxnChg>
        <pc:cxnChg chg="del mod ord">
          <ac:chgData name="Yudi Zhu" userId="571e1a55-055f-4c28-8b35-fca6dd1c1369" providerId="ADAL" clId="{75A88773-6EE1-484E-AADE-FE631E01463B}" dt="2025-11-26T03:51:34.376" v="729098"/>
          <ac:cxnSpMkLst>
            <pc:docMk/>
            <pc:sldMk cId="3562512749" sldId="2147483103"/>
            <ac:cxnSpMk id="135" creationId="{22845195-F19E-1E7D-D556-3E518C81794D}"/>
          </ac:cxnSpMkLst>
        </pc:cxnChg>
        <pc:cxnChg chg="mod ord">
          <ac:chgData name="Yudi Zhu" userId="571e1a55-055f-4c28-8b35-fca6dd1c1369" providerId="ADAL" clId="{75A88773-6EE1-484E-AADE-FE631E01463B}" dt="2025-11-26T03:58:23.623" v="749892"/>
          <ac:cxnSpMkLst>
            <pc:docMk/>
            <pc:sldMk cId="3562512749" sldId="2147483103"/>
            <ac:cxnSpMk id="136" creationId="{49D63ACB-A030-422B-EE90-7AC4A69D43CA}"/>
          </ac:cxnSpMkLst>
        </pc:cxnChg>
        <pc:cxnChg chg="mod ord">
          <ac:chgData name="Yudi Zhu" userId="571e1a55-055f-4c28-8b35-fca6dd1c1369" providerId="ADAL" clId="{75A88773-6EE1-484E-AADE-FE631E01463B}" dt="2025-11-26T03:58:23.634" v="749926"/>
          <ac:cxnSpMkLst>
            <pc:docMk/>
            <pc:sldMk cId="3562512749" sldId="2147483103"/>
            <ac:cxnSpMk id="137" creationId="{91E2097A-FBDE-3919-BBD5-CD8987C5B85F}"/>
          </ac:cxnSpMkLst>
        </pc:cxnChg>
        <pc:cxnChg chg="del mod ord">
          <ac:chgData name="Yudi Zhu" userId="571e1a55-055f-4c28-8b35-fca6dd1c1369" providerId="ADAL" clId="{75A88773-6EE1-484E-AADE-FE631E01463B}" dt="2025-11-26T03:51:39.563" v="730882"/>
          <ac:cxnSpMkLst>
            <pc:docMk/>
            <pc:sldMk cId="3562512749" sldId="2147483103"/>
            <ac:cxnSpMk id="138" creationId="{AD6E0703-56E5-AA61-ED7D-BD79A77735E1}"/>
          </ac:cxnSpMkLst>
        </pc:cxnChg>
        <pc:cxnChg chg="mod ord">
          <ac:chgData name="Yudi Zhu" userId="571e1a55-055f-4c28-8b35-fca6dd1c1369" providerId="ADAL" clId="{75A88773-6EE1-484E-AADE-FE631E01463B}" dt="2025-11-26T03:58:23.628" v="749908"/>
          <ac:cxnSpMkLst>
            <pc:docMk/>
            <pc:sldMk cId="3562512749" sldId="2147483103"/>
            <ac:cxnSpMk id="139" creationId="{0F696389-1B0E-632C-5872-FA4364234750}"/>
          </ac:cxnSpMkLst>
        </pc:cxnChg>
        <pc:cxnChg chg="mod ord">
          <ac:chgData name="Yudi Zhu" userId="571e1a55-055f-4c28-8b35-fca6dd1c1369" providerId="ADAL" clId="{75A88773-6EE1-484E-AADE-FE631E01463B}" dt="2025-11-26T03:58:23.607" v="749849"/>
          <ac:cxnSpMkLst>
            <pc:docMk/>
            <pc:sldMk cId="3562512749" sldId="2147483103"/>
            <ac:cxnSpMk id="140" creationId="{763F88E0-5513-4C71-F9E0-97729260EA72}"/>
          </ac:cxnSpMkLst>
        </pc:cxnChg>
        <pc:cxnChg chg="del mod ord">
          <ac:chgData name="Yudi Zhu" userId="571e1a55-055f-4c28-8b35-fca6dd1c1369" providerId="ADAL" clId="{75A88773-6EE1-484E-AADE-FE631E01463B}" dt="2025-11-26T03:51:39.609" v="730959"/>
          <ac:cxnSpMkLst>
            <pc:docMk/>
            <pc:sldMk cId="3562512749" sldId="2147483103"/>
            <ac:cxnSpMk id="141" creationId="{3BF1E16E-B973-7A15-0FB6-8C5C2D450EEF}"/>
          </ac:cxnSpMkLst>
        </pc:cxnChg>
        <pc:cxnChg chg="mod ord">
          <ac:chgData name="Yudi Zhu" userId="571e1a55-055f-4c28-8b35-fca6dd1c1369" providerId="ADAL" clId="{75A88773-6EE1-484E-AADE-FE631E01463B}" dt="2025-11-26T03:58:23.607" v="749855"/>
          <ac:cxnSpMkLst>
            <pc:docMk/>
            <pc:sldMk cId="3562512749" sldId="2147483103"/>
            <ac:cxnSpMk id="142" creationId="{3CC97B79-ABD5-FDBF-D366-DA42E71FC9E2}"/>
          </ac:cxnSpMkLst>
        </pc:cxnChg>
        <pc:cxnChg chg="mod ord">
          <ac:chgData name="Yudi Zhu" userId="571e1a55-055f-4c28-8b35-fca6dd1c1369" providerId="ADAL" clId="{75A88773-6EE1-484E-AADE-FE631E01463B}" dt="2025-11-26T03:58:23.607" v="749859"/>
          <ac:cxnSpMkLst>
            <pc:docMk/>
            <pc:sldMk cId="3562512749" sldId="2147483103"/>
            <ac:cxnSpMk id="143" creationId="{EC6E5469-1FE6-DD66-D4B3-9D848B4C085E}"/>
          </ac:cxnSpMkLst>
        </pc:cxnChg>
        <pc:cxnChg chg="mod ord">
          <ac:chgData name="Yudi Zhu" userId="571e1a55-055f-4c28-8b35-fca6dd1c1369" providerId="ADAL" clId="{75A88773-6EE1-484E-AADE-FE631E01463B}" dt="2025-11-26T03:58:23.607" v="749847"/>
          <ac:cxnSpMkLst>
            <pc:docMk/>
            <pc:sldMk cId="3562512749" sldId="2147483103"/>
            <ac:cxnSpMk id="144" creationId="{AA91BECB-5B54-69C8-9FD2-C75EB254549A}"/>
          </ac:cxnSpMkLst>
        </pc:cxnChg>
        <pc:cxnChg chg="add del mod ord">
          <ac:chgData name="Yudi Zhu" userId="571e1a55-055f-4c28-8b35-fca6dd1c1369" providerId="ADAL" clId="{75A88773-6EE1-484E-AADE-FE631E01463B}" dt="2025-11-26T03:51:39.530" v="730812"/>
          <ac:cxnSpMkLst>
            <pc:docMk/>
            <pc:sldMk cId="3562512749" sldId="2147483103"/>
            <ac:cxnSpMk id="145" creationId="{BFA13572-2203-148F-800F-1B8F287CB76D}"/>
          </ac:cxnSpMkLst>
        </pc:cxnChg>
        <pc:cxnChg chg="add del mod ord">
          <ac:chgData name="Yudi Zhu" userId="571e1a55-055f-4c28-8b35-fca6dd1c1369" providerId="ADAL" clId="{75A88773-6EE1-484E-AADE-FE631E01463B}" dt="2025-11-26T03:51:39.593" v="730944"/>
          <ac:cxnSpMkLst>
            <pc:docMk/>
            <pc:sldMk cId="3562512749" sldId="2147483103"/>
            <ac:cxnSpMk id="146" creationId="{799EB8C1-83E4-59D2-E799-C7A178F4298E}"/>
          </ac:cxnSpMkLst>
        </pc:cxnChg>
        <pc:cxnChg chg="del mod ord">
          <ac:chgData name="Yudi Zhu" userId="571e1a55-055f-4c28-8b35-fca6dd1c1369" providerId="ADAL" clId="{75A88773-6EE1-484E-AADE-FE631E01463B}" dt="2025-11-26T03:51:39.624" v="730975"/>
          <ac:cxnSpMkLst>
            <pc:docMk/>
            <pc:sldMk cId="3562512749" sldId="2147483103"/>
            <ac:cxnSpMk id="151" creationId="{9723B0F6-7B76-18D9-F0D3-32721AEF809A}"/>
          </ac:cxnSpMkLst>
        </pc:cxnChg>
        <pc:cxnChg chg="add mod ord">
          <ac:chgData name="Yudi Zhu" userId="571e1a55-055f-4c28-8b35-fca6dd1c1369" providerId="ADAL" clId="{75A88773-6EE1-484E-AADE-FE631E01463B}" dt="2025-11-26T03:58:23.614" v="749863"/>
          <ac:cxnSpMkLst>
            <pc:docMk/>
            <pc:sldMk cId="3562512749" sldId="2147483103"/>
            <ac:cxnSpMk id="152" creationId="{4E5FB648-7DED-0D69-0553-8D190D762AF1}"/>
          </ac:cxnSpMkLst>
        </pc:cxnChg>
        <pc:cxnChg chg="mod ord">
          <ac:chgData name="Yudi Zhu" userId="571e1a55-055f-4c28-8b35-fca6dd1c1369" providerId="ADAL" clId="{75A88773-6EE1-484E-AADE-FE631E01463B}" dt="2025-11-26T03:58:23.527" v="749651"/>
          <ac:cxnSpMkLst>
            <pc:docMk/>
            <pc:sldMk cId="3562512749" sldId="2147483103"/>
            <ac:cxnSpMk id="153" creationId="{3D86BA23-82AC-89CB-0C7A-64BE0C2149C7}"/>
          </ac:cxnSpMkLst>
        </pc:cxnChg>
        <pc:cxnChg chg="add mod ord">
          <ac:chgData name="Yudi Zhu" userId="571e1a55-055f-4c28-8b35-fca6dd1c1369" providerId="ADAL" clId="{75A88773-6EE1-484E-AADE-FE631E01463B}" dt="2025-11-26T03:58:23.615" v="749865"/>
          <ac:cxnSpMkLst>
            <pc:docMk/>
            <pc:sldMk cId="3562512749" sldId="2147483103"/>
            <ac:cxnSpMk id="157" creationId="{13C3D789-C9B8-A6AD-33E8-CE526C2F40EB}"/>
          </ac:cxnSpMkLst>
        </pc:cxnChg>
        <pc:cxnChg chg="del mod ord">
          <ac:chgData name="Yudi Zhu" userId="571e1a55-055f-4c28-8b35-fca6dd1c1369" providerId="ADAL" clId="{75A88773-6EE1-484E-AADE-FE631E01463B}" dt="2025-11-26T03:51:34.651" v="729330"/>
          <ac:cxnSpMkLst>
            <pc:docMk/>
            <pc:sldMk cId="3562512749" sldId="2147483103"/>
            <ac:cxnSpMk id="158" creationId="{50B04F6B-ACB2-79A6-ED46-82A028563371}"/>
          </ac:cxnSpMkLst>
        </pc:cxnChg>
        <pc:cxnChg chg="mod ord">
          <ac:chgData name="Yudi Zhu" userId="571e1a55-055f-4c28-8b35-fca6dd1c1369" providerId="ADAL" clId="{75A88773-6EE1-484E-AADE-FE631E01463B}" dt="2025-11-26T03:58:23.629" v="749912"/>
          <ac:cxnSpMkLst>
            <pc:docMk/>
            <pc:sldMk cId="3562512749" sldId="2147483103"/>
            <ac:cxnSpMk id="159" creationId="{D7BC6C38-0B7D-990D-6937-E5CAFCC70F67}"/>
          </ac:cxnSpMkLst>
        </pc:cxnChg>
        <pc:cxnChg chg="mod ord">
          <ac:chgData name="Yudi Zhu" userId="571e1a55-055f-4c28-8b35-fca6dd1c1369" providerId="ADAL" clId="{75A88773-6EE1-484E-AADE-FE631E01463B}" dt="2025-11-26T03:58:23.614" v="749861"/>
          <ac:cxnSpMkLst>
            <pc:docMk/>
            <pc:sldMk cId="3562512749" sldId="2147483103"/>
            <ac:cxnSpMk id="160" creationId="{61388DCD-972D-3F96-78FD-210E27BB1B3E}"/>
          </ac:cxnSpMkLst>
        </pc:cxnChg>
        <pc:cxnChg chg="add mod ord">
          <ac:chgData name="Yudi Zhu" userId="571e1a55-055f-4c28-8b35-fca6dd1c1369" providerId="ADAL" clId="{75A88773-6EE1-484E-AADE-FE631E01463B}" dt="2025-11-26T03:58:23.615" v="749867"/>
          <ac:cxnSpMkLst>
            <pc:docMk/>
            <pc:sldMk cId="3562512749" sldId="2147483103"/>
            <ac:cxnSpMk id="161" creationId="{006FB422-0984-BE74-96F7-8FF770DD301C}"/>
          </ac:cxnSpMkLst>
        </pc:cxnChg>
        <pc:cxnChg chg="add mod ord">
          <ac:chgData name="Yudi Zhu" userId="571e1a55-055f-4c28-8b35-fca6dd1c1369" providerId="ADAL" clId="{75A88773-6EE1-484E-AADE-FE631E01463B}" dt="2025-11-26T03:58:23.616" v="749869"/>
          <ac:cxnSpMkLst>
            <pc:docMk/>
            <pc:sldMk cId="3562512749" sldId="2147483103"/>
            <ac:cxnSpMk id="162" creationId="{77472D3A-BA7A-69A5-FDF7-C6255E9CA36A}"/>
          </ac:cxnSpMkLst>
        </pc:cxnChg>
        <pc:cxnChg chg="add mod ord">
          <ac:chgData name="Yudi Zhu" userId="571e1a55-055f-4c28-8b35-fca6dd1c1369" providerId="ADAL" clId="{75A88773-6EE1-484E-AADE-FE631E01463B}" dt="2025-11-26T03:58:23.637" v="749938"/>
          <ac:cxnSpMkLst>
            <pc:docMk/>
            <pc:sldMk cId="3562512749" sldId="2147483103"/>
            <ac:cxnSpMk id="165" creationId="{CC537BE7-B42B-95C9-047C-9EDA7D9DAE7D}"/>
          </ac:cxnSpMkLst>
        </pc:cxnChg>
        <pc:cxnChg chg="add mod ord">
          <ac:chgData name="Yudi Zhu" userId="571e1a55-055f-4c28-8b35-fca6dd1c1369" providerId="ADAL" clId="{75A88773-6EE1-484E-AADE-FE631E01463B}" dt="2025-11-26T03:58:23.642" v="749956"/>
          <ac:cxnSpMkLst>
            <pc:docMk/>
            <pc:sldMk cId="3562512749" sldId="2147483103"/>
            <ac:cxnSpMk id="166" creationId="{2788D479-4046-473E-FC4E-5E1F88428FB8}"/>
          </ac:cxnSpMkLst>
        </pc:cxnChg>
        <pc:cxnChg chg="add mod ord">
          <ac:chgData name="Yudi Zhu" userId="571e1a55-055f-4c28-8b35-fca6dd1c1369" providerId="ADAL" clId="{75A88773-6EE1-484E-AADE-FE631E01463B}" dt="2025-11-26T03:58:23.638" v="749942"/>
          <ac:cxnSpMkLst>
            <pc:docMk/>
            <pc:sldMk cId="3562512749" sldId="2147483103"/>
            <ac:cxnSpMk id="167" creationId="{E3398CCA-D8CA-F9B3-9381-BA6FAD7693BF}"/>
          </ac:cxnSpMkLst>
        </pc:cxnChg>
        <pc:cxnChg chg="add mod ord">
          <ac:chgData name="Yudi Zhu" userId="571e1a55-055f-4c28-8b35-fca6dd1c1369" providerId="ADAL" clId="{75A88773-6EE1-484E-AADE-FE631E01463B}" dt="2025-11-26T03:58:23.639" v="749946"/>
          <ac:cxnSpMkLst>
            <pc:docMk/>
            <pc:sldMk cId="3562512749" sldId="2147483103"/>
            <ac:cxnSpMk id="170" creationId="{5DD5CA37-62C4-5EF6-4C43-EA9747B75B80}"/>
          </ac:cxnSpMkLst>
        </pc:cxnChg>
        <pc:cxnChg chg="add mod ord">
          <ac:chgData name="Yudi Zhu" userId="571e1a55-055f-4c28-8b35-fca6dd1c1369" providerId="ADAL" clId="{75A88773-6EE1-484E-AADE-FE631E01463B}" dt="2025-11-26T03:58:23.640" v="749950"/>
          <ac:cxnSpMkLst>
            <pc:docMk/>
            <pc:sldMk cId="3562512749" sldId="2147483103"/>
            <ac:cxnSpMk id="172" creationId="{4D84F74D-BB7B-68B7-5AFC-E61DFCE39ED6}"/>
          </ac:cxnSpMkLst>
        </pc:cxnChg>
        <pc:cxnChg chg="add mod ord">
          <ac:chgData name="Yudi Zhu" userId="571e1a55-055f-4c28-8b35-fca6dd1c1369" providerId="ADAL" clId="{75A88773-6EE1-484E-AADE-FE631E01463B}" dt="2025-11-26T03:58:23.646" v="749972"/>
          <ac:cxnSpMkLst>
            <pc:docMk/>
            <pc:sldMk cId="3562512749" sldId="2147483103"/>
            <ac:cxnSpMk id="175" creationId="{0AEA339C-6864-A6C8-B6FC-31682720735A}"/>
          </ac:cxnSpMkLst>
        </pc:cxnChg>
        <pc:cxnChg chg="add mod ord">
          <ac:chgData name="Yudi Zhu" userId="571e1a55-055f-4c28-8b35-fca6dd1c1369" providerId="ADAL" clId="{75A88773-6EE1-484E-AADE-FE631E01463B}" dt="2025-11-26T03:58:23.643" v="749960"/>
          <ac:cxnSpMkLst>
            <pc:docMk/>
            <pc:sldMk cId="3562512749" sldId="2147483103"/>
            <ac:cxnSpMk id="177" creationId="{11400636-14D9-E710-C3C0-83FC4504EFDE}"/>
          </ac:cxnSpMkLst>
        </pc:cxnChg>
        <pc:cxnChg chg="add mod ord">
          <ac:chgData name="Yudi Zhu" userId="571e1a55-055f-4c28-8b35-fca6dd1c1369" providerId="ADAL" clId="{75A88773-6EE1-484E-AADE-FE631E01463B}" dt="2025-11-26T03:58:23.644" v="749964"/>
          <ac:cxnSpMkLst>
            <pc:docMk/>
            <pc:sldMk cId="3562512749" sldId="2147483103"/>
            <ac:cxnSpMk id="179" creationId="{E5DE34B9-3553-2E9A-2755-62678F6364E5}"/>
          </ac:cxnSpMkLst>
        </pc:cxnChg>
        <pc:cxnChg chg="add mod ord">
          <ac:chgData name="Yudi Zhu" userId="571e1a55-055f-4c28-8b35-fca6dd1c1369" providerId="ADAL" clId="{75A88773-6EE1-484E-AADE-FE631E01463B}" dt="2025-11-26T03:58:23.645" v="749968"/>
          <ac:cxnSpMkLst>
            <pc:docMk/>
            <pc:sldMk cId="3562512749" sldId="2147483103"/>
            <ac:cxnSpMk id="181" creationId="{3C221D33-E05E-7B88-D153-896408781CB2}"/>
          </ac:cxnSpMkLst>
        </pc:cxnChg>
        <pc:cxnChg chg="add mod ord">
          <ac:chgData name="Yudi Zhu" userId="571e1a55-055f-4c28-8b35-fca6dd1c1369" providerId="ADAL" clId="{75A88773-6EE1-484E-AADE-FE631E01463B}" dt="2025-11-26T03:58:23.616" v="749871"/>
          <ac:cxnSpMkLst>
            <pc:docMk/>
            <pc:sldMk cId="3562512749" sldId="2147483103"/>
            <ac:cxnSpMk id="183" creationId="{5A9664C6-2EF0-8BF0-FABC-B0659F9517A5}"/>
          </ac:cxnSpMkLst>
        </pc:cxnChg>
        <pc:cxnChg chg="mod ord">
          <ac:chgData name="Yudi Zhu" userId="571e1a55-055f-4c28-8b35-fca6dd1c1369" providerId="ADAL" clId="{75A88773-6EE1-484E-AADE-FE631E01463B}" dt="2025-11-26T03:58:23.581" v="749779"/>
          <ac:cxnSpMkLst>
            <pc:docMk/>
            <pc:sldMk cId="3562512749" sldId="2147483103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6T03:58:23.527" v="749653"/>
          <ac:cxnSpMkLst>
            <pc:docMk/>
            <pc:sldMk cId="3562512749" sldId="2147483103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6T03:58:23.527" v="749655"/>
          <ac:cxnSpMkLst>
            <pc:docMk/>
            <pc:sldMk cId="3562512749" sldId="2147483103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6T03:58:23.581" v="749798"/>
          <ac:cxnSpMkLst>
            <pc:docMk/>
            <pc:sldMk cId="3562512749" sldId="2147483103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6T03:58:23.581" v="749800"/>
          <ac:cxnSpMkLst>
            <pc:docMk/>
            <pc:sldMk cId="3562512749" sldId="2147483103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6T03:58:23.581" v="749796"/>
          <ac:cxnSpMkLst>
            <pc:docMk/>
            <pc:sldMk cId="3562512749" sldId="2147483103"/>
            <ac:cxnSpMk id="1477" creationId="{152B86F5-FAEA-60A6-7C19-C68CC06B21E4}"/>
          </ac:cxnSpMkLst>
        </pc:cxnChg>
        <pc:cxnChg chg="del mod ord">
          <ac:chgData name="Yudi Zhu" userId="571e1a55-055f-4c28-8b35-fca6dd1c1369" providerId="ADAL" clId="{75A88773-6EE1-484E-AADE-FE631E01463B}" dt="2025-11-26T03:48:25.960" v="718264"/>
          <ac:cxnSpMkLst>
            <pc:docMk/>
            <pc:sldMk cId="3562512749" sldId="2147483103"/>
            <ac:cxnSpMk id="1593" creationId="{6BDEA4E6-357A-2358-2347-22267E74416D}"/>
          </ac:cxnSpMkLst>
        </pc:cxnChg>
        <pc:cxnChg chg="mod ord">
          <ac:chgData name="Yudi Zhu" userId="571e1a55-055f-4c28-8b35-fca6dd1c1369" providerId="ADAL" clId="{75A88773-6EE1-484E-AADE-FE631E01463B}" dt="2025-11-26T03:58:23.527" v="749649"/>
          <ac:cxnSpMkLst>
            <pc:docMk/>
            <pc:sldMk cId="3562512749" sldId="2147483103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6T03:58:23.590" v="749813"/>
          <ac:cxnSpMkLst>
            <pc:docMk/>
            <pc:sldMk cId="3562512749" sldId="2147483103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6T03:58:23.590" v="749815"/>
          <ac:cxnSpMkLst>
            <pc:docMk/>
            <pc:sldMk cId="3562512749" sldId="2147483103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6T03:58:23.590" v="749817"/>
          <ac:cxnSpMkLst>
            <pc:docMk/>
            <pc:sldMk cId="3562512749" sldId="2147483103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6T03:58:23.598" v="749833"/>
          <ac:cxnSpMkLst>
            <pc:docMk/>
            <pc:sldMk cId="3562512749" sldId="2147483103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6T03:58:23.598" v="749835"/>
          <ac:cxnSpMkLst>
            <pc:docMk/>
            <pc:sldMk cId="3562512749" sldId="2147483103"/>
            <ac:cxnSpMk id="1719" creationId="{86D50972-24CA-21B3-7A84-225DF0E2D40A}"/>
          </ac:cxnSpMkLst>
        </pc:cxnChg>
        <pc:cxnChg chg="mod ord">
          <ac:chgData name="Yudi Zhu" userId="571e1a55-055f-4c28-8b35-fca6dd1c1369" providerId="ADAL" clId="{75A88773-6EE1-484E-AADE-FE631E01463B}" dt="2025-11-26T03:58:23.598" v="749831"/>
          <ac:cxnSpMkLst>
            <pc:docMk/>
            <pc:sldMk cId="3562512749" sldId="2147483103"/>
            <ac:cxnSpMk id="1753" creationId="{6F89B6DC-E3F5-CD48-0D46-FFAA36062107}"/>
          </ac:cxnSpMkLst>
        </pc:cxnChg>
        <pc:cxnChg chg="add mod ord">
          <ac:chgData name="Yudi Zhu" userId="571e1a55-055f-4c28-8b35-fca6dd1c1369" providerId="ADAL" clId="{75A88773-6EE1-484E-AADE-FE631E01463B}" dt="2025-11-26T03:58:23.543" v="749706"/>
          <ac:cxnSpMkLst>
            <pc:docMk/>
            <pc:sldMk cId="3562512749" sldId="2147483103"/>
            <ac:cxnSpMk id="1859" creationId="{D805BE5A-A933-FC63-6668-1686A3895080}"/>
          </ac:cxnSpMkLst>
        </pc:cxnChg>
        <pc:cxnChg chg="mod ord">
          <ac:chgData name="Yudi Zhu" userId="571e1a55-055f-4c28-8b35-fca6dd1c1369" providerId="ADAL" clId="{75A88773-6EE1-484E-AADE-FE631E01463B}" dt="2025-11-26T03:58:23.641" v="749954"/>
          <ac:cxnSpMkLst>
            <pc:docMk/>
            <pc:sldMk cId="3562512749" sldId="2147483103"/>
            <ac:cxnSpMk id="1862" creationId="{91C00302-45AE-14F2-B541-2E8ED262889F}"/>
          </ac:cxnSpMkLst>
        </pc:cxnChg>
        <pc:cxnChg chg="mod ord">
          <ac:chgData name="Yudi Zhu" userId="571e1a55-055f-4c28-8b35-fca6dd1c1369" providerId="ADAL" clId="{75A88773-6EE1-484E-AADE-FE631E01463B}" dt="2025-11-26T03:58:23.527" v="749698"/>
          <ac:cxnSpMkLst>
            <pc:docMk/>
            <pc:sldMk cId="3562512749" sldId="2147483103"/>
            <ac:cxnSpMk id="1863" creationId="{B8AA131A-CAA6-74F0-35F0-4DD438CF1123}"/>
          </ac:cxnSpMkLst>
        </pc:cxnChg>
        <pc:cxnChg chg="mod ord">
          <ac:chgData name="Yudi Zhu" userId="571e1a55-055f-4c28-8b35-fca6dd1c1369" providerId="ADAL" clId="{75A88773-6EE1-484E-AADE-FE631E01463B}" dt="2025-11-26T03:58:23.626" v="749904"/>
          <ac:cxnSpMkLst>
            <pc:docMk/>
            <pc:sldMk cId="3562512749" sldId="2147483103"/>
            <ac:cxnSpMk id="1864" creationId="{BD434C9F-CE09-2FCC-3558-32D5184CF9A3}"/>
          </ac:cxnSpMkLst>
        </pc:cxnChg>
        <pc:cxnChg chg="mod ord">
          <ac:chgData name="Yudi Zhu" userId="571e1a55-055f-4c28-8b35-fca6dd1c1369" providerId="ADAL" clId="{75A88773-6EE1-484E-AADE-FE631E01463B}" dt="2025-11-26T03:58:23.527" v="749690"/>
          <ac:cxnSpMkLst>
            <pc:docMk/>
            <pc:sldMk cId="3562512749" sldId="2147483103"/>
            <ac:cxnSpMk id="1865" creationId="{B596BBA7-CFA8-C7CD-A259-A5D704AA331F}"/>
          </ac:cxnSpMkLst>
        </pc:cxnChg>
        <pc:cxnChg chg="mod ord">
          <ac:chgData name="Yudi Zhu" userId="571e1a55-055f-4c28-8b35-fca6dd1c1369" providerId="ADAL" clId="{75A88773-6EE1-484E-AADE-FE631E01463B}" dt="2025-11-26T03:58:23.543" v="749702"/>
          <ac:cxnSpMkLst>
            <pc:docMk/>
            <pc:sldMk cId="3562512749" sldId="2147483103"/>
            <ac:cxnSpMk id="1866" creationId="{29349289-6412-CAD0-5975-DDD3A3E03B9B}"/>
          </ac:cxnSpMkLst>
        </pc:cxnChg>
        <pc:cxnChg chg="mod ord">
          <ac:chgData name="Yudi Zhu" userId="571e1a55-055f-4c28-8b35-fca6dd1c1369" providerId="ADAL" clId="{75A88773-6EE1-484E-AADE-FE631E01463B}" dt="2025-11-26T03:58:23.640" v="749948"/>
          <ac:cxnSpMkLst>
            <pc:docMk/>
            <pc:sldMk cId="3562512749" sldId="2147483103"/>
            <ac:cxnSpMk id="1867" creationId="{5620269F-6135-C4D2-BCC3-936DCB4BB8D3}"/>
          </ac:cxnSpMkLst>
        </pc:cxnChg>
        <pc:cxnChg chg="add mod ord">
          <ac:chgData name="Yudi Zhu" userId="571e1a55-055f-4c28-8b35-fca6dd1c1369" providerId="ADAL" clId="{75A88773-6EE1-484E-AADE-FE631E01463B}" dt="2025-11-26T03:58:23.543" v="749708"/>
          <ac:cxnSpMkLst>
            <pc:docMk/>
            <pc:sldMk cId="3562512749" sldId="2147483103"/>
            <ac:cxnSpMk id="1901" creationId="{D17B6818-B762-3B57-676C-96B1EC75F88B}"/>
          </ac:cxnSpMkLst>
        </pc:cxnChg>
        <pc:cxnChg chg="add mod ord">
          <ac:chgData name="Yudi Zhu" userId="571e1a55-055f-4c28-8b35-fca6dd1c1369" providerId="ADAL" clId="{75A88773-6EE1-484E-AADE-FE631E01463B}" dt="2025-11-26T03:58:23.527" v="749671"/>
          <ac:cxnSpMkLst>
            <pc:docMk/>
            <pc:sldMk cId="3562512749" sldId="2147483103"/>
            <ac:cxnSpMk id="1904" creationId="{251A06A5-20E5-A7A4-943D-B7F4B82C42D9}"/>
          </ac:cxnSpMkLst>
        </pc:cxnChg>
        <pc:cxnChg chg="mod ord">
          <ac:chgData name="Yudi Zhu" userId="571e1a55-055f-4c28-8b35-fca6dd1c1369" providerId="ADAL" clId="{75A88773-6EE1-484E-AADE-FE631E01463B}" dt="2025-11-26T03:58:23.560" v="749742"/>
          <ac:cxnSpMkLst>
            <pc:docMk/>
            <pc:sldMk cId="3562512749" sldId="2147483103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6T03:58:23.560" v="749744"/>
          <ac:cxnSpMkLst>
            <pc:docMk/>
            <pc:sldMk cId="3562512749" sldId="2147483103"/>
            <ac:cxnSpMk id="1916" creationId="{7945F6A2-9F38-277D-F5AE-EF96B3C11E5E}"/>
          </ac:cxnSpMkLst>
        </pc:cxnChg>
        <pc:cxnChg chg="mod ord">
          <ac:chgData name="Yudi Zhu" userId="571e1a55-055f-4c28-8b35-fca6dd1c1369" providerId="ADAL" clId="{75A88773-6EE1-484E-AADE-FE631E01463B}" dt="2025-11-26T03:58:23.634" v="749928"/>
          <ac:cxnSpMkLst>
            <pc:docMk/>
            <pc:sldMk cId="3562512749" sldId="2147483103"/>
            <ac:cxnSpMk id="1946" creationId="{740B77F3-F5EF-99B7-D85D-596545B2F04F}"/>
          </ac:cxnSpMkLst>
        </pc:cxnChg>
        <pc:cxnChg chg="mod ord">
          <ac:chgData name="Yudi Zhu" userId="571e1a55-055f-4c28-8b35-fca6dd1c1369" providerId="ADAL" clId="{75A88773-6EE1-484E-AADE-FE631E01463B}" dt="2025-11-26T03:58:23.632" v="749922"/>
          <ac:cxnSpMkLst>
            <pc:docMk/>
            <pc:sldMk cId="3562512749" sldId="2147483103"/>
            <ac:cxnSpMk id="1947" creationId="{17B4B5F2-E8FC-ADF3-19A3-A3DB0AB35F4C}"/>
          </ac:cxnSpMkLst>
        </pc:cxnChg>
        <pc:cxnChg chg="mod ord">
          <ac:chgData name="Yudi Zhu" userId="571e1a55-055f-4c28-8b35-fca6dd1c1369" providerId="ADAL" clId="{75A88773-6EE1-484E-AADE-FE631E01463B}" dt="2025-11-26T03:58:23.630" v="749914"/>
          <ac:cxnSpMkLst>
            <pc:docMk/>
            <pc:sldMk cId="3562512749" sldId="2147483103"/>
            <ac:cxnSpMk id="1949" creationId="{C9EE11E5-6901-6EAB-7E18-5ED9D6913D4C}"/>
          </ac:cxnSpMkLst>
        </pc:cxnChg>
        <pc:cxnChg chg="del mod ord">
          <ac:chgData name="Yudi Zhu" userId="571e1a55-055f-4c28-8b35-fca6dd1c1369" providerId="ADAL" clId="{75A88773-6EE1-484E-AADE-FE631E01463B}" dt="2025-11-26T03:51:34.146" v="728936"/>
          <ac:cxnSpMkLst>
            <pc:docMk/>
            <pc:sldMk cId="3562512749" sldId="2147483103"/>
            <ac:cxnSpMk id="1950" creationId="{BB5813E0-A557-C003-BCB5-75AD7EDCD463}"/>
          </ac:cxnSpMkLst>
        </pc:cxnChg>
        <pc:cxnChg chg="mod ord">
          <ac:chgData name="Yudi Zhu" userId="571e1a55-055f-4c28-8b35-fca6dd1c1369" providerId="ADAL" clId="{75A88773-6EE1-484E-AADE-FE631E01463B}" dt="2025-11-26T03:58:23.639" v="749944"/>
          <ac:cxnSpMkLst>
            <pc:docMk/>
            <pc:sldMk cId="3562512749" sldId="2147483103"/>
            <ac:cxnSpMk id="1952" creationId="{9F6C5C97-6F97-B3B9-2103-574FFD071DD2}"/>
          </ac:cxnSpMkLst>
        </pc:cxnChg>
        <pc:cxnChg chg="mod ord">
          <ac:chgData name="Yudi Zhu" userId="571e1a55-055f-4c28-8b35-fca6dd1c1369" providerId="ADAL" clId="{75A88773-6EE1-484E-AADE-FE631E01463B}" dt="2025-11-26T03:58:23.624" v="749894"/>
          <ac:cxnSpMkLst>
            <pc:docMk/>
            <pc:sldMk cId="3562512749" sldId="2147483103"/>
            <ac:cxnSpMk id="1954" creationId="{20A2C0B9-1883-F3FF-E1DC-752F91EC303A}"/>
          </ac:cxnSpMkLst>
        </pc:cxnChg>
        <pc:cxnChg chg="mod ord">
          <ac:chgData name="Yudi Zhu" userId="571e1a55-055f-4c28-8b35-fca6dd1c1369" providerId="ADAL" clId="{75A88773-6EE1-484E-AADE-FE631E01463B}" dt="2025-11-26T03:58:23.646" v="749970"/>
          <ac:cxnSpMkLst>
            <pc:docMk/>
            <pc:sldMk cId="3562512749" sldId="2147483103"/>
            <ac:cxnSpMk id="1956" creationId="{3A4F1EB6-E0BA-9C77-0516-25ED47D332AC}"/>
          </ac:cxnSpMkLst>
        </pc:cxnChg>
        <pc:cxnChg chg="mod ord">
          <ac:chgData name="Yudi Zhu" userId="571e1a55-055f-4c28-8b35-fca6dd1c1369" providerId="ADAL" clId="{75A88773-6EE1-484E-AADE-FE631E01463B}" dt="2025-11-26T03:58:23.638" v="749940"/>
          <ac:cxnSpMkLst>
            <pc:docMk/>
            <pc:sldMk cId="3562512749" sldId="2147483103"/>
            <ac:cxnSpMk id="1958" creationId="{81B721B0-A2A5-9559-32BC-23AEA842ABB2}"/>
          </ac:cxnSpMkLst>
        </pc:cxnChg>
        <pc:cxnChg chg="mod ord">
          <ac:chgData name="Yudi Zhu" userId="571e1a55-055f-4c28-8b35-fca6dd1c1369" providerId="ADAL" clId="{75A88773-6EE1-484E-AADE-FE631E01463B}" dt="2025-11-26T03:58:23.632" v="749920"/>
          <ac:cxnSpMkLst>
            <pc:docMk/>
            <pc:sldMk cId="3562512749" sldId="2147483103"/>
            <ac:cxnSpMk id="1960" creationId="{0D1E6ED6-6DFF-2EDC-F8E8-9FCDE6F4F1B4}"/>
          </ac:cxnSpMkLst>
        </pc:cxnChg>
        <pc:cxnChg chg="mod ord">
          <ac:chgData name="Yudi Zhu" userId="571e1a55-055f-4c28-8b35-fca6dd1c1369" providerId="ADAL" clId="{75A88773-6EE1-484E-AADE-FE631E01463B}" dt="2025-11-26T03:58:23.629" v="749910"/>
          <ac:cxnSpMkLst>
            <pc:docMk/>
            <pc:sldMk cId="3562512749" sldId="2147483103"/>
            <ac:cxnSpMk id="1961" creationId="{7363D516-3D68-CDA6-D255-19B788285CA6}"/>
          </ac:cxnSpMkLst>
        </pc:cxnChg>
        <pc:cxnChg chg="mod ord">
          <ac:chgData name="Yudi Zhu" userId="571e1a55-055f-4c28-8b35-fca6dd1c1369" providerId="ADAL" clId="{75A88773-6EE1-484E-AADE-FE631E01463B}" dt="2025-11-26T03:58:23.642" v="749958"/>
          <ac:cxnSpMkLst>
            <pc:docMk/>
            <pc:sldMk cId="3562512749" sldId="2147483103"/>
            <ac:cxnSpMk id="1963" creationId="{4FE9B648-3270-C095-2F9D-1A0856AE5A28}"/>
          </ac:cxnSpMkLst>
        </pc:cxnChg>
        <pc:cxnChg chg="mod ord">
          <ac:chgData name="Yudi Zhu" userId="571e1a55-055f-4c28-8b35-fca6dd1c1369" providerId="ADAL" clId="{75A88773-6EE1-484E-AADE-FE631E01463B}" dt="2025-11-26T03:58:23.623" v="749890"/>
          <ac:cxnSpMkLst>
            <pc:docMk/>
            <pc:sldMk cId="3562512749" sldId="2147483103"/>
            <ac:cxnSpMk id="1965" creationId="{9BE48E32-BAF6-B9CC-D505-9C85A23EB2C2}"/>
          </ac:cxnSpMkLst>
        </pc:cxnChg>
        <pc:cxnChg chg="add del mod ord">
          <ac:chgData name="Yudi Zhu" userId="571e1a55-055f-4c28-8b35-fca6dd1c1369" providerId="ADAL" clId="{75A88773-6EE1-484E-AADE-FE631E01463B}" dt="2025-11-26T03:51:39.228" v="730347"/>
          <ac:cxnSpMkLst>
            <pc:docMk/>
            <pc:sldMk cId="3562512749" sldId="2147483103"/>
            <ac:cxnSpMk id="1966" creationId="{ABA1C3AD-FD80-80D2-1A2E-FE14C7A9EA55}"/>
          </ac:cxnSpMkLst>
        </pc:cxnChg>
        <pc:cxnChg chg="mod ord">
          <ac:chgData name="Yudi Zhu" userId="571e1a55-055f-4c28-8b35-fca6dd1c1369" providerId="ADAL" clId="{75A88773-6EE1-484E-AADE-FE631E01463B}" dt="2025-11-26T03:58:23.633" v="749924"/>
          <ac:cxnSpMkLst>
            <pc:docMk/>
            <pc:sldMk cId="3562512749" sldId="2147483103"/>
            <ac:cxnSpMk id="1967" creationId="{EDAA4A02-6541-F89F-268C-C83BBCCEE0EC}"/>
          </ac:cxnSpMkLst>
        </pc:cxnChg>
        <pc:cxnChg chg="mod ord">
          <ac:chgData name="Yudi Zhu" userId="571e1a55-055f-4c28-8b35-fca6dd1c1369" providerId="ADAL" clId="{75A88773-6EE1-484E-AADE-FE631E01463B}" dt="2025-11-26T03:58:23.635" v="749932"/>
          <ac:cxnSpMkLst>
            <pc:docMk/>
            <pc:sldMk cId="3562512749" sldId="2147483103"/>
            <ac:cxnSpMk id="1968" creationId="{A8892081-58E1-8C46-B95A-9A34557F7E70}"/>
          </ac:cxnSpMkLst>
        </pc:cxnChg>
        <pc:cxnChg chg="add del mod ord">
          <ac:chgData name="Yudi Zhu" userId="571e1a55-055f-4c28-8b35-fca6dd1c1369" providerId="ADAL" clId="{75A88773-6EE1-484E-AADE-FE631E01463B}" dt="2025-11-26T03:51:39.263" v="730411"/>
          <ac:cxnSpMkLst>
            <pc:docMk/>
            <pc:sldMk cId="3562512749" sldId="2147483103"/>
            <ac:cxnSpMk id="1969" creationId="{5D1EA075-2791-DCF8-6084-B1D0333F67E6}"/>
          </ac:cxnSpMkLst>
        </pc:cxnChg>
        <pc:cxnChg chg="mod ord">
          <ac:chgData name="Yudi Zhu" userId="571e1a55-055f-4c28-8b35-fca6dd1c1369" providerId="ADAL" clId="{75A88773-6EE1-484E-AADE-FE631E01463B}" dt="2025-11-26T03:58:23.631" v="749918"/>
          <ac:cxnSpMkLst>
            <pc:docMk/>
            <pc:sldMk cId="3562512749" sldId="2147483103"/>
            <ac:cxnSpMk id="1970" creationId="{B61163D6-94CA-2F7C-186C-F48DF9E6356C}"/>
          </ac:cxnSpMkLst>
        </pc:cxnChg>
        <pc:cxnChg chg="mod ord">
          <ac:chgData name="Yudi Zhu" userId="571e1a55-055f-4c28-8b35-fca6dd1c1369" providerId="ADAL" clId="{75A88773-6EE1-484E-AADE-FE631E01463B}" dt="2025-11-26T03:58:23.625" v="749900"/>
          <ac:cxnSpMkLst>
            <pc:docMk/>
            <pc:sldMk cId="3562512749" sldId="2147483103"/>
            <ac:cxnSpMk id="1971" creationId="{C76DB44D-D127-F15A-CD49-74A578661CB9}"/>
          </ac:cxnSpMkLst>
        </pc:cxnChg>
        <pc:cxnChg chg="del mod ord">
          <ac:chgData name="Yudi Zhu" userId="571e1a55-055f-4c28-8b35-fca6dd1c1369" providerId="ADAL" clId="{75A88773-6EE1-484E-AADE-FE631E01463B}" dt="2025-11-26T03:51:34.501" v="729192"/>
          <ac:cxnSpMkLst>
            <pc:docMk/>
            <pc:sldMk cId="3562512749" sldId="2147483103"/>
            <ac:cxnSpMk id="1972" creationId="{946F64BB-7EDF-43B9-855E-C56DFD4F7694}"/>
          </ac:cxnSpMkLst>
        </pc:cxnChg>
        <pc:cxnChg chg="mod ord">
          <ac:chgData name="Yudi Zhu" userId="571e1a55-055f-4c28-8b35-fca6dd1c1369" providerId="ADAL" clId="{75A88773-6EE1-484E-AADE-FE631E01463B}" dt="2025-11-26T03:58:23.625" v="749898"/>
          <ac:cxnSpMkLst>
            <pc:docMk/>
            <pc:sldMk cId="3562512749" sldId="2147483103"/>
            <ac:cxnSpMk id="1973" creationId="{085651EA-5F71-39DB-DA57-2D49ED431E64}"/>
          </ac:cxnSpMkLst>
        </pc:cxnChg>
        <pc:cxnChg chg="mod ord">
          <ac:chgData name="Yudi Zhu" userId="571e1a55-055f-4c28-8b35-fca6dd1c1369" providerId="ADAL" clId="{75A88773-6EE1-484E-AADE-FE631E01463B}" dt="2025-11-26T03:58:23.627" v="749906"/>
          <ac:cxnSpMkLst>
            <pc:docMk/>
            <pc:sldMk cId="3562512749" sldId="2147483103"/>
            <ac:cxnSpMk id="1974" creationId="{C67D8BD1-7F82-C908-2853-6E93AA4946A0}"/>
          </ac:cxnSpMkLst>
        </pc:cxnChg>
        <pc:cxnChg chg="del mod ord">
          <ac:chgData name="Yudi Zhu" userId="571e1a55-055f-4c28-8b35-fca6dd1c1369" providerId="ADAL" clId="{75A88773-6EE1-484E-AADE-FE631E01463B}" dt="2025-11-26T03:51:34.563" v="729246"/>
          <ac:cxnSpMkLst>
            <pc:docMk/>
            <pc:sldMk cId="3562512749" sldId="2147483103"/>
            <ac:cxnSpMk id="1975" creationId="{4DA23102-C219-DB2E-2336-133280BA7949}"/>
          </ac:cxnSpMkLst>
        </pc:cxnChg>
        <pc:cxnChg chg="mod ord">
          <ac:chgData name="Yudi Zhu" userId="571e1a55-055f-4c28-8b35-fca6dd1c1369" providerId="ADAL" clId="{75A88773-6EE1-484E-AADE-FE631E01463B}" dt="2025-11-26T03:58:23.626" v="749902"/>
          <ac:cxnSpMkLst>
            <pc:docMk/>
            <pc:sldMk cId="3562512749" sldId="2147483103"/>
            <ac:cxnSpMk id="1976" creationId="{E0490FFC-C605-4FCB-60BE-1EAB7760BB1D}"/>
          </ac:cxnSpMkLst>
        </pc:cxnChg>
        <pc:cxnChg chg="add del mod ord">
          <ac:chgData name="Yudi Zhu" userId="571e1a55-055f-4c28-8b35-fca6dd1c1369" providerId="ADAL" clId="{75A88773-6EE1-484E-AADE-FE631E01463B}" dt="2025-11-26T03:51:39.308" v="730476"/>
          <ac:cxnSpMkLst>
            <pc:docMk/>
            <pc:sldMk cId="3562512749" sldId="2147483103"/>
            <ac:cxnSpMk id="1977" creationId="{9D5E1757-26DD-2AF6-57C4-1D5AD7E849CC}"/>
          </ac:cxnSpMkLst>
        </pc:cxnChg>
        <pc:cxnChg chg="mod ord">
          <ac:chgData name="Yudi Zhu" userId="571e1a55-055f-4c28-8b35-fca6dd1c1369" providerId="ADAL" clId="{75A88773-6EE1-484E-AADE-FE631E01463B}" dt="2025-11-26T03:58:23.607" v="749853"/>
          <ac:cxnSpMkLst>
            <pc:docMk/>
            <pc:sldMk cId="3562512749" sldId="2147483103"/>
            <ac:cxnSpMk id="1978" creationId="{8C8C90B0-867A-6A74-FA4A-96AD431191E3}"/>
          </ac:cxnSpMkLst>
        </pc:cxnChg>
        <pc:cxnChg chg="add del mod ord">
          <ac:chgData name="Yudi Zhu" userId="571e1a55-055f-4c28-8b35-fca6dd1c1369" providerId="ADAL" clId="{75A88773-6EE1-484E-AADE-FE631E01463B}" dt="2025-11-26T03:51:39.396" v="730625"/>
          <ac:cxnSpMkLst>
            <pc:docMk/>
            <pc:sldMk cId="3562512749" sldId="2147483103"/>
            <ac:cxnSpMk id="1979" creationId="{A2C8E910-D043-FC54-F6CA-A5F9B77A9085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4:00:14.274" v="754500"/>
        <pc:sldMkLst>
          <pc:docMk/>
          <pc:sldMk cId="1064624314" sldId="2147483104"/>
        </pc:sldMkLst>
        <pc:spChg chg="mod ord">
          <ac:chgData name="Yudi Zhu" userId="571e1a55-055f-4c28-8b35-fca6dd1c1369" providerId="ADAL" clId="{75A88773-6EE1-484E-AADE-FE631E01463B}" dt="2025-11-26T04:00:14.274" v="754498" actId="948"/>
          <ac:spMkLst>
            <pc:docMk/>
            <pc:sldMk cId="1064624314" sldId="2147483104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6T03:40:31.302" v="708820"/>
          <ac:spMkLst>
            <pc:docMk/>
            <pc:sldMk cId="1064624314" sldId="2147483104"/>
            <ac:spMk id="3" creationId="{D42E092B-5B44-EC44-B5BC-72CFD04A0FC1}"/>
          </ac:spMkLst>
        </pc:spChg>
        <pc:spChg chg="del mod ord">
          <ac:chgData name="Yudi Zhu" userId="571e1a55-055f-4c28-8b35-fca6dd1c1369" providerId="ADAL" clId="{75A88773-6EE1-484E-AADE-FE631E01463B}" dt="2025-11-26T03:53:47.754" v="733685"/>
          <ac:spMkLst>
            <pc:docMk/>
            <pc:sldMk cId="1064624314" sldId="2147483104"/>
            <ac:spMk id="4" creationId="{ABF05F1C-33DD-11FD-0425-CA8E1F53B05D}"/>
          </ac:spMkLst>
        </pc:spChg>
        <pc:spChg chg="del mod ord">
          <ac:chgData name="Yudi Zhu" userId="571e1a55-055f-4c28-8b35-fca6dd1c1369" providerId="ADAL" clId="{75A88773-6EE1-484E-AADE-FE631E01463B}" dt="2025-11-26T03:53:47.770" v="733700"/>
          <ac:spMkLst>
            <pc:docMk/>
            <pc:sldMk cId="1064624314" sldId="2147483104"/>
            <ac:spMk id="5" creationId="{B23C1F1A-3BC3-0799-840F-2C298F88B503}"/>
          </ac:spMkLst>
        </pc:spChg>
        <pc:spChg chg="del mod">
          <ac:chgData name="Yudi Zhu" userId="571e1a55-055f-4c28-8b35-fca6dd1c1369" providerId="ADAL" clId="{75A88773-6EE1-484E-AADE-FE631E01463B}" dt="2025-11-26T03:53:47.770" v="733714"/>
          <ac:spMkLst>
            <pc:docMk/>
            <pc:sldMk cId="1064624314" sldId="2147483104"/>
            <ac:spMk id="6" creationId="{2C2C4ED7-102B-7A76-0459-EFFFF9DA3BA3}"/>
          </ac:spMkLst>
        </pc:spChg>
        <pc:spChg chg="del mod ord">
          <ac:chgData name="Yudi Zhu" userId="571e1a55-055f-4c28-8b35-fca6dd1c1369" providerId="ADAL" clId="{75A88773-6EE1-484E-AADE-FE631E01463B}" dt="2025-11-26T03:53:47.794" v="733726"/>
          <ac:spMkLst>
            <pc:docMk/>
            <pc:sldMk cId="1064624314" sldId="2147483104"/>
            <ac:spMk id="7" creationId="{4297C3C8-DAFC-C3E7-B6A2-6544A4C7CC5D}"/>
          </ac:spMkLst>
        </pc:spChg>
        <pc:spChg chg="del mod ord">
          <ac:chgData name="Yudi Zhu" userId="571e1a55-055f-4c28-8b35-fca6dd1c1369" providerId="ADAL" clId="{75A88773-6EE1-484E-AADE-FE631E01463B}" dt="2025-11-26T03:53:47.802" v="733741"/>
          <ac:spMkLst>
            <pc:docMk/>
            <pc:sldMk cId="1064624314" sldId="2147483104"/>
            <ac:spMk id="8" creationId="{BD021103-5F81-10F4-C4B4-1850B5EE2255}"/>
          </ac:spMkLst>
        </pc:spChg>
        <pc:spChg chg="del mod">
          <ac:chgData name="Yudi Zhu" userId="571e1a55-055f-4c28-8b35-fca6dd1c1369" providerId="ADAL" clId="{75A88773-6EE1-484E-AADE-FE631E01463B}" dt="2025-11-26T03:53:47.819" v="733755"/>
          <ac:spMkLst>
            <pc:docMk/>
            <pc:sldMk cId="1064624314" sldId="2147483104"/>
            <ac:spMk id="9" creationId="{016566AD-0B56-AD0F-0663-30E06A491A07}"/>
          </ac:spMkLst>
        </pc:spChg>
        <pc:spChg chg="add del mod modVis">
          <ac:chgData name="Yudi Zhu" userId="571e1a55-055f-4c28-8b35-fca6dd1c1369" providerId="ADAL" clId="{75A88773-6EE1-484E-AADE-FE631E01463B}" dt="2025-11-26T03:46:18.236" v="712623"/>
          <ac:spMkLst>
            <pc:docMk/>
            <pc:sldMk cId="1064624314" sldId="2147483104"/>
            <ac:spMk id="10" creationId="{B124C6BE-0B04-898F-1845-67005797CFB8}"/>
          </ac:spMkLst>
        </pc:spChg>
        <pc:spChg chg="add del mod modVis">
          <ac:chgData name="Yudi Zhu" userId="571e1a55-055f-4c28-8b35-fca6dd1c1369" providerId="ADAL" clId="{75A88773-6EE1-484E-AADE-FE631E01463B}" dt="2025-11-26T03:53:29.158" v="732322"/>
          <ac:spMkLst>
            <pc:docMk/>
            <pc:sldMk cId="1064624314" sldId="2147483104"/>
            <ac:spMk id="14" creationId="{8D8A7639-5E68-EF4D-C367-119F5381B11A}"/>
          </ac:spMkLst>
        </pc:spChg>
        <pc:spChg chg="add del mod modVis">
          <ac:chgData name="Yudi Zhu" userId="571e1a55-055f-4c28-8b35-fca6dd1c1369" providerId="ADAL" clId="{75A88773-6EE1-484E-AADE-FE631E01463B}" dt="2025-11-26T03:53:32.772" v="732939"/>
          <ac:spMkLst>
            <pc:docMk/>
            <pc:sldMk cId="1064624314" sldId="2147483104"/>
            <ac:spMk id="17" creationId="{19C7D917-C569-CCA7-1292-133C1996A72D}"/>
          </ac:spMkLst>
        </pc:spChg>
        <pc:spChg chg="add del mod modVis">
          <ac:chgData name="Yudi Zhu" userId="571e1a55-055f-4c28-8b35-fca6dd1c1369" providerId="ADAL" clId="{75A88773-6EE1-484E-AADE-FE631E01463B}" dt="2025-11-26T03:53:37.128" v="733645"/>
          <ac:spMkLst>
            <pc:docMk/>
            <pc:sldMk cId="1064624314" sldId="2147483104"/>
            <ac:spMk id="19" creationId="{42A2CCBE-FF67-3C47-466D-8567A22F092E}"/>
          </ac:spMkLst>
        </pc:spChg>
        <pc:spChg chg="add mod ord">
          <ac:chgData name="Yudi Zhu" userId="571e1a55-055f-4c28-8b35-fca6dd1c1369" providerId="ADAL" clId="{75A88773-6EE1-484E-AADE-FE631E01463B}" dt="2025-11-26T03:58:52.809" v="751660"/>
          <ac:spMkLst>
            <pc:docMk/>
            <pc:sldMk cId="1064624314" sldId="2147483104"/>
            <ac:spMk id="41" creationId="{C9D96E33-CCCC-26CC-CF24-C40C38A88A6A}"/>
          </ac:spMkLst>
        </pc:spChg>
        <pc:spChg chg="add mod ord">
          <ac:chgData name="Yudi Zhu" userId="571e1a55-055f-4c28-8b35-fca6dd1c1369" providerId="ADAL" clId="{75A88773-6EE1-484E-AADE-FE631E01463B}" dt="2025-11-26T03:58:52.809" v="751662"/>
          <ac:spMkLst>
            <pc:docMk/>
            <pc:sldMk cId="1064624314" sldId="2147483104"/>
            <ac:spMk id="42" creationId="{F6866FA0-0127-F88B-FCB3-88930758BDFA}"/>
          </ac:spMkLst>
        </pc:spChg>
        <pc:spChg chg="add mod">
          <ac:chgData name="Yudi Zhu" userId="571e1a55-055f-4c28-8b35-fca6dd1c1369" providerId="ADAL" clId="{75A88773-6EE1-484E-AADE-FE631E01463B}" dt="2025-11-26T03:58:52.809" v="751657"/>
          <ac:spMkLst>
            <pc:docMk/>
            <pc:sldMk cId="1064624314" sldId="2147483104"/>
            <ac:spMk id="46" creationId="{69F09A07-E7B2-514E-6B64-DB4E6FD98146}"/>
          </ac:spMkLst>
        </pc:spChg>
        <pc:spChg chg="add mod ord">
          <ac:chgData name="Yudi Zhu" userId="571e1a55-055f-4c28-8b35-fca6dd1c1369" providerId="ADAL" clId="{75A88773-6EE1-484E-AADE-FE631E01463B}" dt="2025-11-26T03:58:52.809" v="751664"/>
          <ac:spMkLst>
            <pc:docMk/>
            <pc:sldMk cId="1064624314" sldId="2147483104"/>
            <ac:spMk id="50" creationId="{C01CD517-3F7B-33D6-C443-588158AD8A09}"/>
          </ac:spMkLst>
        </pc:spChg>
        <pc:spChg chg="add mod ord">
          <ac:chgData name="Yudi Zhu" userId="571e1a55-055f-4c28-8b35-fca6dd1c1369" providerId="ADAL" clId="{75A88773-6EE1-484E-AADE-FE631E01463B}" dt="2025-11-26T03:58:52.809" v="751666"/>
          <ac:spMkLst>
            <pc:docMk/>
            <pc:sldMk cId="1064624314" sldId="2147483104"/>
            <ac:spMk id="51" creationId="{B36A05EE-7368-64D1-BB0A-65CB63986185}"/>
          </ac:spMkLst>
        </pc:spChg>
        <pc:spChg chg="add mod">
          <ac:chgData name="Yudi Zhu" userId="571e1a55-055f-4c28-8b35-fca6dd1c1369" providerId="ADAL" clId="{75A88773-6EE1-484E-AADE-FE631E01463B}" dt="2025-11-26T03:58:52.809" v="751658"/>
          <ac:spMkLst>
            <pc:docMk/>
            <pc:sldMk cId="1064624314" sldId="2147483104"/>
            <ac:spMk id="52" creationId="{F9CC860E-7E24-BCAD-12C7-B922B757E3EA}"/>
          </ac:spMkLst>
        </pc:spChg>
        <pc:spChg chg="add del mod modVis">
          <ac:chgData name="Yudi Zhu" userId="571e1a55-055f-4c28-8b35-fca6dd1c1369" providerId="ADAL" clId="{75A88773-6EE1-484E-AADE-FE631E01463B}" dt="2025-11-26T03:53:48.229" v="734287"/>
          <ac:spMkLst>
            <pc:docMk/>
            <pc:sldMk cId="1064624314" sldId="2147483104"/>
            <ac:spMk id="53" creationId="{24917995-6D0B-54D5-1DF3-8E078D5F6448}"/>
          </ac:spMkLst>
        </pc:spChg>
        <pc:spChg chg="add del mod modVis">
          <ac:chgData name="Yudi Zhu" userId="571e1a55-055f-4c28-8b35-fca6dd1c1369" providerId="ADAL" clId="{75A88773-6EE1-484E-AADE-FE631E01463B}" dt="2025-11-26T03:53:52.105" v="734799"/>
          <ac:spMkLst>
            <pc:docMk/>
            <pc:sldMk cId="1064624314" sldId="2147483104"/>
            <ac:spMk id="55" creationId="{F89483FF-391E-B0C0-3F50-D0E17A991577}"/>
          </ac:spMkLst>
        </pc:spChg>
        <pc:spChg chg="add del mod modVis">
          <ac:chgData name="Yudi Zhu" userId="571e1a55-055f-4c28-8b35-fca6dd1c1369" providerId="ADAL" clId="{75A88773-6EE1-484E-AADE-FE631E01463B}" dt="2025-11-26T03:54:00.538" v="735297"/>
          <ac:spMkLst>
            <pc:docMk/>
            <pc:sldMk cId="1064624314" sldId="2147483104"/>
            <ac:spMk id="57" creationId="{6D4033BA-0BB8-56F6-EDCA-D125A01A9885}"/>
          </ac:spMkLst>
        </pc:spChg>
        <pc:spChg chg="add del mod modVis">
          <ac:chgData name="Yudi Zhu" userId="571e1a55-055f-4c28-8b35-fca6dd1c1369" providerId="ADAL" clId="{75A88773-6EE1-484E-AADE-FE631E01463B}" dt="2025-11-26T03:54:03.273" v="735785"/>
          <ac:spMkLst>
            <pc:docMk/>
            <pc:sldMk cId="1064624314" sldId="2147483104"/>
            <ac:spMk id="59" creationId="{F0559201-091E-6395-E782-2F4CB690E187}"/>
          </ac:spMkLst>
        </pc:spChg>
        <pc:spChg chg="add del mod modVis">
          <ac:chgData name="Yudi Zhu" userId="571e1a55-055f-4c28-8b35-fca6dd1c1369" providerId="ADAL" clId="{75A88773-6EE1-484E-AADE-FE631E01463B}" dt="2025-11-26T03:54:24.592" v="736733"/>
          <ac:spMkLst>
            <pc:docMk/>
            <pc:sldMk cId="1064624314" sldId="2147483104"/>
            <ac:spMk id="61" creationId="{FA283571-7D78-B935-E32A-4F4C418879C6}"/>
          </ac:spMkLst>
        </pc:spChg>
        <pc:spChg chg="mod ord">
          <ac:chgData name="Yudi Zhu" userId="571e1a55-055f-4c28-8b35-fca6dd1c1369" providerId="ADAL" clId="{75A88773-6EE1-484E-AADE-FE631E01463B}" dt="2025-11-26T03:58:52.878" v="751854"/>
          <ac:spMkLst>
            <pc:docMk/>
            <pc:sldMk cId="1064624314" sldId="2147483104"/>
            <ac:spMk id="128" creationId="{406C4F68-E406-2910-B1EB-71C7C57EF1DD}"/>
          </ac:spMkLst>
        </pc:spChg>
        <pc:spChg chg="mod">
          <ac:chgData name="Yudi Zhu" userId="571e1a55-055f-4c28-8b35-fca6dd1c1369" providerId="ADAL" clId="{75A88773-6EE1-484E-AADE-FE631E01463B}" dt="2025-11-26T03:58:52.877" v="751851"/>
          <ac:spMkLst>
            <pc:docMk/>
            <pc:sldMk cId="1064624314" sldId="2147483104"/>
            <ac:spMk id="129" creationId="{B0C8AEF4-39AF-183D-83E0-75D4AEF3F2B2}"/>
          </ac:spMkLst>
        </pc:spChg>
        <pc:spChg chg="add del mod modVis">
          <ac:chgData name="Yudi Zhu" userId="571e1a55-055f-4c28-8b35-fca6dd1c1369" providerId="ADAL" clId="{75A88773-6EE1-484E-AADE-FE631E01463B}" dt="2025-11-26T03:57:07.167" v="749169"/>
          <ac:spMkLst>
            <pc:docMk/>
            <pc:sldMk cId="1064624314" sldId="2147483104"/>
            <ac:spMk id="130" creationId="{094FAF80-658B-060F-F740-59A0D560122A}"/>
          </ac:spMkLst>
        </pc:spChg>
        <pc:spChg chg="mod ord">
          <ac:chgData name="Yudi Zhu" userId="571e1a55-055f-4c28-8b35-fca6dd1c1369" providerId="ADAL" clId="{75A88773-6EE1-484E-AADE-FE631E01463B}" dt="2025-11-26T03:58:52.838" v="751753"/>
          <ac:spMkLst>
            <pc:docMk/>
            <pc:sldMk cId="1064624314" sldId="2147483104"/>
            <ac:spMk id="147" creationId="{8AC93658-285F-9E93-75E9-096FA300096A}"/>
          </ac:spMkLst>
        </pc:spChg>
        <pc:spChg chg="del mod ord">
          <ac:chgData name="Yudi Zhu" userId="571e1a55-055f-4c28-8b35-fca6dd1c1369" providerId="ADAL" clId="{75A88773-6EE1-484E-AADE-FE631E01463B}" dt="2025-11-26T03:57:06.427" v="748162"/>
          <ac:spMkLst>
            <pc:docMk/>
            <pc:sldMk cId="1064624314" sldId="2147483104"/>
            <ac:spMk id="148" creationId="{5F499E19-41E8-DB26-3E42-E587A115979D}"/>
          </ac:spMkLst>
        </pc:spChg>
        <pc:spChg chg="del mod ord">
          <ac:chgData name="Yudi Zhu" userId="571e1a55-055f-4c28-8b35-fca6dd1c1369" providerId="ADAL" clId="{75A88773-6EE1-484E-AADE-FE631E01463B}" dt="2025-11-26T03:57:06.483" v="748228"/>
          <ac:spMkLst>
            <pc:docMk/>
            <pc:sldMk cId="1064624314" sldId="2147483104"/>
            <ac:spMk id="149" creationId="{13FB7897-25D1-76AE-1F95-0A7BEA1C3C06}"/>
          </ac:spMkLst>
        </pc:spChg>
        <pc:spChg chg="del mod ord">
          <ac:chgData name="Yudi Zhu" userId="571e1a55-055f-4c28-8b35-fca6dd1c1369" providerId="ADAL" clId="{75A88773-6EE1-484E-AADE-FE631E01463B}" dt="2025-11-26T03:57:06.546" v="748297"/>
          <ac:spMkLst>
            <pc:docMk/>
            <pc:sldMk cId="1064624314" sldId="2147483104"/>
            <ac:spMk id="150" creationId="{B313F119-5079-3C27-29BE-A89A580929FA}"/>
          </ac:spMkLst>
        </pc:spChg>
        <pc:spChg chg="mod ord">
          <ac:chgData name="Yudi Zhu" userId="571e1a55-055f-4c28-8b35-fca6dd1c1369" providerId="ADAL" clId="{75A88773-6EE1-484E-AADE-FE631E01463B}" dt="2025-11-26T03:58:52.880" v="751865"/>
          <ac:spMkLst>
            <pc:docMk/>
            <pc:sldMk cId="1064624314" sldId="2147483104"/>
            <ac:spMk id="154" creationId="{CBDB35F6-6B9A-BF4E-E283-0B21641E0117}"/>
          </ac:spMkLst>
        </pc:spChg>
        <pc:spChg chg="mod ord">
          <ac:chgData name="Yudi Zhu" userId="571e1a55-055f-4c28-8b35-fca6dd1c1369" providerId="ADAL" clId="{75A88773-6EE1-484E-AADE-FE631E01463B}" dt="2025-11-26T03:58:52.895" v="751902"/>
          <ac:spMkLst>
            <pc:docMk/>
            <pc:sldMk cId="1064624314" sldId="2147483104"/>
            <ac:spMk id="155" creationId="{702CA7B5-A535-FAC0-8440-4BC4CF141BB7}"/>
          </ac:spMkLst>
        </pc:spChg>
        <pc:spChg chg="mod">
          <ac:chgData name="Yudi Zhu" userId="571e1a55-055f-4c28-8b35-fca6dd1c1369" providerId="ADAL" clId="{75A88773-6EE1-484E-AADE-FE631E01463B}" dt="2025-11-26T03:58:52.880" v="751861"/>
          <ac:spMkLst>
            <pc:docMk/>
            <pc:sldMk cId="1064624314" sldId="2147483104"/>
            <ac:spMk id="156" creationId="{78057A8B-CABE-ABE5-3079-1741B1A8B335}"/>
          </ac:spMkLst>
        </pc:spChg>
        <pc:spChg chg="add mod ord">
          <ac:chgData name="Yudi Zhu" userId="571e1a55-055f-4c28-8b35-fca6dd1c1369" providerId="ADAL" clId="{75A88773-6EE1-484E-AADE-FE631E01463B}" dt="2025-11-26T03:58:52.838" v="751751"/>
          <ac:spMkLst>
            <pc:docMk/>
            <pc:sldMk cId="1064624314" sldId="2147483104"/>
            <ac:spMk id="157" creationId="{EE22E366-EF71-CA1B-0254-EF2FB5D294CC}"/>
          </ac:spMkLst>
        </pc:spChg>
        <pc:spChg chg="add mod ord">
          <ac:chgData name="Yudi Zhu" userId="571e1a55-055f-4c28-8b35-fca6dd1c1369" providerId="ADAL" clId="{75A88773-6EE1-484E-AADE-FE631E01463B}" dt="2025-11-26T03:58:52.838" v="751749"/>
          <ac:spMkLst>
            <pc:docMk/>
            <pc:sldMk cId="1064624314" sldId="2147483104"/>
            <ac:spMk id="162" creationId="{6047AF59-BC70-A3F7-D6FC-0441F936FA0A}"/>
          </ac:spMkLst>
        </pc:spChg>
        <pc:spChg chg="add mod ord">
          <ac:chgData name="Yudi Zhu" userId="571e1a55-055f-4c28-8b35-fca6dd1c1369" providerId="ADAL" clId="{75A88773-6EE1-484E-AADE-FE631E01463B}" dt="2025-11-26T03:58:52.838" v="751747"/>
          <ac:spMkLst>
            <pc:docMk/>
            <pc:sldMk cId="1064624314" sldId="2147483104"/>
            <ac:spMk id="163" creationId="{4E36E030-37B8-CA3A-EDF6-06F3CE44128A}"/>
          </ac:spMkLst>
        </pc:spChg>
        <pc:spChg chg="add mod ord">
          <ac:chgData name="Yudi Zhu" userId="571e1a55-055f-4c28-8b35-fca6dd1c1369" providerId="ADAL" clId="{75A88773-6EE1-484E-AADE-FE631E01463B}" dt="2025-11-26T03:58:52.838" v="751745"/>
          <ac:spMkLst>
            <pc:docMk/>
            <pc:sldMk cId="1064624314" sldId="2147483104"/>
            <ac:spMk id="164" creationId="{0BD41C72-BCE7-CD67-96B0-A62AFCAA62F2}"/>
          </ac:spMkLst>
        </pc:spChg>
        <pc:spChg chg="mod">
          <ac:chgData name="Yudi Zhu" userId="571e1a55-055f-4c28-8b35-fca6dd1c1369" providerId="ADAL" clId="{75A88773-6EE1-484E-AADE-FE631E01463B}" dt="2025-11-26T03:58:52.880" v="751881"/>
          <ac:spMkLst>
            <pc:docMk/>
            <pc:sldMk cId="1064624314" sldId="2147483104"/>
            <ac:spMk id="182" creationId="{1018C9FC-2E0F-03E8-DD80-2216768A8CC7}"/>
          </ac:spMkLst>
        </pc:spChg>
        <pc:spChg chg="mod">
          <ac:chgData name="Yudi Zhu" userId="571e1a55-055f-4c28-8b35-fca6dd1c1369" providerId="ADAL" clId="{75A88773-6EE1-484E-AADE-FE631E01463B}" dt="2025-11-26T03:58:52.759" v="751569"/>
          <ac:spMkLst>
            <pc:docMk/>
            <pc:sldMk cId="1064624314" sldId="2147483104"/>
            <ac:spMk id="185" creationId="{CB21D502-9241-3FA4-E504-AA9F1B448F9B}"/>
          </ac:spMkLst>
        </pc:spChg>
        <pc:spChg chg="del mod ord">
          <ac:chgData name="Yudi Zhu" userId="571e1a55-055f-4c28-8b35-fca6dd1c1369" providerId="ADAL" clId="{75A88773-6EE1-484E-AADE-FE631E01463B}" dt="2025-11-26T03:54:24.032" v="736065"/>
          <ac:spMkLst>
            <pc:docMk/>
            <pc:sldMk cId="1064624314" sldId="2147483104"/>
            <ac:spMk id="186" creationId="{33ED4FAF-31BF-1539-5341-2EDEF95869F9}"/>
          </ac:spMkLst>
        </pc:spChg>
        <pc:spChg chg="del mod ord">
          <ac:chgData name="Yudi Zhu" userId="571e1a55-055f-4c28-8b35-fca6dd1c1369" providerId="ADAL" clId="{75A88773-6EE1-484E-AADE-FE631E01463B}" dt="2025-11-26T03:54:24.044" v="736071"/>
          <ac:spMkLst>
            <pc:docMk/>
            <pc:sldMk cId="1064624314" sldId="2147483104"/>
            <ac:spMk id="187" creationId="{60C05FFC-31AE-FF35-5341-5B840258A5B1}"/>
          </ac:spMkLst>
        </pc:spChg>
        <pc:spChg chg="del mod ord">
          <ac:chgData name="Yudi Zhu" userId="571e1a55-055f-4c28-8b35-fca6dd1c1369" providerId="ADAL" clId="{75A88773-6EE1-484E-AADE-FE631E01463B}" dt="2025-11-26T03:54:24.053" v="736085"/>
          <ac:spMkLst>
            <pc:docMk/>
            <pc:sldMk cId="1064624314" sldId="2147483104"/>
            <ac:spMk id="188" creationId="{C965EC32-EE33-323D-65C7-1C5BED4C1599}"/>
          </ac:spMkLst>
        </pc:spChg>
        <pc:spChg chg="mod">
          <ac:chgData name="Yudi Zhu" userId="571e1a55-055f-4c28-8b35-fca6dd1c1369" providerId="ADAL" clId="{75A88773-6EE1-484E-AADE-FE631E01463B}" dt="2025-11-26T03:58:52.790" v="751628"/>
          <ac:spMkLst>
            <pc:docMk/>
            <pc:sldMk cId="1064624314" sldId="2147483104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6T03:58:52.790" v="751629"/>
          <ac:spMkLst>
            <pc:docMk/>
            <pc:sldMk cId="1064624314" sldId="2147483104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6T03:58:52.774" v="751600"/>
          <ac:spMkLst>
            <pc:docMk/>
            <pc:sldMk cId="1064624314" sldId="2147483104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6T03:58:52.774" v="751601"/>
          <ac:spMkLst>
            <pc:docMk/>
            <pc:sldMk cId="1064624314" sldId="2147483104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6T03:58:52.774" v="751602"/>
          <ac:spMkLst>
            <pc:docMk/>
            <pc:sldMk cId="1064624314" sldId="2147483104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6T03:58:52.774" v="751603"/>
          <ac:spMkLst>
            <pc:docMk/>
            <pc:sldMk cId="1064624314" sldId="2147483104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6T03:58:52.774" v="751604"/>
          <ac:spMkLst>
            <pc:docMk/>
            <pc:sldMk cId="1064624314" sldId="2147483104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6T03:58:52.774" v="751605"/>
          <ac:spMkLst>
            <pc:docMk/>
            <pc:sldMk cId="1064624314" sldId="2147483104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6T03:58:52.774" v="751606"/>
          <ac:spMkLst>
            <pc:docMk/>
            <pc:sldMk cId="1064624314" sldId="2147483104"/>
            <ac:spMk id="320" creationId="{E86B3B8E-37AC-519F-45A3-5BD8642641E6}"/>
          </ac:spMkLst>
        </pc:spChg>
        <pc:spChg chg="mod">
          <ac:chgData name="Yudi Zhu" userId="571e1a55-055f-4c28-8b35-fca6dd1c1369" providerId="ADAL" clId="{75A88773-6EE1-484E-AADE-FE631E01463B}" dt="2025-11-26T03:58:52.774" v="751607"/>
          <ac:spMkLst>
            <pc:docMk/>
            <pc:sldMk cId="1064624314" sldId="2147483104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6T03:58:52.774" v="751611"/>
          <ac:spMkLst>
            <pc:docMk/>
            <pc:sldMk cId="1064624314" sldId="2147483104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6T03:58:52.774" v="751609"/>
          <ac:spMkLst>
            <pc:docMk/>
            <pc:sldMk cId="1064624314" sldId="2147483104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6T03:58:52.774" v="751610"/>
          <ac:spMkLst>
            <pc:docMk/>
            <pc:sldMk cId="1064624314" sldId="2147483104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6T03:58:52.790" v="751630"/>
          <ac:spMkLst>
            <pc:docMk/>
            <pc:sldMk cId="1064624314" sldId="2147483104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6T03:58:52.790" v="751612"/>
          <ac:spMkLst>
            <pc:docMk/>
            <pc:sldMk cId="1064624314" sldId="2147483104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6T03:58:52.790" v="751613"/>
          <ac:spMkLst>
            <pc:docMk/>
            <pc:sldMk cId="1064624314" sldId="2147483104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6T03:58:52.790" v="751614"/>
          <ac:spMkLst>
            <pc:docMk/>
            <pc:sldMk cId="1064624314" sldId="2147483104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6T03:58:52.790" v="751615"/>
          <ac:spMkLst>
            <pc:docMk/>
            <pc:sldMk cId="1064624314" sldId="2147483104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6T03:58:52.790" v="751616"/>
          <ac:spMkLst>
            <pc:docMk/>
            <pc:sldMk cId="1064624314" sldId="2147483104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6T03:58:52.790" v="751617"/>
          <ac:spMkLst>
            <pc:docMk/>
            <pc:sldMk cId="1064624314" sldId="2147483104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6T03:58:52.790" v="751618"/>
          <ac:spMkLst>
            <pc:docMk/>
            <pc:sldMk cId="1064624314" sldId="2147483104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6T03:58:52.790" v="751622"/>
          <ac:spMkLst>
            <pc:docMk/>
            <pc:sldMk cId="1064624314" sldId="2147483104"/>
            <ac:spMk id="337" creationId="{36AB1D7E-40D3-61B5-A55C-A396D415FF17}"/>
          </ac:spMkLst>
        </pc:spChg>
        <pc:spChg chg="mod">
          <ac:chgData name="Yudi Zhu" userId="571e1a55-055f-4c28-8b35-fca6dd1c1369" providerId="ADAL" clId="{75A88773-6EE1-484E-AADE-FE631E01463B}" dt="2025-11-26T03:58:52.790" v="751619"/>
          <ac:spMkLst>
            <pc:docMk/>
            <pc:sldMk cId="1064624314" sldId="2147483104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6T03:58:52.790" v="751620"/>
          <ac:spMkLst>
            <pc:docMk/>
            <pc:sldMk cId="1064624314" sldId="2147483104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6T03:58:52.790" v="751621"/>
          <ac:spMkLst>
            <pc:docMk/>
            <pc:sldMk cId="1064624314" sldId="2147483104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6T03:58:52.790" v="751624"/>
          <ac:spMkLst>
            <pc:docMk/>
            <pc:sldMk cId="1064624314" sldId="2147483104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6T03:58:52.774" v="751608"/>
          <ac:spMkLst>
            <pc:docMk/>
            <pc:sldMk cId="1064624314" sldId="2147483104"/>
            <ac:spMk id="343" creationId="{93F781B8-58D3-037B-422F-B97F243A4ADD}"/>
          </ac:spMkLst>
        </pc:spChg>
        <pc:spChg chg="mod">
          <ac:chgData name="Yudi Zhu" userId="571e1a55-055f-4c28-8b35-fca6dd1c1369" providerId="ADAL" clId="{75A88773-6EE1-484E-AADE-FE631E01463B}" dt="2025-11-26T03:58:52.790" v="751625"/>
          <ac:spMkLst>
            <pc:docMk/>
            <pc:sldMk cId="1064624314" sldId="2147483104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6T03:58:52.790" v="751626"/>
          <ac:spMkLst>
            <pc:docMk/>
            <pc:sldMk cId="1064624314" sldId="2147483104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6T03:58:52.790" v="751627"/>
          <ac:spMkLst>
            <pc:docMk/>
            <pc:sldMk cId="1064624314" sldId="2147483104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6T03:58:52.790" v="751631"/>
          <ac:spMkLst>
            <pc:docMk/>
            <pc:sldMk cId="1064624314" sldId="2147483104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6T03:58:52.790" v="751632"/>
          <ac:spMkLst>
            <pc:docMk/>
            <pc:sldMk cId="1064624314" sldId="2147483104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6T03:58:52.790" v="751635"/>
          <ac:spMkLst>
            <pc:docMk/>
            <pc:sldMk cId="1064624314" sldId="2147483104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6T03:58:52.790" v="751636"/>
          <ac:spMkLst>
            <pc:docMk/>
            <pc:sldMk cId="1064624314" sldId="2147483104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6T03:58:52.790" v="751637"/>
          <ac:spMkLst>
            <pc:docMk/>
            <pc:sldMk cId="1064624314" sldId="2147483104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6T03:58:52.806" v="751642"/>
          <ac:spMkLst>
            <pc:docMk/>
            <pc:sldMk cId="1064624314" sldId="2147483104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6T03:58:52.806" v="751643"/>
          <ac:spMkLst>
            <pc:docMk/>
            <pc:sldMk cId="1064624314" sldId="2147483104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6T03:58:52.790" v="751639"/>
          <ac:spMkLst>
            <pc:docMk/>
            <pc:sldMk cId="1064624314" sldId="2147483104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6T03:58:52.806" v="751641"/>
          <ac:spMkLst>
            <pc:docMk/>
            <pc:sldMk cId="1064624314" sldId="2147483104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6T03:58:52.809" v="751677"/>
          <ac:spMkLst>
            <pc:docMk/>
            <pc:sldMk cId="1064624314" sldId="2147483104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6T03:58:52.809" v="751679"/>
          <ac:spMkLst>
            <pc:docMk/>
            <pc:sldMk cId="1064624314" sldId="2147483104"/>
            <ac:spMk id="1003" creationId="{383A4D55-87AC-E7AD-D775-159B8AA91BD4}"/>
          </ac:spMkLst>
        </pc:spChg>
        <pc:spChg chg="mod ord">
          <ac:chgData name="Yudi Zhu" userId="571e1a55-055f-4c28-8b35-fca6dd1c1369" providerId="ADAL" clId="{75A88773-6EE1-484E-AADE-FE631E01463B}" dt="2025-11-26T03:58:52.809" v="751676"/>
          <ac:spMkLst>
            <pc:docMk/>
            <pc:sldMk cId="1064624314" sldId="2147483104"/>
            <ac:spMk id="1165" creationId="{0AA1A8A8-FF9B-20E1-D2AF-745AC3B241E3}"/>
          </ac:spMkLst>
        </pc:spChg>
        <pc:spChg chg="mod">
          <ac:chgData name="Yudi Zhu" userId="571e1a55-055f-4c28-8b35-fca6dd1c1369" providerId="ADAL" clId="{75A88773-6EE1-484E-AADE-FE631E01463B}" dt="2025-11-26T03:58:52.809" v="751678"/>
          <ac:spMkLst>
            <pc:docMk/>
            <pc:sldMk cId="1064624314" sldId="2147483104"/>
            <ac:spMk id="1166" creationId="{C21E8AFD-DF88-3440-816B-93B8FDB6B328}"/>
          </ac:spMkLst>
        </pc:spChg>
        <pc:spChg chg="mod">
          <ac:chgData name="Yudi Zhu" userId="571e1a55-055f-4c28-8b35-fca6dd1c1369" providerId="ADAL" clId="{75A88773-6EE1-484E-AADE-FE631E01463B}" dt="2025-11-26T03:58:52.774" v="751584"/>
          <ac:spMkLst>
            <pc:docMk/>
            <pc:sldMk cId="1064624314" sldId="2147483104"/>
            <ac:spMk id="1196" creationId="{C596882D-6FC7-950A-AE47-E000121672A5}"/>
          </ac:spMkLst>
        </pc:spChg>
        <pc:spChg chg="mod ord">
          <ac:chgData name="Yudi Zhu" userId="571e1a55-055f-4c28-8b35-fca6dd1c1369" providerId="ADAL" clId="{75A88773-6EE1-484E-AADE-FE631E01463B}" dt="2025-11-26T03:58:52.774" v="751583"/>
          <ac:spMkLst>
            <pc:docMk/>
            <pc:sldMk cId="1064624314" sldId="2147483104"/>
            <ac:spMk id="1197" creationId="{4420D0BB-BF1F-19EC-B0A4-93BCE704F5E8}"/>
          </ac:spMkLst>
        </pc:spChg>
        <pc:spChg chg="mod ord">
          <ac:chgData name="Yudi Zhu" userId="571e1a55-055f-4c28-8b35-fca6dd1c1369" providerId="ADAL" clId="{75A88773-6EE1-484E-AADE-FE631E01463B}" dt="2025-11-26T03:58:52.774" v="751581"/>
          <ac:spMkLst>
            <pc:docMk/>
            <pc:sldMk cId="1064624314" sldId="2147483104"/>
            <ac:spMk id="1198" creationId="{14422C41-DE00-2E40-428B-7BDBD0F319FD}"/>
          </ac:spMkLst>
        </pc:spChg>
        <pc:spChg chg="mod">
          <ac:chgData name="Yudi Zhu" userId="571e1a55-055f-4c28-8b35-fca6dd1c1369" providerId="ADAL" clId="{75A88773-6EE1-484E-AADE-FE631E01463B}" dt="2025-11-26T03:58:52.774" v="751579"/>
          <ac:spMkLst>
            <pc:docMk/>
            <pc:sldMk cId="1064624314" sldId="2147483104"/>
            <ac:spMk id="1199" creationId="{F6B459A7-F615-EED0-4A6B-6AFB43834956}"/>
          </ac:spMkLst>
        </pc:spChg>
        <pc:spChg chg="mod ord">
          <ac:chgData name="Yudi Zhu" userId="571e1a55-055f-4c28-8b35-fca6dd1c1369" providerId="ADAL" clId="{75A88773-6EE1-484E-AADE-FE631E01463B}" dt="2025-11-26T03:58:52.759" v="751576"/>
          <ac:spMkLst>
            <pc:docMk/>
            <pc:sldMk cId="1064624314" sldId="2147483104"/>
            <ac:spMk id="1200" creationId="{65884DE8-E4B8-56B7-66A1-A6CA9A59D6A1}"/>
          </ac:spMkLst>
        </pc:spChg>
        <pc:spChg chg="mod">
          <ac:chgData name="Yudi Zhu" userId="571e1a55-055f-4c28-8b35-fca6dd1c1369" providerId="ADAL" clId="{75A88773-6EE1-484E-AADE-FE631E01463B}" dt="2025-11-26T03:58:52.774" v="751578"/>
          <ac:spMkLst>
            <pc:docMk/>
            <pc:sldMk cId="1064624314" sldId="2147483104"/>
            <ac:spMk id="1201" creationId="{D27ECED9-C5E6-3DC2-9121-0FE6BFAC6398}"/>
          </ac:spMkLst>
        </pc:spChg>
        <pc:spChg chg="mod">
          <ac:chgData name="Yudi Zhu" userId="571e1a55-055f-4c28-8b35-fca6dd1c1369" providerId="ADAL" clId="{75A88773-6EE1-484E-AADE-FE631E01463B}" dt="2025-11-26T03:58:52.774" v="751577"/>
          <ac:spMkLst>
            <pc:docMk/>
            <pc:sldMk cId="1064624314" sldId="2147483104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6T03:58:52.759" v="751575"/>
          <ac:spMkLst>
            <pc:docMk/>
            <pc:sldMk cId="1064624314" sldId="2147483104"/>
            <ac:spMk id="1203" creationId="{43C5F107-3657-38DE-B0D7-E78431A033B8}"/>
          </ac:spMkLst>
        </pc:spChg>
        <pc:spChg chg="mod">
          <ac:chgData name="Yudi Zhu" userId="571e1a55-055f-4c28-8b35-fca6dd1c1369" providerId="ADAL" clId="{75A88773-6EE1-484E-AADE-FE631E01463B}" dt="2025-11-26T03:58:52.759" v="751573"/>
          <ac:spMkLst>
            <pc:docMk/>
            <pc:sldMk cId="1064624314" sldId="2147483104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6T03:58:52.759" v="751568"/>
          <ac:spMkLst>
            <pc:docMk/>
            <pc:sldMk cId="1064624314" sldId="2147483104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6T03:58:52.759" v="751566"/>
          <ac:spMkLst>
            <pc:docMk/>
            <pc:sldMk cId="1064624314" sldId="2147483104"/>
            <ac:spMk id="1206" creationId="{F964BC34-C9C5-D8CF-21E7-DC1A68C87E8B}"/>
          </ac:spMkLst>
        </pc:spChg>
        <pc:spChg chg="mod">
          <ac:chgData name="Yudi Zhu" userId="571e1a55-055f-4c28-8b35-fca6dd1c1369" providerId="ADAL" clId="{75A88773-6EE1-484E-AADE-FE631E01463B}" dt="2025-11-26T03:58:52.759" v="751565"/>
          <ac:spMkLst>
            <pc:docMk/>
            <pc:sldMk cId="1064624314" sldId="2147483104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6T03:58:52.759" v="751564"/>
          <ac:spMkLst>
            <pc:docMk/>
            <pc:sldMk cId="1064624314" sldId="2147483104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6T03:58:52.759" v="751563"/>
          <ac:spMkLst>
            <pc:docMk/>
            <pc:sldMk cId="1064624314" sldId="2147483104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6T03:58:52.759" v="751558"/>
          <ac:spMkLst>
            <pc:docMk/>
            <pc:sldMk cId="1064624314" sldId="2147483104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6T03:58:52.759" v="751561"/>
          <ac:spMkLst>
            <pc:docMk/>
            <pc:sldMk cId="1064624314" sldId="2147483104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6T03:58:52.759" v="751560"/>
          <ac:spMkLst>
            <pc:docMk/>
            <pc:sldMk cId="1064624314" sldId="2147483104"/>
            <ac:spMk id="1212" creationId="{25E61F6C-7940-2C7A-BB7D-7ED850FA6A75}"/>
          </ac:spMkLst>
        </pc:spChg>
        <pc:spChg chg="mod">
          <ac:chgData name="Yudi Zhu" userId="571e1a55-055f-4c28-8b35-fca6dd1c1369" providerId="ADAL" clId="{75A88773-6EE1-484E-AADE-FE631E01463B}" dt="2025-11-26T03:58:52.759" v="751556"/>
          <ac:spMkLst>
            <pc:docMk/>
            <pc:sldMk cId="1064624314" sldId="2147483104"/>
            <ac:spMk id="1213" creationId="{897F1C59-B104-E769-B6DA-AF5B290FE874}"/>
          </ac:spMkLst>
        </pc:spChg>
        <pc:spChg chg="mod">
          <ac:chgData name="Yudi Zhu" userId="571e1a55-055f-4c28-8b35-fca6dd1c1369" providerId="ADAL" clId="{75A88773-6EE1-484E-AADE-FE631E01463B}" dt="2025-11-26T03:58:52.759" v="751555"/>
          <ac:spMkLst>
            <pc:docMk/>
            <pc:sldMk cId="1064624314" sldId="2147483104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6T03:58:52.759" v="751571"/>
          <ac:spMkLst>
            <pc:docMk/>
            <pc:sldMk cId="1064624314" sldId="2147483104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6T03:58:52.759" v="751554"/>
          <ac:spMkLst>
            <pc:docMk/>
            <pc:sldMk cId="1064624314" sldId="2147483104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6T03:58:52.809" v="751675"/>
          <ac:spMkLst>
            <pc:docMk/>
            <pc:sldMk cId="1064624314" sldId="2147483104"/>
            <ac:spMk id="1446" creationId="{64AF7A77-327B-D09F-2ABB-1BA14094EC19}"/>
          </ac:spMkLst>
        </pc:spChg>
        <pc:spChg chg="mod">
          <ac:chgData name="Yudi Zhu" userId="571e1a55-055f-4c28-8b35-fca6dd1c1369" providerId="ADAL" clId="{75A88773-6EE1-484E-AADE-FE631E01463B}" dt="2025-11-26T03:58:52.822" v="751682"/>
          <ac:spMkLst>
            <pc:docMk/>
            <pc:sldMk cId="1064624314" sldId="2147483104"/>
            <ac:spMk id="1452" creationId="{62BA64F5-B2CE-CEB8-BB9B-25B44F9A2E19}"/>
          </ac:spMkLst>
        </pc:spChg>
        <pc:spChg chg="mod">
          <ac:chgData name="Yudi Zhu" userId="571e1a55-055f-4c28-8b35-fca6dd1c1369" providerId="ADAL" clId="{75A88773-6EE1-484E-AADE-FE631E01463B}" dt="2025-11-26T03:58:52.759" v="751572"/>
          <ac:spMkLst>
            <pc:docMk/>
            <pc:sldMk cId="1064624314" sldId="2147483104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6T03:58:52.743" v="751494"/>
          <ac:spMkLst>
            <pc:docMk/>
            <pc:sldMk cId="1064624314" sldId="2147483104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6T03:58:52.809" v="751674"/>
          <ac:spMkLst>
            <pc:docMk/>
            <pc:sldMk cId="1064624314" sldId="2147483104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6T03:58:52.822" v="751681"/>
          <ac:spMkLst>
            <pc:docMk/>
            <pc:sldMk cId="1064624314" sldId="2147483104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6T03:58:52.822" v="751684"/>
          <ac:spMkLst>
            <pc:docMk/>
            <pc:sldMk cId="1064624314" sldId="2147483104"/>
            <ac:spMk id="1630" creationId="{E05CDD48-0DEC-9132-BDFB-46D714F23D3B}"/>
          </ac:spMkLst>
        </pc:spChg>
        <pc:spChg chg="mod ord">
          <ac:chgData name="Yudi Zhu" userId="571e1a55-055f-4c28-8b35-fca6dd1c1369" providerId="ADAL" clId="{75A88773-6EE1-484E-AADE-FE631E01463B}" dt="2025-11-26T03:58:52.822" v="751698"/>
          <ac:spMkLst>
            <pc:docMk/>
            <pc:sldMk cId="1064624314" sldId="2147483104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6T03:58:52.822" v="751701"/>
          <ac:spMkLst>
            <pc:docMk/>
            <pc:sldMk cId="1064624314" sldId="2147483104"/>
            <ac:spMk id="1854" creationId="{4E1BFB1E-6485-A062-B5BB-5B285C6BD15C}"/>
          </ac:spMkLst>
        </pc:spChg>
        <pc:spChg chg="mod">
          <ac:chgData name="Yudi Zhu" userId="571e1a55-055f-4c28-8b35-fca6dd1c1369" providerId="ADAL" clId="{75A88773-6EE1-484E-AADE-FE631E01463B}" dt="2025-11-26T03:58:52.822" v="751703"/>
          <ac:spMkLst>
            <pc:docMk/>
            <pc:sldMk cId="1064624314" sldId="2147483104"/>
            <ac:spMk id="1855" creationId="{1BE56B6A-3C30-4B59-A6C7-170064E01044}"/>
          </ac:spMkLst>
        </pc:spChg>
        <pc:spChg chg="add del mod modVis">
          <ac:chgData name="Yudi Zhu" userId="571e1a55-055f-4c28-8b35-fca6dd1c1369" providerId="ADAL" clId="{75A88773-6EE1-484E-AADE-FE631E01463B}" dt="2025-11-26T03:54:28.353" v="737608"/>
          <ac:spMkLst>
            <pc:docMk/>
            <pc:sldMk cId="1064624314" sldId="2147483104"/>
            <ac:spMk id="1860" creationId="{B58E76F4-892B-EB9A-4369-8FB3F9A31A30}"/>
          </ac:spMkLst>
        </pc:spChg>
        <pc:spChg chg="add mod ord">
          <ac:chgData name="Yudi Zhu" userId="571e1a55-055f-4c28-8b35-fca6dd1c1369" providerId="ADAL" clId="{75A88773-6EE1-484E-AADE-FE631E01463B}" dt="2025-11-26T03:58:52.743" v="751533"/>
          <ac:spMkLst>
            <pc:docMk/>
            <pc:sldMk cId="1064624314" sldId="2147483104"/>
            <ac:spMk id="1861" creationId="{C256AFD5-E90C-A2E8-3EFE-99F09379CB35}"/>
          </ac:spMkLst>
        </pc:spChg>
        <pc:spChg chg="mod">
          <ac:chgData name="Yudi Zhu" userId="571e1a55-055f-4c28-8b35-fca6dd1c1369" providerId="ADAL" clId="{75A88773-6EE1-484E-AADE-FE631E01463B}" dt="2025-11-26T03:58:52.870" v="751838"/>
          <ac:spMkLst>
            <pc:docMk/>
            <pc:sldMk cId="1064624314" sldId="2147483104"/>
            <ac:spMk id="1868" creationId="{D517B235-34AE-0C88-574E-EE674E6E106A}"/>
          </ac:spMkLst>
        </pc:spChg>
        <pc:spChg chg="add mod ord">
          <ac:chgData name="Yudi Zhu" userId="571e1a55-055f-4c28-8b35-fca6dd1c1369" providerId="ADAL" clId="{75A88773-6EE1-484E-AADE-FE631E01463B}" dt="2025-11-26T03:58:52.743" v="751531"/>
          <ac:spMkLst>
            <pc:docMk/>
            <pc:sldMk cId="1064624314" sldId="2147483104"/>
            <ac:spMk id="1869" creationId="{4851ECD7-4DC4-2755-A11D-9C2D6A6ED9A9}"/>
          </ac:spMkLst>
        </pc:spChg>
        <pc:spChg chg="mod">
          <ac:chgData name="Yudi Zhu" userId="571e1a55-055f-4c28-8b35-fca6dd1c1369" providerId="ADAL" clId="{75A88773-6EE1-484E-AADE-FE631E01463B}" dt="2025-11-26T03:58:52.874" v="751847"/>
          <ac:spMkLst>
            <pc:docMk/>
            <pc:sldMk cId="1064624314" sldId="2147483104"/>
            <ac:spMk id="1870" creationId="{C6E07732-9031-9168-BFB0-CEF03BD54EC3}"/>
          </ac:spMkLst>
        </pc:spChg>
        <pc:spChg chg="mod">
          <ac:chgData name="Yudi Zhu" userId="571e1a55-055f-4c28-8b35-fca6dd1c1369" providerId="ADAL" clId="{75A88773-6EE1-484E-AADE-FE631E01463B}" dt="2025-11-26T03:58:52.895" v="751895"/>
          <ac:spMkLst>
            <pc:docMk/>
            <pc:sldMk cId="1064624314" sldId="2147483104"/>
            <ac:spMk id="1871" creationId="{88E6662D-0776-7053-4A00-AC49E629CB98}"/>
          </ac:spMkLst>
        </pc:spChg>
        <pc:spChg chg="mod">
          <ac:chgData name="Yudi Zhu" userId="571e1a55-055f-4c28-8b35-fca6dd1c1369" providerId="ADAL" clId="{75A88773-6EE1-484E-AADE-FE631E01463B}" dt="2025-11-26T03:58:52.875" v="751849"/>
          <ac:spMkLst>
            <pc:docMk/>
            <pc:sldMk cId="1064624314" sldId="2147483104"/>
            <ac:spMk id="1872" creationId="{09AB5DCE-0365-9D0D-3880-236DD3DFA061}"/>
          </ac:spMkLst>
        </pc:spChg>
        <pc:spChg chg="mod ord">
          <ac:chgData name="Yudi Zhu" userId="571e1a55-055f-4c28-8b35-fca6dd1c1369" providerId="ADAL" clId="{75A88773-6EE1-484E-AADE-FE631E01463B}" dt="2025-11-26T03:58:52.895" v="751898"/>
          <ac:spMkLst>
            <pc:docMk/>
            <pc:sldMk cId="1064624314" sldId="2147483104"/>
            <ac:spMk id="1873" creationId="{05407D80-E416-6E11-84C7-DD78FC13A95D}"/>
          </ac:spMkLst>
        </pc:spChg>
        <pc:spChg chg="mod ord">
          <ac:chgData name="Yudi Zhu" userId="571e1a55-055f-4c28-8b35-fca6dd1c1369" providerId="ADAL" clId="{75A88773-6EE1-484E-AADE-FE631E01463B}" dt="2025-11-26T03:58:52.880" v="751858"/>
          <ac:spMkLst>
            <pc:docMk/>
            <pc:sldMk cId="1064624314" sldId="2147483104"/>
            <ac:spMk id="1874" creationId="{C78E0AD3-36D9-095B-2798-4F5FE0BC4885}"/>
          </ac:spMkLst>
        </pc:spChg>
        <pc:spChg chg="mod ord">
          <ac:chgData name="Yudi Zhu" userId="571e1a55-055f-4c28-8b35-fca6dd1c1369" providerId="ADAL" clId="{75A88773-6EE1-484E-AADE-FE631E01463B}" dt="2025-11-26T03:58:52.880" v="751860"/>
          <ac:spMkLst>
            <pc:docMk/>
            <pc:sldMk cId="1064624314" sldId="2147483104"/>
            <ac:spMk id="1875" creationId="{0CCFA2B6-0C72-5E6F-55EA-74947500111E}"/>
          </ac:spMkLst>
        </pc:spChg>
        <pc:spChg chg="mod ord">
          <ac:chgData name="Yudi Zhu" userId="571e1a55-055f-4c28-8b35-fca6dd1c1369" providerId="ADAL" clId="{75A88773-6EE1-484E-AADE-FE631E01463B}" dt="2025-11-26T03:58:52.871" v="751839"/>
          <ac:spMkLst>
            <pc:docMk/>
            <pc:sldMk cId="1064624314" sldId="2147483104"/>
            <ac:spMk id="1876" creationId="{30D492D9-5BDD-171C-A10A-02BDAD3A9C9A}"/>
          </ac:spMkLst>
        </pc:spChg>
        <pc:spChg chg="mod ord">
          <ac:chgData name="Yudi Zhu" userId="571e1a55-055f-4c28-8b35-fca6dd1c1369" providerId="ADAL" clId="{75A88773-6EE1-484E-AADE-FE631E01463B}" dt="2025-11-26T03:58:52.877" v="751852"/>
          <ac:spMkLst>
            <pc:docMk/>
            <pc:sldMk cId="1064624314" sldId="2147483104"/>
            <ac:spMk id="1877" creationId="{EF6689EC-B591-6AF1-C4EC-3227A6F667A9}"/>
          </ac:spMkLst>
        </pc:spChg>
        <pc:spChg chg="mod">
          <ac:chgData name="Yudi Zhu" userId="571e1a55-055f-4c28-8b35-fca6dd1c1369" providerId="ADAL" clId="{75A88773-6EE1-484E-AADE-FE631E01463B}" dt="2025-11-26T03:58:52.880" v="751856"/>
          <ac:spMkLst>
            <pc:docMk/>
            <pc:sldMk cId="1064624314" sldId="2147483104"/>
            <ac:spMk id="1878" creationId="{8365F0EE-90DC-3C07-287A-94B206AADA28}"/>
          </ac:spMkLst>
        </pc:spChg>
        <pc:spChg chg="mod">
          <ac:chgData name="Yudi Zhu" userId="571e1a55-055f-4c28-8b35-fca6dd1c1369" providerId="ADAL" clId="{75A88773-6EE1-484E-AADE-FE631E01463B}" dt="2025-11-26T03:58:52.880" v="751869"/>
          <ac:spMkLst>
            <pc:docMk/>
            <pc:sldMk cId="1064624314" sldId="2147483104"/>
            <ac:spMk id="1879" creationId="{8FADCA6A-0D3C-3458-0D6D-4974113153D6}"/>
          </ac:spMkLst>
        </pc:spChg>
        <pc:spChg chg="mod">
          <ac:chgData name="Yudi Zhu" userId="571e1a55-055f-4c28-8b35-fca6dd1c1369" providerId="ADAL" clId="{75A88773-6EE1-484E-AADE-FE631E01463B}" dt="2025-11-26T03:58:52.822" v="751696"/>
          <ac:spMkLst>
            <pc:docMk/>
            <pc:sldMk cId="1064624314" sldId="2147483104"/>
            <ac:spMk id="1880" creationId="{4B9753A8-D625-4D4F-29EB-DB60BCAC028E}"/>
          </ac:spMkLst>
        </pc:spChg>
        <pc:spChg chg="mod">
          <ac:chgData name="Yudi Zhu" userId="571e1a55-055f-4c28-8b35-fca6dd1c1369" providerId="ADAL" clId="{75A88773-6EE1-484E-AADE-FE631E01463B}" dt="2025-11-26T03:58:52.873" v="751843"/>
          <ac:spMkLst>
            <pc:docMk/>
            <pc:sldMk cId="1064624314" sldId="2147483104"/>
            <ac:spMk id="1881" creationId="{08716696-DF0E-ED84-2AFA-2C9F7E84F462}"/>
          </ac:spMkLst>
        </pc:spChg>
        <pc:spChg chg="mod">
          <ac:chgData name="Yudi Zhu" userId="571e1a55-055f-4c28-8b35-fca6dd1c1369" providerId="ADAL" clId="{75A88773-6EE1-484E-AADE-FE631E01463B}" dt="2025-11-26T03:58:52.822" v="751699"/>
          <ac:spMkLst>
            <pc:docMk/>
            <pc:sldMk cId="1064624314" sldId="2147483104"/>
            <ac:spMk id="1882" creationId="{226A4E37-E112-9678-9034-CF8BCA141FDE}"/>
          </ac:spMkLst>
        </pc:spChg>
        <pc:spChg chg="mod">
          <ac:chgData name="Yudi Zhu" userId="571e1a55-055f-4c28-8b35-fca6dd1c1369" providerId="ADAL" clId="{75A88773-6EE1-484E-AADE-FE631E01463B}" dt="2025-11-26T03:58:52.822" v="751702"/>
          <ac:spMkLst>
            <pc:docMk/>
            <pc:sldMk cId="1064624314" sldId="2147483104"/>
            <ac:spMk id="1883" creationId="{929925F6-0E93-EC22-B300-E21F72946F4C}"/>
          </ac:spMkLst>
        </pc:spChg>
        <pc:spChg chg="mod">
          <ac:chgData name="Yudi Zhu" userId="571e1a55-055f-4c28-8b35-fca6dd1c1369" providerId="ADAL" clId="{75A88773-6EE1-484E-AADE-FE631E01463B}" dt="2025-11-26T03:58:52.822" v="751704"/>
          <ac:spMkLst>
            <pc:docMk/>
            <pc:sldMk cId="1064624314" sldId="2147483104"/>
            <ac:spMk id="1884" creationId="{7D8DCB6C-4AAA-0195-9FB6-084C41ED8B42}"/>
          </ac:spMkLst>
        </pc:spChg>
        <pc:spChg chg="mod">
          <ac:chgData name="Yudi Zhu" userId="571e1a55-055f-4c28-8b35-fca6dd1c1369" providerId="ADAL" clId="{75A88773-6EE1-484E-AADE-FE631E01463B}" dt="2025-11-26T03:58:52.880" v="751870"/>
          <ac:spMkLst>
            <pc:docMk/>
            <pc:sldMk cId="1064624314" sldId="2147483104"/>
            <ac:spMk id="1885" creationId="{E7F286C7-2CCE-DF57-5848-56017BDA4A58}"/>
          </ac:spMkLst>
        </pc:spChg>
        <pc:spChg chg="mod">
          <ac:chgData name="Yudi Zhu" userId="571e1a55-055f-4c28-8b35-fca6dd1c1369" providerId="ADAL" clId="{75A88773-6EE1-484E-AADE-FE631E01463B}" dt="2025-11-26T03:58:52.880" v="751875"/>
          <ac:spMkLst>
            <pc:docMk/>
            <pc:sldMk cId="1064624314" sldId="2147483104"/>
            <ac:spMk id="1886" creationId="{956B8C20-51FE-937D-8B3F-ED50A9704246}"/>
          </ac:spMkLst>
        </pc:spChg>
        <pc:spChg chg="mod">
          <ac:chgData name="Yudi Zhu" userId="571e1a55-055f-4c28-8b35-fca6dd1c1369" providerId="ADAL" clId="{75A88773-6EE1-484E-AADE-FE631E01463B}" dt="2025-11-26T03:58:52.880" v="751876"/>
          <ac:spMkLst>
            <pc:docMk/>
            <pc:sldMk cId="1064624314" sldId="2147483104"/>
            <ac:spMk id="1887" creationId="{3505B40A-A35F-45C7-8F2D-FD3AF84F0164}"/>
          </ac:spMkLst>
        </pc:spChg>
        <pc:spChg chg="mod">
          <ac:chgData name="Yudi Zhu" userId="571e1a55-055f-4c28-8b35-fca6dd1c1369" providerId="ADAL" clId="{75A88773-6EE1-484E-AADE-FE631E01463B}" dt="2025-11-26T03:58:52.880" v="751884"/>
          <ac:spMkLst>
            <pc:docMk/>
            <pc:sldMk cId="1064624314" sldId="2147483104"/>
            <ac:spMk id="1889" creationId="{5C1A9586-BBAB-1982-558D-BDE434FF3DE0}"/>
          </ac:spMkLst>
        </pc:spChg>
        <pc:spChg chg="mod">
          <ac:chgData name="Yudi Zhu" userId="571e1a55-055f-4c28-8b35-fca6dd1c1369" providerId="ADAL" clId="{75A88773-6EE1-484E-AADE-FE631E01463B}" dt="2025-11-26T03:58:52.895" v="751896"/>
          <ac:spMkLst>
            <pc:docMk/>
            <pc:sldMk cId="1064624314" sldId="2147483104"/>
            <ac:spMk id="1890" creationId="{A0D250D8-7915-2211-F695-A7C95122C779}"/>
          </ac:spMkLst>
        </pc:spChg>
        <pc:spChg chg="mod">
          <ac:chgData name="Yudi Zhu" userId="571e1a55-055f-4c28-8b35-fca6dd1c1369" providerId="ADAL" clId="{75A88773-6EE1-484E-AADE-FE631E01463B}" dt="2025-11-26T03:58:52.880" v="751885"/>
          <ac:spMkLst>
            <pc:docMk/>
            <pc:sldMk cId="1064624314" sldId="2147483104"/>
            <ac:spMk id="1891" creationId="{DDB59E46-B3D0-DBF1-3D2D-D4343AC8894F}"/>
          </ac:spMkLst>
        </pc:spChg>
        <pc:spChg chg="mod">
          <ac:chgData name="Yudi Zhu" userId="571e1a55-055f-4c28-8b35-fca6dd1c1369" providerId="ADAL" clId="{75A88773-6EE1-484E-AADE-FE631E01463B}" dt="2025-11-26T03:58:52.880" v="751888"/>
          <ac:spMkLst>
            <pc:docMk/>
            <pc:sldMk cId="1064624314" sldId="2147483104"/>
            <ac:spMk id="1892" creationId="{C37B7ED7-4EBB-6773-ED9A-6A67640B094A}"/>
          </ac:spMkLst>
        </pc:spChg>
        <pc:spChg chg="mod">
          <ac:chgData name="Yudi Zhu" userId="571e1a55-055f-4c28-8b35-fca6dd1c1369" providerId="ADAL" clId="{75A88773-6EE1-484E-AADE-FE631E01463B}" dt="2025-11-26T03:58:52.880" v="751889"/>
          <ac:spMkLst>
            <pc:docMk/>
            <pc:sldMk cId="1064624314" sldId="2147483104"/>
            <ac:spMk id="1893" creationId="{E0E6EB9C-DE28-14B6-3D4A-624AC9CC823B}"/>
          </ac:spMkLst>
        </pc:spChg>
        <pc:spChg chg="mod">
          <ac:chgData name="Yudi Zhu" userId="571e1a55-055f-4c28-8b35-fca6dd1c1369" providerId="ADAL" clId="{75A88773-6EE1-484E-AADE-FE631E01463B}" dt="2025-11-26T03:58:52.895" v="751894"/>
          <ac:spMkLst>
            <pc:docMk/>
            <pc:sldMk cId="1064624314" sldId="2147483104"/>
            <ac:spMk id="1894" creationId="{8077CC67-114E-440D-72A2-735F5CE7AAD4}"/>
          </ac:spMkLst>
        </pc:spChg>
        <pc:spChg chg="add mod ord">
          <ac:chgData name="Yudi Zhu" userId="571e1a55-055f-4c28-8b35-fca6dd1c1369" providerId="ADAL" clId="{75A88773-6EE1-484E-AADE-FE631E01463B}" dt="2025-11-26T03:58:52.743" v="751529"/>
          <ac:spMkLst>
            <pc:docMk/>
            <pc:sldMk cId="1064624314" sldId="2147483104"/>
            <ac:spMk id="1895" creationId="{B532A93C-E6FF-94CD-1FF4-5E77D0FD1E79}"/>
          </ac:spMkLst>
        </pc:spChg>
        <pc:spChg chg="mod">
          <ac:chgData name="Yudi Zhu" userId="571e1a55-055f-4c28-8b35-fca6dd1c1369" providerId="ADAL" clId="{75A88773-6EE1-484E-AADE-FE631E01463B}" dt="2025-11-26T03:58:52.869" v="751836"/>
          <ac:spMkLst>
            <pc:docMk/>
            <pc:sldMk cId="1064624314" sldId="2147483104"/>
            <ac:spMk id="1896" creationId="{A0DF08CB-77C3-AF09-DD50-ECBA6C70CD31}"/>
          </ac:spMkLst>
        </pc:spChg>
        <pc:spChg chg="mod ord">
          <ac:chgData name="Yudi Zhu" userId="571e1a55-055f-4c28-8b35-fca6dd1c1369" providerId="ADAL" clId="{75A88773-6EE1-484E-AADE-FE631E01463B}" dt="2025-11-26T03:58:52.895" v="751904"/>
          <ac:spMkLst>
            <pc:docMk/>
            <pc:sldMk cId="1064624314" sldId="2147483104"/>
            <ac:spMk id="1897" creationId="{7E61645E-D4DE-1737-7C85-F151A4F78B3A}"/>
          </ac:spMkLst>
        </pc:spChg>
        <pc:spChg chg="mod ord">
          <ac:chgData name="Yudi Zhu" userId="571e1a55-055f-4c28-8b35-fca6dd1c1369" providerId="ADAL" clId="{75A88773-6EE1-484E-AADE-FE631E01463B}" dt="2025-11-26T03:58:52.895" v="751906"/>
          <ac:spMkLst>
            <pc:docMk/>
            <pc:sldMk cId="1064624314" sldId="2147483104"/>
            <ac:spMk id="1898" creationId="{50793C40-3217-B638-6CF8-06766F96E06F}"/>
          </ac:spMkLst>
        </pc:spChg>
        <pc:spChg chg="mod">
          <ac:chgData name="Yudi Zhu" userId="571e1a55-055f-4c28-8b35-fca6dd1c1369" providerId="ADAL" clId="{75A88773-6EE1-484E-AADE-FE631E01463B}" dt="2025-11-26T03:58:52.895" v="751913"/>
          <ac:spMkLst>
            <pc:docMk/>
            <pc:sldMk cId="1064624314" sldId="2147483104"/>
            <ac:spMk id="1899" creationId="{35F861E0-E670-1833-A66F-B9FC34A0216A}"/>
          </ac:spMkLst>
        </pc:spChg>
        <pc:spChg chg="mod">
          <ac:chgData name="Yudi Zhu" userId="571e1a55-055f-4c28-8b35-fca6dd1c1369" providerId="ADAL" clId="{75A88773-6EE1-484E-AADE-FE631E01463B}" dt="2025-11-26T03:58:52.895" v="751914"/>
          <ac:spMkLst>
            <pc:docMk/>
            <pc:sldMk cId="1064624314" sldId="2147483104"/>
            <ac:spMk id="1900" creationId="{66A09093-1895-D3C6-4933-8D3795C3DE61}"/>
          </ac:spMkLst>
        </pc:spChg>
        <pc:spChg chg="add del mod modVis">
          <ac:chgData name="Yudi Zhu" userId="571e1a55-055f-4c28-8b35-fca6dd1c1369" providerId="ADAL" clId="{75A88773-6EE1-484E-AADE-FE631E01463B}" dt="2025-11-26T03:54:44.937" v="738103"/>
          <ac:spMkLst>
            <pc:docMk/>
            <pc:sldMk cId="1064624314" sldId="2147483104"/>
            <ac:spMk id="1904" creationId="{6B8E0280-2DFE-8B53-24A6-4B78F2052BC1}"/>
          </ac:spMkLst>
        </pc:spChg>
        <pc:spChg chg="mod">
          <ac:chgData name="Yudi Zhu" userId="571e1a55-055f-4c28-8b35-fca6dd1c1369" providerId="ADAL" clId="{75A88773-6EE1-484E-AADE-FE631E01463B}" dt="2025-11-26T03:58:52.895" v="751915"/>
          <ac:spMkLst>
            <pc:docMk/>
            <pc:sldMk cId="1064624314" sldId="2147483104"/>
            <ac:spMk id="1905" creationId="{4156B008-6D61-B92C-2524-4B32E6E7E8B7}"/>
          </ac:spMkLst>
        </pc:spChg>
        <pc:spChg chg="mod">
          <ac:chgData name="Yudi Zhu" userId="571e1a55-055f-4c28-8b35-fca6dd1c1369" providerId="ADAL" clId="{75A88773-6EE1-484E-AADE-FE631E01463B}" dt="2025-11-26T03:58:52.895" v="751916"/>
          <ac:spMkLst>
            <pc:docMk/>
            <pc:sldMk cId="1064624314" sldId="2147483104"/>
            <ac:spMk id="1906" creationId="{0E609E70-D654-E093-CABC-E441DF9087D7}"/>
          </ac:spMkLst>
        </pc:spChg>
        <pc:spChg chg="mod">
          <ac:chgData name="Yudi Zhu" userId="571e1a55-055f-4c28-8b35-fca6dd1c1369" providerId="ADAL" clId="{75A88773-6EE1-484E-AADE-FE631E01463B}" dt="2025-11-26T03:58:52.895" v="751917"/>
          <ac:spMkLst>
            <pc:docMk/>
            <pc:sldMk cId="1064624314" sldId="2147483104"/>
            <ac:spMk id="1907" creationId="{48297C37-4A2A-B186-8641-4658A474097B}"/>
          </ac:spMkLst>
        </pc:spChg>
        <pc:spChg chg="add del mod ord">
          <ac:chgData name="Yudi Zhu" userId="571e1a55-055f-4c28-8b35-fca6dd1c1369" providerId="ADAL" clId="{75A88773-6EE1-484E-AADE-FE631E01463B}" dt="2025-11-26T03:54:54.770" v="739624"/>
          <ac:spMkLst>
            <pc:docMk/>
            <pc:sldMk cId="1064624314" sldId="2147483104"/>
            <ac:spMk id="1909" creationId="{81AC7BF2-1480-CD42-6197-EE77F11DE166}"/>
          </ac:spMkLst>
        </pc:spChg>
        <pc:spChg chg="mod ord">
          <ac:chgData name="Yudi Zhu" userId="571e1a55-055f-4c28-8b35-fca6dd1c1369" providerId="ADAL" clId="{75A88773-6EE1-484E-AADE-FE631E01463B}" dt="2025-11-26T03:58:52.870" v="751837"/>
          <ac:spMkLst>
            <pc:docMk/>
            <pc:sldMk cId="1064624314" sldId="2147483104"/>
            <ac:spMk id="1911" creationId="{5B56FCE9-40A0-6DB6-DE94-BB939049C5E6}"/>
          </ac:spMkLst>
        </pc:spChg>
        <pc:spChg chg="mod">
          <ac:chgData name="Yudi Zhu" userId="571e1a55-055f-4c28-8b35-fca6dd1c1369" providerId="ADAL" clId="{75A88773-6EE1-484E-AADE-FE631E01463B}" dt="2025-11-26T03:58:52.868" v="751835"/>
          <ac:spMkLst>
            <pc:docMk/>
            <pc:sldMk cId="1064624314" sldId="2147483104"/>
            <ac:spMk id="1912" creationId="{4BA3AAFE-425B-0FE9-F37C-6372EE6EF387}"/>
          </ac:spMkLst>
        </pc:spChg>
        <pc:spChg chg="mod">
          <ac:chgData name="Yudi Zhu" userId="571e1a55-055f-4c28-8b35-fca6dd1c1369" providerId="ADAL" clId="{75A88773-6EE1-484E-AADE-FE631E01463B}" dt="2025-11-26T03:58:52.867" v="751833"/>
          <ac:spMkLst>
            <pc:docMk/>
            <pc:sldMk cId="1064624314" sldId="2147483104"/>
            <ac:spMk id="1913" creationId="{EAFD658F-06C7-F532-5625-5D9375F58080}"/>
          </ac:spMkLst>
        </pc:spChg>
        <pc:spChg chg="mod">
          <ac:chgData name="Yudi Zhu" userId="571e1a55-055f-4c28-8b35-fca6dd1c1369" providerId="ADAL" clId="{75A88773-6EE1-484E-AADE-FE631E01463B}" dt="2025-11-26T03:58:52.876" v="751850"/>
          <ac:spMkLst>
            <pc:docMk/>
            <pc:sldMk cId="1064624314" sldId="2147483104"/>
            <ac:spMk id="1914" creationId="{BD8D97C7-D102-EA5B-14FE-83D8616F578E}"/>
          </ac:spMkLst>
        </pc:spChg>
        <pc:spChg chg="mod">
          <ac:chgData name="Yudi Zhu" userId="571e1a55-055f-4c28-8b35-fca6dd1c1369" providerId="ADAL" clId="{75A88773-6EE1-484E-AADE-FE631E01463B}" dt="2025-11-26T03:58:52.875" v="751848"/>
          <ac:spMkLst>
            <pc:docMk/>
            <pc:sldMk cId="1064624314" sldId="2147483104"/>
            <ac:spMk id="1917" creationId="{151EFE26-6235-2295-A10E-FF7300A2E6EA}"/>
          </ac:spMkLst>
        </pc:spChg>
        <pc:spChg chg="mod ord">
          <ac:chgData name="Yudi Zhu" userId="571e1a55-055f-4c28-8b35-fca6dd1c1369" providerId="ADAL" clId="{75A88773-6EE1-484E-AADE-FE631E01463B}" dt="2025-11-26T03:58:52.874" v="751846"/>
          <ac:spMkLst>
            <pc:docMk/>
            <pc:sldMk cId="1064624314" sldId="2147483104"/>
            <ac:spMk id="1918" creationId="{F7FFD5AC-6408-3AD4-A244-A3C8BA6B9DA4}"/>
          </ac:spMkLst>
        </pc:spChg>
        <pc:spChg chg="mod">
          <ac:chgData name="Yudi Zhu" userId="571e1a55-055f-4c28-8b35-fca6dd1c1369" providerId="ADAL" clId="{75A88773-6EE1-484E-AADE-FE631E01463B}" dt="2025-11-26T03:58:52.880" v="751868"/>
          <ac:spMkLst>
            <pc:docMk/>
            <pc:sldMk cId="1064624314" sldId="2147483104"/>
            <ac:spMk id="1920" creationId="{C0C96CC1-849D-C47F-3011-B0A9D1D4E46A}"/>
          </ac:spMkLst>
        </pc:spChg>
        <pc:spChg chg="mod ord">
          <ac:chgData name="Yudi Zhu" userId="571e1a55-055f-4c28-8b35-fca6dd1c1369" providerId="ADAL" clId="{75A88773-6EE1-484E-AADE-FE631E01463B}" dt="2025-11-26T03:58:52.880" v="751867"/>
          <ac:spMkLst>
            <pc:docMk/>
            <pc:sldMk cId="1064624314" sldId="2147483104"/>
            <ac:spMk id="1921" creationId="{699F3721-4FDE-B4E5-B0C4-A7324B1A6704}"/>
          </ac:spMkLst>
        </pc:spChg>
        <pc:spChg chg="mod ord">
          <ac:chgData name="Yudi Zhu" userId="571e1a55-055f-4c28-8b35-fca6dd1c1369" providerId="ADAL" clId="{75A88773-6EE1-484E-AADE-FE631E01463B}" dt="2025-11-26T03:58:52.880" v="751863"/>
          <ac:spMkLst>
            <pc:docMk/>
            <pc:sldMk cId="1064624314" sldId="2147483104"/>
            <ac:spMk id="1922" creationId="{A9B3259F-B65B-1C87-8132-D8E45EDDAC6A}"/>
          </ac:spMkLst>
        </pc:spChg>
        <pc:spChg chg="mod">
          <ac:chgData name="Yudi Zhu" userId="571e1a55-055f-4c28-8b35-fca6dd1c1369" providerId="ADAL" clId="{75A88773-6EE1-484E-AADE-FE631E01463B}" dt="2025-11-26T03:58:52.880" v="751874"/>
          <ac:spMkLst>
            <pc:docMk/>
            <pc:sldMk cId="1064624314" sldId="2147483104"/>
            <ac:spMk id="1923" creationId="{95028E2A-B9BC-DEC6-9A2E-050FDA19E099}"/>
          </ac:spMkLst>
        </pc:spChg>
        <pc:spChg chg="mod ord">
          <ac:chgData name="Yudi Zhu" userId="571e1a55-055f-4c28-8b35-fca6dd1c1369" providerId="ADAL" clId="{75A88773-6EE1-484E-AADE-FE631E01463B}" dt="2025-11-26T03:58:52.880" v="751873"/>
          <ac:spMkLst>
            <pc:docMk/>
            <pc:sldMk cId="1064624314" sldId="2147483104"/>
            <ac:spMk id="1924" creationId="{90545DD3-659F-D754-8837-27C997A85952}"/>
          </ac:spMkLst>
        </pc:spChg>
        <pc:spChg chg="mod">
          <ac:chgData name="Yudi Zhu" userId="571e1a55-055f-4c28-8b35-fca6dd1c1369" providerId="ADAL" clId="{75A88773-6EE1-484E-AADE-FE631E01463B}" dt="2025-11-26T03:58:52.880" v="751871"/>
          <ac:spMkLst>
            <pc:docMk/>
            <pc:sldMk cId="1064624314" sldId="2147483104"/>
            <ac:spMk id="1925" creationId="{3485C98C-7F6A-4103-CB05-09FDBE33F85D}"/>
          </ac:spMkLst>
        </pc:spChg>
        <pc:spChg chg="mod">
          <ac:chgData name="Yudi Zhu" userId="571e1a55-055f-4c28-8b35-fca6dd1c1369" providerId="ADAL" clId="{75A88773-6EE1-484E-AADE-FE631E01463B}" dt="2025-11-26T03:58:52.880" v="751880"/>
          <ac:spMkLst>
            <pc:docMk/>
            <pc:sldMk cId="1064624314" sldId="2147483104"/>
            <ac:spMk id="1926" creationId="{40A97F92-77F9-D634-083D-B75C1A67E2A8}"/>
          </ac:spMkLst>
        </pc:spChg>
        <pc:spChg chg="mod ord">
          <ac:chgData name="Yudi Zhu" userId="571e1a55-055f-4c28-8b35-fca6dd1c1369" providerId="ADAL" clId="{75A88773-6EE1-484E-AADE-FE631E01463B}" dt="2025-11-26T03:58:52.880" v="751879"/>
          <ac:spMkLst>
            <pc:docMk/>
            <pc:sldMk cId="1064624314" sldId="2147483104"/>
            <ac:spMk id="1927" creationId="{4D8A25B8-F747-13B9-00B1-74E9ECE446A3}"/>
          </ac:spMkLst>
        </pc:spChg>
        <pc:spChg chg="mod ord">
          <ac:chgData name="Yudi Zhu" userId="571e1a55-055f-4c28-8b35-fca6dd1c1369" providerId="ADAL" clId="{75A88773-6EE1-484E-AADE-FE631E01463B}" dt="2025-11-26T03:58:52.880" v="751878"/>
          <ac:spMkLst>
            <pc:docMk/>
            <pc:sldMk cId="1064624314" sldId="2147483104"/>
            <ac:spMk id="1928" creationId="{ADE6BD44-08A7-C077-246D-6A1B8E33A367}"/>
          </ac:spMkLst>
        </pc:spChg>
        <pc:spChg chg="mod">
          <ac:chgData name="Yudi Zhu" userId="571e1a55-055f-4c28-8b35-fca6dd1c1369" providerId="ADAL" clId="{75A88773-6EE1-484E-AADE-FE631E01463B}" dt="2025-11-26T03:58:52.880" v="751887"/>
          <ac:spMkLst>
            <pc:docMk/>
            <pc:sldMk cId="1064624314" sldId="2147483104"/>
            <ac:spMk id="1929" creationId="{2BA62A35-183B-B661-2347-DD78A0764786}"/>
          </ac:spMkLst>
        </pc:spChg>
        <pc:spChg chg="mod">
          <ac:chgData name="Yudi Zhu" userId="571e1a55-055f-4c28-8b35-fca6dd1c1369" providerId="ADAL" clId="{75A88773-6EE1-484E-AADE-FE631E01463B}" dt="2025-11-26T03:58:52.880" v="751886"/>
          <ac:spMkLst>
            <pc:docMk/>
            <pc:sldMk cId="1064624314" sldId="2147483104"/>
            <ac:spMk id="1930" creationId="{F2909F36-E45F-A4F3-D879-823A37455F98}"/>
          </ac:spMkLst>
        </pc:spChg>
        <pc:spChg chg="mod ord">
          <ac:chgData name="Yudi Zhu" userId="571e1a55-055f-4c28-8b35-fca6dd1c1369" providerId="ADAL" clId="{75A88773-6EE1-484E-AADE-FE631E01463B}" dt="2025-11-26T03:58:52.880" v="751883"/>
          <ac:spMkLst>
            <pc:docMk/>
            <pc:sldMk cId="1064624314" sldId="2147483104"/>
            <ac:spMk id="1931" creationId="{85F6D3EE-7D32-B4F2-506D-26DA59EA740A}"/>
          </ac:spMkLst>
        </pc:spChg>
        <pc:spChg chg="mod">
          <ac:chgData name="Yudi Zhu" userId="571e1a55-055f-4c28-8b35-fca6dd1c1369" providerId="ADAL" clId="{75A88773-6EE1-484E-AADE-FE631E01463B}" dt="2025-11-26T03:58:52.895" v="751893"/>
          <ac:spMkLst>
            <pc:docMk/>
            <pc:sldMk cId="1064624314" sldId="2147483104"/>
            <ac:spMk id="1932" creationId="{870F128C-4204-436C-15CB-2F061BDDC964}"/>
          </ac:spMkLst>
        </pc:spChg>
        <pc:spChg chg="mod ord">
          <ac:chgData name="Yudi Zhu" userId="571e1a55-055f-4c28-8b35-fca6dd1c1369" providerId="ADAL" clId="{75A88773-6EE1-484E-AADE-FE631E01463B}" dt="2025-11-26T03:58:52.895" v="751892"/>
          <ac:spMkLst>
            <pc:docMk/>
            <pc:sldMk cId="1064624314" sldId="2147483104"/>
            <ac:spMk id="1933" creationId="{DF51D229-C6DB-4285-4680-002C8CD3AEEE}"/>
          </ac:spMkLst>
        </pc:spChg>
        <pc:spChg chg="mod">
          <ac:chgData name="Yudi Zhu" userId="571e1a55-055f-4c28-8b35-fca6dd1c1369" providerId="ADAL" clId="{75A88773-6EE1-484E-AADE-FE631E01463B}" dt="2025-11-26T03:58:52.895" v="751890"/>
          <ac:spMkLst>
            <pc:docMk/>
            <pc:sldMk cId="1064624314" sldId="2147483104"/>
            <ac:spMk id="1934" creationId="{AC51F0AD-1BDA-29CF-4190-73CECF6F9CA3}"/>
          </ac:spMkLst>
        </pc:spChg>
        <pc:spChg chg="mod">
          <ac:chgData name="Yudi Zhu" userId="571e1a55-055f-4c28-8b35-fca6dd1c1369" providerId="ADAL" clId="{75A88773-6EE1-484E-AADE-FE631E01463B}" dt="2025-11-26T03:58:52.868" v="751834"/>
          <ac:spMkLst>
            <pc:docMk/>
            <pc:sldMk cId="1064624314" sldId="2147483104"/>
            <ac:spMk id="1935" creationId="{F78ED92F-515F-C4BF-58DB-998EDD5BE519}"/>
          </ac:spMkLst>
        </pc:spChg>
        <pc:spChg chg="mod">
          <ac:chgData name="Yudi Zhu" userId="571e1a55-055f-4c28-8b35-fca6dd1c1369" providerId="ADAL" clId="{75A88773-6EE1-484E-AADE-FE631E01463B}" dt="2025-11-26T03:58:52.867" v="751832"/>
          <ac:spMkLst>
            <pc:docMk/>
            <pc:sldMk cId="1064624314" sldId="2147483104"/>
            <ac:spMk id="1936" creationId="{BD4723EF-B9F8-BE01-6B9B-B7369FFB0132}"/>
          </ac:spMkLst>
        </pc:spChg>
        <pc:spChg chg="mod ord">
          <ac:chgData name="Yudi Zhu" userId="571e1a55-055f-4c28-8b35-fca6dd1c1369" providerId="ADAL" clId="{75A88773-6EE1-484E-AADE-FE631E01463B}" dt="2025-11-26T03:58:52.895" v="751900"/>
          <ac:spMkLst>
            <pc:docMk/>
            <pc:sldMk cId="1064624314" sldId="2147483104"/>
            <ac:spMk id="1937" creationId="{92E78387-A1A9-4B85-85D5-C376AF73F395}"/>
          </ac:spMkLst>
        </pc:spChg>
        <pc:spChg chg="mod">
          <ac:chgData name="Yudi Zhu" userId="571e1a55-055f-4c28-8b35-fca6dd1c1369" providerId="ADAL" clId="{75A88773-6EE1-484E-AADE-FE631E01463B}" dt="2025-11-26T03:58:52.873" v="751844"/>
          <ac:spMkLst>
            <pc:docMk/>
            <pc:sldMk cId="1064624314" sldId="2147483104"/>
            <ac:spMk id="1938" creationId="{C4488964-0B6C-771A-98DA-3243D06D7B48}"/>
          </ac:spMkLst>
        </pc:spChg>
        <pc:spChg chg="mod">
          <ac:chgData name="Yudi Zhu" userId="571e1a55-055f-4c28-8b35-fca6dd1c1369" providerId="ADAL" clId="{75A88773-6EE1-484E-AADE-FE631E01463B}" dt="2025-11-26T03:58:52.872" v="751842"/>
          <ac:spMkLst>
            <pc:docMk/>
            <pc:sldMk cId="1064624314" sldId="2147483104"/>
            <ac:spMk id="1939" creationId="{7B391AF9-8203-6A30-657C-FBFB56AE25F8}"/>
          </ac:spMkLst>
        </pc:spChg>
        <pc:spChg chg="mod ord">
          <ac:chgData name="Yudi Zhu" userId="571e1a55-055f-4c28-8b35-fca6dd1c1369" providerId="ADAL" clId="{75A88773-6EE1-484E-AADE-FE631E01463B}" dt="2025-11-26T03:58:52.871" v="751841"/>
          <ac:spMkLst>
            <pc:docMk/>
            <pc:sldMk cId="1064624314" sldId="2147483104"/>
            <ac:spMk id="1940" creationId="{5506685F-6CA3-05CA-6610-3EA74C0D2B1B}"/>
          </ac:spMkLst>
        </pc:spChg>
        <pc:spChg chg="add del mod modVis">
          <ac:chgData name="Yudi Zhu" userId="571e1a55-055f-4c28-8b35-fca6dd1c1369" providerId="ADAL" clId="{75A88773-6EE1-484E-AADE-FE631E01463B}" dt="2025-11-26T03:54:49.136" v="739059"/>
          <ac:spMkLst>
            <pc:docMk/>
            <pc:sldMk cId="1064624314" sldId="2147483104"/>
            <ac:spMk id="1941" creationId="{805FC95A-C0D4-A8DA-6392-DEAA7944B088}"/>
          </ac:spMkLst>
        </pc:spChg>
        <pc:spChg chg="add mod ord">
          <ac:chgData name="Yudi Zhu" userId="571e1a55-055f-4c28-8b35-fca6dd1c1369" providerId="ADAL" clId="{75A88773-6EE1-484E-AADE-FE631E01463B}" dt="2025-11-26T03:58:52.822" v="751692"/>
          <ac:spMkLst>
            <pc:docMk/>
            <pc:sldMk cId="1064624314" sldId="2147483104"/>
            <ac:spMk id="1942" creationId="{008A2E0B-F658-EC4B-B873-FCC7FA360BB2}"/>
          </ac:spMkLst>
        </pc:spChg>
        <pc:spChg chg="add del mod modVis">
          <ac:chgData name="Yudi Zhu" userId="571e1a55-055f-4c28-8b35-fca6dd1c1369" providerId="ADAL" clId="{75A88773-6EE1-484E-AADE-FE631E01463B}" dt="2025-11-26T03:54:51.871" v="739567"/>
          <ac:spMkLst>
            <pc:docMk/>
            <pc:sldMk cId="1064624314" sldId="2147483104"/>
            <ac:spMk id="1944" creationId="{4AB87C65-7FD5-4B67-0A2E-F2563801EA66}"/>
          </ac:spMkLst>
        </pc:spChg>
        <pc:spChg chg="add mod ord">
          <ac:chgData name="Yudi Zhu" userId="571e1a55-055f-4c28-8b35-fca6dd1c1369" providerId="ADAL" clId="{75A88773-6EE1-484E-AADE-FE631E01463B}" dt="2025-11-26T03:58:52.822" v="751694"/>
          <ac:spMkLst>
            <pc:docMk/>
            <pc:sldMk cId="1064624314" sldId="2147483104"/>
            <ac:spMk id="1945" creationId="{C175BFEF-F14C-6AC0-9B0B-7038C9216405}"/>
          </ac:spMkLst>
        </pc:spChg>
        <pc:spChg chg="add del mod modVis">
          <ac:chgData name="Yudi Zhu" userId="571e1a55-055f-4c28-8b35-fca6dd1c1369" providerId="ADAL" clId="{75A88773-6EE1-484E-AADE-FE631E01463B}" dt="2025-11-26T03:54:55.071" v="740051"/>
          <ac:spMkLst>
            <pc:docMk/>
            <pc:sldMk cId="1064624314" sldId="2147483104"/>
            <ac:spMk id="1951" creationId="{D6EE8A0B-FBA1-09C5-F05F-EAC1C3CD019A}"/>
          </ac:spMkLst>
        </pc:spChg>
        <pc:spChg chg="add del mod modVis">
          <ac:chgData name="Yudi Zhu" userId="571e1a55-055f-4c28-8b35-fca6dd1c1369" providerId="ADAL" clId="{75A88773-6EE1-484E-AADE-FE631E01463B}" dt="2025-11-26T03:55:52.005" v="744999"/>
          <ac:spMkLst>
            <pc:docMk/>
            <pc:sldMk cId="1064624314" sldId="2147483104"/>
            <ac:spMk id="1955" creationId="{AB52E4B6-147B-7CBD-7315-A19C82CA547B}"/>
          </ac:spMkLst>
        </pc:spChg>
        <pc:spChg chg="add del mod modVis">
          <ac:chgData name="Yudi Zhu" userId="571e1a55-055f-4c28-8b35-fca6dd1c1369" providerId="ADAL" clId="{75A88773-6EE1-484E-AADE-FE631E01463B}" dt="2025-11-26T03:56:06.229" v="746715"/>
          <ac:spMkLst>
            <pc:docMk/>
            <pc:sldMk cId="1064624314" sldId="2147483104"/>
            <ac:spMk id="1969" creationId="{FDF6F6F1-3336-3C8F-D727-A8A567FF74B6}"/>
          </ac:spMkLst>
        </pc:spChg>
        <pc:spChg chg="mod ord">
          <ac:chgData name="Yudi Zhu" userId="571e1a55-055f-4c28-8b35-fca6dd1c1369" providerId="ADAL" clId="{75A88773-6EE1-484E-AADE-FE631E01463B}" dt="2025-11-26T03:58:52.895" v="751908"/>
          <ac:spMkLst>
            <pc:docMk/>
            <pc:sldMk cId="1064624314" sldId="2147483104"/>
            <ac:spMk id="1980" creationId="{774D4541-7094-3614-1ACD-51F27C222F81}"/>
          </ac:spMkLst>
        </pc:spChg>
        <pc:spChg chg="mod ord">
          <ac:chgData name="Yudi Zhu" userId="571e1a55-055f-4c28-8b35-fca6dd1c1369" providerId="ADAL" clId="{75A88773-6EE1-484E-AADE-FE631E01463B}" dt="2025-11-26T03:58:52.895" v="751910"/>
          <ac:spMkLst>
            <pc:docMk/>
            <pc:sldMk cId="1064624314" sldId="2147483104"/>
            <ac:spMk id="1981" creationId="{3682E853-CF7F-8E6C-CDC0-01FE31016B72}"/>
          </ac:spMkLst>
        </pc:spChg>
        <pc:spChg chg="mod ord">
          <ac:chgData name="Yudi Zhu" userId="571e1a55-055f-4c28-8b35-fca6dd1c1369" providerId="ADAL" clId="{75A88773-6EE1-484E-AADE-FE631E01463B}" dt="2025-11-26T03:58:52.895" v="751912"/>
          <ac:spMkLst>
            <pc:docMk/>
            <pc:sldMk cId="1064624314" sldId="2147483104"/>
            <ac:spMk id="1982" creationId="{3D7A7767-D695-A3C3-A43D-F11BD7B18C6C}"/>
          </ac:spMkLst>
        </pc:spChg>
        <pc:spChg chg="mod">
          <ac:chgData name="Yudi Zhu" userId="571e1a55-055f-4c28-8b35-fca6dd1c1369" providerId="ADAL" clId="{75A88773-6EE1-484E-AADE-FE631E01463B}" dt="2025-11-26T03:58:52.880" v="751855"/>
          <ac:spMkLst>
            <pc:docMk/>
            <pc:sldMk cId="1064624314" sldId="2147483104"/>
            <ac:spMk id="1983" creationId="{125A8E3A-1E53-7643-7C89-103156266D85}"/>
          </ac:spMkLst>
        </pc:spChg>
        <pc:grpChg chg="mod ord">
          <ac:chgData name="Yudi Zhu" userId="571e1a55-055f-4c28-8b35-fca6dd1c1369" providerId="ADAL" clId="{75A88773-6EE1-484E-AADE-FE631E01463B}" dt="2025-11-26T03:58:52.809" v="751645"/>
          <ac:grpSpMkLst>
            <pc:docMk/>
            <pc:sldMk cId="1064624314" sldId="2147483104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6T03:58:52.809" v="751647"/>
          <ac:grpSpMkLst>
            <pc:docMk/>
            <pc:sldMk cId="1064624314" sldId="2147483104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6T03:58:52.809" v="751649"/>
          <ac:grpSpMkLst>
            <pc:docMk/>
            <pc:sldMk cId="1064624314" sldId="2147483104"/>
            <ac:grpSpMk id="1604" creationId="{CAC77667-D6BB-F83B-AA16-FAE5D5B780AA}"/>
          </ac:grpSpMkLst>
        </pc:grpChg>
        <pc:graphicFrameChg chg="mod">
          <ac:chgData name="Yudi Zhu" userId="571e1a55-055f-4c28-8b35-fca6dd1c1369" providerId="ADAL" clId="{75A88773-6EE1-484E-AADE-FE631E01463B}" dt="2025-11-26T04:00:14.274" v="754500"/>
          <ac:graphicFrameMkLst>
            <pc:docMk/>
            <pc:sldMk cId="1064624314" sldId="2147483104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53.018" v="745010"/>
          <ac:graphicFrameMkLst>
            <pc:docMk/>
            <pc:sldMk cId="1064624314" sldId="2147483104"/>
            <ac:graphicFrameMk id="12" creationId="{7F6C542E-44AE-E40D-970B-1FDCB7F05BA9}"/>
          </ac:graphicFrameMkLst>
        </pc:graphicFrameChg>
        <pc:graphicFrameChg chg="del mod">
          <ac:chgData name="Yudi Zhu" userId="571e1a55-055f-4c28-8b35-fca6dd1c1369" providerId="ADAL" clId="{75A88773-6EE1-484E-AADE-FE631E01463B}" dt="2025-11-26T03:53:48.003" v="733886"/>
          <ac:graphicFrameMkLst>
            <pc:docMk/>
            <pc:sldMk cId="1064624314" sldId="2147483104"/>
            <ac:graphicFrameMk id="13" creationId="{F8832ABA-3008-773F-734D-F262687ABB7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3:32.552" v="732534"/>
          <ac:graphicFrameMkLst>
            <pc:docMk/>
            <pc:sldMk cId="1064624314" sldId="2147483104"/>
            <ac:graphicFrameMk id="15" creationId="{8B66A4CC-F59C-ED6A-2236-E0E1B546CCA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3:36.889" v="733230"/>
          <ac:graphicFrameMkLst>
            <pc:docMk/>
            <pc:sldMk cId="1064624314" sldId="2147483104"/>
            <ac:graphicFrameMk id="18" creationId="{59C57D29-65E2-C98B-907C-75B6F8A001B6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52.774" v="751585"/>
          <ac:graphicFrameMkLst>
            <pc:docMk/>
            <pc:sldMk cId="1064624314" sldId="2147483104"/>
            <ac:graphicFrameMk id="40" creationId="{C5F3F312-9D2C-AE50-F84F-17B6A1D6F478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3:51.876" v="734397"/>
          <ac:graphicFrameMkLst>
            <pc:docMk/>
            <pc:sldMk cId="1064624314" sldId="2147483104"/>
            <ac:graphicFrameMk id="54" creationId="{2F123048-524C-B6F3-AEB0-85AC48F8D52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00.291" v="734896"/>
          <ac:graphicFrameMkLst>
            <pc:docMk/>
            <pc:sldMk cId="1064624314" sldId="2147483104"/>
            <ac:graphicFrameMk id="56" creationId="{FB1E6F86-DBD8-6495-022E-AF16BD05C271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03.026" v="735384"/>
          <ac:graphicFrameMkLst>
            <pc:docMk/>
            <pc:sldMk cId="1064624314" sldId="2147483104"/>
            <ac:graphicFrameMk id="58" creationId="{6EED81AC-C12D-78AB-7D70-2D4D9EEB82A5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52.809" v="751656"/>
          <ac:graphicFrameMkLst>
            <pc:docMk/>
            <pc:sldMk cId="1064624314" sldId="2147483104"/>
            <ac:graphicFrameMk id="60" creationId="{1DBA4E0C-E08C-CF40-0DD9-6E979E9530D2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27.791" v="750081"/>
          <ac:graphicFrameMkLst>
            <pc:docMk/>
            <pc:sldMk cId="1064624314" sldId="2147483104"/>
            <ac:graphicFrameMk id="172" creationId="{718277F9-7119-981B-0138-0799D3E6230B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52.838" v="751743"/>
          <ac:graphicFrameMkLst>
            <pc:docMk/>
            <pc:sldMk cId="1064624314" sldId="2147483104"/>
            <ac:graphicFrameMk id="173" creationId="{2E3C6D82-D11A-7348-2FB9-266D41F4851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52.712" v="751487"/>
          <ac:graphicFrameMkLst>
            <pc:docMk/>
            <pc:sldMk cId="1064624314" sldId="2147483104"/>
            <ac:graphicFrameMk id="174" creationId="{80938311-AE7A-7F69-A5DA-FE5009A6812D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52.822" v="751695"/>
          <ac:graphicFrameMkLst>
            <pc:docMk/>
            <pc:sldMk cId="1064624314" sldId="2147483104"/>
            <ac:graphicFrameMk id="175" creationId="{E6687A3B-2632-7B2B-22BE-C99B1935801C}"/>
          </ac:graphicFrameMkLst>
        </pc:graphicFrameChg>
        <pc:graphicFrameChg chg="del mod">
          <ac:chgData name="Yudi Zhu" userId="571e1a55-055f-4c28-8b35-fca6dd1c1369" providerId="ADAL" clId="{75A88773-6EE1-484E-AADE-FE631E01463B}" dt="2025-11-26T03:54:24.214" v="736320"/>
          <ac:graphicFrameMkLst>
            <pc:docMk/>
            <pc:sldMk cId="1064624314" sldId="2147483104"/>
            <ac:graphicFrameMk id="190" creationId="{68D2CCEB-5497-ABDD-8D69-2E5B11DEDAE5}"/>
          </ac:graphicFrameMkLst>
        </pc:graphicFrameChg>
        <pc:graphicFrameChg chg="del">
          <ac:chgData name="Yudi Zhu" userId="571e1a55-055f-4c28-8b35-fca6dd1c1369" providerId="ADAL" clId="{75A88773-6EE1-484E-AADE-FE631E01463B}" dt="2025-11-26T03:46:18.002" v="712204"/>
          <ac:graphicFrameMkLst>
            <pc:docMk/>
            <pc:sldMk cId="1064624314" sldId="2147483104"/>
            <ac:graphicFrameMk id="191" creationId="{548B0600-0D97-E797-7745-BB995D2CEE8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28.122" v="737188"/>
          <ac:graphicFrameMkLst>
            <pc:docMk/>
            <pc:sldMk cId="1064624314" sldId="2147483104"/>
            <ac:graphicFrameMk id="1859" creationId="{B741EA15-AB54-EC82-3CE6-27A570F18FDD}"/>
          </ac:graphicFrameMkLst>
        </pc:graphicFrameChg>
        <pc:graphicFrameChg chg="del mod">
          <ac:chgData name="Yudi Zhu" userId="571e1a55-055f-4c28-8b35-fca6dd1c1369" providerId="ADAL" clId="{75A88773-6EE1-484E-AADE-FE631E01463B}" dt="2025-11-26T03:54:44.675" v="737690"/>
          <ac:graphicFrameMkLst>
            <pc:docMk/>
            <pc:sldMk cId="1064624314" sldId="2147483104"/>
            <ac:graphicFrameMk id="1888" creationId="{702FC4A6-FA80-AEC2-D512-DAF96444C426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51.818" v="744582"/>
          <ac:graphicFrameMkLst>
            <pc:docMk/>
            <pc:sldMk cId="1064624314" sldId="2147483104"/>
            <ac:graphicFrameMk id="1903" creationId="{41C763AC-ED56-A315-F9DF-12891C3771E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45.977" v="738146"/>
          <ac:graphicFrameMkLst>
            <pc:docMk/>
            <pc:sldMk cId="1064624314" sldId="2147483104"/>
            <ac:graphicFrameMk id="1908" creationId="{351184BC-06F5-7E5F-68F0-80965147F78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48.719" v="738642"/>
          <ac:graphicFrameMkLst>
            <pc:docMk/>
            <pc:sldMk cId="1064624314" sldId="2147483104"/>
            <ac:graphicFrameMk id="1910" creationId="{B7A0D522-70FD-C2BF-5183-A02FB19AD455}"/>
          </ac:graphicFrameMkLst>
        </pc:graphicFrameChg>
        <pc:graphicFrameChg chg="del mod">
          <ac:chgData name="Yudi Zhu" userId="571e1a55-055f-4c28-8b35-fca6dd1c1369" providerId="ADAL" clId="{75A88773-6EE1-484E-AADE-FE631E01463B}" dt="2025-11-26T03:53:28.823" v="731914"/>
          <ac:graphicFrameMkLst>
            <pc:docMk/>
            <pc:sldMk cId="1064624314" sldId="2147483104"/>
            <ac:graphicFrameMk id="1919" creationId="{679052DD-CF71-D946-1EF0-65274069EA7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51.540" v="739148"/>
          <ac:graphicFrameMkLst>
            <pc:docMk/>
            <pc:sldMk cId="1064624314" sldId="2147483104"/>
            <ac:graphicFrameMk id="1943" creationId="{41BE6711-AD0B-F3D6-F423-C1182493ABC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4:54.770" v="739634"/>
          <ac:graphicFrameMkLst>
            <pc:docMk/>
            <pc:sldMk cId="1064624314" sldId="2147483104"/>
            <ac:graphicFrameMk id="1948" creationId="{8B39E9AE-6CD4-7048-B2BB-AEB5665D5DD0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50.174" v="751007"/>
          <ac:graphicFrameMkLst>
            <pc:docMk/>
            <pc:sldMk cId="1064624314" sldId="2147483104"/>
            <ac:graphicFrameMk id="1953" creationId="{70134D77-B6FC-9589-F7FF-51E1EFD54DA0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5:52.942" v="745003"/>
          <ac:graphicFrameMkLst>
            <pc:docMk/>
            <pc:sldMk cId="1064624314" sldId="2147483104"/>
            <ac:graphicFrameMk id="1957" creationId="{ABAED4C5-9CA5-0A1C-24EB-9A22832BC168}"/>
          </ac:graphicFrameMkLst>
        </pc:graphicFrameChg>
        <pc:graphicFrameChg chg="add mod">
          <ac:chgData name="Yudi Zhu" userId="571e1a55-055f-4c28-8b35-fca6dd1c1369" providerId="ADAL" clId="{75A88773-6EE1-484E-AADE-FE631E01463B}" dt="2025-11-26T03:58:52.743" v="751527"/>
          <ac:graphicFrameMkLst>
            <pc:docMk/>
            <pc:sldMk cId="1064624314" sldId="2147483104"/>
            <ac:graphicFrameMk id="1959" creationId="{F32038EE-CA24-D3C5-45AC-6B43514FD209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6:01.094" v="745429"/>
          <ac:graphicFrameMkLst>
            <pc:docMk/>
            <pc:sldMk cId="1064624314" sldId="2147483104"/>
            <ac:graphicFrameMk id="1962" creationId="{FE4ABD12-0F5C-4056-2378-41CA411AA50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6:02.532" v="745848"/>
          <ac:graphicFrameMkLst>
            <pc:docMk/>
            <pc:sldMk cId="1064624314" sldId="2147483104"/>
            <ac:graphicFrameMk id="1964" creationId="{63FDC6E7-59B2-9984-E64C-214DDBDD0A4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6:06.015" v="746298"/>
          <ac:graphicFrameMkLst>
            <pc:docMk/>
            <pc:sldMk cId="1064624314" sldId="2147483104"/>
            <ac:graphicFrameMk id="1966" creationId="{54FEFFD1-C5D4-0BE1-9653-511583945428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6:08.465" v="746719"/>
          <ac:graphicFrameMkLst>
            <pc:docMk/>
            <pc:sldMk cId="1064624314" sldId="2147483104"/>
            <ac:graphicFrameMk id="1977" creationId="{022F9806-DF5B-EECF-8922-5E17049237B1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7:06.900" v="748717"/>
          <ac:graphicFrameMkLst>
            <pc:docMk/>
            <pc:sldMk cId="1064624314" sldId="2147483104"/>
            <ac:graphicFrameMk id="1979" creationId="{A43F5AC1-EA90-BAED-9877-93A628AD62C4}"/>
          </ac:graphicFrameMkLst>
        </pc:graphicFrameChg>
        <pc:cxnChg chg="mod ord">
          <ac:chgData name="Yudi Zhu" userId="571e1a55-055f-4c28-8b35-fca6dd1c1369" providerId="ADAL" clId="{75A88773-6EE1-484E-AADE-FE631E01463B}" dt="2025-11-26T03:58:52.822" v="751712"/>
          <ac:cxnSpMkLst>
            <pc:docMk/>
            <pc:sldMk cId="1064624314" sldId="2147483104"/>
            <ac:cxnSpMk id="16" creationId="{F8D999A4-47CD-480C-D9EB-7552B724F0C4}"/>
          </ac:cxnSpMkLst>
        </pc:cxnChg>
        <pc:cxnChg chg="mod ord">
          <ac:chgData name="Yudi Zhu" userId="571e1a55-055f-4c28-8b35-fca6dd1c1369" providerId="ADAL" clId="{75A88773-6EE1-484E-AADE-FE631E01463B}" dt="2025-11-26T03:58:52.743" v="751508"/>
          <ac:cxnSpMkLst>
            <pc:docMk/>
            <pc:sldMk cId="1064624314" sldId="2147483104"/>
            <ac:cxnSpMk id="20" creationId="{F42D15B7-5521-12CB-D591-CE08548AB2AC}"/>
          </ac:cxnSpMkLst>
        </pc:cxnChg>
        <pc:cxnChg chg="mod ord">
          <ac:chgData name="Yudi Zhu" userId="571e1a55-055f-4c28-8b35-fca6dd1c1369" providerId="ADAL" clId="{75A88773-6EE1-484E-AADE-FE631E01463B}" dt="2025-11-26T03:58:52.822" v="751718"/>
          <ac:cxnSpMkLst>
            <pc:docMk/>
            <pc:sldMk cId="1064624314" sldId="2147483104"/>
            <ac:cxnSpMk id="21" creationId="{20572583-446A-9E12-D592-41BAAB8975DE}"/>
          </ac:cxnSpMkLst>
        </pc:cxnChg>
        <pc:cxnChg chg="add mod ord">
          <ac:chgData name="Yudi Zhu" userId="571e1a55-055f-4c28-8b35-fca6dd1c1369" providerId="ADAL" clId="{75A88773-6EE1-484E-AADE-FE631E01463B}" dt="2025-11-26T03:58:52.774" v="751591"/>
          <ac:cxnSpMkLst>
            <pc:docMk/>
            <pc:sldMk cId="1064624314" sldId="2147483104"/>
            <ac:cxnSpMk id="22" creationId="{3359E0E7-BB41-84CF-30C7-F3AFBB30248D}"/>
          </ac:cxnSpMkLst>
        </pc:cxnChg>
        <pc:cxnChg chg="mod ord">
          <ac:chgData name="Yudi Zhu" userId="571e1a55-055f-4c28-8b35-fca6dd1c1369" providerId="ADAL" clId="{75A88773-6EE1-484E-AADE-FE631E01463B}" dt="2025-11-26T03:58:52.759" v="751541"/>
          <ac:cxnSpMkLst>
            <pc:docMk/>
            <pc:sldMk cId="1064624314" sldId="2147483104"/>
            <ac:cxnSpMk id="23" creationId="{9AFFC76A-95C2-7038-5B05-41730F055690}"/>
          </ac:cxnSpMkLst>
        </pc:cxnChg>
        <pc:cxnChg chg="mod ord">
          <ac:chgData name="Yudi Zhu" userId="571e1a55-055f-4c28-8b35-fca6dd1c1369" providerId="ADAL" clId="{75A88773-6EE1-484E-AADE-FE631E01463B}" dt="2025-11-26T03:58:52.759" v="751543"/>
          <ac:cxnSpMkLst>
            <pc:docMk/>
            <pc:sldMk cId="1064624314" sldId="2147483104"/>
            <ac:cxnSpMk id="24" creationId="{23C45A0A-366D-7C03-79DE-77CDCA0DC855}"/>
          </ac:cxnSpMkLst>
        </pc:cxnChg>
        <pc:cxnChg chg="del mod ord">
          <ac:chgData name="Yudi Zhu" userId="571e1a55-055f-4c28-8b35-fca6dd1c1369" providerId="ADAL" clId="{75A88773-6EE1-484E-AADE-FE631E01463B}" dt="2025-11-26T03:54:24.121" v="736175"/>
          <ac:cxnSpMkLst>
            <pc:docMk/>
            <pc:sldMk cId="1064624314" sldId="2147483104"/>
            <ac:cxnSpMk id="25" creationId="{F19C5EC0-0FD3-D98D-2D1A-BCF0CFFDAAA0}"/>
          </ac:cxnSpMkLst>
        </pc:cxnChg>
        <pc:cxnChg chg="mod ord">
          <ac:chgData name="Yudi Zhu" userId="571e1a55-055f-4c28-8b35-fca6dd1c1369" providerId="ADAL" clId="{75A88773-6EE1-484E-AADE-FE631E01463B}" dt="2025-11-26T03:58:52.822" v="751722"/>
          <ac:cxnSpMkLst>
            <pc:docMk/>
            <pc:sldMk cId="1064624314" sldId="2147483104"/>
            <ac:cxnSpMk id="26" creationId="{9CDBEADC-815A-1DE7-CA91-4CB63C47DC69}"/>
          </ac:cxnSpMkLst>
        </pc:cxnChg>
        <pc:cxnChg chg="mod ord">
          <ac:chgData name="Yudi Zhu" userId="571e1a55-055f-4c28-8b35-fca6dd1c1369" providerId="ADAL" clId="{75A88773-6EE1-484E-AADE-FE631E01463B}" dt="2025-11-26T03:58:52.822" v="751724"/>
          <ac:cxnSpMkLst>
            <pc:docMk/>
            <pc:sldMk cId="1064624314" sldId="2147483104"/>
            <ac:cxnSpMk id="27" creationId="{C0567C39-9F79-6F76-49F7-7CB10EA59979}"/>
          </ac:cxnSpMkLst>
        </pc:cxnChg>
        <pc:cxnChg chg="mod ord">
          <ac:chgData name="Yudi Zhu" userId="571e1a55-055f-4c28-8b35-fca6dd1c1369" providerId="ADAL" clId="{75A88773-6EE1-484E-AADE-FE631E01463B}" dt="2025-11-26T03:58:52.759" v="751545"/>
          <ac:cxnSpMkLst>
            <pc:docMk/>
            <pc:sldMk cId="1064624314" sldId="2147483104"/>
            <ac:cxnSpMk id="28" creationId="{A40D63EF-C94A-281F-7D75-446D6A803007}"/>
          </ac:cxnSpMkLst>
        </pc:cxnChg>
        <pc:cxnChg chg="del mod ord">
          <ac:chgData name="Yudi Zhu" userId="571e1a55-055f-4c28-8b35-fca6dd1c1369" providerId="ADAL" clId="{75A88773-6EE1-484E-AADE-FE631E01463B}" dt="2025-11-26T03:54:24.069" v="736113"/>
          <ac:cxnSpMkLst>
            <pc:docMk/>
            <pc:sldMk cId="1064624314" sldId="2147483104"/>
            <ac:cxnSpMk id="29" creationId="{48B05335-9390-1CA5-6B14-31F7AA0943EA}"/>
          </ac:cxnSpMkLst>
        </pc:cxnChg>
        <pc:cxnChg chg="mod ord">
          <ac:chgData name="Yudi Zhu" userId="571e1a55-055f-4c28-8b35-fca6dd1c1369" providerId="ADAL" clId="{75A88773-6EE1-484E-AADE-FE631E01463B}" dt="2025-11-26T03:58:52.759" v="751547"/>
          <ac:cxnSpMkLst>
            <pc:docMk/>
            <pc:sldMk cId="1064624314" sldId="2147483104"/>
            <ac:cxnSpMk id="30" creationId="{EF9EBDB4-8B7E-1BAE-BA6D-A82B810740DD}"/>
          </ac:cxnSpMkLst>
        </pc:cxnChg>
        <pc:cxnChg chg="mod ord">
          <ac:chgData name="Yudi Zhu" userId="571e1a55-055f-4c28-8b35-fca6dd1c1369" providerId="ADAL" clId="{75A88773-6EE1-484E-AADE-FE631E01463B}" dt="2025-11-26T03:58:52.759" v="751549"/>
          <ac:cxnSpMkLst>
            <pc:docMk/>
            <pc:sldMk cId="1064624314" sldId="2147483104"/>
            <ac:cxnSpMk id="31" creationId="{79955FD4-CA7B-6254-FDB9-81026BCE9368}"/>
          </ac:cxnSpMkLst>
        </pc:cxnChg>
        <pc:cxnChg chg="add mod ord">
          <ac:chgData name="Yudi Zhu" userId="571e1a55-055f-4c28-8b35-fca6dd1c1369" providerId="ADAL" clId="{75A88773-6EE1-484E-AADE-FE631E01463B}" dt="2025-11-26T03:58:52.774" v="751593"/>
          <ac:cxnSpMkLst>
            <pc:docMk/>
            <pc:sldMk cId="1064624314" sldId="2147483104"/>
            <ac:cxnSpMk id="32" creationId="{EFFC51CB-B2FE-5A4B-086A-F6BFFB67C7C9}"/>
          </ac:cxnSpMkLst>
        </pc:cxnChg>
        <pc:cxnChg chg="mod ord">
          <ac:chgData name="Yudi Zhu" userId="571e1a55-055f-4c28-8b35-fca6dd1c1369" providerId="ADAL" clId="{75A88773-6EE1-484E-AADE-FE631E01463B}" dt="2025-11-26T03:58:52.743" v="751526"/>
          <ac:cxnSpMkLst>
            <pc:docMk/>
            <pc:sldMk cId="1064624314" sldId="2147483104"/>
            <ac:cxnSpMk id="33" creationId="{7404C743-8614-C318-7925-9AA0F052DF37}"/>
          </ac:cxnSpMkLst>
        </pc:cxnChg>
        <pc:cxnChg chg="mod ord">
          <ac:chgData name="Yudi Zhu" userId="571e1a55-055f-4c28-8b35-fca6dd1c1369" providerId="ADAL" clId="{75A88773-6EE1-484E-AADE-FE631E01463B}" dt="2025-11-26T03:58:52.743" v="751522"/>
          <ac:cxnSpMkLst>
            <pc:docMk/>
            <pc:sldMk cId="1064624314" sldId="2147483104"/>
            <ac:cxnSpMk id="34" creationId="{CDE96436-D6F8-EA3B-0FB1-E87640B0B6D2}"/>
          </ac:cxnSpMkLst>
        </pc:cxnChg>
        <pc:cxnChg chg="mod ord">
          <ac:chgData name="Yudi Zhu" userId="571e1a55-055f-4c28-8b35-fca6dd1c1369" providerId="ADAL" clId="{75A88773-6EE1-484E-AADE-FE631E01463B}" dt="2025-11-26T03:58:52.743" v="751520"/>
          <ac:cxnSpMkLst>
            <pc:docMk/>
            <pc:sldMk cId="1064624314" sldId="2147483104"/>
            <ac:cxnSpMk id="35" creationId="{6E65C362-3D27-0291-6F0A-0BC7EA743099}"/>
          </ac:cxnSpMkLst>
        </pc:cxnChg>
        <pc:cxnChg chg="mod ord">
          <ac:chgData name="Yudi Zhu" userId="571e1a55-055f-4c28-8b35-fca6dd1c1369" providerId="ADAL" clId="{75A88773-6EE1-484E-AADE-FE631E01463B}" dt="2025-11-26T03:58:52.743" v="751518"/>
          <ac:cxnSpMkLst>
            <pc:docMk/>
            <pc:sldMk cId="1064624314" sldId="2147483104"/>
            <ac:cxnSpMk id="36" creationId="{3AB8B903-A16B-BA8C-3D32-0D85BAB2F5BD}"/>
          </ac:cxnSpMkLst>
        </pc:cxnChg>
        <pc:cxnChg chg="add mod ord">
          <ac:chgData name="Yudi Zhu" userId="571e1a55-055f-4c28-8b35-fca6dd1c1369" providerId="ADAL" clId="{75A88773-6EE1-484E-AADE-FE631E01463B}" dt="2025-11-26T03:58:52.774" v="751595"/>
          <ac:cxnSpMkLst>
            <pc:docMk/>
            <pc:sldMk cId="1064624314" sldId="2147483104"/>
            <ac:cxnSpMk id="37" creationId="{94465A7F-0CE1-ABFA-4963-BEFF64616AB7}"/>
          </ac:cxnSpMkLst>
        </pc:cxnChg>
        <pc:cxnChg chg="add mod ord">
          <ac:chgData name="Yudi Zhu" userId="571e1a55-055f-4c28-8b35-fca6dd1c1369" providerId="ADAL" clId="{75A88773-6EE1-484E-AADE-FE631E01463B}" dt="2025-11-26T03:58:52.774" v="751597"/>
          <ac:cxnSpMkLst>
            <pc:docMk/>
            <pc:sldMk cId="1064624314" sldId="2147483104"/>
            <ac:cxnSpMk id="38" creationId="{5CC18194-FDC9-A2A7-6B3D-0910DB92134B}"/>
          </ac:cxnSpMkLst>
        </pc:cxnChg>
        <pc:cxnChg chg="add mod ord">
          <ac:chgData name="Yudi Zhu" userId="571e1a55-055f-4c28-8b35-fca6dd1c1369" providerId="ADAL" clId="{75A88773-6EE1-484E-AADE-FE631E01463B}" dt="2025-11-26T03:58:52.774" v="751599"/>
          <ac:cxnSpMkLst>
            <pc:docMk/>
            <pc:sldMk cId="1064624314" sldId="2147483104"/>
            <ac:cxnSpMk id="39" creationId="{86D8FB34-AF8A-D740-AA8D-A31653B0BB8E}"/>
          </ac:cxnSpMkLst>
        </pc:cxnChg>
        <pc:cxnChg chg="mod ord">
          <ac:chgData name="Yudi Zhu" userId="571e1a55-055f-4c28-8b35-fca6dd1c1369" providerId="ADAL" clId="{75A88773-6EE1-484E-AADE-FE631E01463B}" dt="2025-11-26T03:58:52.838" v="751755"/>
          <ac:cxnSpMkLst>
            <pc:docMk/>
            <pc:sldMk cId="1064624314" sldId="2147483104"/>
            <ac:cxnSpMk id="43" creationId="{D0706066-60C2-4883-715C-9FC2C4B1684F}"/>
          </ac:cxnSpMkLst>
        </pc:cxnChg>
        <pc:cxnChg chg="mod ord">
          <ac:chgData name="Yudi Zhu" userId="571e1a55-055f-4c28-8b35-fca6dd1c1369" providerId="ADAL" clId="{75A88773-6EE1-484E-AADE-FE631E01463B}" dt="2025-11-26T03:58:52.859" v="751803"/>
          <ac:cxnSpMkLst>
            <pc:docMk/>
            <pc:sldMk cId="1064624314" sldId="2147483104"/>
            <ac:cxnSpMk id="44" creationId="{7F758961-9016-F5C2-68B7-AAE51E36BFF0}"/>
          </ac:cxnSpMkLst>
        </pc:cxnChg>
        <pc:cxnChg chg="mod ord">
          <ac:chgData name="Yudi Zhu" userId="571e1a55-055f-4c28-8b35-fca6dd1c1369" providerId="ADAL" clId="{75A88773-6EE1-484E-AADE-FE631E01463B}" dt="2025-11-26T03:58:52.864" v="751823"/>
          <ac:cxnSpMkLst>
            <pc:docMk/>
            <pc:sldMk cId="1064624314" sldId="2147483104"/>
            <ac:cxnSpMk id="45" creationId="{E19570DC-5F68-7B15-B82D-8FF823FAA4BF}"/>
          </ac:cxnSpMkLst>
        </pc:cxnChg>
        <pc:cxnChg chg="mod ord">
          <ac:chgData name="Yudi Zhu" userId="571e1a55-055f-4c28-8b35-fca6dd1c1369" providerId="ADAL" clId="{75A88773-6EE1-484E-AADE-FE631E01463B}" dt="2025-11-26T03:58:52.861" v="751813"/>
          <ac:cxnSpMkLst>
            <pc:docMk/>
            <pc:sldMk cId="1064624314" sldId="2147483104"/>
            <ac:cxnSpMk id="47" creationId="{5FD6F803-9FF9-C590-DCAD-BD9BBDABE600}"/>
          </ac:cxnSpMkLst>
        </pc:cxnChg>
        <pc:cxnChg chg="mod ord">
          <ac:chgData name="Yudi Zhu" userId="571e1a55-055f-4c28-8b35-fca6dd1c1369" providerId="ADAL" clId="{75A88773-6EE1-484E-AADE-FE631E01463B}" dt="2025-11-26T03:58:52.857" v="751797"/>
          <ac:cxnSpMkLst>
            <pc:docMk/>
            <pc:sldMk cId="1064624314" sldId="2147483104"/>
            <ac:cxnSpMk id="48" creationId="{3EFA5799-B11E-7367-92C5-B2E499273415}"/>
          </ac:cxnSpMkLst>
        </pc:cxnChg>
        <pc:cxnChg chg="mod ord">
          <ac:chgData name="Yudi Zhu" userId="571e1a55-055f-4c28-8b35-fca6dd1c1369" providerId="ADAL" clId="{75A88773-6EE1-484E-AADE-FE631E01463B}" dt="2025-11-26T03:58:52.858" v="751799"/>
          <ac:cxnSpMkLst>
            <pc:docMk/>
            <pc:sldMk cId="1064624314" sldId="2147483104"/>
            <ac:cxnSpMk id="49" creationId="{6E16BA44-DF5E-92A1-A324-C50C080F024E}"/>
          </ac:cxnSpMkLst>
        </pc:cxnChg>
        <pc:cxnChg chg="add mod ord">
          <ac:chgData name="Yudi Zhu" userId="571e1a55-055f-4c28-8b35-fca6dd1c1369" providerId="ADAL" clId="{75A88773-6EE1-484E-AADE-FE631E01463B}" dt="2025-11-26T03:58:52.759" v="751551"/>
          <ac:cxnSpMkLst>
            <pc:docMk/>
            <pc:sldMk cId="1064624314" sldId="2147483104"/>
            <ac:cxnSpMk id="62" creationId="{7A947B0D-E500-20CD-9A8A-10C2751CA392}"/>
          </ac:cxnSpMkLst>
        </pc:cxnChg>
        <pc:cxnChg chg="add mod ord">
          <ac:chgData name="Yudi Zhu" userId="571e1a55-055f-4c28-8b35-fca6dd1c1369" providerId="ADAL" clId="{75A88773-6EE1-484E-AADE-FE631E01463B}" dt="2025-11-26T03:58:52.759" v="751553"/>
          <ac:cxnSpMkLst>
            <pc:docMk/>
            <pc:sldMk cId="1064624314" sldId="2147483104"/>
            <ac:cxnSpMk id="63" creationId="{547E1370-0168-3711-CD45-887C56466773}"/>
          </ac:cxnSpMkLst>
        </pc:cxnChg>
        <pc:cxnChg chg="mod ord">
          <ac:chgData name="Yudi Zhu" userId="571e1a55-055f-4c28-8b35-fca6dd1c1369" providerId="ADAL" clId="{75A88773-6EE1-484E-AADE-FE631E01463B}" dt="2025-11-26T03:58:52.853" v="751781"/>
          <ac:cxnSpMkLst>
            <pc:docMk/>
            <pc:sldMk cId="1064624314" sldId="2147483104"/>
            <ac:cxnSpMk id="131" creationId="{302D367C-1A02-3459-9C2D-9BD3F848C065}"/>
          </ac:cxnSpMkLst>
        </pc:cxnChg>
        <pc:cxnChg chg="del mod ord">
          <ac:chgData name="Yudi Zhu" userId="571e1a55-055f-4c28-8b35-fca6dd1c1369" providerId="ADAL" clId="{75A88773-6EE1-484E-AADE-FE631E01463B}" dt="2025-11-26T03:57:06.348" v="748097"/>
          <ac:cxnSpMkLst>
            <pc:docMk/>
            <pc:sldMk cId="1064624314" sldId="2147483104"/>
            <ac:cxnSpMk id="132" creationId="{497CD7EF-2824-5BEF-62B8-0B80F9A1815F}"/>
          </ac:cxnSpMkLst>
        </pc:cxnChg>
        <pc:cxnChg chg="mod ord">
          <ac:chgData name="Yudi Zhu" userId="571e1a55-055f-4c28-8b35-fca6dd1c1369" providerId="ADAL" clId="{75A88773-6EE1-484E-AADE-FE631E01463B}" dt="2025-11-26T03:58:52.856" v="751795"/>
          <ac:cxnSpMkLst>
            <pc:docMk/>
            <pc:sldMk cId="1064624314" sldId="2147483104"/>
            <ac:cxnSpMk id="133" creationId="{5A4BDDAB-C480-572D-E7FF-824340033891}"/>
          </ac:cxnSpMkLst>
        </pc:cxnChg>
        <pc:cxnChg chg="del mod ord">
          <ac:chgData name="Yudi Zhu" userId="571e1a55-055f-4c28-8b35-fca6dd1c1369" providerId="ADAL" clId="{75A88773-6EE1-484E-AADE-FE631E01463B}" dt="2025-11-26T03:57:06.499" v="748234"/>
          <ac:cxnSpMkLst>
            <pc:docMk/>
            <pc:sldMk cId="1064624314" sldId="2147483104"/>
            <ac:cxnSpMk id="134" creationId="{F39DE797-6E83-C6E1-E872-5E203764A14F}"/>
          </ac:cxnSpMkLst>
        </pc:cxnChg>
        <pc:cxnChg chg="mod ord">
          <ac:chgData name="Yudi Zhu" userId="571e1a55-055f-4c28-8b35-fca6dd1c1369" providerId="ADAL" clId="{75A88773-6EE1-484E-AADE-FE631E01463B}" dt="2025-11-26T03:58:52.864" v="751825"/>
          <ac:cxnSpMkLst>
            <pc:docMk/>
            <pc:sldMk cId="1064624314" sldId="2147483104"/>
            <ac:cxnSpMk id="135" creationId="{22845195-F19E-1E7D-D556-3E518C81794D}"/>
          </ac:cxnSpMkLst>
        </pc:cxnChg>
        <pc:cxnChg chg="mod ord">
          <ac:chgData name="Yudi Zhu" userId="571e1a55-055f-4c28-8b35-fca6dd1c1369" providerId="ADAL" clId="{75A88773-6EE1-484E-AADE-FE631E01463B}" dt="2025-11-26T03:58:52.863" v="751819"/>
          <ac:cxnSpMkLst>
            <pc:docMk/>
            <pc:sldMk cId="1064624314" sldId="2147483104"/>
            <ac:cxnSpMk id="136" creationId="{49D63ACB-A030-422B-EE90-7AC4A69D43CA}"/>
          </ac:cxnSpMkLst>
        </pc:cxnChg>
        <pc:cxnChg chg="mod ord">
          <ac:chgData name="Yudi Zhu" userId="571e1a55-055f-4c28-8b35-fca6dd1c1369" providerId="ADAL" clId="{75A88773-6EE1-484E-AADE-FE631E01463B}" dt="2025-11-26T03:58:52.852" v="751777"/>
          <ac:cxnSpMkLst>
            <pc:docMk/>
            <pc:sldMk cId="1064624314" sldId="2147483104"/>
            <ac:cxnSpMk id="137" creationId="{91E2097A-FBDE-3919-BBD5-CD8987C5B85F}"/>
          </ac:cxnSpMkLst>
        </pc:cxnChg>
        <pc:cxnChg chg="mod ord">
          <ac:chgData name="Yudi Zhu" userId="571e1a55-055f-4c28-8b35-fca6dd1c1369" providerId="ADAL" clId="{75A88773-6EE1-484E-AADE-FE631E01463B}" dt="2025-11-26T03:58:52.851" v="751775"/>
          <ac:cxnSpMkLst>
            <pc:docMk/>
            <pc:sldMk cId="1064624314" sldId="2147483104"/>
            <ac:cxnSpMk id="138" creationId="{AD6E0703-56E5-AA61-ED7D-BD79A77735E1}"/>
          </ac:cxnSpMkLst>
        </pc:cxnChg>
        <pc:cxnChg chg="mod ord">
          <ac:chgData name="Yudi Zhu" userId="571e1a55-055f-4c28-8b35-fca6dd1c1369" providerId="ADAL" clId="{75A88773-6EE1-484E-AADE-FE631E01463B}" dt="2025-11-26T03:58:52.851" v="751773"/>
          <ac:cxnSpMkLst>
            <pc:docMk/>
            <pc:sldMk cId="1064624314" sldId="2147483104"/>
            <ac:cxnSpMk id="139" creationId="{0F696389-1B0E-632C-5872-FA4364234750}"/>
          </ac:cxnSpMkLst>
        </pc:cxnChg>
        <pc:cxnChg chg="mod ord">
          <ac:chgData name="Yudi Zhu" userId="571e1a55-055f-4c28-8b35-fca6dd1c1369" providerId="ADAL" clId="{75A88773-6EE1-484E-AADE-FE631E01463B}" dt="2025-11-26T03:58:52.822" v="751710"/>
          <ac:cxnSpMkLst>
            <pc:docMk/>
            <pc:sldMk cId="1064624314" sldId="2147483104"/>
            <ac:cxnSpMk id="140" creationId="{763F88E0-5513-4C71-F9E0-97729260EA72}"/>
          </ac:cxnSpMkLst>
        </pc:cxnChg>
        <pc:cxnChg chg="mod ord">
          <ac:chgData name="Yudi Zhu" userId="571e1a55-055f-4c28-8b35-fca6dd1c1369" providerId="ADAL" clId="{75A88773-6EE1-484E-AADE-FE631E01463B}" dt="2025-11-26T03:58:52.822" v="751706"/>
          <ac:cxnSpMkLst>
            <pc:docMk/>
            <pc:sldMk cId="1064624314" sldId="2147483104"/>
            <ac:cxnSpMk id="141" creationId="{3BF1E16E-B973-7A15-0FB6-8C5C2D450EEF}"/>
          </ac:cxnSpMkLst>
        </pc:cxnChg>
        <pc:cxnChg chg="mod ord">
          <ac:chgData name="Yudi Zhu" userId="571e1a55-055f-4c28-8b35-fca6dd1c1369" providerId="ADAL" clId="{75A88773-6EE1-484E-AADE-FE631E01463B}" dt="2025-11-26T03:58:52.822" v="751720"/>
          <ac:cxnSpMkLst>
            <pc:docMk/>
            <pc:sldMk cId="1064624314" sldId="2147483104"/>
            <ac:cxnSpMk id="142" creationId="{3CC97B79-ABD5-FDBF-D366-DA42E71FC9E2}"/>
          </ac:cxnSpMkLst>
        </pc:cxnChg>
        <pc:cxnChg chg="mod ord">
          <ac:chgData name="Yudi Zhu" userId="571e1a55-055f-4c28-8b35-fca6dd1c1369" providerId="ADAL" clId="{75A88773-6EE1-484E-AADE-FE631E01463B}" dt="2025-11-26T03:58:52.822" v="751726"/>
          <ac:cxnSpMkLst>
            <pc:docMk/>
            <pc:sldMk cId="1064624314" sldId="2147483104"/>
            <ac:cxnSpMk id="143" creationId="{EC6E5469-1FE6-DD66-D4B3-9D848B4C085E}"/>
          </ac:cxnSpMkLst>
        </pc:cxnChg>
        <pc:cxnChg chg="mod ord">
          <ac:chgData name="Yudi Zhu" userId="571e1a55-055f-4c28-8b35-fca6dd1c1369" providerId="ADAL" clId="{75A88773-6EE1-484E-AADE-FE631E01463B}" dt="2025-11-26T03:58:52.822" v="751728"/>
          <ac:cxnSpMkLst>
            <pc:docMk/>
            <pc:sldMk cId="1064624314" sldId="2147483104"/>
            <ac:cxnSpMk id="144" creationId="{AA91BECB-5B54-69C8-9FD2-C75EB254549A}"/>
          </ac:cxnSpMkLst>
        </pc:cxnChg>
        <pc:cxnChg chg="add mod ord">
          <ac:chgData name="Yudi Zhu" userId="571e1a55-055f-4c28-8b35-fca6dd1c1369" providerId="ADAL" clId="{75A88773-6EE1-484E-AADE-FE631E01463B}" dt="2025-11-26T03:58:52.862" v="751817"/>
          <ac:cxnSpMkLst>
            <pc:docMk/>
            <pc:sldMk cId="1064624314" sldId="2147483104"/>
            <ac:cxnSpMk id="145" creationId="{86EBE582-576B-1038-7AF2-8B7745F20A85}"/>
          </ac:cxnSpMkLst>
        </pc:cxnChg>
        <pc:cxnChg chg="add mod ord">
          <ac:chgData name="Yudi Zhu" userId="571e1a55-055f-4c28-8b35-fca6dd1c1369" providerId="ADAL" clId="{75A88773-6EE1-484E-AADE-FE631E01463B}" dt="2025-11-26T03:58:52.859" v="751805"/>
          <ac:cxnSpMkLst>
            <pc:docMk/>
            <pc:sldMk cId="1064624314" sldId="2147483104"/>
            <ac:cxnSpMk id="146" creationId="{D76345C9-1CC6-5057-6787-7CB273D225FB}"/>
          </ac:cxnSpMkLst>
        </pc:cxnChg>
        <pc:cxnChg chg="mod ord">
          <ac:chgData name="Yudi Zhu" userId="571e1a55-055f-4c28-8b35-fca6dd1c1369" providerId="ADAL" clId="{75A88773-6EE1-484E-AADE-FE631E01463B}" dt="2025-11-26T03:58:52.822" v="751714"/>
          <ac:cxnSpMkLst>
            <pc:docMk/>
            <pc:sldMk cId="1064624314" sldId="2147483104"/>
            <ac:cxnSpMk id="151" creationId="{9723B0F6-7B76-18D9-F0D3-32721AEF809A}"/>
          </ac:cxnSpMkLst>
        </pc:cxnChg>
        <pc:cxnChg chg="add mod ord">
          <ac:chgData name="Yudi Zhu" userId="571e1a55-055f-4c28-8b35-fca6dd1c1369" providerId="ADAL" clId="{75A88773-6EE1-484E-AADE-FE631E01463B}" dt="2025-11-26T03:58:52.860" v="751807"/>
          <ac:cxnSpMkLst>
            <pc:docMk/>
            <pc:sldMk cId="1064624314" sldId="2147483104"/>
            <ac:cxnSpMk id="152" creationId="{017718E6-200F-3E0C-DC1B-F2D0AB5EDCB2}"/>
          </ac:cxnSpMkLst>
        </pc:cxnChg>
        <pc:cxnChg chg="mod ord">
          <ac:chgData name="Yudi Zhu" userId="571e1a55-055f-4c28-8b35-fca6dd1c1369" providerId="ADAL" clId="{75A88773-6EE1-484E-AADE-FE631E01463B}" dt="2025-11-26T03:58:52.743" v="751524"/>
          <ac:cxnSpMkLst>
            <pc:docMk/>
            <pc:sldMk cId="1064624314" sldId="2147483104"/>
            <ac:cxnSpMk id="153" creationId="{3D86BA23-82AC-89CB-0C7A-64BE0C2149C7}"/>
          </ac:cxnSpMkLst>
        </pc:cxnChg>
        <pc:cxnChg chg="del mod ord">
          <ac:chgData name="Yudi Zhu" userId="571e1a55-055f-4c28-8b35-fca6dd1c1369" providerId="ADAL" clId="{75A88773-6EE1-484E-AADE-FE631E01463B}" dt="2025-11-26T03:57:06.682" v="748465"/>
          <ac:cxnSpMkLst>
            <pc:docMk/>
            <pc:sldMk cId="1064624314" sldId="2147483104"/>
            <ac:cxnSpMk id="158" creationId="{50B04F6B-ACB2-79A6-ED46-82A028563371}"/>
          </ac:cxnSpMkLst>
        </pc:cxnChg>
        <pc:cxnChg chg="del mod ord">
          <ac:chgData name="Yudi Zhu" userId="571e1a55-055f-4c28-8b35-fca6dd1c1369" providerId="ADAL" clId="{75A88773-6EE1-484E-AADE-FE631E01463B}" dt="2025-11-26T03:57:06.702" v="748481"/>
          <ac:cxnSpMkLst>
            <pc:docMk/>
            <pc:sldMk cId="1064624314" sldId="2147483104"/>
            <ac:cxnSpMk id="159" creationId="{D7BC6C38-0B7D-990D-6937-E5CAFCC70F67}"/>
          </ac:cxnSpMkLst>
        </pc:cxnChg>
        <pc:cxnChg chg="mod ord">
          <ac:chgData name="Yudi Zhu" userId="571e1a55-055f-4c28-8b35-fca6dd1c1369" providerId="ADAL" clId="{75A88773-6EE1-484E-AADE-FE631E01463B}" dt="2025-11-26T03:58:52.838" v="751730"/>
          <ac:cxnSpMkLst>
            <pc:docMk/>
            <pc:sldMk cId="1064624314" sldId="2147483104"/>
            <ac:cxnSpMk id="160" creationId="{61388DCD-972D-3F96-78FD-210E27BB1B3E}"/>
          </ac:cxnSpMkLst>
        </pc:cxnChg>
        <pc:cxnChg chg="add mod ord">
          <ac:chgData name="Yudi Zhu" userId="571e1a55-055f-4c28-8b35-fca6dd1c1369" providerId="ADAL" clId="{75A88773-6EE1-484E-AADE-FE631E01463B}" dt="2025-11-26T03:58:52.861" v="751811"/>
          <ac:cxnSpMkLst>
            <pc:docMk/>
            <pc:sldMk cId="1064624314" sldId="2147483104"/>
            <ac:cxnSpMk id="161" creationId="{6ED86277-EC8D-63E8-8784-3146471A897F}"/>
          </ac:cxnSpMkLst>
        </pc:cxnChg>
        <pc:cxnChg chg="add mod ord">
          <ac:chgData name="Yudi Zhu" userId="571e1a55-055f-4c28-8b35-fca6dd1c1369" providerId="ADAL" clId="{75A88773-6EE1-484E-AADE-FE631E01463B}" dt="2025-11-26T03:58:52.838" v="751732"/>
          <ac:cxnSpMkLst>
            <pc:docMk/>
            <pc:sldMk cId="1064624314" sldId="2147483104"/>
            <ac:cxnSpMk id="165" creationId="{8558838D-6C02-859D-40D5-64BDBEC04D39}"/>
          </ac:cxnSpMkLst>
        </pc:cxnChg>
        <pc:cxnChg chg="add mod ord">
          <ac:chgData name="Yudi Zhu" userId="571e1a55-055f-4c28-8b35-fca6dd1c1369" providerId="ADAL" clId="{75A88773-6EE1-484E-AADE-FE631E01463B}" dt="2025-11-26T03:58:52.838" v="751734"/>
          <ac:cxnSpMkLst>
            <pc:docMk/>
            <pc:sldMk cId="1064624314" sldId="2147483104"/>
            <ac:cxnSpMk id="166" creationId="{54AAE8C7-4636-3118-012A-66E8B776CDD7}"/>
          </ac:cxnSpMkLst>
        </pc:cxnChg>
        <pc:cxnChg chg="add mod ord">
          <ac:chgData name="Yudi Zhu" userId="571e1a55-055f-4c28-8b35-fca6dd1c1369" providerId="ADAL" clId="{75A88773-6EE1-484E-AADE-FE631E01463B}" dt="2025-11-26T03:58:52.838" v="751736"/>
          <ac:cxnSpMkLst>
            <pc:docMk/>
            <pc:sldMk cId="1064624314" sldId="2147483104"/>
            <ac:cxnSpMk id="167" creationId="{0CE2EB57-A176-A0FF-7935-BA0A2FCB9DA3}"/>
          </ac:cxnSpMkLst>
        </pc:cxnChg>
        <pc:cxnChg chg="add mod ord">
          <ac:chgData name="Yudi Zhu" userId="571e1a55-055f-4c28-8b35-fca6dd1c1369" providerId="ADAL" clId="{75A88773-6EE1-484E-AADE-FE631E01463B}" dt="2025-11-26T03:58:52.838" v="751738"/>
          <ac:cxnSpMkLst>
            <pc:docMk/>
            <pc:sldMk cId="1064624314" sldId="2147483104"/>
            <ac:cxnSpMk id="168" creationId="{1D05D663-35DB-5B26-ACA0-DDC3733284A9}"/>
          </ac:cxnSpMkLst>
        </pc:cxnChg>
        <pc:cxnChg chg="add mod ord">
          <ac:chgData name="Yudi Zhu" userId="571e1a55-055f-4c28-8b35-fca6dd1c1369" providerId="ADAL" clId="{75A88773-6EE1-484E-AADE-FE631E01463B}" dt="2025-11-26T03:58:52.838" v="751740"/>
          <ac:cxnSpMkLst>
            <pc:docMk/>
            <pc:sldMk cId="1064624314" sldId="2147483104"/>
            <ac:cxnSpMk id="169" creationId="{75F5B2FC-D8DF-AD0D-CD68-8141AC497DFC}"/>
          </ac:cxnSpMkLst>
        </pc:cxnChg>
        <pc:cxnChg chg="add mod ord">
          <ac:chgData name="Yudi Zhu" userId="571e1a55-055f-4c28-8b35-fca6dd1c1369" providerId="ADAL" clId="{75A88773-6EE1-484E-AADE-FE631E01463B}" dt="2025-11-26T03:58:52.838" v="751742"/>
          <ac:cxnSpMkLst>
            <pc:docMk/>
            <pc:sldMk cId="1064624314" sldId="2147483104"/>
            <ac:cxnSpMk id="170" creationId="{6E86B435-9F68-3D23-E4F1-B2A1609059CD}"/>
          </ac:cxnSpMkLst>
        </pc:cxnChg>
        <pc:cxnChg chg="add mod ord">
          <ac:chgData name="Yudi Zhu" userId="571e1a55-055f-4c28-8b35-fca6dd1c1369" providerId="ADAL" clId="{75A88773-6EE1-484E-AADE-FE631E01463B}" dt="2025-11-26T03:58:52.822" v="751708"/>
          <ac:cxnSpMkLst>
            <pc:docMk/>
            <pc:sldMk cId="1064624314" sldId="2147483104"/>
            <ac:cxnSpMk id="171" creationId="{4BCA1803-64DB-6027-9B75-AECE0BB68030}"/>
          </ac:cxnSpMkLst>
        </pc:cxnChg>
        <pc:cxnChg chg="mod ord">
          <ac:chgData name="Yudi Zhu" userId="571e1a55-055f-4c28-8b35-fca6dd1c1369" providerId="ADAL" clId="{75A88773-6EE1-484E-AADE-FE631E01463B}" dt="2025-11-26T03:58:52.790" v="751634"/>
          <ac:cxnSpMkLst>
            <pc:docMk/>
            <pc:sldMk cId="1064624314" sldId="2147483104"/>
            <ac:cxnSpMk id="352" creationId="{4263A71F-EC78-DFDC-7D74-6EA9067C3D93}"/>
          </ac:cxnSpMkLst>
        </pc:cxnChg>
        <pc:cxnChg chg="mod ord">
          <ac:chgData name="Yudi Zhu" userId="571e1a55-055f-4c28-8b35-fca6dd1c1369" providerId="ADAL" clId="{75A88773-6EE1-484E-AADE-FE631E01463B}" dt="2025-11-26T03:58:52.743" v="751516"/>
          <ac:cxnSpMkLst>
            <pc:docMk/>
            <pc:sldMk cId="1064624314" sldId="2147483104"/>
            <ac:cxnSpMk id="428" creationId="{69E7427C-117E-56BC-C7B6-997EB645D1E0}"/>
          </ac:cxnSpMkLst>
        </pc:cxnChg>
        <pc:cxnChg chg="mod ord">
          <ac:chgData name="Yudi Zhu" userId="571e1a55-055f-4c28-8b35-fca6dd1c1369" providerId="ADAL" clId="{75A88773-6EE1-484E-AADE-FE631E01463B}" dt="2025-11-26T03:58:52.743" v="751504"/>
          <ac:cxnSpMkLst>
            <pc:docMk/>
            <pc:sldMk cId="1064624314" sldId="2147483104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6T03:58:52.809" v="751653"/>
          <ac:cxnSpMkLst>
            <pc:docMk/>
            <pc:sldMk cId="1064624314" sldId="2147483104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6T03:58:52.809" v="751655"/>
          <ac:cxnSpMkLst>
            <pc:docMk/>
            <pc:sldMk cId="1064624314" sldId="2147483104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6T03:58:52.809" v="751651"/>
          <ac:cxnSpMkLst>
            <pc:docMk/>
            <pc:sldMk cId="1064624314" sldId="2147483104"/>
            <ac:cxnSpMk id="1477" creationId="{152B86F5-FAEA-60A6-7C19-C68CC06B21E4}"/>
          </ac:cxnSpMkLst>
        </pc:cxnChg>
        <pc:cxnChg chg="mod ord">
          <ac:chgData name="Yudi Zhu" userId="571e1a55-055f-4c28-8b35-fca6dd1c1369" providerId="ADAL" clId="{75A88773-6EE1-484E-AADE-FE631E01463B}" dt="2025-11-26T03:58:52.743" v="751510"/>
          <ac:cxnSpMkLst>
            <pc:docMk/>
            <pc:sldMk cId="1064624314" sldId="2147483104"/>
            <ac:cxnSpMk id="1593" creationId="{6BDEA4E6-357A-2358-2347-22267E74416D}"/>
          </ac:cxnSpMkLst>
        </pc:cxnChg>
        <pc:cxnChg chg="mod ord">
          <ac:chgData name="Yudi Zhu" userId="571e1a55-055f-4c28-8b35-fca6dd1c1369" providerId="ADAL" clId="{75A88773-6EE1-484E-AADE-FE631E01463B}" dt="2025-11-26T03:58:52.743" v="751498"/>
          <ac:cxnSpMkLst>
            <pc:docMk/>
            <pc:sldMk cId="1064624314" sldId="2147483104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6T03:58:52.809" v="751668"/>
          <ac:cxnSpMkLst>
            <pc:docMk/>
            <pc:sldMk cId="1064624314" sldId="2147483104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6T03:58:52.809" v="751670"/>
          <ac:cxnSpMkLst>
            <pc:docMk/>
            <pc:sldMk cId="1064624314" sldId="2147483104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6T03:58:52.809" v="751672"/>
          <ac:cxnSpMkLst>
            <pc:docMk/>
            <pc:sldMk cId="1064624314" sldId="2147483104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6T03:58:52.822" v="751688"/>
          <ac:cxnSpMkLst>
            <pc:docMk/>
            <pc:sldMk cId="1064624314" sldId="2147483104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6T03:58:52.822" v="751690"/>
          <ac:cxnSpMkLst>
            <pc:docMk/>
            <pc:sldMk cId="1064624314" sldId="2147483104"/>
            <ac:cxnSpMk id="1719" creationId="{86D50972-24CA-21B3-7A84-225DF0E2D40A}"/>
          </ac:cxnSpMkLst>
        </pc:cxnChg>
        <pc:cxnChg chg="mod ord">
          <ac:chgData name="Yudi Zhu" userId="571e1a55-055f-4c28-8b35-fca6dd1c1369" providerId="ADAL" clId="{75A88773-6EE1-484E-AADE-FE631E01463B}" dt="2025-11-26T03:58:52.822" v="751686"/>
          <ac:cxnSpMkLst>
            <pc:docMk/>
            <pc:sldMk cId="1064624314" sldId="2147483104"/>
            <ac:cxnSpMk id="1753" creationId="{6F89B6DC-E3F5-CD48-0D46-FFAA36062107}"/>
          </ac:cxnSpMkLst>
        </pc:cxnChg>
        <pc:cxnChg chg="add mod ord">
          <ac:chgData name="Yudi Zhu" userId="571e1a55-055f-4c28-8b35-fca6dd1c1369" providerId="ADAL" clId="{75A88773-6EE1-484E-AADE-FE631E01463B}" dt="2025-11-26T03:58:52.743" v="751514"/>
          <ac:cxnSpMkLst>
            <pc:docMk/>
            <pc:sldMk cId="1064624314" sldId="2147483104"/>
            <ac:cxnSpMk id="1856" creationId="{B255F6DE-C631-59E5-24C2-F46DF364F219}"/>
          </ac:cxnSpMkLst>
        </pc:cxnChg>
        <pc:cxnChg chg="add mod ord">
          <ac:chgData name="Yudi Zhu" userId="571e1a55-055f-4c28-8b35-fca6dd1c1369" providerId="ADAL" clId="{75A88773-6EE1-484E-AADE-FE631E01463B}" dt="2025-11-26T03:58:52.743" v="751512"/>
          <ac:cxnSpMkLst>
            <pc:docMk/>
            <pc:sldMk cId="1064624314" sldId="2147483104"/>
            <ac:cxnSpMk id="1857" creationId="{C7F9E70F-4B5C-FBFA-89E8-35BC89BAE3E8}"/>
          </ac:cxnSpMkLst>
        </pc:cxnChg>
        <pc:cxnChg chg="add mod ord">
          <ac:chgData name="Yudi Zhu" userId="571e1a55-055f-4c28-8b35-fca6dd1c1369" providerId="ADAL" clId="{75A88773-6EE1-484E-AADE-FE631E01463B}" dt="2025-11-26T03:58:52.743" v="751506"/>
          <ac:cxnSpMkLst>
            <pc:docMk/>
            <pc:sldMk cId="1064624314" sldId="2147483104"/>
            <ac:cxnSpMk id="1858" creationId="{1B19843D-D65E-D15F-5B22-9AB011E12C2B}"/>
          </ac:cxnSpMkLst>
        </pc:cxnChg>
        <pc:cxnChg chg="mod ord">
          <ac:chgData name="Yudi Zhu" userId="571e1a55-055f-4c28-8b35-fca6dd1c1369" providerId="ADAL" clId="{75A88773-6EE1-484E-AADE-FE631E01463B}" dt="2025-11-26T03:58:52.865" v="751827"/>
          <ac:cxnSpMkLst>
            <pc:docMk/>
            <pc:sldMk cId="1064624314" sldId="2147483104"/>
            <ac:cxnSpMk id="1862" creationId="{91C00302-45AE-14F2-B541-2E8ED262889F}"/>
          </ac:cxnSpMkLst>
        </pc:cxnChg>
        <pc:cxnChg chg="mod ord">
          <ac:chgData name="Yudi Zhu" userId="571e1a55-055f-4c28-8b35-fca6dd1c1369" providerId="ADAL" clId="{75A88773-6EE1-484E-AADE-FE631E01463B}" dt="2025-11-26T03:58:52.743" v="751537"/>
          <ac:cxnSpMkLst>
            <pc:docMk/>
            <pc:sldMk cId="1064624314" sldId="2147483104"/>
            <ac:cxnSpMk id="1863" creationId="{B8AA131A-CAA6-74F0-35F0-4DD438CF1123}"/>
          </ac:cxnSpMkLst>
        </pc:cxnChg>
        <pc:cxnChg chg="mod ord">
          <ac:chgData name="Yudi Zhu" userId="571e1a55-055f-4c28-8b35-fca6dd1c1369" providerId="ADAL" clId="{75A88773-6EE1-484E-AADE-FE631E01463B}" dt="2025-11-26T03:58:52.849" v="751765"/>
          <ac:cxnSpMkLst>
            <pc:docMk/>
            <pc:sldMk cId="1064624314" sldId="2147483104"/>
            <ac:cxnSpMk id="1864" creationId="{BD434C9F-CE09-2FCC-3558-32D5184CF9A3}"/>
          </ac:cxnSpMkLst>
        </pc:cxnChg>
        <pc:cxnChg chg="mod ord">
          <ac:chgData name="Yudi Zhu" userId="571e1a55-055f-4c28-8b35-fca6dd1c1369" providerId="ADAL" clId="{75A88773-6EE1-484E-AADE-FE631E01463B}" dt="2025-11-26T03:58:52.743" v="751535"/>
          <ac:cxnSpMkLst>
            <pc:docMk/>
            <pc:sldMk cId="1064624314" sldId="2147483104"/>
            <ac:cxnSpMk id="1865" creationId="{B596BBA7-CFA8-C7CD-A259-A5D704AA331F}"/>
          </ac:cxnSpMkLst>
        </pc:cxnChg>
        <pc:cxnChg chg="mod ord">
          <ac:chgData name="Yudi Zhu" userId="571e1a55-055f-4c28-8b35-fca6dd1c1369" providerId="ADAL" clId="{75A88773-6EE1-484E-AADE-FE631E01463B}" dt="2025-11-26T03:58:52.759" v="751539"/>
          <ac:cxnSpMkLst>
            <pc:docMk/>
            <pc:sldMk cId="1064624314" sldId="2147483104"/>
            <ac:cxnSpMk id="1866" creationId="{29349289-6412-CAD0-5975-DDD3A3E03B9B}"/>
          </ac:cxnSpMkLst>
        </pc:cxnChg>
        <pc:cxnChg chg="mod ord">
          <ac:chgData name="Yudi Zhu" userId="571e1a55-055f-4c28-8b35-fca6dd1c1369" providerId="ADAL" clId="{75A88773-6EE1-484E-AADE-FE631E01463B}" dt="2025-11-26T03:58:52.850" v="751771"/>
          <ac:cxnSpMkLst>
            <pc:docMk/>
            <pc:sldMk cId="1064624314" sldId="2147483104"/>
            <ac:cxnSpMk id="1867" creationId="{5620269F-6135-C4D2-BCC3-936DCB4BB8D3}"/>
          </ac:cxnSpMkLst>
        </pc:cxnChg>
        <pc:cxnChg chg="add mod ord">
          <ac:chgData name="Yudi Zhu" userId="571e1a55-055f-4c28-8b35-fca6dd1c1369" providerId="ADAL" clId="{75A88773-6EE1-484E-AADE-FE631E01463B}" dt="2025-11-26T03:58:52.743" v="751502"/>
          <ac:cxnSpMkLst>
            <pc:docMk/>
            <pc:sldMk cId="1064624314" sldId="2147483104"/>
            <ac:cxnSpMk id="1901" creationId="{3C49EF37-73CE-E54A-B910-26FAA7F72274}"/>
          </ac:cxnSpMkLst>
        </pc:cxnChg>
        <pc:cxnChg chg="add mod ord">
          <ac:chgData name="Yudi Zhu" userId="571e1a55-055f-4c28-8b35-fca6dd1c1369" providerId="ADAL" clId="{75A88773-6EE1-484E-AADE-FE631E01463B}" dt="2025-11-26T03:58:52.743" v="751500"/>
          <ac:cxnSpMkLst>
            <pc:docMk/>
            <pc:sldMk cId="1064624314" sldId="2147483104"/>
            <ac:cxnSpMk id="1902" creationId="{1AE28530-4A35-9C42-0F37-C31DCDE48C53}"/>
          </ac:cxnSpMkLst>
        </pc:cxnChg>
        <pc:cxnChg chg="mod ord">
          <ac:chgData name="Yudi Zhu" userId="571e1a55-055f-4c28-8b35-fca6dd1c1369" providerId="ADAL" clId="{75A88773-6EE1-484E-AADE-FE631E01463B}" dt="2025-11-26T03:58:52.774" v="751587"/>
          <ac:cxnSpMkLst>
            <pc:docMk/>
            <pc:sldMk cId="1064624314" sldId="2147483104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6T03:58:52.774" v="751589"/>
          <ac:cxnSpMkLst>
            <pc:docMk/>
            <pc:sldMk cId="1064624314" sldId="2147483104"/>
            <ac:cxnSpMk id="1916" creationId="{7945F6A2-9F38-277D-F5AE-EF96B3C11E5E}"/>
          </ac:cxnSpMkLst>
        </pc:cxnChg>
        <pc:cxnChg chg="mod ord">
          <ac:chgData name="Yudi Zhu" userId="571e1a55-055f-4c28-8b35-fca6dd1c1369" providerId="ADAL" clId="{75A88773-6EE1-484E-AADE-FE631E01463B}" dt="2025-11-26T03:58:52.856" v="751793"/>
          <ac:cxnSpMkLst>
            <pc:docMk/>
            <pc:sldMk cId="1064624314" sldId="2147483104"/>
            <ac:cxnSpMk id="1946" creationId="{740B77F3-F5EF-99B7-D85D-596545B2F04F}"/>
          </ac:cxnSpMkLst>
        </pc:cxnChg>
        <pc:cxnChg chg="mod ord">
          <ac:chgData name="Yudi Zhu" userId="571e1a55-055f-4c28-8b35-fca6dd1c1369" providerId="ADAL" clId="{75A88773-6EE1-484E-AADE-FE631E01463B}" dt="2025-11-26T03:58:52.855" v="751789"/>
          <ac:cxnSpMkLst>
            <pc:docMk/>
            <pc:sldMk cId="1064624314" sldId="2147483104"/>
            <ac:cxnSpMk id="1947" creationId="{17B4B5F2-E8FC-ADF3-19A3-A3DB0AB35F4C}"/>
          </ac:cxnSpMkLst>
        </pc:cxnChg>
        <pc:cxnChg chg="mod ord">
          <ac:chgData name="Yudi Zhu" userId="571e1a55-055f-4c28-8b35-fca6dd1c1369" providerId="ADAL" clId="{75A88773-6EE1-484E-AADE-FE631E01463B}" dt="2025-11-26T03:58:52.852" v="751779"/>
          <ac:cxnSpMkLst>
            <pc:docMk/>
            <pc:sldMk cId="1064624314" sldId="2147483104"/>
            <ac:cxnSpMk id="1949" creationId="{C9EE11E5-6901-6EAB-7E18-5ED9D6913D4C}"/>
          </ac:cxnSpMkLst>
        </pc:cxnChg>
        <pc:cxnChg chg="mod ord">
          <ac:chgData name="Yudi Zhu" userId="571e1a55-055f-4c28-8b35-fca6dd1c1369" providerId="ADAL" clId="{75A88773-6EE1-484E-AADE-FE631E01463B}" dt="2025-11-26T03:58:52.860" v="751809"/>
          <ac:cxnSpMkLst>
            <pc:docMk/>
            <pc:sldMk cId="1064624314" sldId="2147483104"/>
            <ac:cxnSpMk id="1950" creationId="{BB5813E0-A557-C003-BCB5-75AD7EDCD463}"/>
          </ac:cxnSpMkLst>
        </pc:cxnChg>
        <pc:cxnChg chg="del mod ord">
          <ac:chgData name="Yudi Zhu" userId="571e1a55-055f-4c28-8b35-fca6dd1c1369" providerId="ADAL" clId="{75A88773-6EE1-484E-AADE-FE631E01463B}" dt="2025-11-26T03:57:06.293" v="748042"/>
          <ac:cxnSpMkLst>
            <pc:docMk/>
            <pc:sldMk cId="1064624314" sldId="2147483104"/>
            <ac:cxnSpMk id="1952" creationId="{9F6C5C97-6F97-B3B9-2103-574FFD071DD2}"/>
          </ac:cxnSpMkLst>
        </pc:cxnChg>
        <pc:cxnChg chg="mod ord">
          <ac:chgData name="Yudi Zhu" userId="571e1a55-055f-4c28-8b35-fca6dd1c1369" providerId="ADAL" clId="{75A88773-6EE1-484E-AADE-FE631E01463B}" dt="2025-11-26T03:58:52.866" v="751831"/>
          <ac:cxnSpMkLst>
            <pc:docMk/>
            <pc:sldMk cId="1064624314" sldId="2147483104"/>
            <ac:cxnSpMk id="1954" creationId="{20A2C0B9-1883-F3FF-E1DC-752F91EC303A}"/>
          </ac:cxnSpMkLst>
        </pc:cxnChg>
        <pc:cxnChg chg="del mod ord">
          <ac:chgData name="Yudi Zhu" userId="571e1a55-055f-4c28-8b35-fca6dd1c1369" providerId="ADAL" clId="{75A88773-6EE1-484E-AADE-FE631E01463B}" dt="2025-11-26T03:57:06.377" v="748107"/>
          <ac:cxnSpMkLst>
            <pc:docMk/>
            <pc:sldMk cId="1064624314" sldId="2147483104"/>
            <ac:cxnSpMk id="1956" creationId="{3A4F1EB6-E0BA-9C77-0516-25ED47D332AC}"/>
          </ac:cxnSpMkLst>
        </pc:cxnChg>
        <pc:cxnChg chg="mod ord">
          <ac:chgData name="Yudi Zhu" userId="571e1a55-055f-4c28-8b35-fca6dd1c1369" providerId="ADAL" clId="{75A88773-6EE1-484E-AADE-FE631E01463B}" dt="2025-11-26T03:58:52.858" v="751801"/>
          <ac:cxnSpMkLst>
            <pc:docMk/>
            <pc:sldMk cId="1064624314" sldId="2147483104"/>
            <ac:cxnSpMk id="1958" creationId="{81B721B0-A2A5-9559-32BC-23AEA842ABB2}"/>
          </ac:cxnSpMkLst>
        </pc:cxnChg>
        <pc:cxnChg chg="mod ord">
          <ac:chgData name="Yudi Zhu" userId="571e1a55-055f-4c28-8b35-fca6dd1c1369" providerId="ADAL" clId="{75A88773-6EE1-484E-AADE-FE631E01463B}" dt="2025-11-26T03:58:52.854" v="751787"/>
          <ac:cxnSpMkLst>
            <pc:docMk/>
            <pc:sldMk cId="1064624314" sldId="2147483104"/>
            <ac:cxnSpMk id="1960" creationId="{0D1E6ED6-6DFF-2EDC-F8E8-9FCDE6F4F1B4}"/>
          </ac:cxnSpMkLst>
        </pc:cxnChg>
        <pc:cxnChg chg="mod ord">
          <ac:chgData name="Yudi Zhu" userId="571e1a55-055f-4c28-8b35-fca6dd1c1369" providerId="ADAL" clId="{75A88773-6EE1-484E-AADE-FE631E01463B}" dt="2025-11-26T03:58:52.862" v="751815"/>
          <ac:cxnSpMkLst>
            <pc:docMk/>
            <pc:sldMk cId="1064624314" sldId="2147483104"/>
            <ac:cxnSpMk id="1961" creationId="{7363D516-3D68-CDA6-D255-19B788285CA6}"/>
          </ac:cxnSpMkLst>
        </pc:cxnChg>
        <pc:cxnChg chg="mod ord">
          <ac:chgData name="Yudi Zhu" userId="571e1a55-055f-4c28-8b35-fca6dd1c1369" providerId="ADAL" clId="{75A88773-6EE1-484E-AADE-FE631E01463B}" dt="2025-11-26T03:58:52.863" v="751821"/>
          <ac:cxnSpMkLst>
            <pc:docMk/>
            <pc:sldMk cId="1064624314" sldId="2147483104"/>
            <ac:cxnSpMk id="1963" creationId="{4FE9B648-3270-C095-2F9D-1A0856AE5A28}"/>
          </ac:cxnSpMkLst>
        </pc:cxnChg>
        <pc:cxnChg chg="mod ord">
          <ac:chgData name="Yudi Zhu" userId="571e1a55-055f-4c28-8b35-fca6dd1c1369" providerId="ADAL" clId="{75A88773-6EE1-484E-AADE-FE631E01463B}" dt="2025-11-26T03:58:52.865" v="751829"/>
          <ac:cxnSpMkLst>
            <pc:docMk/>
            <pc:sldMk cId="1064624314" sldId="2147483104"/>
            <ac:cxnSpMk id="1965" creationId="{9BE48E32-BAF6-B9CC-D505-9C85A23EB2C2}"/>
          </ac:cxnSpMkLst>
        </pc:cxnChg>
        <pc:cxnChg chg="mod ord">
          <ac:chgData name="Yudi Zhu" userId="571e1a55-055f-4c28-8b35-fca6dd1c1369" providerId="ADAL" clId="{75A88773-6EE1-484E-AADE-FE631E01463B}" dt="2025-11-26T03:58:52.855" v="751791"/>
          <ac:cxnSpMkLst>
            <pc:docMk/>
            <pc:sldMk cId="1064624314" sldId="2147483104"/>
            <ac:cxnSpMk id="1967" creationId="{EDAA4A02-6541-F89F-268C-C83BBCCEE0EC}"/>
          </ac:cxnSpMkLst>
        </pc:cxnChg>
        <pc:cxnChg chg="mod ord">
          <ac:chgData name="Yudi Zhu" userId="571e1a55-055f-4c28-8b35-fca6dd1c1369" providerId="ADAL" clId="{75A88773-6EE1-484E-AADE-FE631E01463B}" dt="2025-11-26T03:58:52.853" v="751783"/>
          <ac:cxnSpMkLst>
            <pc:docMk/>
            <pc:sldMk cId="1064624314" sldId="2147483104"/>
            <ac:cxnSpMk id="1968" creationId="{A8892081-58E1-8C46-B95A-9A34557F7E70}"/>
          </ac:cxnSpMkLst>
        </pc:cxnChg>
        <pc:cxnChg chg="mod ord">
          <ac:chgData name="Yudi Zhu" userId="571e1a55-055f-4c28-8b35-fca6dd1c1369" providerId="ADAL" clId="{75A88773-6EE1-484E-AADE-FE631E01463B}" dt="2025-11-26T03:58:52.850" v="751769"/>
          <ac:cxnSpMkLst>
            <pc:docMk/>
            <pc:sldMk cId="1064624314" sldId="2147483104"/>
            <ac:cxnSpMk id="1970" creationId="{B61163D6-94CA-2F7C-186C-F48DF9E6356C}"/>
          </ac:cxnSpMkLst>
        </pc:cxnChg>
        <pc:cxnChg chg="mod ord">
          <ac:chgData name="Yudi Zhu" userId="571e1a55-055f-4c28-8b35-fca6dd1c1369" providerId="ADAL" clId="{75A88773-6EE1-484E-AADE-FE631E01463B}" dt="2025-11-26T03:58:52.847" v="751761"/>
          <ac:cxnSpMkLst>
            <pc:docMk/>
            <pc:sldMk cId="1064624314" sldId="2147483104"/>
            <ac:cxnSpMk id="1971" creationId="{C76DB44D-D127-F15A-CD49-74A578661CB9}"/>
          </ac:cxnSpMkLst>
        </pc:cxnChg>
        <pc:cxnChg chg="mod ord">
          <ac:chgData name="Yudi Zhu" userId="571e1a55-055f-4c28-8b35-fca6dd1c1369" providerId="ADAL" clId="{75A88773-6EE1-484E-AADE-FE631E01463B}" dt="2025-11-26T03:58:52.847" v="751759"/>
          <ac:cxnSpMkLst>
            <pc:docMk/>
            <pc:sldMk cId="1064624314" sldId="2147483104"/>
            <ac:cxnSpMk id="1972" creationId="{946F64BB-7EDF-43B9-855E-C56DFD4F7694}"/>
          </ac:cxnSpMkLst>
        </pc:cxnChg>
        <pc:cxnChg chg="mod ord">
          <ac:chgData name="Yudi Zhu" userId="571e1a55-055f-4c28-8b35-fca6dd1c1369" providerId="ADAL" clId="{75A88773-6EE1-484E-AADE-FE631E01463B}" dt="2025-11-26T03:58:52.838" v="751757"/>
          <ac:cxnSpMkLst>
            <pc:docMk/>
            <pc:sldMk cId="1064624314" sldId="2147483104"/>
            <ac:cxnSpMk id="1973" creationId="{085651EA-5F71-39DB-DA57-2D49ED431E64}"/>
          </ac:cxnSpMkLst>
        </pc:cxnChg>
        <pc:cxnChg chg="mod ord">
          <ac:chgData name="Yudi Zhu" userId="571e1a55-055f-4c28-8b35-fca6dd1c1369" providerId="ADAL" clId="{75A88773-6EE1-484E-AADE-FE631E01463B}" dt="2025-11-26T03:58:52.854" v="751785"/>
          <ac:cxnSpMkLst>
            <pc:docMk/>
            <pc:sldMk cId="1064624314" sldId="2147483104"/>
            <ac:cxnSpMk id="1974" creationId="{C67D8BD1-7F82-C908-2853-6E93AA4946A0}"/>
          </ac:cxnSpMkLst>
        </pc:cxnChg>
        <pc:cxnChg chg="mod ord">
          <ac:chgData name="Yudi Zhu" userId="571e1a55-055f-4c28-8b35-fca6dd1c1369" providerId="ADAL" clId="{75A88773-6EE1-484E-AADE-FE631E01463B}" dt="2025-11-26T03:58:52.849" v="751767"/>
          <ac:cxnSpMkLst>
            <pc:docMk/>
            <pc:sldMk cId="1064624314" sldId="2147483104"/>
            <ac:cxnSpMk id="1975" creationId="{4DA23102-C219-DB2E-2336-133280BA7949}"/>
          </ac:cxnSpMkLst>
        </pc:cxnChg>
        <pc:cxnChg chg="mod ord">
          <ac:chgData name="Yudi Zhu" userId="571e1a55-055f-4c28-8b35-fca6dd1c1369" providerId="ADAL" clId="{75A88773-6EE1-484E-AADE-FE631E01463B}" dt="2025-11-26T03:58:52.848" v="751763"/>
          <ac:cxnSpMkLst>
            <pc:docMk/>
            <pc:sldMk cId="1064624314" sldId="2147483104"/>
            <ac:cxnSpMk id="1976" creationId="{E0490FFC-C605-4FCB-60BE-1EAB7760BB1D}"/>
          </ac:cxnSpMkLst>
        </pc:cxnChg>
        <pc:cxnChg chg="mod ord">
          <ac:chgData name="Yudi Zhu" userId="571e1a55-055f-4c28-8b35-fca6dd1c1369" providerId="ADAL" clId="{75A88773-6EE1-484E-AADE-FE631E01463B}" dt="2025-11-26T03:58:52.822" v="751716"/>
          <ac:cxnSpMkLst>
            <pc:docMk/>
            <pc:sldMk cId="1064624314" sldId="2147483104"/>
            <ac:cxnSpMk id="1978" creationId="{8C8C90B0-867A-6A74-FA4A-96AD431191E3}"/>
          </ac:cxnSpMkLst>
        </pc:cxnChg>
      </pc:sldChg>
      <pc:sldChg chg="addSp delSp modSp add mod">
        <pc:chgData name="Yudi Zhu" userId="571e1a55-055f-4c28-8b35-fca6dd1c1369" providerId="ADAL" clId="{75A88773-6EE1-484E-AADE-FE631E01463B}" dt="2025-11-26T04:03:33.787" v="765845"/>
        <pc:sldMkLst>
          <pc:docMk/>
          <pc:sldMk cId="3104822206" sldId="2147483105"/>
        </pc:sldMkLst>
        <pc:spChg chg="mod ord">
          <ac:chgData name="Yudi Zhu" userId="571e1a55-055f-4c28-8b35-fca6dd1c1369" providerId="ADAL" clId="{75A88773-6EE1-484E-AADE-FE631E01463B}" dt="2025-11-26T04:03:33.781" v="765843" actId="948"/>
          <ac:spMkLst>
            <pc:docMk/>
            <pc:sldMk cId="3104822206" sldId="2147483105"/>
            <ac:spMk id="2" creationId="{953A163E-A834-9296-960A-A31304B8FE76}"/>
          </ac:spMkLst>
        </pc:spChg>
        <pc:spChg chg="add del mod modVis">
          <ac:chgData name="Yudi Zhu" userId="571e1a55-055f-4c28-8b35-fca6dd1c1369" providerId="ADAL" clId="{75A88773-6EE1-484E-AADE-FE631E01463B}" dt="2025-11-26T03:40:34.708" v="708885"/>
          <ac:spMkLst>
            <pc:docMk/>
            <pc:sldMk cId="3104822206" sldId="2147483105"/>
            <ac:spMk id="3" creationId="{4BF126BE-8D0F-6C08-9B3E-327F05FF83F8}"/>
          </ac:spMkLst>
        </pc:spChg>
        <pc:spChg chg="del mod ord">
          <ac:chgData name="Yudi Zhu" userId="571e1a55-055f-4c28-8b35-fca6dd1c1369" providerId="ADAL" clId="{75A88773-6EE1-484E-AADE-FE631E01463B}" dt="2025-11-26T04:01:16.864" v="757271"/>
          <ac:spMkLst>
            <pc:docMk/>
            <pc:sldMk cId="3104822206" sldId="2147483105"/>
            <ac:spMk id="4" creationId="{ABF05F1C-33DD-11FD-0425-CA8E1F53B05D}"/>
          </ac:spMkLst>
        </pc:spChg>
        <pc:spChg chg="del mod ord">
          <ac:chgData name="Yudi Zhu" userId="571e1a55-055f-4c28-8b35-fca6dd1c1369" providerId="ADAL" clId="{75A88773-6EE1-484E-AADE-FE631E01463B}" dt="2025-11-26T04:01:16.891" v="757286"/>
          <ac:spMkLst>
            <pc:docMk/>
            <pc:sldMk cId="3104822206" sldId="2147483105"/>
            <ac:spMk id="5" creationId="{B23C1F1A-3BC3-0799-840F-2C298F88B503}"/>
          </ac:spMkLst>
        </pc:spChg>
        <pc:spChg chg="del mod">
          <ac:chgData name="Yudi Zhu" userId="571e1a55-055f-4c28-8b35-fca6dd1c1369" providerId="ADAL" clId="{75A88773-6EE1-484E-AADE-FE631E01463B}" dt="2025-11-26T04:01:16.908" v="757300"/>
          <ac:spMkLst>
            <pc:docMk/>
            <pc:sldMk cId="3104822206" sldId="2147483105"/>
            <ac:spMk id="6" creationId="{2C2C4ED7-102B-7A76-0459-EFFFF9DA3BA3}"/>
          </ac:spMkLst>
        </pc:spChg>
        <pc:spChg chg="del mod ord">
          <ac:chgData name="Yudi Zhu" userId="571e1a55-055f-4c28-8b35-fca6dd1c1369" providerId="ADAL" clId="{75A88773-6EE1-484E-AADE-FE631E01463B}" dt="2025-11-26T04:01:16.921" v="757312"/>
          <ac:spMkLst>
            <pc:docMk/>
            <pc:sldMk cId="3104822206" sldId="2147483105"/>
            <ac:spMk id="7" creationId="{4297C3C8-DAFC-C3E7-B6A2-6544A4C7CC5D}"/>
          </ac:spMkLst>
        </pc:spChg>
        <pc:spChg chg="del mod ord">
          <ac:chgData name="Yudi Zhu" userId="571e1a55-055f-4c28-8b35-fca6dd1c1369" providerId="ADAL" clId="{75A88773-6EE1-484E-AADE-FE631E01463B}" dt="2025-11-26T04:01:16.940" v="757327"/>
          <ac:spMkLst>
            <pc:docMk/>
            <pc:sldMk cId="3104822206" sldId="2147483105"/>
            <ac:spMk id="8" creationId="{BD021103-5F81-10F4-C4B4-1850B5EE2255}"/>
          </ac:spMkLst>
        </pc:spChg>
        <pc:spChg chg="del mod">
          <ac:chgData name="Yudi Zhu" userId="571e1a55-055f-4c28-8b35-fca6dd1c1369" providerId="ADAL" clId="{75A88773-6EE1-484E-AADE-FE631E01463B}" dt="2025-11-26T04:01:16.953" v="757341"/>
          <ac:spMkLst>
            <pc:docMk/>
            <pc:sldMk cId="3104822206" sldId="2147483105"/>
            <ac:spMk id="9" creationId="{016566AD-0B56-AD0F-0663-30E06A491A07}"/>
          </ac:spMkLst>
        </pc:spChg>
        <pc:spChg chg="add del mod modVis">
          <ac:chgData name="Yudi Zhu" userId="571e1a55-055f-4c28-8b35-fca6dd1c1369" providerId="ADAL" clId="{75A88773-6EE1-484E-AADE-FE631E01463B}" dt="2025-11-26T03:46:22.504" v="713238"/>
          <ac:spMkLst>
            <pc:docMk/>
            <pc:sldMk cId="3104822206" sldId="2147483105"/>
            <ac:spMk id="10" creationId="{A4E768D2-284A-7A52-DFBC-92FFEB17DF70}"/>
          </ac:spMkLst>
        </pc:spChg>
        <pc:spChg chg="add del mod">
          <ac:chgData name="Yudi Zhu" userId="571e1a55-055f-4c28-8b35-fca6dd1c1369" providerId="ADAL" clId="{75A88773-6EE1-484E-AADE-FE631E01463B}" dt="2025-11-26T04:00:49.487" v="755423"/>
          <ac:spMkLst>
            <pc:docMk/>
            <pc:sldMk cId="3104822206" sldId="2147483105"/>
            <ac:spMk id="15" creationId="{CA86D96D-8E23-84B9-03BB-B042841D6C22}"/>
          </ac:spMkLst>
        </pc:spChg>
        <pc:spChg chg="add del mod modVis">
          <ac:chgData name="Yudi Zhu" userId="571e1a55-055f-4c28-8b35-fca6dd1c1369" providerId="ADAL" clId="{75A88773-6EE1-484E-AADE-FE631E01463B}" dt="2025-11-26T04:00:46.114" v="755420"/>
          <ac:spMkLst>
            <pc:docMk/>
            <pc:sldMk cId="3104822206" sldId="2147483105"/>
            <ac:spMk id="17" creationId="{5F908A7A-297B-2300-20D2-E5ADCAE849BE}"/>
          </ac:spMkLst>
        </pc:spChg>
        <pc:spChg chg="add del mod modVis">
          <ac:chgData name="Yudi Zhu" userId="571e1a55-055f-4c28-8b35-fca6dd1c1369" providerId="ADAL" clId="{75A88773-6EE1-484E-AADE-FE631E01463B}" dt="2025-11-26T04:00:56.439" v="756563"/>
          <ac:spMkLst>
            <pc:docMk/>
            <pc:sldMk cId="3104822206" sldId="2147483105"/>
            <ac:spMk id="22" creationId="{A28CEAF6-E8DB-D35D-9EE8-F05D9576AA97}"/>
          </ac:spMkLst>
        </pc:spChg>
        <pc:spChg chg="add del mod modVis">
          <ac:chgData name="Yudi Zhu" userId="571e1a55-055f-4c28-8b35-fca6dd1c1369" providerId="ADAL" clId="{75A88773-6EE1-484E-AADE-FE631E01463B}" dt="2025-11-26T04:01:00.717" v="757231"/>
          <ac:spMkLst>
            <pc:docMk/>
            <pc:sldMk cId="3104822206" sldId="2147483105"/>
            <ac:spMk id="37" creationId="{3855F0AF-93B8-F3A9-B0BA-FAAE5ED6DF72}"/>
          </ac:spMkLst>
        </pc:spChg>
        <pc:spChg chg="add mod ord">
          <ac:chgData name="Yudi Zhu" userId="571e1a55-055f-4c28-8b35-fca6dd1c1369" providerId="ADAL" clId="{75A88773-6EE1-484E-AADE-FE631E01463B}" dt="2025-11-26T04:02:32.313" v="765564"/>
          <ac:spMkLst>
            <pc:docMk/>
            <pc:sldMk cId="3104822206" sldId="2147483105"/>
            <ac:spMk id="42" creationId="{AC14FFEE-672E-3D83-AC1E-6122CA05202F}"/>
          </ac:spMkLst>
        </pc:spChg>
        <pc:spChg chg="add mod ord">
          <ac:chgData name="Yudi Zhu" userId="571e1a55-055f-4c28-8b35-fca6dd1c1369" providerId="ADAL" clId="{75A88773-6EE1-484E-AADE-FE631E01463B}" dt="2025-11-26T04:02:32.314" v="765566"/>
          <ac:spMkLst>
            <pc:docMk/>
            <pc:sldMk cId="3104822206" sldId="2147483105"/>
            <ac:spMk id="46" creationId="{A49B2D25-5934-BE1E-A68F-7AADB8021BB3}"/>
          </ac:spMkLst>
        </pc:spChg>
        <pc:spChg chg="add mod">
          <ac:chgData name="Yudi Zhu" userId="571e1a55-055f-4c28-8b35-fca6dd1c1369" providerId="ADAL" clId="{75A88773-6EE1-484E-AADE-FE631E01463B}" dt="2025-11-26T04:02:32.312" v="765561"/>
          <ac:spMkLst>
            <pc:docMk/>
            <pc:sldMk cId="3104822206" sldId="2147483105"/>
            <ac:spMk id="50" creationId="{C0C153AD-89E3-909B-795B-347EF8A65110}"/>
          </ac:spMkLst>
        </pc:spChg>
        <pc:spChg chg="add del mod ord">
          <ac:chgData name="Yudi Zhu" userId="571e1a55-055f-4c28-8b35-fca6dd1c1369" providerId="ADAL" clId="{75A88773-6EE1-484E-AADE-FE631E01463B}" dt="2025-11-26T04:01:20.589" v="758039"/>
          <ac:spMkLst>
            <pc:docMk/>
            <pc:sldMk cId="3104822206" sldId="2147483105"/>
            <ac:spMk id="51" creationId="{07A8D8E5-613E-87C7-A352-BFFEF3166DF1}"/>
          </ac:spMkLst>
        </pc:spChg>
        <pc:spChg chg="add del mod ord">
          <ac:chgData name="Yudi Zhu" userId="571e1a55-055f-4c28-8b35-fca6dd1c1369" providerId="ADAL" clId="{75A88773-6EE1-484E-AADE-FE631E01463B}" dt="2025-11-26T04:01:20.593" v="758054"/>
          <ac:spMkLst>
            <pc:docMk/>
            <pc:sldMk cId="3104822206" sldId="2147483105"/>
            <ac:spMk id="52" creationId="{6634C4EF-D164-B427-1409-0994081138AF}"/>
          </ac:spMkLst>
        </pc:spChg>
        <pc:spChg chg="add del mod">
          <ac:chgData name="Yudi Zhu" userId="571e1a55-055f-4c28-8b35-fca6dd1c1369" providerId="ADAL" clId="{75A88773-6EE1-484E-AADE-FE631E01463B}" dt="2025-11-26T04:01:20.615" v="758068"/>
          <ac:spMkLst>
            <pc:docMk/>
            <pc:sldMk cId="3104822206" sldId="2147483105"/>
            <ac:spMk id="53" creationId="{76DE499B-3FCE-019A-AB3A-46828765979C}"/>
          </ac:spMkLst>
        </pc:spChg>
        <pc:spChg chg="add del mod ord">
          <ac:chgData name="Yudi Zhu" userId="571e1a55-055f-4c28-8b35-fca6dd1c1369" providerId="ADAL" clId="{75A88773-6EE1-484E-AADE-FE631E01463B}" dt="2025-11-26T04:01:20.625" v="758088"/>
          <ac:spMkLst>
            <pc:docMk/>
            <pc:sldMk cId="3104822206" sldId="2147483105"/>
            <ac:spMk id="54" creationId="{1EE44B6E-BC31-09D9-4798-BBA9F7C45941}"/>
          </ac:spMkLst>
        </pc:spChg>
        <pc:spChg chg="add del mod ord">
          <ac:chgData name="Yudi Zhu" userId="571e1a55-055f-4c28-8b35-fca6dd1c1369" providerId="ADAL" clId="{75A88773-6EE1-484E-AADE-FE631E01463B}" dt="2025-11-26T04:01:20.625" v="758086"/>
          <ac:spMkLst>
            <pc:docMk/>
            <pc:sldMk cId="3104822206" sldId="2147483105"/>
            <ac:spMk id="55" creationId="{8F8A2102-64FF-483E-2A1C-6C35F0C59F0C}"/>
          </ac:spMkLst>
        </pc:spChg>
        <pc:spChg chg="add del mod">
          <ac:chgData name="Yudi Zhu" userId="571e1a55-055f-4c28-8b35-fca6dd1c1369" providerId="ADAL" clId="{75A88773-6EE1-484E-AADE-FE631E01463B}" dt="2025-11-26T04:01:20.625" v="758084"/>
          <ac:spMkLst>
            <pc:docMk/>
            <pc:sldMk cId="3104822206" sldId="2147483105"/>
            <ac:spMk id="56" creationId="{B11D5A3E-DD61-0AEE-0FA0-DB2D21F0A573}"/>
          </ac:spMkLst>
        </pc:spChg>
        <pc:spChg chg="add del mod ord">
          <ac:chgData name="Yudi Zhu" userId="571e1a55-055f-4c28-8b35-fca6dd1c1369" providerId="ADAL" clId="{75A88773-6EE1-484E-AADE-FE631E01463B}" dt="2025-11-26T04:01:20.625" v="758083"/>
          <ac:spMkLst>
            <pc:docMk/>
            <pc:sldMk cId="3104822206" sldId="2147483105"/>
            <ac:spMk id="57" creationId="{1868BE7B-A212-7801-844E-64C16DDDF2B2}"/>
          </ac:spMkLst>
        </pc:spChg>
        <pc:spChg chg="add del mod ord">
          <ac:chgData name="Yudi Zhu" userId="571e1a55-055f-4c28-8b35-fca6dd1c1369" providerId="ADAL" clId="{75A88773-6EE1-484E-AADE-FE631E01463B}" dt="2025-11-26T04:01:20.625" v="758081"/>
          <ac:spMkLst>
            <pc:docMk/>
            <pc:sldMk cId="3104822206" sldId="2147483105"/>
            <ac:spMk id="58" creationId="{65F060A4-A7D9-71D8-BC12-64626551C64D}"/>
          </ac:spMkLst>
        </pc:spChg>
        <pc:spChg chg="add del mod">
          <ac:chgData name="Yudi Zhu" userId="571e1a55-055f-4c28-8b35-fca6dd1c1369" providerId="ADAL" clId="{75A88773-6EE1-484E-AADE-FE631E01463B}" dt="2025-11-26T04:01:20.625" v="758079"/>
          <ac:spMkLst>
            <pc:docMk/>
            <pc:sldMk cId="3104822206" sldId="2147483105"/>
            <ac:spMk id="59" creationId="{0AB0A1F6-8779-FC6B-332D-146A1AF112C5}"/>
          </ac:spMkLst>
        </pc:spChg>
        <pc:spChg chg="add del mod modVis">
          <ac:chgData name="Yudi Zhu" userId="571e1a55-055f-4c28-8b35-fca6dd1c1369" providerId="ADAL" clId="{75A88773-6EE1-484E-AADE-FE631E01463B}" dt="2025-11-26T04:01:17.950" v="757989"/>
          <ac:spMkLst>
            <pc:docMk/>
            <pc:sldMk cId="3104822206" sldId="2147483105"/>
            <ac:spMk id="60" creationId="{E17F571D-F37D-C92E-67BB-5A9341ADF3C3}"/>
          </ac:spMkLst>
        </pc:spChg>
        <pc:spChg chg="add mod ord">
          <ac:chgData name="Yudi Zhu" userId="571e1a55-055f-4c28-8b35-fca6dd1c1369" providerId="ADAL" clId="{75A88773-6EE1-484E-AADE-FE631E01463B}" dt="2025-11-26T04:02:32.314" v="765568"/>
          <ac:spMkLst>
            <pc:docMk/>
            <pc:sldMk cId="3104822206" sldId="2147483105"/>
            <ac:spMk id="62" creationId="{11A94E7B-EB25-81FD-6803-F2884722CA3B}"/>
          </ac:spMkLst>
        </pc:spChg>
        <pc:spChg chg="add mod ord">
          <ac:chgData name="Yudi Zhu" userId="571e1a55-055f-4c28-8b35-fca6dd1c1369" providerId="ADAL" clId="{75A88773-6EE1-484E-AADE-FE631E01463B}" dt="2025-11-26T04:02:32.315" v="765570"/>
          <ac:spMkLst>
            <pc:docMk/>
            <pc:sldMk cId="3104822206" sldId="2147483105"/>
            <ac:spMk id="63" creationId="{50AFB593-18DF-63FB-0651-943A943A0439}"/>
          </ac:spMkLst>
        </pc:spChg>
        <pc:spChg chg="mod ord">
          <ac:chgData name="Yudi Zhu" userId="571e1a55-055f-4c28-8b35-fca6dd1c1369" providerId="ADAL" clId="{75A88773-6EE1-484E-AADE-FE631E01463B}" dt="2025-11-26T04:02:32.369" v="765744"/>
          <ac:spMkLst>
            <pc:docMk/>
            <pc:sldMk cId="3104822206" sldId="2147483105"/>
            <ac:spMk id="128" creationId="{406C4F68-E406-2910-B1EB-71C7C57EF1DD}"/>
          </ac:spMkLst>
        </pc:spChg>
        <pc:spChg chg="mod">
          <ac:chgData name="Yudi Zhu" userId="571e1a55-055f-4c28-8b35-fca6dd1c1369" providerId="ADAL" clId="{75A88773-6EE1-484E-AADE-FE631E01463B}" dt="2025-11-26T04:02:32.369" v="765742"/>
          <ac:spMkLst>
            <pc:docMk/>
            <pc:sldMk cId="3104822206" sldId="2147483105"/>
            <ac:spMk id="129" creationId="{B0C8AEF4-39AF-183D-83E0-75D4AEF3F2B2}"/>
          </ac:spMkLst>
        </pc:spChg>
        <pc:spChg chg="add del mod ord">
          <ac:chgData name="Yudi Zhu" userId="571e1a55-055f-4c28-8b35-fca6dd1c1369" providerId="ADAL" clId="{75A88773-6EE1-484E-AADE-FE631E01463B}" dt="2025-11-26T04:02:05.861" v="763448"/>
          <ac:spMkLst>
            <pc:docMk/>
            <pc:sldMk cId="3104822206" sldId="2147483105"/>
            <ac:spMk id="130" creationId="{79FBEED0-C4C9-9C60-EBA4-32F3EC401AE8}"/>
          </ac:spMkLst>
        </pc:spChg>
        <pc:spChg chg="add del mod modVis">
          <ac:chgData name="Yudi Zhu" userId="571e1a55-055f-4c28-8b35-fca6dd1c1369" providerId="ADAL" clId="{75A88773-6EE1-484E-AADE-FE631E01463B}" dt="2025-11-26T04:02:03.443" v="763397"/>
          <ac:spMkLst>
            <pc:docMk/>
            <pc:sldMk cId="3104822206" sldId="2147483105"/>
            <ac:spMk id="146" creationId="{2407BB38-9F7D-DA83-3F77-4FB100657769}"/>
          </ac:spMkLst>
        </pc:spChg>
        <pc:spChg chg="mod ord">
          <ac:chgData name="Yudi Zhu" userId="571e1a55-055f-4c28-8b35-fca6dd1c1369" providerId="ADAL" clId="{75A88773-6EE1-484E-AADE-FE631E01463B}" dt="2025-11-26T04:02:32.334" v="765641"/>
          <ac:spMkLst>
            <pc:docMk/>
            <pc:sldMk cId="3104822206" sldId="2147483105"/>
            <ac:spMk id="147" creationId="{8AC93658-285F-9E93-75E9-096FA300096A}"/>
          </ac:spMkLst>
        </pc:spChg>
        <pc:spChg chg="del mod ord">
          <ac:chgData name="Yudi Zhu" userId="571e1a55-055f-4c28-8b35-fca6dd1c1369" providerId="ADAL" clId="{75A88773-6EE1-484E-AADE-FE631E01463B}" dt="2025-11-26T04:02:31.896" v="764855"/>
          <ac:spMkLst>
            <pc:docMk/>
            <pc:sldMk cId="3104822206" sldId="2147483105"/>
            <ac:spMk id="148" creationId="{5F499E19-41E8-DB26-3E42-E587A115979D}"/>
          </ac:spMkLst>
        </pc:spChg>
        <pc:spChg chg="del mod ord">
          <ac:chgData name="Yudi Zhu" userId="571e1a55-055f-4c28-8b35-fca6dd1c1369" providerId="ADAL" clId="{75A88773-6EE1-484E-AADE-FE631E01463B}" dt="2025-11-26T04:02:31.912" v="764895"/>
          <ac:spMkLst>
            <pc:docMk/>
            <pc:sldMk cId="3104822206" sldId="2147483105"/>
            <ac:spMk id="149" creationId="{13FB7897-25D1-76AE-1F95-0A7BEA1C3C06}"/>
          </ac:spMkLst>
        </pc:spChg>
        <pc:spChg chg="del mod ord">
          <ac:chgData name="Yudi Zhu" userId="571e1a55-055f-4c28-8b35-fca6dd1c1369" providerId="ADAL" clId="{75A88773-6EE1-484E-AADE-FE631E01463B}" dt="2025-11-26T04:02:31.961" v="764965"/>
          <ac:spMkLst>
            <pc:docMk/>
            <pc:sldMk cId="3104822206" sldId="2147483105"/>
            <ac:spMk id="150" creationId="{B313F119-5079-3C27-29BE-A89A580929FA}"/>
          </ac:spMkLst>
        </pc:spChg>
        <pc:spChg chg="add del mod ord">
          <ac:chgData name="Yudi Zhu" userId="571e1a55-055f-4c28-8b35-fca6dd1c1369" providerId="ADAL" clId="{75A88773-6EE1-484E-AADE-FE631E01463B}" dt="2025-11-26T04:02:05.845" v="763442"/>
          <ac:spMkLst>
            <pc:docMk/>
            <pc:sldMk cId="3104822206" sldId="2147483105"/>
            <ac:spMk id="152" creationId="{C14062BC-F9D6-38F4-3CEF-67016453CB5D}"/>
          </ac:spMkLst>
        </pc:spChg>
        <pc:spChg chg="mod ord">
          <ac:chgData name="Yudi Zhu" userId="571e1a55-055f-4c28-8b35-fca6dd1c1369" providerId="ADAL" clId="{75A88773-6EE1-484E-AADE-FE631E01463B}" dt="2025-11-26T04:02:32.382" v="765755"/>
          <ac:spMkLst>
            <pc:docMk/>
            <pc:sldMk cId="3104822206" sldId="2147483105"/>
            <ac:spMk id="154" creationId="{CBDB35F6-6B9A-BF4E-E283-0B21641E0117}"/>
          </ac:spMkLst>
        </pc:spChg>
        <pc:spChg chg="mod ord">
          <ac:chgData name="Yudi Zhu" userId="571e1a55-055f-4c28-8b35-fca6dd1c1369" providerId="ADAL" clId="{75A88773-6EE1-484E-AADE-FE631E01463B}" dt="2025-11-26T04:02:32.382" v="765753"/>
          <ac:spMkLst>
            <pc:docMk/>
            <pc:sldMk cId="3104822206" sldId="2147483105"/>
            <ac:spMk id="155" creationId="{702CA7B5-A535-FAC0-8440-4BC4CF141BB7}"/>
          </ac:spMkLst>
        </pc:spChg>
        <pc:spChg chg="mod">
          <ac:chgData name="Yudi Zhu" userId="571e1a55-055f-4c28-8b35-fca6dd1c1369" providerId="ADAL" clId="{75A88773-6EE1-484E-AADE-FE631E01463B}" dt="2025-11-26T04:02:32.382" v="765751"/>
          <ac:spMkLst>
            <pc:docMk/>
            <pc:sldMk cId="3104822206" sldId="2147483105"/>
            <ac:spMk id="156" creationId="{78057A8B-CABE-ABE5-3079-1741B1A8B335}"/>
          </ac:spMkLst>
        </pc:spChg>
        <pc:spChg chg="add del mod modVis">
          <ac:chgData name="Yudi Zhu" userId="571e1a55-055f-4c28-8b35-fca6dd1c1369" providerId="ADAL" clId="{75A88773-6EE1-484E-AADE-FE631E01463B}" dt="2025-11-26T04:02:06.132" v="763855"/>
          <ac:spMkLst>
            <pc:docMk/>
            <pc:sldMk cId="3104822206" sldId="2147483105"/>
            <ac:spMk id="161" creationId="{3521516B-71D5-FADB-ECA1-0699BF7252BE}"/>
          </ac:spMkLst>
        </pc:spChg>
        <pc:spChg chg="add del mod modVis">
          <ac:chgData name="Yudi Zhu" userId="571e1a55-055f-4c28-8b35-fca6dd1c1369" providerId="ADAL" clId="{75A88773-6EE1-484E-AADE-FE631E01463B}" dt="2025-11-26T04:02:32.405" v="765804"/>
          <ac:spMkLst>
            <pc:docMk/>
            <pc:sldMk cId="3104822206" sldId="2147483105"/>
            <ac:spMk id="163" creationId="{D839371F-3777-186E-17A8-4AF4BF3D7BA4}"/>
          </ac:spMkLst>
        </pc:spChg>
        <pc:spChg chg="add mod ord">
          <ac:chgData name="Yudi Zhu" userId="571e1a55-055f-4c28-8b35-fca6dd1c1369" providerId="ADAL" clId="{75A88773-6EE1-484E-AADE-FE631E01463B}" dt="2025-11-26T04:02:32.334" v="765639"/>
          <ac:spMkLst>
            <pc:docMk/>
            <pc:sldMk cId="3104822206" sldId="2147483105"/>
            <ac:spMk id="166" creationId="{FD9E4FA3-C0DB-A6BE-6A8D-B7AFE9819489}"/>
          </ac:spMkLst>
        </pc:spChg>
        <pc:spChg chg="mod">
          <ac:chgData name="Yudi Zhu" userId="571e1a55-055f-4c28-8b35-fca6dd1c1369" providerId="ADAL" clId="{75A88773-6EE1-484E-AADE-FE631E01463B}" dt="2025-11-26T04:02:32.386" v="765772"/>
          <ac:spMkLst>
            <pc:docMk/>
            <pc:sldMk cId="3104822206" sldId="2147483105"/>
            <ac:spMk id="182" creationId="{1018C9FC-2E0F-03E8-DD80-2216768A8CC7}"/>
          </ac:spMkLst>
        </pc:spChg>
        <pc:spChg chg="mod">
          <ac:chgData name="Yudi Zhu" userId="571e1a55-055f-4c28-8b35-fca6dd1c1369" providerId="ADAL" clId="{75A88773-6EE1-484E-AADE-FE631E01463B}" dt="2025-11-26T04:02:32.264" v="765470"/>
          <ac:spMkLst>
            <pc:docMk/>
            <pc:sldMk cId="3104822206" sldId="2147483105"/>
            <ac:spMk id="185" creationId="{CB21D502-9241-3FA4-E504-AA9F1B448F9B}"/>
          </ac:spMkLst>
        </pc:spChg>
        <pc:spChg chg="del mod ord">
          <ac:chgData name="Yudi Zhu" userId="571e1a55-055f-4c28-8b35-fca6dd1c1369" providerId="ADAL" clId="{75A88773-6EE1-484E-AADE-FE631E01463B}" dt="2025-11-26T04:01:38.318" v="759360"/>
          <ac:spMkLst>
            <pc:docMk/>
            <pc:sldMk cId="3104822206" sldId="2147483105"/>
            <ac:spMk id="186" creationId="{33ED4FAF-31BF-1539-5341-2EDEF95869F9}"/>
          </ac:spMkLst>
        </pc:spChg>
        <pc:spChg chg="del mod ord">
          <ac:chgData name="Yudi Zhu" userId="571e1a55-055f-4c28-8b35-fca6dd1c1369" providerId="ADAL" clId="{75A88773-6EE1-484E-AADE-FE631E01463B}" dt="2025-11-26T04:01:38.318" v="759366"/>
          <ac:spMkLst>
            <pc:docMk/>
            <pc:sldMk cId="3104822206" sldId="2147483105"/>
            <ac:spMk id="187" creationId="{60C05FFC-31AE-FF35-5341-5B840258A5B1}"/>
          </ac:spMkLst>
        </pc:spChg>
        <pc:spChg chg="del mod ord">
          <ac:chgData name="Yudi Zhu" userId="571e1a55-055f-4c28-8b35-fca6dd1c1369" providerId="ADAL" clId="{75A88773-6EE1-484E-AADE-FE631E01463B}" dt="2025-11-26T04:01:38.333" v="759382"/>
          <ac:spMkLst>
            <pc:docMk/>
            <pc:sldMk cId="3104822206" sldId="2147483105"/>
            <ac:spMk id="188" creationId="{C965EC32-EE33-323D-65C7-1C5BED4C1599}"/>
          </ac:spMkLst>
        </pc:spChg>
        <pc:spChg chg="mod ord">
          <ac:chgData name="Yudi Zhu" userId="571e1a55-055f-4c28-8b35-fca6dd1c1369" providerId="ADAL" clId="{75A88773-6EE1-484E-AADE-FE631E01463B}" dt="2025-11-26T04:02:32.278" v="765504"/>
          <ac:spMkLst>
            <pc:docMk/>
            <pc:sldMk cId="3104822206" sldId="2147483105"/>
            <ac:spMk id="310" creationId="{A62D9D2E-0539-BC42-9659-99DFC65D701D}"/>
          </ac:spMkLst>
        </pc:spChg>
        <pc:spChg chg="mod">
          <ac:chgData name="Yudi Zhu" userId="571e1a55-055f-4c28-8b35-fca6dd1c1369" providerId="ADAL" clId="{75A88773-6EE1-484E-AADE-FE631E01463B}" dt="2025-11-26T04:02:32.278" v="765505"/>
          <ac:spMkLst>
            <pc:docMk/>
            <pc:sldMk cId="3104822206" sldId="2147483105"/>
            <ac:spMk id="311" creationId="{FAC811EB-B12D-1390-56E5-FC577BF8AE04}"/>
          </ac:spMkLst>
        </pc:spChg>
        <pc:spChg chg="mod">
          <ac:chgData name="Yudi Zhu" userId="571e1a55-055f-4c28-8b35-fca6dd1c1369" providerId="ADAL" clId="{75A88773-6EE1-484E-AADE-FE631E01463B}" dt="2025-11-26T04:02:32.278" v="765506"/>
          <ac:spMkLst>
            <pc:docMk/>
            <pc:sldMk cId="3104822206" sldId="2147483105"/>
            <ac:spMk id="312" creationId="{5889A2F9-795A-D383-2D23-CFB5A874C50A}"/>
          </ac:spMkLst>
        </pc:spChg>
        <pc:spChg chg="mod">
          <ac:chgData name="Yudi Zhu" userId="571e1a55-055f-4c28-8b35-fca6dd1c1369" providerId="ADAL" clId="{75A88773-6EE1-484E-AADE-FE631E01463B}" dt="2025-11-26T04:02:32.278" v="765507"/>
          <ac:spMkLst>
            <pc:docMk/>
            <pc:sldMk cId="3104822206" sldId="2147483105"/>
            <ac:spMk id="314" creationId="{60C55FFD-9FE8-A10C-A7D3-CA5764CCB488}"/>
          </ac:spMkLst>
        </pc:spChg>
        <pc:spChg chg="mod">
          <ac:chgData name="Yudi Zhu" userId="571e1a55-055f-4c28-8b35-fca6dd1c1369" providerId="ADAL" clId="{75A88773-6EE1-484E-AADE-FE631E01463B}" dt="2025-11-26T04:02:32.278" v="765508"/>
          <ac:spMkLst>
            <pc:docMk/>
            <pc:sldMk cId="3104822206" sldId="2147483105"/>
            <ac:spMk id="315" creationId="{EB9F760C-B8E5-2064-02C2-89469410E215}"/>
          </ac:spMkLst>
        </pc:spChg>
        <pc:spChg chg="mod">
          <ac:chgData name="Yudi Zhu" userId="571e1a55-055f-4c28-8b35-fca6dd1c1369" providerId="ADAL" clId="{75A88773-6EE1-484E-AADE-FE631E01463B}" dt="2025-11-26T04:02:32.278" v="765509"/>
          <ac:spMkLst>
            <pc:docMk/>
            <pc:sldMk cId="3104822206" sldId="2147483105"/>
            <ac:spMk id="316" creationId="{FF8775EC-9A38-2C66-D0FF-C4924FD32796}"/>
          </ac:spMkLst>
        </pc:spChg>
        <pc:spChg chg="mod">
          <ac:chgData name="Yudi Zhu" userId="571e1a55-055f-4c28-8b35-fca6dd1c1369" providerId="ADAL" clId="{75A88773-6EE1-484E-AADE-FE631E01463B}" dt="2025-11-26T04:02:32.278" v="765510"/>
          <ac:spMkLst>
            <pc:docMk/>
            <pc:sldMk cId="3104822206" sldId="2147483105"/>
            <ac:spMk id="318" creationId="{FBCB803E-54EC-7A3B-9145-7A6054CAD134}"/>
          </ac:spMkLst>
        </pc:spChg>
        <pc:spChg chg="mod">
          <ac:chgData name="Yudi Zhu" userId="571e1a55-055f-4c28-8b35-fca6dd1c1369" providerId="ADAL" clId="{75A88773-6EE1-484E-AADE-FE631E01463B}" dt="2025-11-26T04:02:32.285" v="765511"/>
          <ac:spMkLst>
            <pc:docMk/>
            <pc:sldMk cId="3104822206" sldId="2147483105"/>
            <ac:spMk id="319" creationId="{706EA1C7-0608-9349-5D41-F9CAB7F83433}"/>
          </ac:spMkLst>
        </pc:spChg>
        <pc:spChg chg="mod">
          <ac:chgData name="Yudi Zhu" userId="571e1a55-055f-4c28-8b35-fca6dd1c1369" providerId="ADAL" clId="{75A88773-6EE1-484E-AADE-FE631E01463B}" dt="2025-11-26T04:02:32.285" v="765512"/>
          <ac:spMkLst>
            <pc:docMk/>
            <pc:sldMk cId="3104822206" sldId="2147483105"/>
            <ac:spMk id="320" creationId="{E86B3B8E-37AC-519F-45A3-5BD8642641E6}"/>
          </ac:spMkLst>
        </pc:spChg>
        <pc:spChg chg="mod ord">
          <ac:chgData name="Yudi Zhu" userId="571e1a55-055f-4c28-8b35-fca6dd1c1369" providerId="ADAL" clId="{75A88773-6EE1-484E-AADE-FE631E01463B}" dt="2025-11-26T04:02:32.286" v="765513"/>
          <ac:spMkLst>
            <pc:docMk/>
            <pc:sldMk cId="3104822206" sldId="2147483105"/>
            <ac:spMk id="322" creationId="{CE952EB7-012F-2155-70B6-F7D7E5AC2462}"/>
          </ac:spMkLst>
        </pc:spChg>
        <pc:spChg chg="mod ord">
          <ac:chgData name="Yudi Zhu" userId="571e1a55-055f-4c28-8b35-fca6dd1c1369" providerId="ADAL" clId="{75A88773-6EE1-484E-AADE-FE631E01463B}" dt="2025-11-26T04:02:32.288" v="765516"/>
          <ac:spMkLst>
            <pc:docMk/>
            <pc:sldMk cId="3104822206" sldId="2147483105"/>
            <ac:spMk id="323" creationId="{735D4EDA-AD3C-5A72-B819-57EBBCE24CD8}"/>
          </ac:spMkLst>
        </pc:spChg>
        <pc:spChg chg="mod">
          <ac:chgData name="Yudi Zhu" userId="571e1a55-055f-4c28-8b35-fca6dd1c1369" providerId="ADAL" clId="{75A88773-6EE1-484E-AADE-FE631E01463B}" dt="2025-11-26T04:02:32.288" v="765515"/>
          <ac:spMkLst>
            <pc:docMk/>
            <pc:sldMk cId="3104822206" sldId="2147483105"/>
            <ac:spMk id="324" creationId="{74A31F23-C56E-0C58-DE25-C3822C2C7702}"/>
          </ac:spMkLst>
        </pc:spChg>
        <pc:spChg chg="mod">
          <ac:chgData name="Yudi Zhu" userId="571e1a55-055f-4c28-8b35-fca6dd1c1369" providerId="ADAL" clId="{75A88773-6EE1-484E-AADE-FE631E01463B}" dt="2025-11-26T04:02:32.300" v="765534"/>
          <ac:spMkLst>
            <pc:docMk/>
            <pc:sldMk cId="3104822206" sldId="2147483105"/>
            <ac:spMk id="326" creationId="{C7F59C0F-9502-E9D5-62BB-F976ECCD8766}"/>
          </ac:spMkLst>
        </pc:spChg>
        <pc:spChg chg="mod">
          <ac:chgData name="Yudi Zhu" userId="571e1a55-055f-4c28-8b35-fca6dd1c1369" providerId="ADAL" clId="{75A88773-6EE1-484E-AADE-FE631E01463B}" dt="2025-11-26T04:02:32.290" v="765517"/>
          <ac:spMkLst>
            <pc:docMk/>
            <pc:sldMk cId="3104822206" sldId="2147483105"/>
            <ac:spMk id="327" creationId="{DC60CC83-D9D9-BF20-1864-CA6A97B28642}"/>
          </ac:spMkLst>
        </pc:spChg>
        <pc:spChg chg="mod">
          <ac:chgData name="Yudi Zhu" userId="571e1a55-055f-4c28-8b35-fca6dd1c1369" providerId="ADAL" clId="{75A88773-6EE1-484E-AADE-FE631E01463B}" dt="2025-11-26T04:02:32.290" v="765518"/>
          <ac:spMkLst>
            <pc:docMk/>
            <pc:sldMk cId="3104822206" sldId="2147483105"/>
            <ac:spMk id="328" creationId="{96ACB3D1-E63C-5146-0E96-44B1BC1BF511}"/>
          </ac:spMkLst>
        </pc:spChg>
        <pc:spChg chg="mod">
          <ac:chgData name="Yudi Zhu" userId="571e1a55-055f-4c28-8b35-fca6dd1c1369" providerId="ADAL" clId="{75A88773-6EE1-484E-AADE-FE631E01463B}" dt="2025-11-26T04:02:32.291" v="765519"/>
          <ac:spMkLst>
            <pc:docMk/>
            <pc:sldMk cId="3104822206" sldId="2147483105"/>
            <ac:spMk id="330" creationId="{5BF0E0DB-D8B0-7FBE-D30A-6DFDD08C285E}"/>
          </ac:spMkLst>
        </pc:spChg>
        <pc:spChg chg="mod">
          <ac:chgData name="Yudi Zhu" userId="571e1a55-055f-4c28-8b35-fca6dd1c1369" providerId="ADAL" clId="{75A88773-6EE1-484E-AADE-FE631E01463B}" dt="2025-11-26T04:02:32.291" v="765520"/>
          <ac:spMkLst>
            <pc:docMk/>
            <pc:sldMk cId="3104822206" sldId="2147483105"/>
            <ac:spMk id="331" creationId="{E8DC3E37-AFE7-3ACF-108A-04B32697FC78}"/>
          </ac:spMkLst>
        </pc:spChg>
        <pc:spChg chg="mod">
          <ac:chgData name="Yudi Zhu" userId="571e1a55-055f-4c28-8b35-fca6dd1c1369" providerId="ADAL" clId="{75A88773-6EE1-484E-AADE-FE631E01463B}" dt="2025-11-26T04:02:32.292" v="765521"/>
          <ac:spMkLst>
            <pc:docMk/>
            <pc:sldMk cId="3104822206" sldId="2147483105"/>
            <ac:spMk id="332" creationId="{E808FE89-996D-415C-DBB1-0A3FFCE5ABC0}"/>
          </ac:spMkLst>
        </pc:spChg>
        <pc:spChg chg="mod">
          <ac:chgData name="Yudi Zhu" userId="571e1a55-055f-4c28-8b35-fca6dd1c1369" providerId="ADAL" clId="{75A88773-6EE1-484E-AADE-FE631E01463B}" dt="2025-11-26T04:02:32.293" v="765522"/>
          <ac:spMkLst>
            <pc:docMk/>
            <pc:sldMk cId="3104822206" sldId="2147483105"/>
            <ac:spMk id="334" creationId="{0574B8A2-DAE9-FA77-CD25-3C79BC310A04}"/>
          </ac:spMkLst>
        </pc:spChg>
        <pc:spChg chg="mod">
          <ac:chgData name="Yudi Zhu" userId="571e1a55-055f-4c28-8b35-fca6dd1c1369" providerId="ADAL" clId="{75A88773-6EE1-484E-AADE-FE631E01463B}" dt="2025-11-26T04:02:32.293" v="765523"/>
          <ac:spMkLst>
            <pc:docMk/>
            <pc:sldMk cId="3104822206" sldId="2147483105"/>
            <ac:spMk id="335" creationId="{1307B519-4FE9-B337-3AC7-44EAE226EDDC}"/>
          </ac:spMkLst>
        </pc:spChg>
        <pc:spChg chg="mod">
          <ac:chgData name="Yudi Zhu" userId="571e1a55-055f-4c28-8b35-fca6dd1c1369" providerId="ADAL" clId="{75A88773-6EE1-484E-AADE-FE631E01463B}" dt="2025-11-26T04:02:32.294" v="765524"/>
          <ac:spMkLst>
            <pc:docMk/>
            <pc:sldMk cId="3104822206" sldId="2147483105"/>
            <ac:spMk id="336" creationId="{36445EF4-EDAE-86E1-A720-9E3036E4FB46}"/>
          </ac:spMkLst>
        </pc:spChg>
        <pc:spChg chg="mod">
          <ac:chgData name="Yudi Zhu" userId="571e1a55-055f-4c28-8b35-fca6dd1c1369" providerId="ADAL" clId="{75A88773-6EE1-484E-AADE-FE631E01463B}" dt="2025-11-26T04:02:32.296" v="765528"/>
          <ac:spMkLst>
            <pc:docMk/>
            <pc:sldMk cId="3104822206" sldId="2147483105"/>
            <ac:spMk id="337" creationId="{36AB1D7E-40D3-61B5-A55C-A396D415FF17}"/>
          </ac:spMkLst>
        </pc:spChg>
        <pc:spChg chg="mod ord">
          <ac:chgData name="Yudi Zhu" userId="571e1a55-055f-4c28-8b35-fca6dd1c1369" providerId="ADAL" clId="{75A88773-6EE1-484E-AADE-FE631E01463B}" dt="2025-11-26T04:02:32.294" v="765525"/>
          <ac:spMkLst>
            <pc:docMk/>
            <pc:sldMk cId="3104822206" sldId="2147483105"/>
            <ac:spMk id="338" creationId="{AE1A4FDE-AEAE-1F18-9776-ECAA66344E31}"/>
          </ac:spMkLst>
        </pc:spChg>
        <pc:spChg chg="mod">
          <ac:chgData name="Yudi Zhu" userId="571e1a55-055f-4c28-8b35-fca6dd1c1369" providerId="ADAL" clId="{75A88773-6EE1-484E-AADE-FE631E01463B}" dt="2025-11-26T04:02:32.295" v="765526"/>
          <ac:spMkLst>
            <pc:docMk/>
            <pc:sldMk cId="3104822206" sldId="2147483105"/>
            <ac:spMk id="339" creationId="{2DD214E2-D172-E416-6654-6285004EEFCC}"/>
          </ac:spMkLst>
        </pc:spChg>
        <pc:spChg chg="mod">
          <ac:chgData name="Yudi Zhu" userId="571e1a55-055f-4c28-8b35-fca6dd1c1369" providerId="ADAL" clId="{75A88773-6EE1-484E-AADE-FE631E01463B}" dt="2025-11-26T04:02:32.296" v="765527"/>
          <ac:spMkLst>
            <pc:docMk/>
            <pc:sldMk cId="3104822206" sldId="2147483105"/>
            <ac:spMk id="340" creationId="{F9C7A847-ECDA-65CC-C8B2-3D1C85EBEC3B}"/>
          </ac:spMkLst>
        </pc:spChg>
        <pc:spChg chg="mod ord">
          <ac:chgData name="Yudi Zhu" userId="571e1a55-055f-4c28-8b35-fca6dd1c1369" providerId="ADAL" clId="{75A88773-6EE1-484E-AADE-FE631E01463B}" dt="2025-11-26T04:02:32.297" v="765530"/>
          <ac:spMkLst>
            <pc:docMk/>
            <pc:sldMk cId="3104822206" sldId="2147483105"/>
            <ac:spMk id="342" creationId="{5F9DF103-C1E2-AA69-9A66-0545A8C8A5E7}"/>
          </ac:spMkLst>
        </pc:spChg>
        <pc:spChg chg="mod">
          <ac:chgData name="Yudi Zhu" userId="571e1a55-055f-4c28-8b35-fca6dd1c1369" providerId="ADAL" clId="{75A88773-6EE1-484E-AADE-FE631E01463B}" dt="2025-11-26T04:02:32.287" v="765514"/>
          <ac:spMkLst>
            <pc:docMk/>
            <pc:sldMk cId="3104822206" sldId="2147483105"/>
            <ac:spMk id="343" creationId="{93F781B8-58D3-037B-422F-B97F243A4ADD}"/>
          </ac:spMkLst>
        </pc:spChg>
        <pc:spChg chg="mod ord">
          <ac:chgData name="Yudi Zhu" userId="571e1a55-055f-4c28-8b35-fca6dd1c1369" providerId="ADAL" clId="{75A88773-6EE1-484E-AADE-FE631E01463B}" dt="2025-11-26T04:02:32.298" v="765531"/>
          <ac:spMkLst>
            <pc:docMk/>
            <pc:sldMk cId="3104822206" sldId="2147483105"/>
            <ac:spMk id="345" creationId="{A7062455-DCFB-CA90-BAB0-FE5B0F9A7539}"/>
          </ac:spMkLst>
        </pc:spChg>
        <pc:spChg chg="mod">
          <ac:chgData name="Yudi Zhu" userId="571e1a55-055f-4c28-8b35-fca6dd1c1369" providerId="ADAL" clId="{75A88773-6EE1-484E-AADE-FE631E01463B}" dt="2025-11-26T04:02:32.298" v="765532"/>
          <ac:spMkLst>
            <pc:docMk/>
            <pc:sldMk cId="3104822206" sldId="2147483105"/>
            <ac:spMk id="346" creationId="{058313A5-0EFC-F850-8925-ABBD5D963C04}"/>
          </ac:spMkLst>
        </pc:spChg>
        <pc:spChg chg="mod">
          <ac:chgData name="Yudi Zhu" userId="571e1a55-055f-4c28-8b35-fca6dd1c1369" providerId="ADAL" clId="{75A88773-6EE1-484E-AADE-FE631E01463B}" dt="2025-11-26T04:02:32.299" v="765533"/>
          <ac:spMkLst>
            <pc:docMk/>
            <pc:sldMk cId="3104822206" sldId="2147483105"/>
            <ac:spMk id="347" creationId="{90303146-CD91-5A62-9BB6-085A9E75310C}"/>
          </ac:spMkLst>
        </pc:spChg>
        <pc:spChg chg="mod">
          <ac:chgData name="Yudi Zhu" userId="571e1a55-055f-4c28-8b35-fca6dd1c1369" providerId="ADAL" clId="{75A88773-6EE1-484E-AADE-FE631E01463B}" dt="2025-11-26T04:02:32.300" v="765535"/>
          <ac:spMkLst>
            <pc:docMk/>
            <pc:sldMk cId="3104822206" sldId="2147483105"/>
            <ac:spMk id="350" creationId="{29244B0B-E2EE-A2BC-96A2-0D5A3B3BD02C}"/>
          </ac:spMkLst>
        </pc:spChg>
        <pc:spChg chg="mod">
          <ac:chgData name="Yudi Zhu" userId="571e1a55-055f-4c28-8b35-fca6dd1c1369" providerId="ADAL" clId="{75A88773-6EE1-484E-AADE-FE631E01463B}" dt="2025-11-26T04:02:32.301" v="765536"/>
          <ac:spMkLst>
            <pc:docMk/>
            <pc:sldMk cId="3104822206" sldId="2147483105"/>
            <ac:spMk id="351" creationId="{F6F0A072-2ACC-2FDA-F298-4E45DBB5F2F1}"/>
          </ac:spMkLst>
        </pc:spChg>
        <pc:spChg chg="mod">
          <ac:chgData name="Yudi Zhu" userId="571e1a55-055f-4c28-8b35-fca6dd1c1369" providerId="ADAL" clId="{75A88773-6EE1-484E-AADE-FE631E01463B}" dt="2025-11-26T04:02:32.303" v="765539"/>
          <ac:spMkLst>
            <pc:docMk/>
            <pc:sldMk cId="3104822206" sldId="2147483105"/>
            <ac:spMk id="353" creationId="{16C1316C-83DD-4BA5-36F8-D2FF00F47A16}"/>
          </ac:spMkLst>
        </pc:spChg>
        <pc:spChg chg="mod">
          <ac:chgData name="Yudi Zhu" userId="571e1a55-055f-4c28-8b35-fca6dd1c1369" providerId="ADAL" clId="{75A88773-6EE1-484E-AADE-FE631E01463B}" dt="2025-11-26T04:02:32.304" v="765540"/>
          <ac:spMkLst>
            <pc:docMk/>
            <pc:sldMk cId="3104822206" sldId="2147483105"/>
            <ac:spMk id="354" creationId="{0B7447D7-97E9-1CB1-E4E2-4F70D460CD86}"/>
          </ac:spMkLst>
        </pc:spChg>
        <pc:spChg chg="mod">
          <ac:chgData name="Yudi Zhu" userId="571e1a55-055f-4c28-8b35-fca6dd1c1369" providerId="ADAL" clId="{75A88773-6EE1-484E-AADE-FE631E01463B}" dt="2025-11-26T04:02:32.304" v="765541"/>
          <ac:spMkLst>
            <pc:docMk/>
            <pc:sldMk cId="3104822206" sldId="2147483105"/>
            <ac:spMk id="355" creationId="{B8F8C981-C881-6238-8329-8E7159CC921D}"/>
          </ac:spMkLst>
        </pc:spChg>
        <pc:spChg chg="mod">
          <ac:chgData name="Yudi Zhu" userId="571e1a55-055f-4c28-8b35-fca6dd1c1369" providerId="ADAL" clId="{75A88773-6EE1-484E-AADE-FE631E01463B}" dt="2025-11-26T04:02:32.306" v="765546"/>
          <ac:spMkLst>
            <pc:docMk/>
            <pc:sldMk cId="3104822206" sldId="2147483105"/>
            <ac:spMk id="990" creationId="{2D030DE9-1EAC-6CEF-A758-6B0AB98021B7}"/>
          </ac:spMkLst>
        </pc:spChg>
        <pc:spChg chg="mod">
          <ac:chgData name="Yudi Zhu" userId="571e1a55-055f-4c28-8b35-fca6dd1c1369" providerId="ADAL" clId="{75A88773-6EE1-484E-AADE-FE631E01463B}" dt="2025-11-26T04:02:32.307" v="765547"/>
          <ac:spMkLst>
            <pc:docMk/>
            <pc:sldMk cId="3104822206" sldId="2147483105"/>
            <ac:spMk id="992" creationId="{7C1FC966-970A-A496-42C8-F1ED0CB614CE}"/>
          </ac:spMkLst>
        </pc:spChg>
        <pc:spChg chg="mod ord">
          <ac:chgData name="Yudi Zhu" userId="571e1a55-055f-4c28-8b35-fca6dd1c1369" providerId="ADAL" clId="{75A88773-6EE1-484E-AADE-FE631E01463B}" dt="2025-11-26T04:02:32.305" v="765543"/>
          <ac:spMkLst>
            <pc:docMk/>
            <pc:sldMk cId="3104822206" sldId="2147483105"/>
            <ac:spMk id="994" creationId="{7E5DB600-4581-A55C-766C-739E5A0FADBC}"/>
          </ac:spMkLst>
        </pc:spChg>
        <pc:spChg chg="mod ord">
          <ac:chgData name="Yudi Zhu" userId="571e1a55-055f-4c28-8b35-fca6dd1c1369" providerId="ADAL" clId="{75A88773-6EE1-484E-AADE-FE631E01463B}" dt="2025-11-26T04:02:32.306" v="765545"/>
          <ac:spMkLst>
            <pc:docMk/>
            <pc:sldMk cId="3104822206" sldId="2147483105"/>
            <ac:spMk id="995" creationId="{32DA3477-12F9-F65F-2D29-8DD22FC19F08}"/>
          </ac:spMkLst>
        </pc:spChg>
        <pc:spChg chg="mod">
          <ac:chgData name="Yudi Zhu" userId="571e1a55-055f-4c28-8b35-fca6dd1c1369" providerId="ADAL" clId="{75A88773-6EE1-484E-AADE-FE631E01463B}" dt="2025-11-26T04:02:32.319" v="765580"/>
          <ac:spMkLst>
            <pc:docMk/>
            <pc:sldMk cId="3104822206" sldId="2147483105"/>
            <ac:spMk id="1002" creationId="{9A3F4591-BB1E-4D2E-A0F8-54BBF4E16814}"/>
          </ac:spMkLst>
        </pc:spChg>
        <pc:spChg chg="mod">
          <ac:chgData name="Yudi Zhu" userId="571e1a55-055f-4c28-8b35-fca6dd1c1369" providerId="ADAL" clId="{75A88773-6EE1-484E-AADE-FE631E01463B}" dt="2025-11-26T04:02:32.319" v="765582"/>
          <ac:spMkLst>
            <pc:docMk/>
            <pc:sldMk cId="3104822206" sldId="2147483105"/>
            <ac:spMk id="1003" creationId="{383A4D55-87AC-E7AD-D775-159B8AA91BD4}"/>
          </ac:spMkLst>
        </pc:spChg>
        <pc:spChg chg="mod">
          <ac:chgData name="Yudi Zhu" userId="571e1a55-055f-4c28-8b35-fca6dd1c1369" providerId="ADAL" clId="{75A88773-6EE1-484E-AADE-FE631E01463B}" dt="2025-11-26T04:02:32.319" v="765579"/>
          <ac:spMkLst>
            <pc:docMk/>
            <pc:sldMk cId="3104822206" sldId="2147483105"/>
            <ac:spMk id="1165" creationId="{0AA1A8A8-FF9B-20E1-D2AF-745AC3B241E3}"/>
          </ac:spMkLst>
        </pc:spChg>
        <pc:spChg chg="mod ord">
          <ac:chgData name="Yudi Zhu" userId="571e1a55-055f-4c28-8b35-fca6dd1c1369" providerId="ADAL" clId="{75A88773-6EE1-484E-AADE-FE631E01463B}" dt="2025-11-26T04:02:32.319" v="765581"/>
          <ac:spMkLst>
            <pc:docMk/>
            <pc:sldMk cId="3104822206" sldId="2147483105"/>
            <ac:spMk id="1166" creationId="{C21E8AFD-DF88-3440-816B-93B8FDB6B328}"/>
          </ac:spMkLst>
        </pc:spChg>
        <pc:spChg chg="mod ord">
          <ac:chgData name="Yudi Zhu" userId="571e1a55-055f-4c28-8b35-fca6dd1c1369" providerId="ADAL" clId="{75A88773-6EE1-484E-AADE-FE631E01463B}" dt="2025-11-26T04:02:32.253" v="765461"/>
          <ac:spMkLst>
            <pc:docMk/>
            <pc:sldMk cId="3104822206" sldId="2147483105"/>
            <ac:spMk id="1196" creationId="{C596882D-6FC7-950A-AE47-E000121672A5}"/>
          </ac:spMkLst>
        </pc:spChg>
        <pc:spChg chg="mod">
          <ac:chgData name="Yudi Zhu" userId="571e1a55-055f-4c28-8b35-fca6dd1c1369" providerId="ADAL" clId="{75A88773-6EE1-484E-AADE-FE631E01463B}" dt="2025-11-26T04:02:32.253" v="765462"/>
          <ac:spMkLst>
            <pc:docMk/>
            <pc:sldMk cId="3104822206" sldId="2147483105"/>
            <ac:spMk id="1197" creationId="{4420D0BB-BF1F-19EC-B0A4-93BCE704F5E8}"/>
          </ac:spMkLst>
        </pc:spChg>
        <pc:spChg chg="mod">
          <ac:chgData name="Yudi Zhu" userId="571e1a55-055f-4c28-8b35-fca6dd1c1369" providerId="ADAL" clId="{75A88773-6EE1-484E-AADE-FE631E01463B}" dt="2025-11-26T04:02:32.263" v="765463"/>
          <ac:spMkLst>
            <pc:docMk/>
            <pc:sldMk cId="3104822206" sldId="2147483105"/>
            <ac:spMk id="1198" creationId="{14422C41-DE00-2E40-428B-7BDBD0F319FD}"/>
          </ac:spMkLst>
        </pc:spChg>
        <pc:spChg chg="mod ord">
          <ac:chgData name="Yudi Zhu" userId="571e1a55-055f-4c28-8b35-fca6dd1c1369" providerId="ADAL" clId="{75A88773-6EE1-484E-AADE-FE631E01463B}" dt="2025-11-26T04:02:32.263" v="765464"/>
          <ac:spMkLst>
            <pc:docMk/>
            <pc:sldMk cId="3104822206" sldId="2147483105"/>
            <ac:spMk id="1199" creationId="{F6B459A7-F615-EED0-4A6B-6AFB43834956}"/>
          </ac:spMkLst>
        </pc:spChg>
        <pc:spChg chg="mod">
          <ac:chgData name="Yudi Zhu" userId="571e1a55-055f-4c28-8b35-fca6dd1c1369" providerId="ADAL" clId="{75A88773-6EE1-484E-AADE-FE631E01463B}" dt="2025-11-26T04:02:32.264" v="765465"/>
          <ac:spMkLst>
            <pc:docMk/>
            <pc:sldMk cId="3104822206" sldId="2147483105"/>
            <ac:spMk id="1200" creationId="{65884DE8-E4B8-56B7-66A1-A6CA9A59D6A1}"/>
          </ac:spMkLst>
        </pc:spChg>
        <pc:spChg chg="mod ord">
          <ac:chgData name="Yudi Zhu" userId="571e1a55-055f-4c28-8b35-fca6dd1c1369" providerId="ADAL" clId="{75A88773-6EE1-484E-AADE-FE631E01463B}" dt="2025-11-26T04:02:32.264" v="765472"/>
          <ac:spMkLst>
            <pc:docMk/>
            <pc:sldMk cId="3104822206" sldId="2147483105"/>
            <ac:spMk id="1201" creationId="{D27ECED9-C5E6-3DC2-9121-0FE6BFAC6398}"/>
          </ac:spMkLst>
        </pc:spChg>
        <pc:spChg chg="mod">
          <ac:chgData name="Yudi Zhu" userId="571e1a55-055f-4c28-8b35-fca6dd1c1369" providerId="ADAL" clId="{75A88773-6EE1-484E-AADE-FE631E01463B}" dt="2025-11-26T04:02:32.264" v="765467"/>
          <ac:spMkLst>
            <pc:docMk/>
            <pc:sldMk cId="3104822206" sldId="2147483105"/>
            <ac:spMk id="1202" creationId="{CC4C1301-FFB5-6432-C501-1D8A5373A0DE}"/>
          </ac:spMkLst>
        </pc:spChg>
        <pc:spChg chg="mod ord">
          <ac:chgData name="Yudi Zhu" userId="571e1a55-055f-4c28-8b35-fca6dd1c1369" providerId="ADAL" clId="{75A88773-6EE1-484E-AADE-FE631E01463B}" dt="2025-11-26T04:02:32.264" v="765469"/>
          <ac:spMkLst>
            <pc:docMk/>
            <pc:sldMk cId="3104822206" sldId="2147483105"/>
            <ac:spMk id="1203" creationId="{43C5F107-3657-38DE-B0D7-E78431A033B8}"/>
          </ac:spMkLst>
        </pc:spChg>
        <pc:spChg chg="mod">
          <ac:chgData name="Yudi Zhu" userId="571e1a55-055f-4c28-8b35-fca6dd1c1369" providerId="ADAL" clId="{75A88773-6EE1-484E-AADE-FE631E01463B}" dt="2025-11-26T04:02:32.264" v="765471"/>
          <ac:spMkLst>
            <pc:docMk/>
            <pc:sldMk cId="3104822206" sldId="2147483105"/>
            <ac:spMk id="1204" creationId="{DD5FECEA-4FB9-1E7D-E18A-7F8D8A5FA1E2}"/>
          </ac:spMkLst>
        </pc:spChg>
        <pc:spChg chg="mod ord">
          <ac:chgData name="Yudi Zhu" userId="571e1a55-055f-4c28-8b35-fca6dd1c1369" providerId="ADAL" clId="{75A88773-6EE1-484E-AADE-FE631E01463B}" dt="2025-11-26T04:02:32.264" v="765474"/>
          <ac:spMkLst>
            <pc:docMk/>
            <pc:sldMk cId="3104822206" sldId="2147483105"/>
            <ac:spMk id="1205" creationId="{6816614C-2261-21F9-4CD7-430B5A7828DB}"/>
          </ac:spMkLst>
        </pc:spChg>
        <pc:spChg chg="mod ord">
          <ac:chgData name="Yudi Zhu" userId="571e1a55-055f-4c28-8b35-fca6dd1c1369" providerId="ADAL" clId="{75A88773-6EE1-484E-AADE-FE631E01463B}" dt="2025-11-26T04:02:32.269" v="765476"/>
          <ac:spMkLst>
            <pc:docMk/>
            <pc:sldMk cId="3104822206" sldId="2147483105"/>
            <ac:spMk id="1206" creationId="{F964BC34-C9C5-D8CF-21E7-DC1A68C87E8B}"/>
          </ac:spMkLst>
        </pc:spChg>
        <pc:spChg chg="mod ord">
          <ac:chgData name="Yudi Zhu" userId="571e1a55-055f-4c28-8b35-fca6dd1c1369" providerId="ADAL" clId="{75A88773-6EE1-484E-AADE-FE631E01463B}" dt="2025-11-26T04:02:32.269" v="765477"/>
          <ac:spMkLst>
            <pc:docMk/>
            <pc:sldMk cId="3104822206" sldId="2147483105"/>
            <ac:spMk id="1207" creationId="{A46BFC1C-4658-90CF-29A8-271FE24154F7}"/>
          </ac:spMkLst>
        </pc:spChg>
        <pc:spChg chg="mod ord">
          <ac:chgData name="Yudi Zhu" userId="571e1a55-055f-4c28-8b35-fca6dd1c1369" providerId="ADAL" clId="{75A88773-6EE1-484E-AADE-FE631E01463B}" dt="2025-11-26T04:02:32.269" v="765478"/>
          <ac:spMkLst>
            <pc:docMk/>
            <pc:sldMk cId="3104822206" sldId="2147483105"/>
            <ac:spMk id="1208" creationId="{5D29CDBC-FB63-4B98-A1DE-CEF57F320EAD}"/>
          </ac:spMkLst>
        </pc:spChg>
        <pc:spChg chg="mod ord">
          <ac:chgData name="Yudi Zhu" userId="571e1a55-055f-4c28-8b35-fca6dd1c1369" providerId="ADAL" clId="{75A88773-6EE1-484E-AADE-FE631E01463B}" dt="2025-11-26T04:02:32.269" v="765480"/>
          <ac:spMkLst>
            <pc:docMk/>
            <pc:sldMk cId="3104822206" sldId="2147483105"/>
            <ac:spMk id="1209" creationId="{5E4E0E8C-5937-5531-54CF-473F4F815657}"/>
          </ac:spMkLst>
        </pc:spChg>
        <pc:spChg chg="mod ord">
          <ac:chgData name="Yudi Zhu" userId="571e1a55-055f-4c28-8b35-fca6dd1c1369" providerId="ADAL" clId="{75A88773-6EE1-484E-AADE-FE631E01463B}" dt="2025-11-26T04:02:32.269" v="765482"/>
          <ac:spMkLst>
            <pc:docMk/>
            <pc:sldMk cId="3104822206" sldId="2147483105"/>
            <ac:spMk id="1210" creationId="{1EBFC0FC-B017-5C41-EEC2-FC925CF6E4D7}"/>
          </ac:spMkLst>
        </pc:spChg>
        <pc:spChg chg="mod ord">
          <ac:chgData name="Yudi Zhu" userId="571e1a55-055f-4c28-8b35-fca6dd1c1369" providerId="ADAL" clId="{75A88773-6EE1-484E-AADE-FE631E01463B}" dt="2025-11-26T04:02:32.269" v="765486"/>
          <ac:spMkLst>
            <pc:docMk/>
            <pc:sldMk cId="3104822206" sldId="2147483105"/>
            <ac:spMk id="1211" creationId="{EE46F561-2BF6-86A3-F0E4-BEF7311EDDF1}"/>
          </ac:spMkLst>
        </pc:spChg>
        <pc:spChg chg="mod ord">
          <ac:chgData name="Yudi Zhu" userId="571e1a55-055f-4c28-8b35-fca6dd1c1369" providerId="ADAL" clId="{75A88773-6EE1-484E-AADE-FE631E01463B}" dt="2025-11-26T04:02:32.269" v="765484"/>
          <ac:spMkLst>
            <pc:docMk/>
            <pc:sldMk cId="3104822206" sldId="2147483105"/>
            <ac:spMk id="1212" creationId="{25E61F6C-7940-2C7A-BB7D-7ED850FA6A75}"/>
          </ac:spMkLst>
        </pc:spChg>
        <pc:spChg chg="mod ord">
          <ac:chgData name="Yudi Zhu" userId="571e1a55-055f-4c28-8b35-fca6dd1c1369" providerId="ADAL" clId="{75A88773-6EE1-484E-AADE-FE631E01463B}" dt="2025-11-26T04:02:32.269" v="765488"/>
          <ac:spMkLst>
            <pc:docMk/>
            <pc:sldMk cId="3104822206" sldId="2147483105"/>
            <ac:spMk id="1213" creationId="{897F1C59-B104-E769-B6DA-AF5B290FE874}"/>
          </ac:spMkLst>
        </pc:spChg>
        <pc:spChg chg="mod ord">
          <ac:chgData name="Yudi Zhu" userId="571e1a55-055f-4c28-8b35-fca6dd1c1369" providerId="ADAL" clId="{75A88773-6EE1-484E-AADE-FE631E01463B}" dt="2025-11-26T04:02:32.269" v="765490"/>
          <ac:spMkLst>
            <pc:docMk/>
            <pc:sldMk cId="3104822206" sldId="2147483105"/>
            <ac:spMk id="1214" creationId="{92E2C879-E44D-26D2-9B32-2FF5D5573E99}"/>
          </ac:spMkLst>
        </pc:spChg>
        <pc:spChg chg="mod ord">
          <ac:chgData name="Yudi Zhu" userId="571e1a55-055f-4c28-8b35-fca6dd1c1369" providerId="ADAL" clId="{75A88773-6EE1-484E-AADE-FE631E01463B}" dt="2025-11-26T04:02:32.269" v="765491"/>
          <ac:spMkLst>
            <pc:docMk/>
            <pc:sldMk cId="3104822206" sldId="2147483105"/>
            <ac:spMk id="1215" creationId="{0959939C-0A28-522F-5D60-C7E1780901F6}"/>
          </ac:spMkLst>
        </pc:spChg>
        <pc:spChg chg="mod">
          <ac:chgData name="Yudi Zhu" userId="571e1a55-055f-4c28-8b35-fca6dd1c1369" providerId="ADAL" clId="{75A88773-6EE1-484E-AADE-FE631E01463B}" dt="2025-11-26T04:02:32.264" v="765466"/>
          <ac:spMkLst>
            <pc:docMk/>
            <pc:sldMk cId="3104822206" sldId="2147483105"/>
            <ac:spMk id="1217" creationId="{25C57DA6-7F82-0F4F-AD77-F75FE99D7A67}"/>
          </ac:spMkLst>
        </pc:spChg>
        <pc:spChg chg="mod">
          <ac:chgData name="Yudi Zhu" userId="571e1a55-055f-4c28-8b35-fca6dd1c1369" providerId="ADAL" clId="{75A88773-6EE1-484E-AADE-FE631E01463B}" dt="2025-11-26T04:02:32.319" v="765578"/>
          <ac:spMkLst>
            <pc:docMk/>
            <pc:sldMk cId="3104822206" sldId="2147483105"/>
            <ac:spMk id="1446" creationId="{64AF7A77-327B-D09F-2ABB-1BA14094EC19}"/>
          </ac:spMkLst>
        </pc:spChg>
        <pc:spChg chg="mod">
          <ac:chgData name="Yudi Zhu" userId="571e1a55-055f-4c28-8b35-fca6dd1c1369" providerId="ADAL" clId="{75A88773-6EE1-484E-AADE-FE631E01463B}" dt="2025-11-26T04:02:32.319" v="765584"/>
          <ac:spMkLst>
            <pc:docMk/>
            <pc:sldMk cId="3104822206" sldId="2147483105"/>
            <ac:spMk id="1452" creationId="{62BA64F5-B2CE-CEB8-BB9B-25B44F9A2E19}"/>
          </ac:spMkLst>
        </pc:spChg>
        <pc:spChg chg="mod">
          <ac:chgData name="Yudi Zhu" userId="571e1a55-055f-4c28-8b35-fca6dd1c1369" providerId="ADAL" clId="{75A88773-6EE1-484E-AADE-FE631E01463B}" dt="2025-11-26T04:02:32.269" v="765492"/>
          <ac:spMkLst>
            <pc:docMk/>
            <pc:sldMk cId="3104822206" sldId="2147483105"/>
            <ac:spMk id="1512" creationId="{9012D06D-30C8-3209-7913-C48B67C3E815}"/>
          </ac:spMkLst>
        </pc:spChg>
        <pc:spChg chg="mod ord">
          <ac:chgData name="Yudi Zhu" userId="571e1a55-055f-4c28-8b35-fca6dd1c1369" providerId="ADAL" clId="{75A88773-6EE1-484E-AADE-FE631E01463B}" dt="2025-11-26T04:02:32.236" v="765412"/>
          <ac:spMkLst>
            <pc:docMk/>
            <pc:sldMk cId="3104822206" sldId="2147483105"/>
            <ac:spMk id="1559" creationId="{DA313038-A570-BB8A-ACAE-25EF10131FB8}"/>
          </ac:spMkLst>
        </pc:spChg>
        <pc:spChg chg="mod ord">
          <ac:chgData name="Yudi Zhu" userId="571e1a55-055f-4c28-8b35-fca6dd1c1369" providerId="ADAL" clId="{75A88773-6EE1-484E-AADE-FE631E01463B}" dt="2025-11-26T04:02:32.318" v="765577"/>
          <ac:spMkLst>
            <pc:docMk/>
            <pc:sldMk cId="3104822206" sldId="2147483105"/>
            <ac:spMk id="1617" creationId="{E0F21840-FAA8-0910-5A0A-1783C1EEA893}"/>
          </ac:spMkLst>
        </pc:spChg>
        <pc:spChg chg="mod ord">
          <ac:chgData name="Yudi Zhu" userId="571e1a55-055f-4c28-8b35-fca6dd1c1369" providerId="ADAL" clId="{75A88773-6EE1-484E-AADE-FE631E01463B}" dt="2025-11-26T04:02:32.319" v="765583"/>
          <ac:spMkLst>
            <pc:docMk/>
            <pc:sldMk cId="3104822206" sldId="2147483105"/>
            <ac:spMk id="1620" creationId="{5CD6022B-B922-FB56-D45F-6C4B0E806047}"/>
          </ac:spMkLst>
        </pc:spChg>
        <pc:spChg chg="mod ord">
          <ac:chgData name="Yudi Zhu" userId="571e1a55-055f-4c28-8b35-fca6dd1c1369" providerId="ADAL" clId="{75A88773-6EE1-484E-AADE-FE631E01463B}" dt="2025-11-26T04:02:32.319" v="765586"/>
          <ac:spMkLst>
            <pc:docMk/>
            <pc:sldMk cId="3104822206" sldId="2147483105"/>
            <ac:spMk id="1630" creationId="{E05CDD48-0DEC-9132-BDFB-46D714F23D3B}"/>
          </ac:spMkLst>
        </pc:spChg>
        <pc:spChg chg="mod ord">
          <ac:chgData name="Yudi Zhu" userId="571e1a55-055f-4c28-8b35-fca6dd1c1369" providerId="ADAL" clId="{75A88773-6EE1-484E-AADE-FE631E01463B}" dt="2025-11-26T04:02:32.319" v="765596"/>
          <ac:spMkLst>
            <pc:docMk/>
            <pc:sldMk cId="3104822206" sldId="2147483105"/>
            <ac:spMk id="1853" creationId="{542A60AE-B3A7-55CE-F714-DC2AD831C173}"/>
          </ac:spMkLst>
        </pc:spChg>
        <pc:spChg chg="mod ord">
          <ac:chgData name="Yudi Zhu" userId="571e1a55-055f-4c28-8b35-fca6dd1c1369" providerId="ADAL" clId="{75A88773-6EE1-484E-AADE-FE631E01463B}" dt="2025-11-26T04:02:32.319" v="765599"/>
          <ac:spMkLst>
            <pc:docMk/>
            <pc:sldMk cId="3104822206" sldId="2147483105"/>
            <ac:spMk id="1854" creationId="{4E1BFB1E-6485-A062-B5BB-5B285C6BD15C}"/>
          </ac:spMkLst>
        </pc:spChg>
        <pc:spChg chg="mod">
          <ac:chgData name="Yudi Zhu" userId="571e1a55-055f-4c28-8b35-fca6dd1c1369" providerId="ADAL" clId="{75A88773-6EE1-484E-AADE-FE631E01463B}" dt="2025-11-26T04:02:32.319" v="765601"/>
          <ac:spMkLst>
            <pc:docMk/>
            <pc:sldMk cId="3104822206" sldId="2147483105"/>
            <ac:spMk id="1855" creationId="{1BE56B6A-3C30-4B59-A6C7-170064E01044}"/>
          </ac:spMkLst>
        </pc:spChg>
        <pc:spChg chg="add mod">
          <ac:chgData name="Yudi Zhu" userId="571e1a55-055f-4c28-8b35-fca6dd1c1369" providerId="ADAL" clId="{75A88773-6EE1-484E-AADE-FE631E01463B}" dt="2025-11-26T04:02:32.312" v="765562"/>
          <ac:spMkLst>
            <pc:docMk/>
            <pc:sldMk cId="3104822206" sldId="2147483105"/>
            <ac:spMk id="1856" creationId="{01D831BE-A69C-D8D5-0C24-18BF0249D805}"/>
          </ac:spMkLst>
        </pc:spChg>
        <pc:spChg chg="add del mod modVis">
          <ac:chgData name="Yudi Zhu" userId="571e1a55-055f-4c28-8b35-fca6dd1c1369" providerId="ADAL" clId="{75A88773-6EE1-484E-AADE-FE631E01463B}" dt="2025-11-26T04:01:21.156" v="758558"/>
          <ac:spMkLst>
            <pc:docMk/>
            <pc:sldMk cId="3104822206" sldId="2147483105"/>
            <ac:spMk id="1857" creationId="{FC1384C7-7A3D-9CB2-3C21-7D82F660093C}"/>
          </ac:spMkLst>
        </pc:spChg>
        <pc:spChg chg="add del mod modVis">
          <ac:chgData name="Yudi Zhu" userId="571e1a55-055f-4c28-8b35-fca6dd1c1369" providerId="ADAL" clId="{75A88773-6EE1-484E-AADE-FE631E01463B}" dt="2025-11-26T04:01:23.817" v="759044"/>
          <ac:spMkLst>
            <pc:docMk/>
            <pc:sldMk cId="3104822206" sldId="2147483105"/>
            <ac:spMk id="1859" creationId="{C003AE43-CF9D-2806-812B-06DF413AD8A5}"/>
          </ac:spMkLst>
        </pc:spChg>
        <pc:spChg chg="add del mod modVis">
          <ac:chgData name="Yudi Zhu" userId="571e1a55-055f-4c28-8b35-fca6dd1c1369" providerId="ADAL" clId="{75A88773-6EE1-484E-AADE-FE631E01463B}" dt="2025-11-26T04:01:39.050" v="760107"/>
          <ac:spMkLst>
            <pc:docMk/>
            <pc:sldMk cId="3104822206" sldId="2147483105"/>
            <ac:spMk id="1861" creationId="{285360B2-5472-AB58-2873-99C70CEA01B9}"/>
          </ac:spMkLst>
        </pc:spChg>
        <pc:spChg chg="mod">
          <ac:chgData name="Yudi Zhu" userId="571e1a55-055f-4c28-8b35-fca6dd1c1369" providerId="ADAL" clId="{75A88773-6EE1-484E-AADE-FE631E01463B}" dt="2025-11-26T04:02:32.369" v="765729"/>
          <ac:spMkLst>
            <pc:docMk/>
            <pc:sldMk cId="3104822206" sldId="2147483105"/>
            <ac:spMk id="1868" creationId="{D517B235-34AE-0C88-574E-EE674E6E106A}"/>
          </ac:spMkLst>
        </pc:spChg>
        <pc:spChg chg="mod ord">
          <ac:chgData name="Yudi Zhu" userId="571e1a55-055f-4c28-8b35-fca6dd1c1369" providerId="ADAL" clId="{75A88773-6EE1-484E-AADE-FE631E01463B}" dt="2025-11-26T04:02:32.369" v="765739"/>
          <ac:spMkLst>
            <pc:docMk/>
            <pc:sldMk cId="3104822206" sldId="2147483105"/>
            <ac:spMk id="1870" creationId="{C6E07732-9031-9168-BFB0-CEF03BD54EC3}"/>
          </ac:spMkLst>
        </pc:spChg>
        <pc:spChg chg="mod">
          <ac:chgData name="Yudi Zhu" userId="571e1a55-055f-4c28-8b35-fca6dd1c1369" providerId="ADAL" clId="{75A88773-6EE1-484E-AADE-FE631E01463B}" dt="2025-11-26T04:02:32.353" v="765714"/>
          <ac:spMkLst>
            <pc:docMk/>
            <pc:sldMk cId="3104822206" sldId="2147483105"/>
            <ac:spMk id="1871" creationId="{88E6662D-0776-7053-4A00-AC49E629CB98}"/>
          </ac:spMkLst>
        </pc:spChg>
        <pc:spChg chg="mod">
          <ac:chgData name="Yudi Zhu" userId="571e1a55-055f-4c28-8b35-fca6dd1c1369" providerId="ADAL" clId="{75A88773-6EE1-484E-AADE-FE631E01463B}" dt="2025-11-26T04:02:32.369" v="765740"/>
          <ac:spMkLst>
            <pc:docMk/>
            <pc:sldMk cId="3104822206" sldId="2147483105"/>
            <ac:spMk id="1872" creationId="{09AB5DCE-0365-9D0D-3880-236DD3DFA061}"/>
          </ac:spMkLst>
        </pc:spChg>
        <pc:spChg chg="mod ord">
          <ac:chgData name="Yudi Zhu" userId="571e1a55-055f-4c28-8b35-fca6dd1c1369" providerId="ADAL" clId="{75A88773-6EE1-484E-AADE-FE631E01463B}" dt="2025-11-26T04:02:32.353" v="765716"/>
          <ac:spMkLst>
            <pc:docMk/>
            <pc:sldMk cId="3104822206" sldId="2147483105"/>
            <ac:spMk id="1873" creationId="{05407D80-E416-6E11-84C7-DD78FC13A95D}"/>
          </ac:spMkLst>
        </pc:spChg>
        <pc:spChg chg="mod">
          <ac:chgData name="Yudi Zhu" userId="571e1a55-055f-4c28-8b35-fca6dd1c1369" providerId="ADAL" clId="{75A88773-6EE1-484E-AADE-FE631E01463B}" dt="2025-11-26T04:02:32.369" v="765747"/>
          <ac:spMkLst>
            <pc:docMk/>
            <pc:sldMk cId="3104822206" sldId="2147483105"/>
            <ac:spMk id="1874" creationId="{C78E0AD3-36D9-095B-2798-4F5FE0BC4885}"/>
          </ac:spMkLst>
        </pc:spChg>
        <pc:spChg chg="mod">
          <ac:chgData name="Yudi Zhu" userId="571e1a55-055f-4c28-8b35-fca6dd1c1369" providerId="ADAL" clId="{75A88773-6EE1-484E-AADE-FE631E01463B}" dt="2025-11-26T04:02:32.400" v="765787"/>
          <ac:spMkLst>
            <pc:docMk/>
            <pc:sldMk cId="3104822206" sldId="2147483105"/>
            <ac:spMk id="1875" creationId="{0CCFA2B6-0C72-5E6F-55EA-74947500111E}"/>
          </ac:spMkLst>
        </pc:spChg>
        <pc:spChg chg="mod ord">
          <ac:chgData name="Yudi Zhu" userId="571e1a55-055f-4c28-8b35-fca6dd1c1369" providerId="ADAL" clId="{75A88773-6EE1-484E-AADE-FE631E01463B}" dt="2025-11-26T04:02:32.369" v="765731"/>
          <ac:spMkLst>
            <pc:docMk/>
            <pc:sldMk cId="3104822206" sldId="2147483105"/>
            <ac:spMk id="1876" creationId="{30D492D9-5BDD-171C-A10A-02BDAD3A9C9A}"/>
          </ac:spMkLst>
        </pc:spChg>
        <pc:spChg chg="mod ord">
          <ac:chgData name="Yudi Zhu" userId="571e1a55-055f-4c28-8b35-fca6dd1c1369" providerId="ADAL" clId="{75A88773-6EE1-484E-AADE-FE631E01463B}" dt="2025-11-26T04:02:32.369" v="765746"/>
          <ac:spMkLst>
            <pc:docMk/>
            <pc:sldMk cId="3104822206" sldId="2147483105"/>
            <ac:spMk id="1877" creationId="{EF6689EC-B591-6AF1-C4EC-3227A6F667A9}"/>
          </ac:spMkLst>
        </pc:spChg>
        <pc:spChg chg="mod">
          <ac:chgData name="Yudi Zhu" userId="571e1a55-055f-4c28-8b35-fca6dd1c1369" providerId="ADAL" clId="{75A88773-6EE1-484E-AADE-FE631E01463B}" dt="2025-11-26T04:02:32.369" v="765748"/>
          <ac:spMkLst>
            <pc:docMk/>
            <pc:sldMk cId="3104822206" sldId="2147483105"/>
            <ac:spMk id="1878" creationId="{8365F0EE-90DC-3C07-287A-94B206AADA28}"/>
          </ac:spMkLst>
        </pc:spChg>
        <pc:spChg chg="mod">
          <ac:chgData name="Yudi Zhu" userId="571e1a55-055f-4c28-8b35-fca6dd1c1369" providerId="ADAL" clId="{75A88773-6EE1-484E-AADE-FE631E01463B}" dt="2025-11-26T04:02:32.386" v="765758"/>
          <ac:spMkLst>
            <pc:docMk/>
            <pc:sldMk cId="3104822206" sldId="2147483105"/>
            <ac:spMk id="1879" creationId="{8FADCA6A-0D3C-3458-0D6D-4974113153D6}"/>
          </ac:spMkLst>
        </pc:spChg>
        <pc:spChg chg="mod">
          <ac:chgData name="Yudi Zhu" userId="571e1a55-055f-4c28-8b35-fca6dd1c1369" providerId="ADAL" clId="{75A88773-6EE1-484E-AADE-FE631E01463B}" dt="2025-11-26T04:02:32.319" v="765594"/>
          <ac:spMkLst>
            <pc:docMk/>
            <pc:sldMk cId="3104822206" sldId="2147483105"/>
            <ac:spMk id="1880" creationId="{4B9753A8-D625-4D4F-29EB-DB60BCAC028E}"/>
          </ac:spMkLst>
        </pc:spChg>
        <pc:spChg chg="mod">
          <ac:chgData name="Yudi Zhu" userId="571e1a55-055f-4c28-8b35-fca6dd1c1369" providerId="ADAL" clId="{75A88773-6EE1-484E-AADE-FE631E01463B}" dt="2025-11-26T04:02:32.369" v="765735"/>
          <ac:spMkLst>
            <pc:docMk/>
            <pc:sldMk cId="3104822206" sldId="2147483105"/>
            <ac:spMk id="1881" creationId="{08716696-DF0E-ED84-2AFA-2C9F7E84F462}"/>
          </ac:spMkLst>
        </pc:spChg>
        <pc:spChg chg="mod">
          <ac:chgData name="Yudi Zhu" userId="571e1a55-055f-4c28-8b35-fca6dd1c1369" providerId="ADAL" clId="{75A88773-6EE1-484E-AADE-FE631E01463B}" dt="2025-11-26T04:02:32.319" v="765597"/>
          <ac:spMkLst>
            <pc:docMk/>
            <pc:sldMk cId="3104822206" sldId="2147483105"/>
            <ac:spMk id="1882" creationId="{226A4E37-E112-9678-9034-CF8BCA141FDE}"/>
          </ac:spMkLst>
        </pc:spChg>
        <pc:spChg chg="mod">
          <ac:chgData name="Yudi Zhu" userId="571e1a55-055f-4c28-8b35-fca6dd1c1369" providerId="ADAL" clId="{75A88773-6EE1-484E-AADE-FE631E01463B}" dt="2025-11-26T04:02:32.319" v="765600"/>
          <ac:spMkLst>
            <pc:docMk/>
            <pc:sldMk cId="3104822206" sldId="2147483105"/>
            <ac:spMk id="1883" creationId="{929925F6-0E93-EC22-B300-E21F72946F4C}"/>
          </ac:spMkLst>
        </pc:spChg>
        <pc:spChg chg="mod">
          <ac:chgData name="Yudi Zhu" userId="571e1a55-055f-4c28-8b35-fca6dd1c1369" providerId="ADAL" clId="{75A88773-6EE1-484E-AADE-FE631E01463B}" dt="2025-11-26T04:02:32.319" v="765602"/>
          <ac:spMkLst>
            <pc:docMk/>
            <pc:sldMk cId="3104822206" sldId="2147483105"/>
            <ac:spMk id="1884" creationId="{7D8DCB6C-4AAA-0195-9FB6-084C41ED8B42}"/>
          </ac:spMkLst>
        </pc:spChg>
        <pc:spChg chg="mod">
          <ac:chgData name="Yudi Zhu" userId="571e1a55-055f-4c28-8b35-fca6dd1c1369" providerId="ADAL" clId="{75A88773-6EE1-484E-AADE-FE631E01463B}" dt="2025-11-26T04:02:32.386" v="765759"/>
          <ac:spMkLst>
            <pc:docMk/>
            <pc:sldMk cId="3104822206" sldId="2147483105"/>
            <ac:spMk id="1885" creationId="{E7F286C7-2CCE-DF57-5848-56017BDA4A58}"/>
          </ac:spMkLst>
        </pc:spChg>
        <pc:spChg chg="mod">
          <ac:chgData name="Yudi Zhu" userId="571e1a55-055f-4c28-8b35-fca6dd1c1369" providerId="ADAL" clId="{75A88773-6EE1-484E-AADE-FE631E01463B}" dt="2025-11-26T04:02:32.386" v="765765"/>
          <ac:spMkLst>
            <pc:docMk/>
            <pc:sldMk cId="3104822206" sldId="2147483105"/>
            <ac:spMk id="1886" creationId="{956B8C20-51FE-937D-8B3F-ED50A9704246}"/>
          </ac:spMkLst>
        </pc:spChg>
        <pc:spChg chg="mod ord">
          <ac:chgData name="Yudi Zhu" userId="571e1a55-055f-4c28-8b35-fca6dd1c1369" providerId="ADAL" clId="{75A88773-6EE1-484E-AADE-FE631E01463B}" dt="2025-11-26T04:02:32.386" v="765767"/>
          <ac:spMkLst>
            <pc:docMk/>
            <pc:sldMk cId="3104822206" sldId="2147483105"/>
            <ac:spMk id="1887" creationId="{3505B40A-A35F-45C7-8F2D-FD3AF84F0164}"/>
          </ac:spMkLst>
        </pc:spChg>
        <pc:spChg chg="mod">
          <ac:chgData name="Yudi Zhu" userId="571e1a55-055f-4c28-8b35-fca6dd1c1369" providerId="ADAL" clId="{75A88773-6EE1-484E-AADE-FE631E01463B}" dt="2025-11-26T04:02:32.386" v="765774"/>
          <ac:spMkLst>
            <pc:docMk/>
            <pc:sldMk cId="3104822206" sldId="2147483105"/>
            <ac:spMk id="1889" creationId="{5C1A9586-BBAB-1982-558D-BDE434FF3DE0}"/>
          </ac:spMkLst>
        </pc:spChg>
        <pc:spChg chg="mod ord">
          <ac:chgData name="Yudi Zhu" userId="571e1a55-055f-4c28-8b35-fca6dd1c1369" providerId="ADAL" clId="{75A88773-6EE1-484E-AADE-FE631E01463B}" dt="2025-11-26T04:02:32.353" v="765720"/>
          <ac:spMkLst>
            <pc:docMk/>
            <pc:sldMk cId="3104822206" sldId="2147483105"/>
            <ac:spMk id="1890" creationId="{A0D250D8-7915-2211-F695-A7C95122C779}"/>
          </ac:spMkLst>
        </pc:spChg>
        <pc:spChg chg="mod ord">
          <ac:chgData name="Yudi Zhu" userId="571e1a55-055f-4c28-8b35-fca6dd1c1369" providerId="ADAL" clId="{75A88773-6EE1-484E-AADE-FE631E01463B}" dt="2025-11-26T04:02:32.386" v="765776"/>
          <ac:spMkLst>
            <pc:docMk/>
            <pc:sldMk cId="3104822206" sldId="2147483105"/>
            <ac:spMk id="1891" creationId="{DDB59E46-B3D0-DBF1-3D2D-D4343AC8894F}"/>
          </ac:spMkLst>
        </pc:spChg>
        <pc:spChg chg="mod ord">
          <ac:chgData name="Yudi Zhu" userId="571e1a55-055f-4c28-8b35-fca6dd1c1369" providerId="ADAL" clId="{75A88773-6EE1-484E-AADE-FE631E01463B}" dt="2025-11-26T04:02:32.386" v="765782"/>
          <ac:spMkLst>
            <pc:docMk/>
            <pc:sldMk cId="3104822206" sldId="2147483105"/>
            <ac:spMk id="1892" creationId="{C37B7ED7-4EBB-6773-ED9A-6A67640B094A}"/>
          </ac:spMkLst>
        </pc:spChg>
        <pc:spChg chg="mod">
          <ac:chgData name="Yudi Zhu" userId="571e1a55-055f-4c28-8b35-fca6dd1c1369" providerId="ADAL" clId="{75A88773-6EE1-484E-AADE-FE631E01463B}" dt="2025-11-26T04:02:32.386" v="765783"/>
          <ac:spMkLst>
            <pc:docMk/>
            <pc:sldMk cId="3104822206" sldId="2147483105"/>
            <ac:spMk id="1893" creationId="{E0E6EB9C-DE28-14B6-3D4A-624AC9CC823B}"/>
          </ac:spMkLst>
        </pc:spChg>
        <pc:spChg chg="mod">
          <ac:chgData name="Yudi Zhu" userId="571e1a55-055f-4c28-8b35-fca6dd1c1369" providerId="ADAL" clId="{75A88773-6EE1-484E-AADE-FE631E01463B}" dt="2025-11-26T04:02:32.353" v="765717"/>
          <ac:spMkLst>
            <pc:docMk/>
            <pc:sldMk cId="3104822206" sldId="2147483105"/>
            <ac:spMk id="1894" creationId="{8077CC67-114E-440D-72A2-735F5CE7AAD4}"/>
          </ac:spMkLst>
        </pc:spChg>
        <pc:spChg chg="mod ord">
          <ac:chgData name="Yudi Zhu" userId="571e1a55-055f-4c28-8b35-fca6dd1c1369" providerId="ADAL" clId="{75A88773-6EE1-484E-AADE-FE631E01463B}" dt="2025-11-26T04:02:32.369" v="765728"/>
          <ac:spMkLst>
            <pc:docMk/>
            <pc:sldMk cId="3104822206" sldId="2147483105"/>
            <ac:spMk id="1896" creationId="{A0DF08CB-77C3-AF09-DD50-ECBA6C70CD31}"/>
          </ac:spMkLst>
        </pc:spChg>
        <pc:spChg chg="mod ord">
          <ac:chgData name="Yudi Zhu" userId="571e1a55-055f-4c28-8b35-fca6dd1c1369" providerId="ADAL" clId="{75A88773-6EE1-484E-AADE-FE631E01463B}" dt="2025-11-26T04:02:32.400" v="765789"/>
          <ac:spMkLst>
            <pc:docMk/>
            <pc:sldMk cId="3104822206" sldId="2147483105"/>
            <ac:spMk id="1897" creationId="{7E61645E-D4DE-1737-7C85-F151A4F78B3A}"/>
          </ac:spMkLst>
        </pc:spChg>
        <pc:spChg chg="mod ord">
          <ac:chgData name="Yudi Zhu" userId="571e1a55-055f-4c28-8b35-fca6dd1c1369" providerId="ADAL" clId="{75A88773-6EE1-484E-AADE-FE631E01463B}" dt="2025-11-26T04:02:32.403" v="765791"/>
          <ac:spMkLst>
            <pc:docMk/>
            <pc:sldMk cId="3104822206" sldId="2147483105"/>
            <ac:spMk id="1898" creationId="{50793C40-3217-B638-6CF8-06766F96E06F}"/>
          </ac:spMkLst>
        </pc:spChg>
        <pc:spChg chg="mod">
          <ac:chgData name="Yudi Zhu" userId="571e1a55-055f-4c28-8b35-fca6dd1c1369" providerId="ADAL" clId="{75A88773-6EE1-484E-AADE-FE631E01463B}" dt="2025-11-26T04:02:32.405" v="765798"/>
          <ac:spMkLst>
            <pc:docMk/>
            <pc:sldMk cId="3104822206" sldId="2147483105"/>
            <ac:spMk id="1899" creationId="{35F861E0-E670-1833-A66F-B9FC34A0216A}"/>
          </ac:spMkLst>
        </pc:spChg>
        <pc:spChg chg="mod">
          <ac:chgData name="Yudi Zhu" userId="571e1a55-055f-4c28-8b35-fca6dd1c1369" providerId="ADAL" clId="{75A88773-6EE1-484E-AADE-FE631E01463B}" dt="2025-11-26T04:02:32.405" v="765799"/>
          <ac:spMkLst>
            <pc:docMk/>
            <pc:sldMk cId="3104822206" sldId="2147483105"/>
            <ac:spMk id="1900" creationId="{66A09093-1895-D3C6-4933-8D3795C3DE61}"/>
          </ac:spMkLst>
        </pc:spChg>
        <pc:spChg chg="mod">
          <ac:chgData name="Yudi Zhu" userId="571e1a55-055f-4c28-8b35-fca6dd1c1369" providerId="ADAL" clId="{75A88773-6EE1-484E-AADE-FE631E01463B}" dt="2025-11-26T04:02:32.405" v="765800"/>
          <ac:spMkLst>
            <pc:docMk/>
            <pc:sldMk cId="3104822206" sldId="2147483105"/>
            <ac:spMk id="1905" creationId="{4156B008-6D61-B92C-2524-4B32E6E7E8B7}"/>
          </ac:spMkLst>
        </pc:spChg>
        <pc:spChg chg="mod">
          <ac:chgData name="Yudi Zhu" userId="571e1a55-055f-4c28-8b35-fca6dd1c1369" providerId="ADAL" clId="{75A88773-6EE1-484E-AADE-FE631E01463B}" dt="2025-11-26T04:02:32.405" v="765801"/>
          <ac:spMkLst>
            <pc:docMk/>
            <pc:sldMk cId="3104822206" sldId="2147483105"/>
            <ac:spMk id="1906" creationId="{0E609E70-D654-E093-CABC-E441DF9087D7}"/>
          </ac:spMkLst>
        </pc:spChg>
        <pc:spChg chg="mod">
          <ac:chgData name="Yudi Zhu" userId="571e1a55-055f-4c28-8b35-fca6dd1c1369" providerId="ADAL" clId="{75A88773-6EE1-484E-AADE-FE631E01463B}" dt="2025-11-26T04:02:32.405" v="765802"/>
          <ac:spMkLst>
            <pc:docMk/>
            <pc:sldMk cId="3104822206" sldId="2147483105"/>
            <ac:spMk id="1907" creationId="{48297C37-4A2A-B186-8641-4658A474097B}"/>
          </ac:spMkLst>
        </pc:spChg>
        <pc:spChg chg="mod ord">
          <ac:chgData name="Yudi Zhu" userId="571e1a55-055f-4c28-8b35-fca6dd1c1369" providerId="ADAL" clId="{75A88773-6EE1-484E-AADE-FE631E01463B}" dt="2025-11-26T04:02:32.369" v="765726"/>
          <ac:spMkLst>
            <pc:docMk/>
            <pc:sldMk cId="3104822206" sldId="2147483105"/>
            <ac:spMk id="1911" creationId="{5B56FCE9-40A0-6DB6-DE94-BB939049C5E6}"/>
          </ac:spMkLst>
        </pc:spChg>
        <pc:spChg chg="mod">
          <ac:chgData name="Yudi Zhu" userId="571e1a55-055f-4c28-8b35-fca6dd1c1369" providerId="ADAL" clId="{75A88773-6EE1-484E-AADE-FE631E01463B}" dt="2025-11-26T04:02:32.366" v="765724"/>
          <ac:spMkLst>
            <pc:docMk/>
            <pc:sldMk cId="3104822206" sldId="2147483105"/>
            <ac:spMk id="1912" creationId="{4BA3AAFE-425B-0FE9-F37C-6372EE6EF387}"/>
          </ac:spMkLst>
        </pc:spChg>
        <pc:spChg chg="mod">
          <ac:chgData name="Yudi Zhu" userId="571e1a55-055f-4c28-8b35-fca6dd1c1369" providerId="ADAL" clId="{75A88773-6EE1-484E-AADE-FE631E01463B}" dt="2025-11-26T04:02:32.353" v="765718"/>
          <ac:spMkLst>
            <pc:docMk/>
            <pc:sldMk cId="3104822206" sldId="2147483105"/>
            <ac:spMk id="1913" creationId="{EAFD658F-06C7-F532-5625-5D9375F58080}"/>
          </ac:spMkLst>
        </pc:spChg>
        <pc:spChg chg="mod">
          <ac:chgData name="Yudi Zhu" userId="571e1a55-055f-4c28-8b35-fca6dd1c1369" providerId="ADAL" clId="{75A88773-6EE1-484E-AADE-FE631E01463B}" dt="2025-11-26T04:02:32.369" v="765743"/>
          <ac:spMkLst>
            <pc:docMk/>
            <pc:sldMk cId="3104822206" sldId="2147483105"/>
            <ac:spMk id="1914" creationId="{BD8D97C7-D102-EA5B-14FE-83D8616F578E}"/>
          </ac:spMkLst>
        </pc:spChg>
        <pc:spChg chg="mod">
          <ac:chgData name="Yudi Zhu" userId="571e1a55-055f-4c28-8b35-fca6dd1c1369" providerId="ADAL" clId="{75A88773-6EE1-484E-AADE-FE631E01463B}" dt="2025-11-26T04:02:32.369" v="765741"/>
          <ac:spMkLst>
            <pc:docMk/>
            <pc:sldMk cId="3104822206" sldId="2147483105"/>
            <ac:spMk id="1917" creationId="{151EFE26-6235-2295-A10E-FF7300A2E6EA}"/>
          </ac:spMkLst>
        </pc:spChg>
        <pc:spChg chg="mod">
          <ac:chgData name="Yudi Zhu" userId="571e1a55-055f-4c28-8b35-fca6dd1c1369" providerId="ADAL" clId="{75A88773-6EE1-484E-AADE-FE631E01463B}" dt="2025-11-26T04:02:32.369" v="765737"/>
          <ac:spMkLst>
            <pc:docMk/>
            <pc:sldMk cId="3104822206" sldId="2147483105"/>
            <ac:spMk id="1918" creationId="{F7FFD5AC-6408-3AD4-A244-A3C8BA6B9DA4}"/>
          </ac:spMkLst>
        </pc:spChg>
        <pc:spChg chg="mod">
          <ac:chgData name="Yudi Zhu" userId="571e1a55-055f-4c28-8b35-fca6dd1c1369" providerId="ADAL" clId="{75A88773-6EE1-484E-AADE-FE631E01463B}" dt="2025-11-26T04:02:32.386" v="765757"/>
          <ac:spMkLst>
            <pc:docMk/>
            <pc:sldMk cId="3104822206" sldId="2147483105"/>
            <ac:spMk id="1920" creationId="{C0C96CC1-849D-C47F-3011-B0A9D1D4E46A}"/>
          </ac:spMkLst>
        </pc:spChg>
        <pc:spChg chg="mod">
          <ac:chgData name="Yudi Zhu" userId="571e1a55-055f-4c28-8b35-fca6dd1c1369" providerId="ADAL" clId="{75A88773-6EE1-484E-AADE-FE631E01463B}" dt="2025-11-26T04:02:32.382" v="765756"/>
          <ac:spMkLst>
            <pc:docMk/>
            <pc:sldMk cId="3104822206" sldId="2147483105"/>
            <ac:spMk id="1921" creationId="{699F3721-4FDE-B4E5-B0C4-A7324B1A6704}"/>
          </ac:spMkLst>
        </pc:spChg>
        <pc:spChg chg="mod ord">
          <ac:chgData name="Yudi Zhu" userId="571e1a55-055f-4c28-8b35-fca6dd1c1369" providerId="ADAL" clId="{75A88773-6EE1-484E-AADE-FE631E01463B}" dt="2025-11-26T04:02:32.369" v="765750"/>
          <ac:spMkLst>
            <pc:docMk/>
            <pc:sldMk cId="3104822206" sldId="2147483105"/>
            <ac:spMk id="1922" creationId="{A9B3259F-B65B-1C87-8132-D8E45EDDAC6A}"/>
          </ac:spMkLst>
        </pc:spChg>
        <pc:spChg chg="mod">
          <ac:chgData name="Yudi Zhu" userId="571e1a55-055f-4c28-8b35-fca6dd1c1369" providerId="ADAL" clId="{75A88773-6EE1-484E-AADE-FE631E01463B}" dt="2025-11-26T04:02:32.386" v="765764"/>
          <ac:spMkLst>
            <pc:docMk/>
            <pc:sldMk cId="3104822206" sldId="2147483105"/>
            <ac:spMk id="1923" creationId="{95028E2A-B9BC-DEC6-9A2E-050FDA19E099}"/>
          </ac:spMkLst>
        </pc:spChg>
        <pc:spChg chg="mod ord">
          <ac:chgData name="Yudi Zhu" userId="571e1a55-055f-4c28-8b35-fca6dd1c1369" providerId="ADAL" clId="{75A88773-6EE1-484E-AADE-FE631E01463B}" dt="2025-11-26T04:02:32.386" v="765763"/>
          <ac:spMkLst>
            <pc:docMk/>
            <pc:sldMk cId="3104822206" sldId="2147483105"/>
            <ac:spMk id="1924" creationId="{90545DD3-659F-D754-8837-27C997A85952}"/>
          </ac:spMkLst>
        </pc:spChg>
        <pc:spChg chg="mod ord">
          <ac:chgData name="Yudi Zhu" userId="571e1a55-055f-4c28-8b35-fca6dd1c1369" providerId="ADAL" clId="{75A88773-6EE1-484E-AADE-FE631E01463B}" dt="2025-11-26T04:02:32.386" v="765761"/>
          <ac:spMkLst>
            <pc:docMk/>
            <pc:sldMk cId="3104822206" sldId="2147483105"/>
            <ac:spMk id="1925" creationId="{3485C98C-7F6A-4103-CB05-09FDBE33F85D}"/>
          </ac:spMkLst>
        </pc:spChg>
        <pc:spChg chg="mod">
          <ac:chgData name="Yudi Zhu" userId="571e1a55-055f-4c28-8b35-fca6dd1c1369" providerId="ADAL" clId="{75A88773-6EE1-484E-AADE-FE631E01463B}" dt="2025-11-26T04:02:32.386" v="765773"/>
          <ac:spMkLst>
            <pc:docMk/>
            <pc:sldMk cId="3104822206" sldId="2147483105"/>
            <ac:spMk id="1926" creationId="{40A97F92-77F9-D634-083D-B75C1A67E2A8}"/>
          </ac:spMkLst>
        </pc:spChg>
        <pc:spChg chg="mod ord">
          <ac:chgData name="Yudi Zhu" userId="571e1a55-055f-4c28-8b35-fca6dd1c1369" providerId="ADAL" clId="{75A88773-6EE1-484E-AADE-FE631E01463B}" dt="2025-11-26T04:02:32.386" v="765771"/>
          <ac:spMkLst>
            <pc:docMk/>
            <pc:sldMk cId="3104822206" sldId="2147483105"/>
            <ac:spMk id="1927" creationId="{4D8A25B8-F747-13B9-00B1-74E9ECE446A3}"/>
          </ac:spMkLst>
        </pc:spChg>
        <pc:spChg chg="mod">
          <ac:chgData name="Yudi Zhu" userId="571e1a55-055f-4c28-8b35-fca6dd1c1369" providerId="ADAL" clId="{75A88773-6EE1-484E-AADE-FE631E01463B}" dt="2025-11-26T04:02:32.386" v="765769"/>
          <ac:spMkLst>
            <pc:docMk/>
            <pc:sldMk cId="3104822206" sldId="2147483105"/>
            <ac:spMk id="1928" creationId="{ADE6BD44-08A7-C077-246D-6A1B8E33A367}"/>
          </ac:spMkLst>
        </pc:spChg>
        <pc:spChg chg="mod">
          <ac:chgData name="Yudi Zhu" userId="571e1a55-055f-4c28-8b35-fca6dd1c1369" providerId="ADAL" clId="{75A88773-6EE1-484E-AADE-FE631E01463B}" dt="2025-11-26T04:02:32.386" v="765780"/>
          <ac:spMkLst>
            <pc:docMk/>
            <pc:sldMk cId="3104822206" sldId="2147483105"/>
            <ac:spMk id="1929" creationId="{2BA62A35-183B-B661-2347-DD78A0764786}"/>
          </ac:spMkLst>
        </pc:spChg>
        <pc:spChg chg="mod">
          <ac:chgData name="Yudi Zhu" userId="571e1a55-055f-4c28-8b35-fca6dd1c1369" providerId="ADAL" clId="{75A88773-6EE1-484E-AADE-FE631E01463B}" dt="2025-11-26T04:02:32.386" v="765779"/>
          <ac:spMkLst>
            <pc:docMk/>
            <pc:sldMk cId="3104822206" sldId="2147483105"/>
            <ac:spMk id="1930" creationId="{F2909F36-E45F-A4F3-D879-823A37455F98}"/>
          </ac:spMkLst>
        </pc:spChg>
        <pc:spChg chg="mod ord">
          <ac:chgData name="Yudi Zhu" userId="571e1a55-055f-4c28-8b35-fca6dd1c1369" providerId="ADAL" clId="{75A88773-6EE1-484E-AADE-FE631E01463B}" dt="2025-11-26T04:02:32.386" v="765778"/>
          <ac:spMkLst>
            <pc:docMk/>
            <pc:sldMk cId="3104822206" sldId="2147483105"/>
            <ac:spMk id="1931" creationId="{85F6D3EE-7D32-B4F2-506D-26DA59EA740A}"/>
          </ac:spMkLst>
        </pc:spChg>
        <pc:spChg chg="mod">
          <ac:chgData name="Yudi Zhu" userId="571e1a55-055f-4c28-8b35-fca6dd1c1369" providerId="ADAL" clId="{75A88773-6EE1-484E-AADE-FE631E01463B}" dt="2025-11-26T04:02:32.386" v="765768"/>
          <ac:spMkLst>
            <pc:docMk/>
            <pc:sldMk cId="3104822206" sldId="2147483105"/>
            <ac:spMk id="1932" creationId="{870F128C-4204-436C-15CB-2F061BDDC964}"/>
          </ac:spMkLst>
        </pc:spChg>
        <pc:spChg chg="mod ord">
          <ac:chgData name="Yudi Zhu" userId="571e1a55-055f-4c28-8b35-fca6dd1c1369" providerId="ADAL" clId="{75A88773-6EE1-484E-AADE-FE631E01463B}" dt="2025-11-26T04:02:32.400" v="765786"/>
          <ac:spMkLst>
            <pc:docMk/>
            <pc:sldMk cId="3104822206" sldId="2147483105"/>
            <ac:spMk id="1933" creationId="{DF51D229-C6DB-4285-4680-002C8CD3AEEE}"/>
          </ac:spMkLst>
        </pc:spChg>
        <pc:spChg chg="mod">
          <ac:chgData name="Yudi Zhu" userId="571e1a55-055f-4c28-8b35-fca6dd1c1369" providerId="ADAL" clId="{75A88773-6EE1-484E-AADE-FE631E01463B}" dt="2025-11-26T04:02:32.398" v="765784"/>
          <ac:spMkLst>
            <pc:docMk/>
            <pc:sldMk cId="3104822206" sldId="2147483105"/>
            <ac:spMk id="1934" creationId="{AC51F0AD-1BDA-29CF-4190-73CECF6F9CA3}"/>
          </ac:spMkLst>
        </pc:spChg>
        <pc:spChg chg="mod">
          <ac:chgData name="Yudi Zhu" userId="571e1a55-055f-4c28-8b35-fca6dd1c1369" providerId="ADAL" clId="{75A88773-6EE1-484E-AADE-FE631E01463B}" dt="2025-11-26T04:02:32.369" v="765725"/>
          <ac:spMkLst>
            <pc:docMk/>
            <pc:sldMk cId="3104822206" sldId="2147483105"/>
            <ac:spMk id="1935" creationId="{F78ED92F-515F-C4BF-58DB-998EDD5BE519}"/>
          </ac:spMkLst>
        </pc:spChg>
        <pc:spChg chg="mod">
          <ac:chgData name="Yudi Zhu" userId="571e1a55-055f-4c28-8b35-fca6dd1c1369" providerId="ADAL" clId="{75A88773-6EE1-484E-AADE-FE631E01463B}" dt="2025-11-26T04:02:32.366" v="765723"/>
          <ac:spMkLst>
            <pc:docMk/>
            <pc:sldMk cId="3104822206" sldId="2147483105"/>
            <ac:spMk id="1936" creationId="{BD4723EF-B9F8-BE01-6B9B-B7369FFB0132}"/>
          </ac:spMkLst>
        </pc:spChg>
        <pc:spChg chg="mod ord">
          <ac:chgData name="Yudi Zhu" userId="571e1a55-055f-4c28-8b35-fca6dd1c1369" providerId="ADAL" clId="{75A88773-6EE1-484E-AADE-FE631E01463B}" dt="2025-11-26T04:02:32.366" v="765722"/>
          <ac:spMkLst>
            <pc:docMk/>
            <pc:sldMk cId="3104822206" sldId="2147483105"/>
            <ac:spMk id="1937" creationId="{92E78387-A1A9-4B85-85D5-C376AF73F395}"/>
          </ac:spMkLst>
        </pc:spChg>
        <pc:spChg chg="mod">
          <ac:chgData name="Yudi Zhu" userId="571e1a55-055f-4c28-8b35-fca6dd1c1369" providerId="ADAL" clId="{75A88773-6EE1-484E-AADE-FE631E01463B}" dt="2025-11-26T04:02:32.369" v="765736"/>
          <ac:spMkLst>
            <pc:docMk/>
            <pc:sldMk cId="3104822206" sldId="2147483105"/>
            <ac:spMk id="1938" creationId="{C4488964-0B6C-771A-98DA-3243D06D7B48}"/>
          </ac:spMkLst>
        </pc:spChg>
        <pc:spChg chg="mod">
          <ac:chgData name="Yudi Zhu" userId="571e1a55-055f-4c28-8b35-fca6dd1c1369" providerId="ADAL" clId="{75A88773-6EE1-484E-AADE-FE631E01463B}" dt="2025-11-26T04:02:32.369" v="765734"/>
          <ac:spMkLst>
            <pc:docMk/>
            <pc:sldMk cId="3104822206" sldId="2147483105"/>
            <ac:spMk id="1939" creationId="{7B391AF9-8203-6A30-657C-FBFB56AE25F8}"/>
          </ac:spMkLst>
        </pc:spChg>
        <pc:spChg chg="mod ord">
          <ac:chgData name="Yudi Zhu" userId="571e1a55-055f-4c28-8b35-fca6dd1c1369" providerId="ADAL" clId="{75A88773-6EE1-484E-AADE-FE631E01463B}" dt="2025-11-26T04:02:32.369" v="765733"/>
          <ac:spMkLst>
            <pc:docMk/>
            <pc:sldMk cId="3104822206" sldId="2147483105"/>
            <ac:spMk id="1940" creationId="{5506685F-6CA3-05CA-6610-3EA74C0D2B1B}"/>
          </ac:spMkLst>
        </pc:spChg>
        <pc:spChg chg="add del mod modVis">
          <ac:chgData name="Yudi Zhu" userId="571e1a55-055f-4c28-8b35-fca6dd1c1369" providerId="ADAL" clId="{75A88773-6EE1-484E-AADE-FE631E01463B}" dt="2025-11-26T04:01:42.446" v="761086"/>
          <ac:spMkLst>
            <pc:docMk/>
            <pc:sldMk cId="3104822206" sldId="2147483105"/>
            <ac:spMk id="1943" creationId="{102124D0-2A45-90DF-8080-058908ED2D2B}"/>
          </ac:spMkLst>
        </pc:spChg>
        <pc:spChg chg="add mod ord">
          <ac:chgData name="Yudi Zhu" userId="571e1a55-055f-4c28-8b35-fca6dd1c1369" providerId="ADAL" clId="{75A88773-6EE1-484E-AADE-FE631E01463B}" dt="2025-11-26T04:02:32.253" v="765443"/>
          <ac:spMkLst>
            <pc:docMk/>
            <pc:sldMk cId="3104822206" sldId="2147483105"/>
            <ac:spMk id="1951" creationId="{6280A715-C397-A9C9-47DC-666039127CAC}"/>
          </ac:spMkLst>
        </pc:spChg>
        <pc:spChg chg="add del mod modVis">
          <ac:chgData name="Yudi Zhu" userId="571e1a55-055f-4c28-8b35-fca6dd1c1369" providerId="ADAL" clId="{75A88773-6EE1-484E-AADE-FE631E01463B}" dt="2025-11-26T04:01:46.654" v="761565"/>
          <ac:spMkLst>
            <pc:docMk/>
            <pc:sldMk cId="3104822206" sldId="2147483105"/>
            <ac:spMk id="1962" creationId="{0B4D8357-D2F3-9FC1-DF37-C41DAE653460}"/>
          </ac:spMkLst>
        </pc:spChg>
        <pc:spChg chg="add del mod ord">
          <ac:chgData name="Yudi Zhu" userId="571e1a55-055f-4c28-8b35-fca6dd1c1369" providerId="ADAL" clId="{75A88773-6EE1-484E-AADE-FE631E01463B}" dt="2025-11-26T04:02:02.967" v="762958"/>
          <ac:spMkLst>
            <pc:docMk/>
            <pc:sldMk cId="3104822206" sldId="2147483105"/>
            <ac:spMk id="1969" creationId="{EF2A5111-D6C1-5336-7C67-815E9A94DFC8}"/>
          </ac:spMkLst>
        </pc:spChg>
        <pc:spChg chg="add del mod modVis">
          <ac:chgData name="Yudi Zhu" userId="571e1a55-055f-4c28-8b35-fca6dd1c1369" providerId="ADAL" clId="{75A88773-6EE1-484E-AADE-FE631E01463B}" dt="2025-11-26T04:02:00.610" v="762917"/>
          <ac:spMkLst>
            <pc:docMk/>
            <pc:sldMk cId="3104822206" sldId="2147483105"/>
            <ac:spMk id="1979" creationId="{9904C911-ABFB-B4E7-AAD8-E10FD4E42243}"/>
          </ac:spMkLst>
        </pc:spChg>
        <pc:spChg chg="mod ord">
          <ac:chgData name="Yudi Zhu" userId="571e1a55-055f-4c28-8b35-fca6dd1c1369" providerId="ADAL" clId="{75A88773-6EE1-484E-AADE-FE631E01463B}" dt="2025-11-26T04:02:32.403" v="765793"/>
          <ac:spMkLst>
            <pc:docMk/>
            <pc:sldMk cId="3104822206" sldId="2147483105"/>
            <ac:spMk id="1980" creationId="{774D4541-7094-3614-1ACD-51F27C222F81}"/>
          </ac:spMkLst>
        </pc:spChg>
        <pc:spChg chg="mod ord">
          <ac:chgData name="Yudi Zhu" userId="571e1a55-055f-4c28-8b35-fca6dd1c1369" providerId="ADAL" clId="{75A88773-6EE1-484E-AADE-FE631E01463B}" dt="2025-11-26T04:02:32.403" v="765795"/>
          <ac:spMkLst>
            <pc:docMk/>
            <pc:sldMk cId="3104822206" sldId="2147483105"/>
            <ac:spMk id="1981" creationId="{3682E853-CF7F-8E6C-CDC0-01FE31016B72}"/>
          </ac:spMkLst>
        </pc:spChg>
        <pc:spChg chg="mod ord">
          <ac:chgData name="Yudi Zhu" userId="571e1a55-055f-4c28-8b35-fca6dd1c1369" providerId="ADAL" clId="{75A88773-6EE1-484E-AADE-FE631E01463B}" dt="2025-11-26T04:02:32.405" v="765797"/>
          <ac:spMkLst>
            <pc:docMk/>
            <pc:sldMk cId="3104822206" sldId="2147483105"/>
            <ac:spMk id="1982" creationId="{3D7A7767-D695-A3C3-A43D-F11BD7B18C6C}"/>
          </ac:spMkLst>
        </pc:spChg>
        <pc:spChg chg="mod">
          <ac:chgData name="Yudi Zhu" userId="571e1a55-055f-4c28-8b35-fca6dd1c1369" providerId="ADAL" clId="{75A88773-6EE1-484E-AADE-FE631E01463B}" dt="2025-11-26T04:02:32.369" v="765745"/>
          <ac:spMkLst>
            <pc:docMk/>
            <pc:sldMk cId="3104822206" sldId="2147483105"/>
            <ac:spMk id="1983" creationId="{125A8E3A-1E53-7643-7C89-103156266D85}"/>
          </ac:spMkLst>
        </pc:spChg>
        <pc:grpChg chg="mod ord">
          <ac:chgData name="Yudi Zhu" userId="571e1a55-055f-4c28-8b35-fca6dd1c1369" providerId="ADAL" clId="{75A88773-6EE1-484E-AADE-FE631E01463B}" dt="2025-11-26T04:02:32.308" v="765549"/>
          <ac:grpSpMkLst>
            <pc:docMk/>
            <pc:sldMk cId="3104822206" sldId="2147483105"/>
            <ac:grpSpMk id="1586" creationId="{17521993-3004-041B-D281-F1D4635F3E5B}"/>
          </ac:grpSpMkLst>
        </pc:grpChg>
        <pc:grpChg chg="mod ord">
          <ac:chgData name="Yudi Zhu" userId="571e1a55-055f-4c28-8b35-fca6dd1c1369" providerId="ADAL" clId="{75A88773-6EE1-484E-AADE-FE631E01463B}" dt="2025-11-26T04:02:32.308" v="765551"/>
          <ac:grpSpMkLst>
            <pc:docMk/>
            <pc:sldMk cId="3104822206" sldId="2147483105"/>
            <ac:grpSpMk id="1588" creationId="{CEB69FB3-FA67-36AE-1790-83E5C8C40DDA}"/>
          </ac:grpSpMkLst>
        </pc:grpChg>
        <pc:grpChg chg="mod ord">
          <ac:chgData name="Yudi Zhu" userId="571e1a55-055f-4c28-8b35-fca6dd1c1369" providerId="ADAL" clId="{75A88773-6EE1-484E-AADE-FE631E01463B}" dt="2025-11-26T04:02:32.309" v="765553"/>
          <ac:grpSpMkLst>
            <pc:docMk/>
            <pc:sldMk cId="3104822206" sldId="2147483105"/>
            <ac:grpSpMk id="1604" creationId="{CAC77667-D6BB-F83B-AA16-FAE5D5B780AA}"/>
          </ac:grpSpMkLst>
        </pc:grpChg>
        <pc:graphicFrameChg chg="mod">
          <ac:chgData name="Yudi Zhu" userId="571e1a55-055f-4c28-8b35-fca6dd1c1369" providerId="ADAL" clId="{75A88773-6EE1-484E-AADE-FE631E01463B}" dt="2025-11-26T04:03:33.787" v="765845"/>
          <ac:graphicFrameMkLst>
            <pc:docMk/>
            <pc:sldMk cId="3104822206" sldId="2147483105"/>
            <ac:graphicFrameMk id="11" creationId="{06D8B66D-C873-80E6-487B-D6B21C51228A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3:58:37.543" v="750545"/>
          <ac:graphicFrameMkLst>
            <pc:docMk/>
            <pc:sldMk cId="3104822206" sldId="2147483105"/>
            <ac:graphicFrameMk id="12" creationId="{051C8484-5848-473C-468D-6EF94369C655}"/>
          </ac:graphicFrameMkLst>
        </pc:graphicFrameChg>
        <pc:graphicFrameChg chg="del mod">
          <ac:chgData name="Yudi Zhu" userId="571e1a55-055f-4c28-8b35-fca6dd1c1369" providerId="ADAL" clId="{75A88773-6EE1-484E-AADE-FE631E01463B}" dt="2025-11-26T04:01:17.454" v="757583"/>
          <ac:graphicFrameMkLst>
            <pc:docMk/>
            <pc:sldMk cId="3104822206" sldId="2147483105"/>
            <ac:graphicFrameMk id="13" creationId="{F8832ABA-3008-773F-734D-F262687ABB7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2:32.199" v="765385"/>
          <ac:graphicFrameMkLst>
            <pc:docMk/>
            <pc:sldMk cId="3104822206" sldId="2147483105"/>
            <ac:graphicFrameMk id="14" creationId="{6DF151F4-DCA5-4237-AF84-8BD80F4FE9FE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0:49.550" v="755503"/>
          <ac:graphicFrameMkLst>
            <pc:docMk/>
            <pc:sldMk cId="3104822206" sldId="2147483105"/>
            <ac:graphicFrameMk id="18" creationId="{17906C0C-C1EB-F6F1-98ED-DDA799B5429F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0:55.923" v="756158"/>
          <ac:graphicFrameMkLst>
            <pc:docMk/>
            <pc:sldMk cId="3104822206" sldId="2147483105"/>
            <ac:graphicFrameMk id="19" creationId="{4805562D-31A1-08EC-D139-5F15695131C9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00.227" v="756820"/>
          <ac:graphicFrameMkLst>
            <pc:docMk/>
            <pc:sldMk cId="3104822206" sldId="2147483105"/>
            <ac:graphicFrameMk id="32" creationId="{F15CEC41-397E-689C-633A-0AF115892307}"/>
          </ac:graphicFrameMkLst>
        </pc:graphicFrameChg>
        <pc:graphicFrameChg chg="add mod">
          <ac:chgData name="Yudi Zhu" userId="571e1a55-055f-4c28-8b35-fca6dd1c1369" providerId="ADAL" clId="{75A88773-6EE1-484E-AADE-FE631E01463B}" dt="2025-11-26T04:02:32.269" v="765493"/>
          <ac:graphicFrameMkLst>
            <pc:docMk/>
            <pc:sldMk cId="3104822206" sldId="2147483105"/>
            <ac:graphicFrameMk id="41" creationId="{ECFE1E54-60C9-5075-7554-36EA1D01E644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20.720" v="758162"/>
          <ac:graphicFrameMkLst>
            <pc:docMk/>
            <pc:sldMk cId="3104822206" sldId="2147483105"/>
            <ac:graphicFrameMk id="61" creationId="{9E075B60-BEFD-D44E-1D4A-C771CD41592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2:02.998" v="762996"/>
          <ac:graphicFrameMkLst>
            <pc:docMk/>
            <pc:sldMk cId="3104822206" sldId="2147483105"/>
            <ac:graphicFrameMk id="145" creationId="{FC87BEC6-53D8-FDF4-0355-9821CF44E3DE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2:05.870" v="763458"/>
          <ac:graphicFrameMkLst>
            <pc:docMk/>
            <pc:sldMk cId="3104822206" sldId="2147483105"/>
            <ac:graphicFrameMk id="157" creationId="{4B68607A-155E-F0D4-5D11-679C4D9F88DD}"/>
          </ac:graphicFrameMkLst>
        </pc:graphicFrameChg>
        <pc:graphicFrameChg chg="add mod">
          <ac:chgData name="Yudi Zhu" userId="571e1a55-055f-4c28-8b35-fca6dd1c1369" providerId="ADAL" clId="{75A88773-6EE1-484E-AADE-FE631E01463B}" dt="2025-11-26T04:02:32.319" v="765593"/>
          <ac:graphicFrameMkLst>
            <pc:docMk/>
            <pc:sldMk cId="3104822206" sldId="2147483105"/>
            <ac:graphicFrameMk id="162" creationId="{E3CF2DE9-8F99-6A45-C62A-8726B2342E7A}"/>
          </ac:graphicFrameMkLst>
        </pc:graphicFrameChg>
        <pc:graphicFrameChg chg="add mod">
          <ac:chgData name="Yudi Zhu" userId="571e1a55-055f-4c28-8b35-fca6dd1c1369" providerId="ADAL" clId="{75A88773-6EE1-484E-AADE-FE631E01463B}" dt="2025-11-26T04:02:32.334" v="765637"/>
          <ac:graphicFrameMkLst>
            <pc:docMk/>
            <pc:sldMk cId="3104822206" sldId="2147483105"/>
            <ac:graphicFrameMk id="174" creationId="{AC332FD3-8E4C-4D46-4C9A-B0A11955ECE3}"/>
          </ac:graphicFrameMkLst>
        </pc:graphicFrameChg>
        <pc:graphicFrameChg chg="del mod">
          <ac:chgData name="Yudi Zhu" userId="571e1a55-055f-4c28-8b35-fca6dd1c1369" providerId="ADAL" clId="{75A88773-6EE1-484E-AADE-FE631E01463B}" dt="2025-11-26T04:01:38.716" v="759697"/>
          <ac:graphicFrameMkLst>
            <pc:docMk/>
            <pc:sldMk cId="3104822206" sldId="2147483105"/>
            <ac:graphicFrameMk id="190" creationId="{68D2CCEB-5497-ABDD-8D69-2E5B11DEDAE5}"/>
          </ac:graphicFrameMkLst>
        </pc:graphicFrameChg>
        <pc:graphicFrameChg chg="del">
          <ac:chgData name="Yudi Zhu" userId="571e1a55-055f-4c28-8b35-fca6dd1c1369" providerId="ADAL" clId="{75A88773-6EE1-484E-AADE-FE631E01463B}" dt="2025-11-26T03:46:22.291" v="712819"/>
          <ac:graphicFrameMkLst>
            <pc:docMk/>
            <pc:sldMk cId="3104822206" sldId="2147483105"/>
            <ac:graphicFrameMk id="191" creationId="{548B0600-0D97-E797-7745-BB995D2CEE83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23.456" v="758649"/>
          <ac:graphicFrameMkLst>
            <pc:docMk/>
            <pc:sldMk cId="3104822206" sldId="2147483105"/>
            <ac:graphicFrameMk id="1858" creationId="{C312634B-BBAC-2A92-0083-7DAB1E60AFBE}"/>
          </ac:graphicFrameMkLst>
        </pc:graphicFrameChg>
        <pc:graphicFrameChg chg="add mod">
          <ac:chgData name="Yudi Zhu" userId="571e1a55-055f-4c28-8b35-fca6dd1c1369" providerId="ADAL" clId="{75A88773-6EE1-484E-AADE-FE631E01463B}" dt="2025-11-26T04:02:32.311" v="765560"/>
          <ac:graphicFrameMkLst>
            <pc:docMk/>
            <pc:sldMk cId="3104822206" sldId="2147483105"/>
            <ac:graphicFrameMk id="1860" creationId="{2FE22A75-D849-F92E-7DDA-091BA47D319C}"/>
          </ac:graphicFrameMkLst>
        </pc:graphicFrameChg>
        <pc:graphicFrameChg chg="del mod">
          <ac:chgData name="Yudi Zhu" userId="571e1a55-055f-4c28-8b35-fca6dd1c1369" providerId="ADAL" clId="{75A88773-6EE1-484E-AADE-FE631E01463B}" dt="2025-11-26T04:01:46.471" v="761169"/>
          <ac:graphicFrameMkLst>
            <pc:docMk/>
            <pc:sldMk cId="3104822206" sldId="2147483105"/>
            <ac:graphicFrameMk id="1888" creationId="{702FC4A6-FA80-AEC2-D512-DAF96444C426}"/>
          </ac:graphicFrameMkLst>
        </pc:graphicFrameChg>
        <pc:graphicFrameChg chg="del mod">
          <ac:chgData name="Yudi Zhu" userId="571e1a55-055f-4c28-8b35-fca6dd1c1369" providerId="ADAL" clId="{75A88773-6EE1-484E-AADE-FE631E01463B}" dt="2025-11-26T04:00:45.914" v="755007"/>
          <ac:graphicFrameMkLst>
            <pc:docMk/>
            <pc:sldMk cId="3104822206" sldId="2147483105"/>
            <ac:graphicFrameMk id="1919" creationId="{679052DD-CF71-D946-1EF0-65274069EA77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42.031" v="760682"/>
          <ac:graphicFrameMkLst>
            <pc:docMk/>
            <pc:sldMk cId="3104822206" sldId="2147483105"/>
            <ac:graphicFrameMk id="1942" creationId="{33D0DCEF-266D-0CA5-2850-4F564B9487AC}"/>
          </ac:graphicFrameMkLst>
        </pc:graphicFrameChg>
        <pc:graphicFrameChg chg="add mod">
          <ac:chgData name="Yudi Zhu" userId="571e1a55-055f-4c28-8b35-fca6dd1c1369" providerId="ADAL" clId="{75A88773-6EE1-484E-AADE-FE631E01463B}" dt="2025-11-26T04:02:32.253" v="765441"/>
          <ac:graphicFrameMkLst>
            <pc:docMk/>
            <pc:sldMk cId="3104822206" sldId="2147483105"/>
            <ac:graphicFrameMk id="1959" creationId="{E9BB0954-0593-7F51-3478-560A77AD8EFD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55.769" v="761596"/>
          <ac:graphicFrameMkLst>
            <pc:docMk/>
            <pc:sldMk cId="3104822206" sldId="2147483105"/>
            <ac:graphicFrameMk id="1964" creationId="{399CC41F-BAF0-58F5-FF4B-CEDBBD0F6A0B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1:56.850" v="762034"/>
          <ac:graphicFrameMkLst>
            <pc:docMk/>
            <pc:sldMk cId="3104822206" sldId="2147483105"/>
            <ac:graphicFrameMk id="1966" creationId="{1282235F-5230-6D06-C496-E95B1B84E1FC}"/>
          </ac:graphicFrameMkLst>
        </pc:graphicFrameChg>
        <pc:graphicFrameChg chg="add del mod">
          <ac:chgData name="Yudi Zhu" userId="571e1a55-055f-4c28-8b35-fca6dd1c1369" providerId="ADAL" clId="{75A88773-6EE1-484E-AADE-FE631E01463B}" dt="2025-11-26T04:02:00.246" v="762516"/>
          <ac:graphicFrameMkLst>
            <pc:docMk/>
            <pc:sldMk cId="3104822206" sldId="2147483105"/>
            <ac:graphicFrameMk id="1977" creationId="{79807F0D-7252-5470-0F57-0AC4C82DC312}"/>
          </ac:graphicFrameMkLst>
        </pc:graphicFrameChg>
        <pc:cxnChg chg="mod ord">
          <ac:chgData name="Yudi Zhu" userId="571e1a55-055f-4c28-8b35-fca6dd1c1369" providerId="ADAL" clId="{75A88773-6EE1-484E-AADE-FE631E01463B}" dt="2025-11-26T04:02:32.319" v="765610"/>
          <ac:cxnSpMkLst>
            <pc:docMk/>
            <pc:sldMk cId="3104822206" sldId="2147483105"/>
            <ac:cxnSpMk id="16" creationId="{F8D999A4-47CD-480C-D9EB-7552B724F0C4}"/>
          </ac:cxnSpMkLst>
        </pc:cxnChg>
        <pc:cxnChg chg="mod ord">
          <ac:chgData name="Yudi Zhu" userId="571e1a55-055f-4c28-8b35-fca6dd1c1369" providerId="ADAL" clId="{75A88773-6EE1-484E-AADE-FE631E01463B}" dt="2025-11-26T04:02:32.248" v="765422"/>
          <ac:cxnSpMkLst>
            <pc:docMk/>
            <pc:sldMk cId="3104822206" sldId="2147483105"/>
            <ac:cxnSpMk id="20" creationId="{F42D15B7-5521-12CB-D591-CE08548AB2AC}"/>
          </ac:cxnSpMkLst>
        </pc:cxnChg>
        <pc:cxnChg chg="mod ord">
          <ac:chgData name="Yudi Zhu" userId="571e1a55-055f-4c28-8b35-fca6dd1c1369" providerId="ADAL" clId="{75A88773-6EE1-484E-AADE-FE631E01463B}" dt="2025-11-26T04:02:32.334" v="765618"/>
          <ac:cxnSpMkLst>
            <pc:docMk/>
            <pc:sldMk cId="3104822206" sldId="2147483105"/>
            <ac:cxnSpMk id="21" creationId="{20572583-446A-9E12-D592-41BAAB8975DE}"/>
          </ac:cxnSpMkLst>
        </pc:cxnChg>
        <pc:cxnChg chg="mod ord">
          <ac:chgData name="Yudi Zhu" userId="571e1a55-055f-4c28-8b35-fca6dd1c1369" providerId="ADAL" clId="{75A88773-6EE1-484E-AADE-FE631E01463B}" dt="2025-11-26T04:02:32.253" v="765447"/>
          <ac:cxnSpMkLst>
            <pc:docMk/>
            <pc:sldMk cId="3104822206" sldId="2147483105"/>
            <ac:cxnSpMk id="23" creationId="{9AFFC76A-95C2-7038-5B05-41730F055690}"/>
          </ac:cxnSpMkLst>
        </pc:cxnChg>
        <pc:cxnChg chg="mod ord">
          <ac:chgData name="Yudi Zhu" userId="571e1a55-055f-4c28-8b35-fca6dd1c1369" providerId="ADAL" clId="{75A88773-6EE1-484E-AADE-FE631E01463B}" dt="2025-11-26T04:02:32.253" v="765445"/>
          <ac:cxnSpMkLst>
            <pc:docMk/>
            <pc:sldMk cId="3104822206" sldId="2147483105"/>
            <ac:cxnSpMk id="24" creationId="{23C45A0A-366D-7C03-79DE-77CDCA0DC855}"/>
          </ac:cxnSpMkLst>
        </pc:cxnChg>
        <pc:cxnChg chg="del mod ord">
          <ac:chgData name="Yudi Zhu" userId="571e1a55-055f-4c28-8b35-fca6dd1c1369" providerId="ADAL" clId="{75A88773-6EE1-484E-AADE-FE631E01463B}" dt="2025-11-26T04:01:41.901" v="760502"/>
          <ac:cxnSpMkLst>
            <pc:docMk/>
            <pc:sldMk cId="3104822206" sldId="2147483105"/>
            <ac:cxnSpMk id="25" creationId="{F19C5EC0-0FD3-D98D-2D1A-BCF0CFFDAAA0}"/>
          </ac:cxnSpMkLst>
        </pc:cxnChg>
        <pc:cxnChg chg="mod ord">
          <ac:chgData name="Yudi Zhu" userId="571e1a55-055f-4c28-8b35-fca6dd1c1369" providerId="ADAL" clId="{75A88773-6EE1-484E-AADE-FE631E01463B}" dt="2025-11-26T04:02:32.334" v="765622"/>
          <ac:cxnSpMkLst>
            <pc:docMk/>
            <pc:sldMk cId="3104822206" sldId="2147483105"/>
            <ac:cxnSpMk id="26" creationId="{9CDBEADC-815A-1DE7-CA91-4CB63C47DC69}"/>
          </ac:cxnSpMkLst>
        </pc:cxnChg>
        <pc:cxnChg chg="mod ord">
          <ac:chgData name="Yudi Zhu" userId="571e1a55-055f-4c28-8b35-fca6dd1c1369" providerId="ADAL" clId="{75A88773-6EE1-484E-AADE-FE631E01463B}" dt="2025-11-26T04:02:32.334" v="765624"/>
          <ac:cxnSpMkLst>
            <pc:docMk/>
            <pc:sldMk cId="3104822206" sldId="2147483105"/>
            <ac:cxnSpMk id="27" creationId="{C0567C39-9F79-6F76-49F7-7CB10EA59979}"/>
          </ac:cxnSpMkLst>
        </pc:cxnChg>
        <pc:cxnChg chg="del mod ord">
          <ac:chgData name="Yudi Zhu" userId="571e1a55-055f-4c28-8b35-fca6dd1c1369" providerId="ADAL" clId="{75A88773-6EE1-484E-AADE-FE631E01463B}" dt="2025-11-26T04:01:38.365" v="759398"/>
          <ac:cxnSpMkLst>
            <pc:docMk/>
            <pc:sldMk cId="3104822206" sldId="2147483105"/>
            <ac:cxnSpMk id="28" creationId="{A40D63EF-C94A-281F-7D75-446D6A803007}"/>
          </ac:cxnSpMkLst>
        </pc:cxnChg>
        <pc:cxnChg chg="del mod ord">
          <ac:chgData name="Yudi Zhu" userId="571e1a55-055f-4c28-8b35-fca6dd1c1369" providerId="ADAL" clId="{75A88773-6EE1-484E-AADE-FE631E01463B}" dt="2025-11-26T04:01:38.426" v="759434"/>
          <ac:cxnSpMkLst>
            <pc:docMk/>
            <pc:sldMk cId="3104822206" sldId="2147483105"/>
            <ac:cxnSpMk id="29" creationId="{48B05335-9390-1CA5-6B14-31F7AA0943EA}"/>
          </ac:cxnSpMkLst>
        </pc:cxnChg>
        <pc:cxnChg chg="del mod ord">
          <ac:chgData name="Yudi Zhu" userId="571e1a55-055f-4c28-8b35-fca6dd1c1369" providerId="ADAL" clId="{75A88773-6EE1-484E-AADE-FE631E01463B}" dt="2025-11-26T04:01:38.501" v="759482"/>
          <ac:cxnSpMkLst>
            <pc:docMk/>
            <pc:sldMk cId="3104822206" sldId="2147483105"/>
            <ac:cxnSpMk id="30" creationId="{EF9EBDB4-8B7E-1BAE-BA6D-A82B810740DD}"/>
          </ac:cxnSpMkLst>
        </pc:cxnChg>
        <pc:cxnChg chg="del mod ord">
          <ac:chgData name="Yudi Zhu" userId="571e1a55-055f-4c28-8b35-fca6dd1c1369" providerId="ADAL" clId="{75A88773-6EE1-484E-AADE-FE631E01463B}" dt="2025-11-26T04:01:41.952" v="760558"/>
          <ac:cxnSpMkLst>
            <pc:docMk/>
            <pc:sldMk cId="3104822206" sldId="2147483105"/>
            <ac:cxnSpMk id="31" creationId="{79955FD4-CA7B-6254-FDB9-81026BCE9368}"/>
          </ac:cxnSpMkLst>
        </pc:cxnChg>
        <pc:cxnChg chg="mod ord">
          <ac:chgData name="Yudi Zhu" userId="571e1a55-055f-4c28-8b35-fca6dd1c1369" providerId="ADAL" clId="{75A88773-6EE1-484E-AADE-FE631E01463B}" dt="2025-11-26T04:02:32.247" v="765416"/>
          <ac:cxnSpMkLst>
            <pc:docMk/>
            <pc:sldMk cId="3104822206" sldId="2147483105"/>
            <ac:cxnSpMk id="33" creationId="{7404C743-8614-C318-7925-9AA0F052DF37}"/>
          </ac:cxnSpMkLst>
        </pc:cxnChg>
        <pc:cxnChg chg="mod ord">
          <ac:chgData name="Yudi Zhu" userId="571e1a55-055f-4c28-8b35-fca6dd1c1369" providerId="ADAL" clId="{75A88773-6EE1-484E-AADE-FE631E01463B}" dt="2025-11-26T04:02:32.248" v="765426"/>
          <ac:cxnSpMkLst>
            <pc:docMk/>
            <pc:sldMk cId="3104822206" sldId="2147483105"/>
            <ac:cxnSpMk id="34" creationId="{CDE96436-D6F8-EA3B-0FB1-E87640B0B6D2}"/>
          </ac:cxnSpMkLst>
        </pc:cxnChg>
        <pc:cxnChg chg="del mod ord">
          <ac:chgData name="Yudi Zhu" userId="571e1a55-055f-4c28-8b35-fca6dd1c1369" providerId="ADAL" clId="{75A88773-6EE1-484E-AADE-FE631E01463B}" dt="2025-11-26T04:01:42.031" v="760662"/>
          <ac:cxnSpMkLst>
            <pc:docMk/>
            <pc:sldMk cId="3104822206" sldId="2147483105"/>
            <ac:cxnSpMk id="35" creationId="{6E65C362-3D27-0291-6F0A-0BC7EA743099}"/>
          </ac:cxnSpMkLst>
        </pc:cxnChg>
        <pc:cxnChg chg="mod ord">
          <ac:chgData name="Yudi Zhu" userId="571e1a55-055f-4c28-8b35-fca6dd1c1369" providerId="ADAL" clId="{75A88773-6EE1-484E-AADE-FE631E01463B}" dt="2025-11-26T04:02:32.248" v="765428"/>
          <ac:cxnSpMkLst>
            <pc:docMk/>
            <pc:sldMk cId="3104822206" sldId="2147483105"/>
            <ac:cxnSpMk id="36" creationId="{3AB8B903-A16B-BA8C-3D32-0D85BAB2F5BD}"/>
          </ac:cxnSpMkLst>
        </pc:cxnChg>
        <pc:cxnChg chg="add mod ord">
          <ac:chgData name="Yudi Zhu" userId="571e1a55-055f-4c28-8b35-fca6dd1c1369" providerId="ADAL" clId="{75A88773-6EE1-484E-AADE-FE631E01463B}" dt="2025-11-26T04:02:32.278" v="765499"/>
          <ac:cxnSpMkLst>
            <pc:docMk/>
            <pc:sldMk cId="3104822206" sldId="2147483105"/>
            <ac:cxnSpMk id="38" creationId="{F23AD9AA-813A-98EB-65B4-23E999F031B7}"/>
          </ac:cxnSpMkLst>
        </pc:cxnChg>
        <pc:cxnChg chg="add mod ord">
          <ac:chgData name="Yudi Zhu" userId="571e1a55-055f-4c28-8b35-fca6dd1c1369" providerId="ADAL" clId="{75A88773-6EE1-484E-AADE-FE631E01463B}" dt="2025-11-26T04:02:32.278" v="765501"/>
          <ac:cxnSpMkLst>
            <pc:docMk/>
            <pc:sldMk cId="3104822206" sldId="2147483105"/>
            <ac:cxnSpMk id="39" creationId="{C3052AA4-36BA-EAEE-E661-03A4D2718AFB}"/>
          </ac:cxnSpMkLst>
        </pc:cxnChg>
        <pc:cxnChg chg="add mod ord">
          <ac:chgData name="Yudi Zhu" userId="571e1a55-055f-4c28-8b35-fca6dd1c1369" providerId="ADAL" clId="{75A88773-6EE1-484E-AADE-FE631E01463B}" dt="2025-11-26T04:02:32.278" v="765503"/>
          <ac:cxnSpMkLst>
            <pc:docMk/>
            <pc:sldMk cId="3104822206" sldId="2147483105"/>
            <ac:cxnSpMk id="40" creationId="{BECA6870-55FA-3348-3127-02FF7ACF51E6}"/>
          </ac:cxnSpMkLst>
        </pc:cxnChg>
        <pc:cxnChg chg="mod ord">
          <ac:chgData name="Yudi Zhu" userId="571e1a55-055f-4c28-8b35-fca6dd1c1369" providerId="ADAL" clId="{75A88773-6EE1-484E-AADE-FE631E01463B}" dt="2025-11-26T04:02:32.353" v="765685"/>
          <ac:cxnSpMkLst>
            <pc:docMk/>
            <pc:sldMk cId="3104822206" sldId="2147483105"/>
            <ac:cxnSpMk id="43" creationId="{D0706066-60C2-4883-715C-9FC2C4B1684F}"/>
          </ac:cxnSpMkLst>
        </pc:cxnChg>
        <pc:cxnChg chg="mod ord">
          <ac:chgData name="Yudi Zhu" userId="571e1a55-055f-4c28-8b35-fca6dd1c1369" providerId="ADAL" clId="{75A88773-6EE1-484E-AADE-FE631E01463B}" dt="2025-11-26T04:02:32.334" v="765651"/>
          <ac:cxnSpMkLst>
            <pc:docMk/>
            <pc:sldMk cId="3104822206" sldId="2147483105"/>
            <ac:cxnSpMk id="44" creationId="{7F758961-9016-F5C2-68B7-AAE51E36BFF0}"/>
          </ac:cxnSpMkLst>
        </pc:cxnChg>
        <pc:cxnChg chg="mod ord">
          <ac:chgData name="Yudi Zhu" userId="571e1a55-055f-4c28-8b35-fca6dd1c1369" providerId="ADAL" clId="{75A88773-6EE1-484E-AADE-FE631E01463B}" dt="2025-11-26T04:02:32.334" v="765645"/>
          <ac:cxnSpMkLst>
            <pc:docMk/>
            <pc:sldMk cId="3104822206" sldId="2147483105"/>
            <ac:cxnSpMk id="45" creationId="{E19570DC-5F68-7B15-B82D-8FF823FAA4BF}"/>
          </ac:cxnSpMkLst>
        </pc:cxnChg>
        <pc:cxnChg chg="mod ord">
          <ac:chgData name="Yudi Zhu" userId="571e1a55-055f-4c28-8b35-fca6dd1c1369" providerId="ADAL" clId="{75A88773-6EE1-484E-AADE-FE631E01463B}" dt="2025-11-26T04:02:32.334" v="765647"/>
          <ac:cxnSpMkLst>
            <pc:docMk/>
            <pc:sldMk cId="3104822206" sldId="2147483105"/>
            <ac:cxnSpMk id="47" creationId="{5FD6F803-9FF9-C590-DCAD-BD9BBDABE600}"/>
          </ac:cxnSpMkLst>
        </pc:cxnChg>
        <pc:cxnChg chg="del mod ord">
          <ac:chgData name="Yudi Zhu" userId="571e1a55-055f-4c28-8b35-fca6dd1c1369" providerId="ADAL" clId="{75A88773-6EE1-484E-AADE-FE631E01463B}" dt="2025-11-26T04:02:31.950" v="764949"/>
          <ac:cxnSpMkLst>
            <pc:docMk/>
            <pc:sldMk cId="3104822206" sldId="2147483105"/>
            <ac:cxnSpMk id="48" creationId="{3EFA5799-B11E-7367-92C5-B2E499273415}"/>
          </ac:cxnSpMkLst>
        </pc:cxnChg>
        <pc:cxnChg chg="mod ord">
          <ac:chgData name="Yudi Zhu" userId="571e1a55-055f-4c28-8b35-fca6dd1c1369" providerId="ADAL" clId="{75A88773-6EE1-484E-AADE-FE631E01463B}" dt="2025-11-26T04:02:32.353" v="765689"/>
          <ac:cxnSpMkLst>
            <pc:docMk/>
            <pc:sldMk cId="3104822206" sldId="2147483105"/>
            <ac:cxnSpMk id="49" creationId="{6E16BA44-DF5E-92A1-A324-C50C080F024E}"/>
          </ac:cxnSpMkLst>
        </pc:cxnChg>
        <pc:cxnChg chg="mod ord">
          <ac:chgData name="Yudi Zhu" userId="571e1a55-055f-4c28-8b35-fca6dd1c1369" providerId="ADAL" clId="{75A88773-6EE1-484E-AADE-FE631E01463B}" dt="2025-11-26T04:02:32.348" v="765669"/>
          <ac:cxnSpMkLst>
            <pc:docMk/>
            <pc:sldMk cId="3104822206" sldId="2147483105"/>
            <ac:cxnSpMk id="131" creationId="{302D367C-1A02-3459-9C2D-9BD3F848C065}"/>
          </ac:cxnSpMkLst>
        </pc:cxnChg>
        <pc:cxnChg chg="mod ord">
          <ac:chgData name="Yudi Zhu" userId="571e1a55-055f-4c28-8b35-fca6dd1c1369" providerId="ADAL" clId="{75A88773-6EE1-484E-AADE-FE631E01463B}" dt="2025-11-26T04:02:32.350" v="765675"/>
          <ac:cxnSpMkLst>
            <pc:docMk/>
            <pc:sldMk cId="3104822206" sldId="2147483105"/>
            <ac:cxnSpMk id="132" creationId="{497CD7EF-2824-5BEF-62B8-0B80F9A1815F}"/>
          </ac:cxnSpMkLst>
        </pc:cxnChg>
        <pc:cxnChg chg="del mod ord">
          <ac:chgData name="Yudi Zhu" userId="571e1a55-055f-4c28-8b35-fca6dd1c1369" providerId="ADAL" clId="{75A88773-6EE1-484E-AADE-FE631E01463B}" dt="2025-11-26T04:02:31.896" v="764859"/>
          <ac:cxnSpMkLst>
            <pc:docMk/>
            <pc:sldMk cId="3104822206" sldId="2147483105"/>
            <ac:cxnSpMk id="133" creationId="{5A4BDDAB-C480-572D-E7FF-824340033891}"/>
          </ac:cxnSpMkLst>
        </pc:cxnChg>
        <pc:cxnChg chg="mod ord">
          <ac:chgData name="Yudi Zhu" userId="571e1a55-055f-4c28-8b35-fca6dd1c1369" providerId="ADAL" clId="{75A88773-6EE1-484E-AADE-FE631E01463B}" dt="2025-11-26T04:02:32.353" v="765687"/>
          <ac:cxnSpMkLst>
            <pc:docMk/>
            <pc:sldMk cId="3104822206" sldId="2147483105"/>
            <ac:cxnSpMk id="134" creationId="{F39DE797-6E83-C6E1-E872-5E203764A14F}"/>
          </ac:cxnSpMkLst>
        </pc:cxnChg>
        <pc:cxnChg chg="mod ord">
          <ac:chgData name="Yudi Zhu" userId="571e1a55-055f-4c28-8b35-fca6dd1c1369" providerId="ADAL" clId="{75A88773-6EE1-484E-AADE-FE631E01463B}" dt="2025-11-26T04:02:32.353" v="765699"/>
          <ac:cxnSpMkLst>
            <pc:docMk/>
            <pc:sldMk cId="3104822206" sldId="2147483105"/>
            <ac:cxnSpMk id="135" creationId="{22845195-F19E-1E7D-D556-3E518C81794D}"/>
          </ac:cxnSpMkLst>
        </pc:cxnChg>
        <pc:cxnChg chg="mod ord">
          <ac:chgData name="Yudi Zhu" userId="571e1a55-055f-4c28-8b35-fca6dd1c1369" providerId="ADAL" clId="{75A88773-6EE1-484E-AADE-FE631E01463B}" dt="2025-11-26T04:02:32.353" v="765707"/>
          <ac:cxnSpMkLst>
            <pc:docMk/>
            <pc:sldMk cId="3104822206" sldId="2147483105"/>
            <ac:cxnSpMk id="136" creationId="{49D63ACB-A030-422B-EE90-7AC4A69D43CA}"/>
          </ac:cxnSpMkLst>
        </pc:cxnChg>
        <pc:cxnChg chg="mod ord">
          <ac:chgData name="Yudi Zhu" userId="571e1a55-055f-4c28-8b35-fca6dd1c1369" providerId="ADAL" clId="{75A88773-6EE1-484E-AADE-FE631E01463B}" dt="2025-11-26T04:02:32.348" v="765667"/>
          <ac:cxnSpMkLst>
            <pc:docMk/>
            <pc:sldMk cId="3104822206" sldId="2147483105"/>
            <ac:cxnSpMk id="137" creationId="{91E2097A-FBDE-3919-BBD5-CD8987C5B85F}"/>
          </ac:cxnSpMkLst>
        </pc:cxnChg>
        <pc:cxnChg chg="mod ord">
          <ac:chgData name="Yudi Zhu" userId="571e1a55-055f-4c28-8b35-fca6dd1c1369" providerId="ADAL" clId="{75A88773-6EE1-484E-AADE-FE631E01463B}" dt="2025-11-26T04:02:32.348" v="765665"/>
          <ac:cxnSpMkLst>
            <pc:docMk/>
            <pc:sldMk cId="3104822206" sldId="2147483105"/>
            <ac:cxnSpMk id="138" creationId="{AD6E0703-56E5-AA61-ED7D-BD79A77735E1}"/>
          </ac:cxnSpMkLst>
        </pc:cxnChg>
        <pc:cxnChg chg="mod ord">
          <ac:chgData name="Yudi Zhu" userId="571e1a55-055f-4c28-8b35-fca6dd1c1369" providerId="ADAL" clId="{75A88773-6EE1-484E-AADE-FE631E01463B}" dt="2025-11-26T04:02:32.334" v="765663"/>
          <ac:cxnSpMkLst>
            <pc:docMk/>
            <pc:sldMk cId="3104822206" sldId="2147483105"/>
            <ac:cxnSpMk id="139" creationId="{0F696389-1B0E-632C-5872-FA4364234750}"/>
          </ac:cxnSpMkLst>
        </pc:cxnChg>
        <pc:cxnChg chg="mod ord">
          <ac:chgData name="Yudi Zhu" userId="571e1a55-055f-4c28-8b35-fca6dd1c1369" providerId="ADAL" clId="{75A88773-6EE1-484E-AADE-FE631E01463B}" dt="2025-11-26T04:02:32.319" v="765606"/>
          <ac:cxnSpMkLst>
            <pc:docMk/>
            <pc:sldMk cId="3104822206" sldId="2147483105"/>
            <ac:cxnSpMk id="140" creationId="{763F88E0-5513-4C71-F9E0-97729260EA72}"/>
          </ac:cxnSpMkLst>
        </pc:cxnChg>
        <pc:cxnChg chg="mod ord">
          <ac:chgData name="Yudi Zhu" userId="571e1a55-055f-4c28-8b35-fca6dd1c1369" providerId="ADAL" clId="{75A88773-6EE1-484E-AADE-FE631E01463B}" dt="2025-11-26T04:02:32.319" v="765612"/>
          <ac:cxnSpMkLst>
            <pc:docMk/>
            <pc:sldMk cId="3104822206" sldId="2147483105"/>
            <ac:cxnSpMk id="141" creationId="{3BF1E16E-B973-7A15-0FB6-8C5C2D450EEF}"/>
          </ac:cxnSpMkLst>
        </pc:cxnChg>
        <pc:cxnChg chg="mod ord">
          <ac:chgData name="Yudi Zhu" userId="571e1a55-055f-4c28-8b35-fca6dd1c1369" providerId="ADAL" clId="{75A88773-6EE1-484E-AADE-FE631E01463B}" dt="2025-11-26T04:02:32.334" v="765620"/>
          <ac:cxnSpMkLst>
            <pc:docMk/>
            <pc:sldMk cId="3104822206" sldId="2147483105"/>
            <ac:cxnSpMk id="142" creationId="{3CC97B79-ABD5-FDBF-D366-DA42E71FC9E2}"/>
          </ac:cxnSpMkLst>
        </pc:cxnChg>
        <pc:cxnChg chg="mod ord">
          <ac:chgData name="Yudi Zhu" userId="571e1a55-055f-4c28-8b35-fca6dd1c1369" providerId="ADAL" clId="{75A88773-6EE1-484E-AADE-FE631E01463B}" dt="2025-11-26T04:02:32.319" v="765608"/>
          <ac:cxnSpMkLst>
            <pc:docMk/>
            <pc:sldMk cId="3104822206" sldId="2147483105"/>
            <ac:cxnSpMk id="143" creationId="{EC6E5469-1FE6-DD66-D4B3-9D848B4C085E}"/>
          </ac:cxnSpMkLst>
        </pc:cxnChg>
        <pc:cxnChg chg="mod ord">
          <ac:chgData name="Yudi Zhu" userId="571e1a55-055f-4c28-8b35-fca6dd1c1369" providerId="ADAL" clId="{75A88773-6EE1-484E-AADE-FE631E01463B}" dt="2025-11-26T04:02:32.334" v="765626"/>
          <ac:cxnSpMkLst>
            <pc:docMk/>
            <pc:sldMk cId="3104822206" sldId="2147483105"/>
            <ac:cxnSpMk id="144" creationId="{AA91BECB-5B54-69C8-9FD2-C75EB254549A}"/>
          </ac:cxnSpMkLst>
        </pc:cxnChg>
        <pc:cxnChg chg="mod ord">
          <ac:chgData name="Yudi Zhu" userId="571e1a55-055f-4c28-8b35-fca6dd1c1369" providerId="ADAL" clId="{75A88773-6EE1-484E-AADE-FE631E01463B}" dt="2025-11-26T04:02:32.319" v="765614"/>
          <ac:cxnSpMkLst>
            <pc:docMk/>
            <pc:sldMk cId="3104822206" sldId="2147483105"/>
            <ac:cxnSpMk id="151" creationId="{9723B0F6-7B76-18D9-F0D3-32721AEF809A}"/>
          </ac:cxnSpMkLst>
        </pc:cxnChg>
        <pc:cxnChg chg="mod ord">
          <ac:chgData name="Yudi Zhu" userId="571e1a55-055f-4c28-8b35-fca6dd1c1369" providerId="ADAL" clId="{75A88773-6EE1-484E-AADE-FE631E01463B}" dt="2025-11-26T04:02:32.248" v="765418"/>
          <ac:cxnSpMkLst>
            <pc:docMk/>
            <pc:sldMk cId="3104822206" sldId="2147483105"/>
            <ac:cxnSpMk id="153" creationId="{3D86BA23-82AC-89CB-0C7A-64BE0C2149C7}"/>
          </ac:cxnSpMkLst>
        </pc:cxnChg>
        <pc:cxnChg chg="del mod ord">
          <ac:chgData name="Yudi Zhu" userId="571e1a55-055f-4c28-8b35-fca6dd1c1369" providerId="ADAL" clId="{75A88773-6EE1-484E-AADE-FE631E01463B}" dt="2025-11-26T04:02:32.078" v="765161"/>
          <ac:cxnSpMkLst>
            <pc:docMk/>
            <pc:sldMk cId="3104822206" sldId="2147483105"/>
            <ac:cxnSpMk id="158" creationId="{50B04F6B-ACB2-79A6-ED46-82A028563371}"/>
          </ac:cxnSpMkLst>
        </pc:cxnChg>
        <pc:cxnChg chg="mod ord">
          <ac:chgData name="Yudi Zhu" userId="571e1a55-055f-4c28-8b35-fca6dd1c1369" providerId="ADAL" clId="{75A88773-6EE1-484E-AADE-FE631E01463B}" dt="2025-11-26T04:02:32.348" v="765671"/>
          <ac:cxnSpMkLst>
            <pc:docMk/>
            <pc:sldMk cId="3104822206" sldId="2147483105"/>
            <ac:cxnSpMk id="159" creationId="{D7BC6C38-0B7D-990D-6937-E5CAFCC70F67}"/>
          </ac:cxnSpMkLst>
        </pc:cxnChg>
        <pc:cxnChg chg="mod ord">
          <ac:chgData name="Yudi Zhu" userId="571e1a55-055f-4c28-8b35-fca6dd1c1369" providerId="ADAL" clId="{75A88773-6EE1-484E-AADE-FE631E01463B}" dt="2025-11-26T04:02:32.334" v="765628"/>
          <ac:cxnSpMkLst>
            <pc:docMk/>
            <pc:sldMk cId="3104822206" sldId="2147483105"/>
            <ac:cxnSpMk id="160" creationId="{61388DCD-972D-3F96-78FD-210E27BB1B3E}"/>
          </ac:cxnSpMkLst>
        </pc:cxnChg>
        <pc:cxnChg chg="add mod ord">
          <ac:chgData name="Yudi Zhu" userId="571e1a55-055f-4c28-8b35-fca6dd1c1369" providerId="ADAL" clId="{75A88773-6EE1-484E-AADE-FE631E01463B}" dt="2025-11-26T04:02:32.353" v="765695"/>
          <ac:cxnSpMkLst>
            <pc:docMk/>
            <pc:sldMk cId="3104822206" sldId="2147483105"/>
            <ac:cxnSpMk id="164" creationId="{DAB7F0AC-6E46-96DB-F7DC-457F9A78F6E5}"/>
          </ac:cxnSpMkLst>
        </pc:cxnChg>
        <pc:cxnChg chg="add mod ord">
          <ac:chgData name="Yudi Zhu" userId="571e1a55-055f-4c28-8b35-fca6dd1c1369" providerId="ADAL" clId="{75A88773-6EE1-484E-AADE-FE631E01463B}" dt="2025-11-26T04:02:32.353" v="765697"/>
          <ac:cxnSpMkLst>
            <pc:docMk/>
            <pc:sldMk cId="3104822206" sldId="2147483105"/>
            <ac:cxnSpMk id="165" creationId="{6FC779B6-D6D2-E737-8D24-6B8770318291}"/>
          </ac:cxnSpMkLst>
        </pc:cxnChg>
        <pc:cxnChg chg="add mod ord">
          <ac:chgData name="Yudi Zhu" userId="571e1a55-055f-4c28-8b35-fca6dd1c1369" providerId="ADAL" clId="{75A88773-6EE1-484E-AADE-FE631E01463B}" dt="2025-11-26T04:02:32.353" v="765701"/>
          <ac:cxnSpMkLst>
            <pc:docMk/>
            <pc:sldMk cId="3104822206" sldId="2147483105"/>
            <ac:cxnSpMk id="167" creationId="{0BD76998-9CDB-1757-0321-4AEA26B31DB8}"/>
          </ac:cxnSpMkLst>
        </pc:cxnChg>
        <pc:cxnChg chg="add mod ord">
          <ac:chgData name="Yudi Zhu" userId="571e1a55-055f-4c28-8b35-fca6dd1c1369" providerId="ADAL" clId="{75A88773-6EE1-484E-AADE-FE631E01463B}" dt="2025-11-26T04:02:32.353" v="765703"/>
          <ac:cxnSpMkLst>
            <pc:docMk/>
            <pc:sldMk cId="3104822206" sldId="2147483105"/>
            <ac:cxnSpMk id="168" creationId="{6646AA18-5D8D-1C76-0A59-6BB9F3AEA6DA}"/>
          </ac:cxnSpMkLst>
        </pc:cxnChg>
        <pc:cxnChg chg="add mod ord">
          <ac:chgData name="Yudi Zhu" userId="571e1a55-055f-4c28-8b35-fca6dd1c1369" providerId="ADAL" clId="{75A88773-6EE1-484E-AADE-FE631E01463B}" dt="2025-11-26T04:02:32.334" v="765630"/>
          <ac:cxnSpMkLst>
            <pc:docMk/>
            <pc:sldMk cId="3104822206" sldId="2147483105"/>
            <ac:cxnSpMk id="169" creationId="{972F8186-BF8C-5C98-0E85-B1C4577E46E0}"/>
          </ac:cxnSpMkLst>
        </pc:cxnChg>
        <pc:cxnChg chg="add mod ord">
          <ac:chgData name="Yudi Zhu" userId="571e1a55-055f-4c28-8b35-fca6dd1c1369" providerId="ADAL" clId="{75A88773-6EE1-484E-AADE-FE631E01463B}" dt="2025-11-26T04:02:32.334" v="765632"/>
          <ac:cxnSpMkLst>
            <pc:docMk/>
            <pc:sldMk cId="3104822206" sldId="2147483105"/>
            <ac:cxnSpMk id="170" creationId="{999C63D5-7E7C-4C2C-D1E5-2CC2427A60A4}"/>
          </ac:cxnSpMkLst>
        </pc:cxnChg>
        <pc:cxnChg chg="add mod ord">
          <ac:chgData name="Yudi Zhu" userId="571e1a55-055f-4c28-8b35-fca6dd1c1369" providerId="ADAL" clId="{75A88773-6EE1-484E-AADE-FE631E01463B}" dt="2025-11-26T04:02:32.334" v="765634"/>
          <ac:cxnSpMkLst>
            <pc:docMk/>
            <pc:sldMk cId="3104822206" sldId="2147483105"/>
            <ac:cxnSpMk id="171" creationId="{62B662F6-D39D-6346-724C-61C62CF0BD6C}"/>
          </ac:cxnSpMkLst>
        </pc:cxnChg>
        <pc:cxnChg chg="add mod ord">
          <ac:chgData name="Yudi Zhu" userId="571e1a55-055f-4c28-8b35-fca6dd1c1369" providerId="ADAL" clId="{75A88773-6EE1-484E-AADE-FE631E01463B}" dt="2025-11-26T04:02:32.334" v="765636"/>
          <ac:cxnSpMkLst>
            <pc:docMk/>
            <pc:sldMk cId="3104822206" sldId="2147483105"/>
            <ac:cxnSpMk id="172" creationId="{5F940AB6-4A64-5859-EA0D-C3D365546570}"/>
          </ac:cxnSpMkLst>
        </pc:cxnChg>
        <pc:cxnChg chg="add mod ord">
          <ac:chgData name="Yudi Zhu" userId="571e1a55-055f-4c28-8b35-fca6dd1c1369" providerId="ADAL" clId="{75A88773-6EE1-484E-AADE-FE631E01463B}" dt="2025-11-26T04:02:32.319" v="765604"/>
          <ac:cxnSpMkLst>
            <pc:docMk/>
            <pc:sldMk cId="3104822206" sldId="2147483105"/>
            <ac:cxnSpMk id="173" creationId="{8C3129E6-FEE7-4314-13E6-9B336F1A3C4D}"/>
          </ac:cxnSpMkLst>
        </pc:cxnChg>
        <pc:cxnChg chg="mod ord">
          <ac:chgData name="Yudi Zhu" userId="571e1a55-055f-4c28-8b35-fca6dd1c1369" providerId="ADAL" clId="{75A88773-6EE1-484E-AADE-FE631E01463B}" dt="2025-11-26T04:02:32.302" v="765538"/>
          <ac:cxnSpMkLst>
            <pc:docMk/>
            <pc:sldMk cId="3104822206" sldId="2147483105"/>
            <ac:cxnSpMk id="352" creationId="{4263A71F-EC78-DFDC-7D74-6EA9067C3D93}"/>
          </ac:cxnSpMkLst>
        </pc:cxnChg>
        <pc:cxnChg chg="del mod ord">
          <ac:chgData name="Yudi Zhu" userId="571e1a55-055f-4c28-8b35-fca6dd1c1369" providerId="ADAL" clId="{75A88773-6EE1-484E-AADE-FE631E01463B}" dt="2025-11-26T04:01:41.968" v="760573"/>
          <ac:cxnSpMkLst>
            <pc:docMk/>
            <pc:sldMk cId="3104822206" sldId="2147483105"/>
            <ac:cxnSpMk id="428" creationId="{69E7427C-117E-56BC-C7B6-997EB645D1E0}"/>
          </ac:cxnSpMkLst>
        </pc:cxnChg>
        <pc:cxnChg chg="del mod ord">
          <ac:chgData name="Yudi Zhu" userId="571e1a55-055f-4c28-8b35-fca6dd1c1369" providerId="ADAL" clId="{75A88773-6EE1-484E-AADE-FE631E01463B}" dt="2025-11-26T04:01:41.979" v="760589"/>
          <ac:cxnSpMkLst>
            <pc:docMk/>
            <pc:sldMk cId="3104822206" sldId="2147483105"/>
            <ac:cxnSpMk id="501" creationId="{31BBDF1D-384A-CA1B-E5CC-8D290EBDEE93}"/>
          </ac:cxnSpMkLst>
        </pc:cxnChg>
        <pc:cxnChg chg="mod ord">
          <ac:chgData name="Yudi Zhu" userId="571e1a55-055f-4c28-8b35-fca6dd1c1369" providerId="ADAL" clId="{75A88773-6EE1-484E-AADE-FE631E01463B}" dt="2025-11-26T04:02:32.310" v="765557"/>
          <ac:cxnSpMkLst>
            <pc:docMk/>
            <pc:sldMk cId="3104822206" sldId="2147483105"/>
            <ac:cxnSpMk id="1005" creationId="{938B6BE6-FD07-85B5-162A-2021870C89B9}"/>
          </ac:cxnSpMkLst>
        </pc:cxnChg>
        <pc:cxnChg chg="mod ord">
          <ac:chgData name="Yudi Zhu" userId="571e1a55-055f-4c28-8b35-fca6dd1c1369" providerId="ADAL" clId="{75A88773-6EE1-484E-AADE-FE631E01463B}" dt="2025-11-26T04:02:32.311" v="765559"/>
          <ac:cxnSpMkLst>
            <pc:docMk/>
            <pc:sldMk cId="3104822206" sldId="2147483105"/>
            <ac:cxnSpMk id="1022" creationId="{C6DB9E9F-DAC5-E517-B8A2-EB49006A9DAA}"/>
          </ac:cxnSpMkLst>
        </pc:cxnChg>
        <pc:cxnChg chg="mod ord">
          <ac:chgData name="Yudi Zhu" userId="571e1a55-055f-4c28-8b35-fca6dd1c1369" providerId="ADAL" clId="{75A88773-6EE1-484E-AADE-FE631E01463B}" dt="2025-11-26T04:02:32.309" v="765555"/>
          <ac:cxnSpMkLst>
            <pc:docMk/>
            <pc:sldMk cId="3104822206" sldId="2147483105"/>
            <ac:cxnSpMk id="1477" creationId="{152B86F5-FAEA-60A6-7C19-C68CC06B21E4}"/>
          </ac:cxnSpMkLst>
        </pc:cxnChg>
        <pc:cxnChg chg="mod ord">
          <ac:chgData name="Yudi Zhu" userId="571e1a55-055f-4c28-8b35-fca6dd1c1369" providerId="ADAL" clId="{75A88773-6EE1-484E-AADE-FE631E01463B}" dt="2025-11-26T04:02:32.248" v="765420"/>
          <ac:cxnSpMkLst>
            <pc:docMk/>
            <pc:sldMk cId="3104822206" sldId="2147483105"/>
            <ac:cxnSpMk id="1593" creationId="{6BDEA4E6-357A-2358-2347-22267E74416D}"/>
          </ac:cxnSpMkLst>
        </pc:cxnChg>
        <pc:cxnChg chg="mod ord">
          <ac:chgData name="Yudi Zhu" userId="571e1a55-055f-4c28-8b35-fca6dd1c1369" providerId="ADAL" clId="{75A88773-6EE1-484E-AADE-FE631E01463B}" dt="2025-11-26T04:02:32.248" v="765424"/>
          <ac:cxnSpMkLst>
            <pc:docMk/>
            <pc:sldMk cId="3104822206" sldId="2147483105"/>
            <ac:cxnSpMk id="1600" creationId="{04D1FAC4-6359-D7AF-AB55-F04359BE2FF7}"/>
          </ac:cxnSpMkLst>
        </pc:cxnChg>
        <pc:cxnChg chg="mod ord">
          <ac:chgData name="Yudi Zhu" userId="571e1a55-055f-4c28-8b35-fca6dd1c1369" providerId="ADAL" clId="{75A88773-6EE1-484E-AADE-FE631E01463B}" dt="2025-11-26T04:02:32.316" v="765572"/>
          <ac:cxnSpMkLst>
            <pc:docMk/>
            <pc:sldMk cId="3104822206" sldId="2147483105"/>
            <ac:cxnSpMk id="1632" creationId="{B4DA3414-B571-A710-4CA4-455FEA70C690}"/>
          </ac:cxnSpMkLst>
        </pc:cxnChg>
        <pc:cxnChg chg="mod ord">
          <ac:chgData name="Yudi Zhu" userId="571e1a55-055f-4c28-8b35-fca6dd1c1369" providerId="ADAL" clId="{75A88773-6EE1-484E-AADE-FE631E01463B}" dt="2025-11-26T04:02:32.316" v="765574"/>
          <ac:cxnSpMkLst>
            <pc:docMk/>
            <pc:sldMk cId="3104822206" sldId="2147483105"/>
            <ac:cxnSpMk id="1633" creationId="{44C7D2AB-95F3-D282-89C9-1BEC81DB6D59}"/>
          </ac:cxnSpMkLst>
        </pc:cxnChg>
        <pc:cxnChg chg="mod ord">
          <ac:chgData name="Yudi Zhu" userId="571e1a55-055f-4c28-8b35-fca6dd1c1369" providerId="ADAL" clId="{75A88773-6EE1-484E-AADE-FE631E01463B}" dt="2025-11-26T04:02:32.317" v="765576"/>
          <ac:cxnSpMkLst>
            <pc:docMk/>
            <pc:sldMk cId="3104822206" sldId="2147483105"/>
            <ac:cxnSpMk id="1634" creationId="{AFA34B1B-0F62-2E29-39C8-9E8DC52E3487}"/>
          </ac:cxnSpMkLst>
        </pc:cxnChg>
        <pc:cxnChg chg="mod ord">
          <ac:chgData name="Yudi Zhu" userId="571e1a55-055f-4c28-8b35-fca6dd1c1369" providerId="ADAL" clId="{75A88773-6EE1-484E-AADE-FE631E01463B}" dt="2025-11-26T04:02:32.319" v="765590"/>
          <ac:cxnSpMkLst>
            <pc:docMk/>
            <pc:sldMk cId="3104822206" sldId="2147483105"/>
            <ac:cxnSpMk id="1718" creationId="{BB946B49-2560-B6BC-DC3B-8E2B7788DF77}"/>
          </ac:cxnSpMkLst>
        </pc:cxnChg>
        <pc:cxnChg chg="mod ord">
          <ac:chgData name="Yudi Zhu" userId="571e1a55-055f-4c28-8b35-fca6dd1c1369" providerId="ADAL" clId="{75A88773-6EE1-484E-AADE-FE631E01463B}" dt="2025-11-26T04:02:32.319" v="765592"/>
          <ac:cxnSpMkLst>
            <pc:docMk/>
            <pc:sldMk cId="3104822206" sldId="2147483105"/>
            <ac:cxnSpMk id="1719" creationId="{86D50972-24CA-21B3-7A84-225DF0E2D40A}"/>
          </ac:cxnSpMkLst>
        </pc:cxnChg>
        <pc:cxnChg chg="mod ord">
          <ac:chgData name="Yudi Zhu" userId="571e1a55-055f-4c28-8b35-fca6dd1c1369" providerId="ADAL" clId="{75A88773-6EE1-484E-AADE-FE631E01463B}" dt="2025-11-26T04:02:32.319" v="765588"/>
          <ac:cxnSpMkLst>
            <pc:docMk/>
            <pc:sldMk cId="3104822206" sldId="2147483105"/>
            <ac:cxnSpMk id="1753" creationId="{6F89B6DC-E3F5-CD48-0D46-FFAA36062107}"/>
          </ac:cxnSpMkLst>
        </pc:cxnChg>
        <pc:cxnChg chg="mod ord">
          <ac:chgData name="Yudi Zhu" userId="571e1a55-055f-4c28-8b35-fca6dd1c1369" providerId="ADAL" clId="{75A88773-6EE1-484E-AADE-FE631E01463B}" dt="2025-11-26T04:02:32.353" v="765709"/>
          <ac:cxnSpMkLst>
            <pc:docMk/>
            <pc:sldMk cId="3104822206" sldId="2147483105"/>
            <ac:cxnSpMk id="1862" creationId="{91C00302-45AE-14F2-B541-2E8ED262889F}"/>
          </ac:cxnSpMkLst>
        </pc:cxnChg>
        <pc:cxnChg chg="del mod ord">
          <ac:chgData name="Yudi Zhu" userId="571e1a55-055f-4c28-8b35-fca6dd1c1369" providerId="ADAL" clId="{75A88773-6EE1-484E-AADE-FE631E01463B}" dt="2025-11-26T04:01:38.255" v="759304"/>
          <ac:cxnSpMkLst>
            <pc:docMk/>
            <pc:sldMk cId="3104822206" sldId="2147483105"/>
            <ac:cxnSpMk id="1863" creationId="{B8AA131A-CAA6-74F0-35F0-4DD438CF1123}"/>
          </ac:cxnSpMkLst>
        </pc:cxnChg>
        <pc:cxnChg chg="mod ord">
          <ac:chgData name="Yudi Zhu" userId="571e1a55-055f-4c28-8b35-fca6dd1c1369" providerId="ADAL" clId="{75A88773-6EE1-484E-AADE-FE631E01463B}" dt="2025-11-26T04:02:32.334" v="765657"/>
          <ac:cxnSpMkLst>
            <pc:docMk/>
            <pc:sldMk cId="3104822206" sldId="2147483105"/>
            <ac:cxnSpMk id="1864" creationId="{BD434C9F-CE09-2FCC-3558-32D5184CF9A3}"/>
          </ac:cxnSpMkLst>
        </pc:cxnChg>
        <pc:cxnChg chg="del mod ord">
          <ac:chgData name="Yudi Zhu" userId="571e1a55-055f-4c28-8b35-fca6dd1c1369" providerId="ADAL" clId="{75A88773-6EE1-484E-AADE-FE631E01463B}" dt="2025-11-26T04:01:38.247" v="759292"/>
          <ac:cxnSpMkLst>
            <pc:docMk/>
            <pc:sldMk cId="3104822206" sldId="2147483105"/>
            <ac:cxnSpMk id="1865" creationId="{B596BBA7-CFA8-C7CD-A259-A5D704AA331F}"/>
          </ac:cxnSpMkLst>
        </pc:cxnChg>
        <pc:cxnChg chg="del mod ord">
          <ac:chgData name="Yudi Zhu" userId="571e1a55-055f-4c28-8b35-fca6dd1c1369" providerId="ADAL" clId="{75A88773-6EE1-484E-AADE-FE631E01463B}" dt="2025-11-26T04:01:38.286" v="759334"/>
          <ac:cxnSpMkLst>
            <pc:docMk/>
            <pc:sldMk cId="3104822206" sldId="2147483105"/>
            <ac:cxnSpMk id="1866" creationId="{29349289-6412-CAD0-5975-DDD3A3E03B9B}"/>
          </ac:cxnSpMkLst>
        </pc:cxnChg>
        <pc:cxnChg chg="del mod ord">
          <ac:chgData name="Yudi Zhu" userId="571e1a55-055f-4c28-8b35-fca6dd1c1369" providerId="ADAL" clId="{75A88773-6EE1-484E-AADE-FE631E01463B}" dt="2025-11-26T04:02:32.063" v="765151"/>
          <ac:cxnSpMkLst>
            <pc:docMk/>
            <pc:sldMk cId="3104822206" sldId="2147483105"/>
            <ac:cxnSpMk id="1867" creationId="{5620269F-6135-C4D2-BCC3-936DCB4BB8D3}"/>
          </ac:cxnSpMkLst>
        </pc:cxnChg>
        <pc:cxnChg chg="add del mod ord">
          <ac:chgData name="Yudi Zhu" userId="571e1a55-055f-4c28-8b35-fca6dd1c1369" providerId="ADAL" clId="{75A88773-6EE1-484E-AADE-FE631E01463B}" dt="2025-11-26T04:01:41.786" v="760372"/>
          <ac:cxnSpMkLst>
            <pc:docMk/>
            <pc:sldMk cId="3104822206" sldId="2147483105"/>
            <ac:cxnSpMk id="1869" creationId="{3D93B532-289A-6D07-76A7-FAEF15F6E634}"/>
          </ac:cxnSpMkLst>
        </pc:cxnChg>
        <pc:cxnChg chg="add del mod ord">
          <ac:chgData name="Yudi Zhu" userId="571e1a55-055f-4c28-8b35-fca6dd1c1369" providerId="ADAL" clId="{75A88773-6EE1-484E-AADE-FE631E01463B}" dt="2025-11-26T04:01:41.817" v="760406"/>
          <ac:cxnSpMkLst>
            <pc:docMk/>
            <pc:sldMk cId="3104822206" sldId="2147483105"/>
            <ac:cxnSpMk id="1895" creationId="{A170019F-717E-0E54-0E1D-D5C5E6095813}"/>
          </ac:cxnSpMkLst>
        </pc:cxnChg>
        <pc:cxnChg chg="add del mod ord">
          <ac:chgData name="Yudi Zhu" userId="571e1a55-055f-4c28-8b35-fca6dd1c1369" providerId="ADAL" clId="{75A88773-6EE1-484E-AADE-FE631E01463B}" dt="2025-11-26T04:01:41.864" v="760473"/>
          <ac:cxnSpMkLst>
            <pc:docMk/>
            <pc:sldMk cId="3104822206" sldId="2147483105"/>
            <ac:cxnSpMk id="1901" creationId="{025DAFDC-A178-A359-4802-F19E2FDDC996}"/>
          </ac:cxnSpMkLst>
        </pc:cxnChg>
        <pc:cxnChg chg="add mod ord">
          <ac:chgData name="Yudi Zhu" userId="571e1a55-055f-4c28-8b35-fca6dd1c1369" providerId="ADAL" clId="{75A88773-6EE1-484E-AADE-FE631E01463B}" dt="2025-11-26T04:02:32.253" v="765449"/>
          <ac:cxnSpMkLst>
            <pc:docMk/>
            <pc:sldMk cId="3104822206" sldId="2147483105"/>
            <ac:cxnSpMk id="1902" creationId="{C5437C24-CCBA-F754-9BC9-B284A3FF3961}"/>
          </ac:cxnSpMkLst>
        </pc:cxnChg>
        <pc:cxnChg chg="add del mod ord">
          <ac:chgData name="Yudi Zhu" userId="571e1a55-055f-4c28-8b35-fca6dd1c1369" providerId="ADAL" clId="{75A88773-6EE1-484E-AADE-FE631E01463B}" dt="2025-11-26T04:01:41.917" v="760521"/>
          <ac:cxnSpMkLst>
            <pc:docMk/>
            <pc:sldMk cId="3104822206" sldId="2147483105"/>
            <ac:cxnSpMk id="1903" creationId="{626C29E1-62D8-F9E9-ACC6-08F4DFF64A01}"/>
          </ac:cxnSpMkLst>
        </pc:cxnChg>
        <pc:cxnChg chg="add mod ord">
          <ac:chgData name="Yudi Zhu" userId="571e1a55-055f-4c28-8b35-fca6dd1c1369" providerId="ADAL" clId="{75A88773-6EE1-484E-AADE-FE631E01463B}" dt="2025-11-26T04:02:32.248" v="765430"/>
          <ac:cxnSpMkLst>
            <pc:docMk/>
            <pc:sldMk cId="3104822206" sldId="2147483105"/>
            <ac:cxnSpMk id="1904" creationId="{687D5229-0DEC-F55F-58EC-6890FEC67FB1}"/>
          </ac:cxnSpMkLst>
        </pc:cxnChg>
        <pc:cxnChg chg="add mod ord">
          <ac:chgData name="Yudi Zhu" userId="571e1a55-055f-4c28-8b35-fca6dd1c1369" providerId="ADAL" clId="{75A88773-6EE1-484E-AADE-FE631E01463B}" dt="2025-11-26T04:02:32.253" v="765432"/>
          <ac:cxnSpMkLst>
            <pc:docMk/>
            <pc:sldMk cId="3104822206" sldId="2147483105"/>
            <ac:cxnSpMk id="1908" creationId="{805A13A4-27F7-A418-4F60-374509C0C6E6}"/>
          </ac:cxnSpMkLst>
        </pc:cxnChg>
        <pc:cxnChg chg="add mod ord">
          <ac:chgData name="Yudi Zhu" userId="571e1a55-055f-4c28-8b35-fca6dd1c1369" providerId="ADAL" clId="{75A88773-6EE1-484E-AADE-FE631E01463B}" dt="2025-11-26T04:02:32.253" v="765434"/>
          <ac:cxnSpMkLst>
            <pc:docMk/>
            <pc:sldMk cId="3104822206" sldId="2147483105"/>
            <ac:cxnSpMk id="1909" creationId="{8271C573-6806-3FDB-7367-E1FD2FBC2887}"/>
          </ac:cxnSpMkLst>
        </pc:cxnChg>
        <pc:cxnChg chg="add mod ord">
          <ac:chgData name="Yudi Zhu" userId="571e1a55-055f-4c28-8b35-fca6dd1c1369" providerId="ADAL" clId="{75A88773-6EE1-484E-AADE-FE631E01463B}" dt="2025-11-26T04:02:32.253" v="765436"/>
          <ac:cxnSpMkLst>
            <pc:docMk/>
            <pc:sldMk cId="3104822206" sldId="2147483105"/>
            <ac:cxnSpMk id="1910" creationId="{BAA735F8-1075-02D4-3F55-C99438C04F02}"/>
          </ac:cxnSpMkLst>
        </pc:cxnChg>
        <pc:cxnChg chg="mod ord">
          <ac:chgData name="Yudi Zhu" userId="571e1a55-055f-4c28-8b35-fca6dd1c1369" providerId="ADAL" clId="{75A88773-6EE1-484E-AADE-FE631E01463B}" dt="2025-11-26T04:02:32.269" v="765495"/>
          <ac:cxnSpMkLst>
            <pc:docMk/>
            <pc:sldMk cId="3104822206" sldId="2147483105"/>
            <ac:cxnSpMk id="1915" creationId="{556810A5-1ED5-31DD-E50C-A26A7DB04837}"/>
          </ac:cxnSpMkLst>
        </pc:cxnChg>
        <pc:cxnChg chg="mod ord">
          <ac:chgData name="Yudi Zhu" userId="571e1a55-055f-4c28-8b35-fca6dd1c1369" providerId="ADAL" clId="{75A88773-6EE1-484E-AADE-FE631E01463B}" dt="2025-11-26T04:02:32.269" v="765497"/>
          <ac:cxnSpMkLst>
            <pc:docMk/>
            <pc:sldMk cId="3104822206" sldId="2147483105"/>
            <ac:cxnSpMk id="1916" creationId="{7945F6A2-9F38-277D-F5AE-EF96B3C11E5E}"/>
          </ac:cxnSpMkLst>
        </pc:cxnChg>
        <pc:cxnChg chg="add mod ord">
          <ac:chgData name="Yudi Zhu" userId="571e1a55-055f-4c28-8b35-fca6dd1c1369" providerId="ADAL" clId="{75A88773-6EE1-484E-AADE-FE631E01463B}" dt="2025-11-26T04:02:32.253" v="765438"/>
          <ac:cxnSpMkLst>
            <pc:docMk/>
            <pc:sldMk cId="3104822206" sldId="2147483105"/>
            <ac:cxnSpMk id="1941" creationId="{C239C4FC-DBFF-B608-4E98-9E4E95455778}"/>
          </ac:cxnSpMkLst>
        </pc:cxnChg>
        <pc:cxnChg chg="add mod ord">
          <ac:chgData name="Yudi Zhu" userId="571e1a55-055f-4c28-8b35-fca6dd1c1369" providerId="ADAL" clId="{75A88773-6EE1-484E-AADE-FE631E01463B}" dt="2025-11-26T04:02:32.253" v="765451"/>
          <ac:cxnSpMkLst>
            <pc:docMk/>
            <pc:sldMk cId="3104822206" sldId="2147483105"/>
            <ac:cxnSpMk id="1944" creationId="{8352C1F9-09F3-65FC-1219-56588FFFC1D8}"/>
          </ac:cxnSpMkLst>
        </pc:cxnChg>
        <pc:cxnChg chg="add mod ord">
          <ac:chgData name="Yudi Zhu" userId="571e1a55-055f-4c28-8b35-fca6dd1c1369" providerId="ADAL" clId="{75A88773-6EE1-484E-AADE-FE631E01463B}" dt="2025-11-26T04:02:32.253" v="765453"/>
          <ac:cxnSpMkLst>
            <pc:docMk/>
            <pc:sldMk cId="3104822206" sldId="2147483105"/>
            <ac:cxnSpMk id="1945" creationId="{7E884ECA-02AB-B98F-91F7-5C08D9AEF98D}"/>
          </ac:cxnSpMkLst>
        </pc:cxnChg>
        <pc:cxnChg chg="mod ord">
          <ac:chgData name="Yudi Zhu" userId="571e1a55-055f-4c28-8b35-fca6dd1c1369" providerId="ADAL" clId="{75A88773-6EE1-484E-AADE-FE631E01463B}" dt="2025-11-26T04:02:32.353" v="765683"/>
          <ac:cxnSpMkLst>
            <pc:docMk/>
            <pc:sldMk cId="3104822206" sldId="2147483105"/>
            <ac:cxnSpMk id="1946" creationId="{740B77F3-F5EF-99B7-D85D-596545B2F04F}"/>
          </ac:cxnSpMkLst>
        </pc:cxnChg>
        <pc:cxnChg chg="mod ord">
          <ac:chgData name="Yudi Zhu" userId="571e1a55-055f-4c28-8b35-fca6dd1c1369" providerId="ADAL" clId="{75A88773-6EE1-484E-AADE-FE631E01463B}" dt="2025-11-26T04:02:32.353" v="765679"/>
          <ac:cxnSpMkLst>
            <pc:docMk/>
            <pc:sldMk cId="3104822206" sldId="2147483105"/>
            <ac:cxnSpMk id="1947" creationId="{17B4B5F2-E8FC-ADF3-19A3-A3DB0AB35F4C}"/>
          </ac:cxnSpMkLst>
        </pc:cxnChg>
        <pc:cxnChg chg="add mod ord">
          <ac:chgData name="Yudi Zhu" userId="571e1a55-055f-4c28-8b35-fca6dd1c1369" providerId="ADAL" clId="{75A88773-6EE1-484E-AADE-FE631E01463B}" dt="2025-11-26T04:02:32.253" v="765459"/>
          <ac:cxnSpMkLst>
            <pc:docMk/>
            <pc:sldMk cId="3104822206" sldId="2147483105"/>
            <ac:cxnSpMk id="1948" creationId="{228C6F2F-5340-A7A0-E057-2E62D808C707}"/>
          </ac:cxnSpMkLst>
        </pc:cxnChg>
        <pc:cxnChg chg="mod ord">
          <ac:chgData name="Yudi Zhu" userId="571e1a55-055f-4c28-8b35-fca6dd1c1369" providerId="ADAL" clId="{75A88773-6EE1-484E-AADE-FE631E01463B}" dt="2025-11-26T04:02:32.353" v="765711"/>
          <ac:cxnSpMkLst>
            <pc:docMk/>
            <pc:sldMk cId="3104822206" sldId="2147483105"/>
            <ac:cxnSpMk id="1949" creationId="{C9EE11E5-6901-6EAB-7E18-5ED9D6913D4C}"/>
          </ac:cxnSpMkLst>
        </pc:cxnChg>
        <pc:cxnChg chg="mod ord">
          <ac:chgData name="Yudi Zhu" userId="571e1a55-055f-4c28-8b35-fca6dd1c1369" providerId="ADAL" clId="{75A88773-6EE1-484E-AADE-FE631E01463B}" dt="2025-11-26T04:02:32.334" v="765659"/>
          <ac:cxnSpMkLst>
            <pc:docMk/>
            <pc:sldMk cId="3104822206" sldId="2147483105"/>
            <ac:cxnSpMk id="1950" creationId="{BB5813E0-A557-C003-BCB5-75AD7EDCD463}"/>
          </ac:cxnSpMkLst>
        </pc:cxnChg>
        <pc:cxnChg chg="mod ord">
          <ac:chgData name="Yudi Zhu" userId="571e1a55-055f-4c28-8b35-fca6dd1c1369" providerId="ADAL" clId="{75A88773-6EE1-484E-AADE-FE631E01463B}" dt="2025-11-26T04:02:32.353" v="765693"/>
          <ac:cxnSpMkLst>
            <pc:docMk/>
            <pc:sldMk cId="3104822206" sldId="2147483105"/>
            <ac:cxnSpMk id="1952" creationId="{9F6C5C97-6F97-B3B9-2103-574FFD071DD2}"/>
          </ac:cxnSpMkLst>
        </pc:cxnChg>
        <pc:cxnChg chg="add mod ord">
          <ac:chgData name="Yudi Zhu" userId="571e1a55-055f-4c28-8b35-fca6dd1c1369" providerId="ADAL" clId="{75A88773-6EE1-484E-AADE-FE631E01463B}" dt="2025-11-26T04:02:32.253" v="765455"/>
          <ac:cxnSpMkLst>
            <pc:docMk/>
            <pc:sldMk cId="3104822206" sldId="2147483105"/>
            <ac:cxnSpMk id="1953" creationId="{34E75396-F1C2-CE71-A264-774B90A220AE}"/>
          </ac:cxnSpMkLst>
        </pc:cxnChg>
        <pc:cxnChg chg="mod ord">
          <ac:chgData name="Yudi Zhu" userId="571e1a55-055f-4c28-8b35-fca6dd1c1369" providerId="ADAL" clId="{75A88773-6EE1-484E-AADE-FE631E01463B}" dt="2025-11-26T04:02:32.353" v="765681"/>
          <ac:cxnSpMkLst>
            <pc:docMk/>
            <pc:sldMk cId="3104822206" sldId="2147483105"/>
            <ac:cxnSpMk id="1954" creationId="{20A2C0B9-1883-F3FF-E1DC-752F91EC303A}"/>
          </ac:cxnSpMkLst>
        </pc:cxnChg>
        <pc:cxnChg chg="add mod ord">
          <ac:chgData name="Yudi Zhu" userId="571e1a55-055f-4c28-8b35-fca6dd1c1369" providerId="ADAL" clId="{75A88773-6EE1-484E-AADE-FE631E01463B}" dt="2025-11-26T04:02:32.253" v="765457"/>
          <ac:cxnSpMkLst>
            <pc:docMk/>
            <pc:sldMk cId="3104822206" sldId="2147483105"/>
            <ac:cxnSpMk id="1955" creationId="{EF0B3A9D-DB92-CDA8-9259-CE4E8AB6C05A}"/>
          </ac:cxnSpMkLst>
        </pc:cxnChg>
        <pc:cxnChg chg="del mod ord">
          <ac:chgData name="Yudi Zhu" userId="571e1a55-055f-4c28-8b35-fca6dd1c1369" providerId="ADAL" clId="{75A88773-6EE1-484E-AADE-FE631E01463B}" dt="2025-11-26T04:02:31.865" v="764794"/>
          <ac:cxnSpMkLst>
            <pc:docMk/>
            <pc:sldMk cId="3104822206" sldId="2147483105"/>
            <ac:cxnSpMk id="1956" creationId="{3A4F1EB6-E0BA-9C77-0516-25ED47D332AC}"/>
          </ac:cxnSpMkLst>
        </pc:cxnChg>
        <pc:cxnChg chg="add mod ord">
          <ac:chgData name="Yudi Zhu" userId="571e1a55-055f-4c28-8b35-fca6dd1c1369" providerId="ADAL" clId="{75A88773-6EE1-484E-AADE-FE631E01463B}" dt="2025-11-26T04:02:32.253" v="765440"/>
          <ac:cxnSpMkLst>
            <pc:docMk/>
            <pc:sldMk cId="3104822206" sldId="2147483105"/>
            <ac:cxnSpMk id="1957" creationId="{80114232-45F0-E7D3-E662-CBC1009B3912}"/>
          </ac:cxnSpMkLst>
        </pc:cxnChg>
        <pc:cxnChg chg="mod ord">
          <ac:chgData name="Yudi Zhu" userId="571e1a55-055f-4c28-8b35-fca6dd1c1369" providerId="ADAL" clId="{75A88773-6EE1-484E-AADE-FE631E01463B}" dt="2025-11-26T04:02:32.334" v="765643"/>
          <ac:cxnSpMkLst>
            <pc:docMk/>
            <pc:sldMk cId="3104822206" sldId="2147483105"/>
            <ac:cxnSpMk id="1958" creationId="{81B721B0-A2A5-9559-32BC-23AEA842ABB2}"/>
          </ac:cxnSpMkLst>
        </pc:cxnChg>
        <pc:cxnChg chg="mod ord">
          <ac:chgData name="Yudi Zhu" userId="571e1a55-055f-4c28-8b35-fca6dd1c1369" providerId="ADAL" clId="{75A88773-6EE1-484E-AADE-FE631E01463B}" dt="2025-11-26T04:02:32.353" v="765691"/>
          <ac:cxnSpMkLst>
            <pc:docMk/>
            <pc:sldMk cId="3104822206" sldId="2147483105"/>
            <ac:cxnSpMk id="1960" creationId="{0D1E6ED6-6DFF-2EDC-F8E8-9FCDE6F4F1B4}"/>
          </ac:cxnSpMkLst>
        </pc:cxnChg>
        <pc:cxnChg chg="mod ord">
          <ac:chgData name="Yudi Zhu" userId="571e1a55-055f-4c28-8b35-fca6dd1c1369" providerId="ADAL" clId="{75A88773-6EE1-484E-AADE-FE631E01463B}" dt="2025-11-26T04:02:32.353" v="765713"/>
          <ac:cxnSpMkLst>
            <pc:docMk/>
            <pc:sldMk cId="3104822206" sldId="2147483105"/>
            <ac:cxnSpMk id="1961" creationId="{7363D516-3D68-CDA6-D255-19B788285CA6}"/>
          </ac:cxnSpMkLst>
        </pc:cxnChg>
        <pc:cxnChg chg="del mod ord">
          <ac:chgData name="Yudi Zhu" userId="571e1a55-055f-4c28-8b35-fca6dd1c1369" providerId="ADAL" clId="{75A88773-6EE1-484E-AADE-FE631E01463B}" dt="2025-11-26T04:02:31.928" v="764909"/>
          <ac:cxnSpMkLst>
            <pc:docMk/>
            <pc:sldMk cId="3104822206" sldId="2147483105"/>
            <ac:cxnSpMk id="1963" creationId="{4FE9B648-3270-C095-2F9D-1A0856AE5A28}"/>
          </ac:cxnSpMkLst>
        </pc:cxnChg>
        <pc:cxnChg chg="mod ord">
          <ac:chgData name="Yudi Zhu" userId="571e1a55-055f-4c28-8b35-fca6dd1c1369" providerId="ADAL" clId="{75A88773-6EE1-484E-AADE-FE631E01463B}" dt="2025-11-26T04:02:32.353" v="765705"/>
          <ac:cxnSpMkLst>
            <pc:docMk/>
            <pc:sldMk cId="3104822206" sldId="2147483105"/>
            <ac:cxnSpMk id="1965" creationId="{9BE48E32-BAF6-B9CC-D505-9C85A23EB2C2}"/>
          </ac:cxnSpMkLst>
        </pc:cxnChg>
        <pc:cxnChg chg="mod ord">
          <ac:chgData name="Yudi Zhu" userId="571e1a55-055f-4c28-8b35-fca6dd1c1369" providerId="ADAL" clId="{75A88773-6EE1-484E-AADE-FE631E01463B}" dt="2025-11-26T04:02:32.350" v="765677"/>
          <ac:cxnSpMkLst>
            <pc:docMk/>
            <pc:sldMk cId="3104822206" sldId="2147483105"/>
            <ac:cxnSpMk id="1967" creationId="{EDAA4A02-6541-F89F-268C-C83BBCCEE0EC}"/>
          </ac:cxnSpMkLst>
        </pc:cxnChg>
        <pc:cxnChg chg="mod ord">
          <ac:chgData name="Yudi Zhu" userId="571e1a55-055f-4c28-8b35-fca6dd1c1369" providerId="ADAL" clId="{75A88773-6EE1-484E-AADE-FE631E01463B}" dt="2025-11-26T04:02:32.334" v="765649"/>
          <ac:cxnSpMkLst>
            <pc:docMk/>
            <pc:sldMk cId="3104822206" sldId="2147483105"/>
            <ac:cxnSpMk id="1968" creationId="{A8892081-58E1-8C46-B95A-9A34557F7E70}"/>
          </ac:cxnSpMkLst>
        </pc:cxnChg>
        <pc:cxnChg chg="del mod ord">
          <ac:chgData name="Yudi Zhu" userId="571e1a55-055f-4c28-8b35-fca6dd1c1369" providerId="ADAL" clId="{75A88773-6EE1-484E-AADE-FE631E01463B}" dt="2025-11-26T04:02:31.973" v="764999"/>
          <ac:cxnSpMkLst>
            <pc:docMk/>
            <pc:sldMk cId="3104822206" sldId="2147483105"/>
            <ac:cxnSpMk id="1970" creationId="{B61163D6-94CA-2F7C-186C-F48DF9E6356C}"/>
          </ac:cxnSpMkLst>
        </pc:cxnChg>
        <pc:cxnChg chg="mod ord">
          <ac:chgData name="Yudi Zhu" userId="571e1a55-055f-4c28-8b35-fca6dd1c1369" providerId="ADAL" clId="{75A88773-6EE1-484E-AADE-FE631E01463B}" dt="2025-11-26T04:02:32.334" v="765655"/>
          <ac:cxnSpMkLst>
            <pc:docMk/>
            <pc:sldMk cId="3104822206" sldId="2147483105"/>
            <ac:cxnSpMk id="1971" creationId="{C76DB44D-D127-F15A-CD49-74A578661CB9}"/>
          </ac:cxnSpMkLst>
        </pc:cxnChg>
        <pc:cxnChg chg="mod ord">
          <ac:chgData name="Yudi Zhu" userId="571e1a55-055f-4c28-8b35-fca6dd1c1369" providerId="ADAL" clId="{75A88773-6EE1-484E-AADE-FE631E01463B}" dt="2025-11-26T04:02:32.334" v="765653"/>
          <ac:cxnSpMkLst>
            <pc:docMk/>
            <pc:sldMk cId="3104822206" sldId="2147483105"/>
            <ac:cxnSpMk id="1972" creationId="{946F64BB-7EDF-43B9-855E-C56DFD4F7694}"/>
          </ac:cxnSpMkLst>
        </pc:cxnChg>
        <pc:cxnChg chg="del mod ord">
          <ac:chgData name="Yudi Zhu" userId="571e1a55-055f-4c28-8b35-fca6dd1c1369" providerId="ADAL" clId="{75A88773-6EE1-484E-AADE-FE631E01463B}" dt="2025-11-26T04:02:31.999" v="765031"/>
          <ac:cxnSpMkLst>
            <pc:docMk/>
            <pc:sldMk cId="3104822206" sldId="2147483105"/>
            <ac:cxnSpMk id="1973" creationId="{085651EA-5F71-39DB-DA57-2D49ED431E64}"/>
          </ac:cxnSpMkLst>
        </pc:cxnChg>
        <pc:cxnChg chg="mod ord">
          <ac:chgData name="Yudi Zhu" userId="571e1a55-055f-4c28-8b35-fca6dd1c1369" providerId="ADAL" clId="{75A88773-6EE1-484E-AADE-FE631E01463B}" dt="2025-11-26T04:02:32.334" v="765661"/>
          <ac:cxnSpMkLst>
            <pc:docMk/>
            <pc:sldMk cId="3104822206" sldId="2147483105"/>
            <ac:cxnSpMk id="1974" creationId="{C67D8BD1-7F82-C908-2853-6E93AA4946A0}"/>
          </ac:cxnSpMkLst>
        </pc:cxnChg>
        <pc:cxnChg chg="mod ord">
          <ac:chgData name="Yudi Zhu" userId="571e1a55-055f-4c28-8b35-fca6dd1c1369" providerId="ADAL" clId="{75A88773-6EE1-484E-AADE-FE631E01463B}" dt="2025-11-26T04:02:32.350" v="765673"/>
          <ac:cxnSpMkLst>
            <pc:docMk/>
            <pc:sldMk cId="3104822206" sldId="2147483105"/>
            <ac:cxnSpMk id="1975" creationId="{4DA23102-C219-DB2E-2336-133280BA7949}"/>
          </ac:cxnSpMkLst>
        </pc:cxnChg>
        <pc:cxnChg chg="del mod ord">
          <ac:chgData name="Yudi Zhu" userId="571e1a55-055f-4c28-8b35-fca6dd1c1369" providerId="ADAL" clId="{75A88773-6EE1-484E-AADE-FE631E01463B}" dt="2025-11-26T04:02:32.031" v="765092"/>
          <ac:cxnSpMkLst>
            <pc:docMk/>
            <pc:sldMk cId="3104822206" sldId="2147483105"/>
            <ac:cxnSpMk id="1976" creationId="{E0490FFC-C605-4FCB-60BE-1EAB7760BB1D}"/>
          </ac:cxnSpMkLst>
        </pc:cxnChg>
        <pc:cxnChg chg="mod ord">
          <ac:chgData name="Yudi Zhu" userId="571e1a55-055f-4c28-8b35-fca6dd1c1369" providerId="ADAL" clId="{75A88773-6EE1-484E-AADE-FE631E01463B}" dt="2025-11-26T04:02:32.319" v="765616"/>
          <ac:cxnSpMkLst>
            <pc:docMk/>
            <pc:sldMk cId="3104822206" sldId="2147483105"/>
            <ac:cxnSpMk id="1978" creationId="{8C8C90B0-867A-6A74-FA4A-96AD431191E3}"/>
          </ac:cxnSpMkLst>
        </pc:cxnChg>
      </pc:sldChg>
      <pc:sldMasterChg chg="addSp delSp modSp mod modSldLayout">
        <pc:chgData name="Yudi Zhu" userId="571e1a55-055f-4c28-8b35-fca6dd1c1369" providerId="ADAL" clId="{75A88773-6EE1-484E-AADE-FE631E01463B}" dt="2025-11-21T06:05:08.806" v="91625"/>
        <pc:sldMasterMkLst>
          <pc:docMk/>
          <pc:sldMasterMk cId="2736379655" sldId="2147483672"/>
        </pc:sldMasterMkLst>
        <pc:spChg chg="add del mod modVis">
          <ac:chgData name="Yudi Zhu" userId="571e1a55-055f-4c28-8b35-fca6dd1c1369" providerId="ADAL" clId="{75A88773-6EE1-484E-AADE-FE631E01463B}" dt="2025-11-21T06:02:24.936" v="70209" actId="478"/>
          <ac:spMkLst>
            <pc:docMk/>
            <pc:sldMasterMk cId="2736379655" sldId="2147483672"/>
            <ac:spMk id="5" creationId="{060B2B1B-1485-0E84-44F3-B2AE9CEE64D6}"/>
          </ac:spMkLst>
        </pc:spChg>
        <pc:spChg chg="mod">
          <ac:chgData name="Yudi Zhu" userId="571e1a55-055f-4c28-8b35-fca6dd1c1369" providerId="ADAL" clId="{75A88773-6EE1-484E-AADE-FE631E01463B}" dt="2025-11-21T06:01:56.561" v="57804" actId="948"/>
          <ac:spMkLst>
            <pc:docMk/>
            <pc:sldMasterMk cId="2736379655" sldId="2147483672"/>
            <ac:spMk id="9" creationId="{00000000-0000-0000-0000-000000000000}"/>
          </ac:spMkLst>
        </pc:spChg>
        <pc:graphicFrameChg chg="mod">
          <ac:chgData name="Yudi Zhu" userId="571e1a55-055f-4c28-8b35-fca6dd1c1369" providerId="ADAL" clId="{75A88773-6EE1-484E-AADE-FE631E01463B}" dt="2025-11-21T06:05:08.630" v="91559"/>
          <ac:graphicFrameMkLst>
            <pc:docMk/>
            <pc:sldMasterMk cId="2736379655" sldId="2147483672"/>
            <ac:graphicFrameMk id="2" creationId="{00000000-0000-0000-0000-000000000000}"/>
          </ac:graphicFrameMkLst>
        </pc:graphicFrameChg>
        <pc:sldLayoutChg chg="addSp delSp modSp mod">
          <pc:chgData name="Yudi Zhu" userId="571e1a55-055f-4c28-8b35-fca6dd1c1369" providerId="ADAL" clId="{75A88773-6EE1-484E-AADE-FE631E01463B}" dt="2025-11-21T06:05:08.640" v="91563"/>
          <pc:sldLayoutMkLst>
            <pc:docMk/>
            <pc:sldMasterMk cId="2736379655" sldId="2147483672"/>
            <pc:sldLayoutMk cId="282941781" sldId="2147483673"/>
          </pc:sldLayoutMkLst>
          <pc:spChg chg="add del mod modVis">
            <ac:chgData name="Yudi Zhu" userId="571e1a55-055f-4c28-8b35-fca6dd1c1369" providerId="ADAL" clId="{75A88773-6EE1-484E-AADE-FE631E01463B}" dt="2025-11-21T06:02:24.945" v="70213" actId="478"/>
            <ac:spMkLst>
              <pc:docMk/>
              <pc:sldMasterMk cId="2736379655" sldId="2147483672"/>
              <pc:sldLayoutMk cId="282941781" sldId="2147483673"/>
              <ac:spMk id="5" creationId="{5FBD8EB5-BFAB-1590-C9A7-4E6E9928CA5C}"/>
            </ac:spMkLst>
          </pc:spChg>
          <pc:spChg chg="mod">
            <ac:chgData name="Yudi Zhu" userId="571e1a55-055f-4c28-8b35-fca6dd1c1369" providerId="ADAL" clId="{75A88773-6EE1-484E-AADE-FE631E01463B}" dt="2025-11-21T06:01:56.635" v="57846" actId="948"/>
            <ac:spMkLst>
              <pc:docMk/>
              <pc:sldMasterMk cId="2736379655" sldId="2147483672"/>
              <pc:sldLayoutMk cId="282941781" sldId="2147483673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8.640" v="91563"/>
            <ac:graphicFrameMkLst>
              <pc:docMk/>
              <pc:sldMasterMk cId="2736379655" sldId="2147483672"/>
              <pc:sldLayoutMk cId="282941781" sldId="2147483673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35" v="91561"/>
          <pc:sldLayoutMkLst>
            <pc:docMk/>
            <pc:sldMasterMk cId="2736379655" sldId="2147483672"/>
            <pc:sldLayoutMk cId="2250758791" sldId="2147483674"/>
          </pc:sldLayoutMkLst>
          <pc:spChg chg="add del mod modVis">
            <ac:chgData name="Yudi Zhu" userId="571e1a55-055f-4c28-8b35-fca6dd1c1369" providerId="ADAL" clId="{75A88773-6EE1-484E-AADE-FE631E01463B}" dt="2025-11-21T06:02:24.941" v="70211" actId="478"/>
            <ac:spMkLst>
              <pc:docMk/>
              <pc:sldMasterMk cId="2736379655" sldId="2147483672"/>
              <pc:sldLayoutMk cId="2250758791" sldId="2147483674"/>
              <ac:spMk id="5" creationId="{DA0954D9-8EDB-47E2-EA7F-CB93E2789047}"/>
            </ac:spMkLst>
          </pc:spChg>
          <pc:spChg chg="mod">
            <ac:chgData name="Yudi Zhu" userId="571e1a55-055f-4c28-8b35-fca6dd1c1369" providerId="ADAL" clId="{75A88773-6EE1-484E-AADE-FE631E01463B}" dt="2025-11-21T06:01:56.599" v="57825" actId="948"/>
            <ac:spMkLst>
              <pc:docMk/>
              <pc:sldMasterMk cId="2736379655" sldId="2147483672"/>
              <pc:sldLayoutMk cId="2250758791" sldId="2147483674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8.635" v="91561"/>
            <ac:graphicFrameMkLst>
              <pc:docMk/>
              <pc:sldMasterMk cId="2736379655" sldId="2147483672"/>
              <pc:sldLayoutMk cId="2250758791" sldId="2147483674"/>
              <ac:graphicFrameMk id="3" creationId="{EA8382DF-DD0E-40F7-835E-30AACFFFD9C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66" v="91573"/>
          <pc:sldLayoutMkLst>
            <pc:docMk/>
            <pc:sldMasterMk cId="2736379655" sldId="2147483672"/>
            <pc:sldLayoutMk cId="2236217607" sldId="2147483675"/>
          </pc:sldLayoutMkLst>
          <pc:spChg chg="add del mod modVis">
            <ac:chgData name="Yudi Zhu" userId="571e1a55-055f-4c28-8b35-fca6dd1c1369" providerId="ADAL" clId="{75A88773-6EE1-484E-AADE-FE631E01463B}" dt="2025-11-21T06:02:24.965" v="70223" actId="478"/>
            <ac:spMkLst>
              <pc:docMk/>
              <pc:sldMasterMk cId="2736379655" sldId="2147483672"/>
              <pc:sldLayoutMk cId="2236217607" sldId="2147483675"/>
              <ac:spMk id="3" creationId="{37894265-335C-43D2-5297-353C126E2DD3}"/>
            </ac:spMkLst>
          </pc:spChg>
          <pc:spChg chg="mod">
            <ac:chgData name="Yudi Zhu" userId="571e1a55-055f-4c28-8b35-fca6dd1c1369" providerId="ADAL" clId="{75A88773-6EE1-484E-AADE-FE631E01463B}" dt="2025-11-21T06:01:56.823" v="57951" actId="948"/>
            <ac:spMkLst>
              <pc:docMk/>
              <pc:sldMasterMk cId="2736379655" sldId="2147483672"/>
              <pc:sldLayoutMk cId="2236217607" sldId="2147483675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666" v="91573"/>
            <ac:graphicFrameMkLst>
              <pc:docMk/>
              <pc:sldMasterMk cId="2736379655" sldId="2147483672"/>
              <pc:sldLayoutMk cId="2236217607" sldId="2147483675"/>
              <ac:graphicFrameMk id="4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60" v="91571"/>
          <pc:sldLayoutMkLst>
            <pc:docMk/>
            <pc:sldMasterMk cId="2736379655" sldId="2147483672"/>
            <pc:sldLayoutMk cId="1480071058" sldId="2147483676"/>
          </pc:sldLayoutMkLst>
          <pc:spChg chg="mod">
            <ac:chgData name="Yudi Zhu" userId="571e1a55-055f-4c28-8b35-fca6dd1c1369" providerId="ADAL" clId="{75A88773-6EE1-484E-AADE-FE631E01463B}" dt="2025-11-21T06:01:56.787" v="57930" actId="948"/>
            <ac:spMkLst>
              <pc:docMk/>
              <pc:sldMasterMk cId="2736379655" sldId="2147483672"/>
              <pc:sldLayoutMk cId="1480071058" sldId="2147483676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62" v="70221" actId="478"/>
            <ac:spMkLst>
              <pc:docMk/>
              <pc:sldMasterMk cId="2736379655" sldId="2147483672"/>
              <pc:sldLayoutMk cId="1480071058" sldId="2147483676"/>
              <ac:spMk id="4" creationId="{A3E313CF-8A09-6840-B3AD-124F1B157629}"/>
            </ac:spMkLst>
          </pc:spChg>
          <pc:graphicFrameChg chg="mod">
            <ac:chgData name="Yudi Zhu" userId="571e1a55-055f-4c28-8b35-fca6dd1c1369" providerId="ADAL" clId="{75A88773-6EE1-484E-AADE-FE631E01463B}" dt="2025-11-21T06:05:08.660" v="91571"/>
            <ac:graphicFrameMkLst>
              <pc:docMk/>
              <pc:sldMasterMk cId="2736379655" sldId="2147483672"/>
              <pc:sldLayoutMk cId="1480071058" sldId="2147483676"/>
              <ac:graphicFrameMk id="11" creationId="{1C49E326-DBA2-4445-874C-28966110423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56" v="91569"/>
          <pc:sldLayoutMkLst>
            <pc:docMk/>
            <pc:sldMasterMk cId="2736379655" sldId="2147483672"/>
            <pc:sldLayoutMk cId="1785543992" sldId="2147483677"/>
          </pc:sldLayoutMkLst>
          <pc:spChg chg="mod">
            <ac:chgData name="Yudi Zhu" userId="571e1a55-055f-4c28-8b35-fca6dd1c1369" providerId="ADAL" clId="{75A88773-6EE1-484E-AADE-FE631E01463B}" dt="2025-11-21T06:01:56.750" v="57909" actId="948"/>
            <ac:spMkLst>
              <pc:docMk/>
              <pc:sldMasterMk cId="2736379655" sldId="2147483672"/>
              <pc:sldLayoutMk cId="1785543992" sldId="2147483677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58" v="70219" actId="478"/>
            <ac:spMkLst>
              <pc:docMk/>
              <pc:sldMasterMk cId="2736379655" sldId="2147483672"/>
              <pc:sldLayoutMk cId="1785543992" sldId="2147483677"/>
              <ac:spMk id="9" creationId="{980BFD82-B9C2-1B83-DFF2-39B14E3CD0A4}"/>
            </ac:spMkLst>
          </pc:spChg>
          <pc:graphicFrameChg chg="mod">
            <ac:chgData name="Yudi Zhu" userId="571e1a55-055f-4c28-8b35-fca6dd1c1369" providerId="ADAL" clId="{75A88773-6EE1-484E-AADE-FE631E01463B}" dt="2025-11-21T06:05:08.656" v="91569"/>
            <ac:graphicFrameMkLst>
              <pc:docMk/>
              <pc:sldMasterMk cId="2736379655" sldId="2147483672"/>
              <pc:sldLayoutMk cId="1785543992" sldId="2147483677"/>
              <ac:graphicFrameMk id="5" creationId="{233D9DF1-FCEF-430D-A893-2CC47EDD51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51" v="91567"/>
          <pc:sldLayoutMkLst>
            <pc:docMk/>
            <pc:sldMasterMk cId="2736379655" sldId="2147483672"/>
            <pc:sldLayoutMk cId="2830834644" sldId="2147483678"/>
          </pc:sldLayoutMkLst>
          <pc:spChg chg="mod">
            <ac:chgData name="Yudi Zhu" userId="571e1a55-055f-4c28-8b35-fca6dd1c1369" providerId="ADAL" clId="{75A88773-6EE1-484E-AADE-FE631E01463B}" dt="2025-11-21T06:01:56.708" v="57888" actId="948"/>
            <ac:spMkLst>
              <pc:docMk/>
              <pc:sldMasterMk cId="2736379655" sldId="2147483672"/>
              <pc:sldLayoutMk cId="2830834644" sldId="2147483678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53" v="70217" actId="478"/>
            <ac:spMkLst>
              <pc:docMk/>
              <pc:sldMasterMk cId="2736379655" sldId="2147483672"/>
              <pc:sldLayoutMk cId="2830834644" sldId="2147483678"/>
              <ac:spMk id="9" creationId="{20F22935-3512-BE20-4078-98C41DCAE70F}"/>
            </ac:spMkLst>
          </pc:spChg>
          <pc:graphicFrameChg chg="mod">
            <ac:chgData name="Yudi Zhu" userId="571e1a55-055f-4c28-8b35-fca6dd1c1369" providerId="ADAL" clId="{75A88773-6EE1-484E-AADE-FE631E01463B}" dt="2025-11-21T06:05:08.651" v="91567"/>
            <ac:graphicFrameMkLst>
              <pc:docMk/>
              <pc:sldMasterMk cId="2736379655" sldId="2147483672"/>
              <pc:sldLayoutMk cId="2830834644" sldId="2147483678"/>
              <ac:graphicFrameMk id="5" creationId="{AA26FC7E-B5D2-403D-B518-88504CD8F4D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45" v="91565"/>
          <pc:sldLayoutMkLst>
            <pc:docMk/>
            <pc:sldMasterMk cId="2736379655" sldId="2147483672"/>
            <pc:sldLayoutMk cId="1967955168" sldId="2147483679"/>
          </pc:sldLayoutMkLst>
          <pc:spChg chg="mod">
            <ac:chgData name="Yudi Zhu" userId="571e1a55-055f-4c28-8b35-fca6dd1c1369" providerId="ADAL" clId="{75A88773-6EE1-484E-AADE-FE631E01463B}" dt="2025-11-21T06:01:56.669" v="57867" actId="948"/>
            <ac:spMkLst>
              <pc:docMk/>
              <pc:sldMasterMk cId="2736379655" sldId="2147483672"/>
              <pc:sldLayoutMk cId="1967955168" sldId="2147483679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49" v="70215" actId="478"/>
            <ac:spMkLst>
              <pc:docMk/>
              <pc:sldMasterMk cId="2736379655" sldId="2147483672"/>
              <pc:sldLayoutMk cId="1967955168" sldId="2147483679"/>
              <ac:spMk id="9" creationId="{5896F995-2A20-00EE-3E77-788FD9C55223}"/>
            </ac:spMkLst>
          </pc:spChg>
          <pc:graphicFrameChg chg="mod">
            <ac:chgData name="Yudi Zhu" userId="571e1a55-055f-4c28-8b35-fca6dd1c1369" providerId="ADAL" clId="{75A88773-6EE1-484E-AADE-FE631E01463B}" dt="2025-11-21T06:05:08.645" v="91565"/>
            <ac:graphicFrameMkLst>
              <pc:docMk/>
              <pc:sldMasterMk cId="2736379655" sldId="2147483672"/>
              <pc:sldLayoutMk cId="1967955168" sldId="2147483679"/>
              <ac:graphicFrameMk id="7" creationId="{44EFA9AF-5D73-4A5C-95AB-BDC831988A6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76" v="91577"/>
          <pc:sldLayoutMkLst>
            <pc:docMk/>
            <pc:sldMasterMk cId="2736379655" sldId="2147483672"/>
            <pc:sldLayoutMk cId="2627114888" sldId="2147483680"/>
          </pc:sldLayoutMkLst>
          <pc:spChg chg="mod">
            <ac:chgData name="Yudi Zhu" userId="571e1a55-055f-4c28-8b35-fca6dd1c1369" providerId="ADAL" clId="{75A88773-6EE1-484E-AADE-FE631E01463B}" dt="2025-11-21T06:01:56.898" v="57993" actId="948"/>
            <ac:spMkLst>
              <pc:docMk/>
              <pc:sldMasterMk cId="2736379655" sldId="2147483672"/>
              <pc:sldLayoutMk cId="2627114888" sldId="2147483680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74" v="70227" actId="478"/>
            <ac:spMkLst>
              <pc:docMk/>
              <pc:sldMasterMk cId="2736379655" sldId="2147483672"/>
              <pc:sldLayoutMk cId="2627114888" sldId="2147483680"/>
              <ac:spMk id="9" creationId="{323D19A3-9344-F380-322F-BABEB75550EE}"/>
            </ac:spMkLst>
          </pc:spChg>
          <pc:graphicFrameChg chg="mod">
            <ac:chgData name="Yudi Zhu" userId="571e1a55-055f-4c28-8b35-fca6dd1c1369" providerId="ADAL" clId="{75A88773-6EE1-484E-AADE-FE631E01463B}" dt="2025-11-21T06:05:08.676" v="91577"/>
            <ac:graphicFrameMkLst>
              <pc:docMk/>
              <pc:sldMasterMk cId="2736379655" sldId="2147483672"/>
              <pc:sldLayoutMk cId="2627114888" sldId="2147483680"/>
              <ac:graphicFrameMk id="5" creationId="{A60AC594-74DD-41E5-9BEC-4966C0107C5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71" v="91575"/>
          <pc:sldLayoutMkLst>
            <pc:docMk/>
            <pc:sldMasterMk cId="2736379655" sldId="2147483672"/>
            <pc:sldLayoutMk cId="1837848828" sldId="2147483681"/>
          </pc:sldLayoutMkLst>
          <pc:spChg chg="mod">
            <ac:chgData name="Yudi Zhu" userId="571e1a55-055f-4c28-8b35-fca6dd1c1369" providerId="ADAL" clId="{75A88773-6EE1-484E-AADE-FE631E01463B}" dt="2025-11-21T06:01:56.860" v="57972" actId="948"/>
            <ac:spMkLst>
              <pc:docMk/>
              <pc:sldMasterMk cId="2736379655" sldId="2147483672"/>
              <pc:sldLayoutMk cId="1837848828" sldId="2147483681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970" v="70225" actId="478"/>
            <ac:spMkLst>
              <pc:docMk/>
              <pc:sldMasterMk cId="2736379655" sldId="2147483672"/>
              <pc:sldLayoutMk cId="1837848828" sldId="2147483681"/>
              <ac:spMk id="10" creationId="{879A6201-C24D-0D7B-B7BA-3DA340BAFE47}"/>
            </ac:spMkLst>
          </pc:spChg>
          <pc:graphicFrameChg chg="mod">
            <ac:chgData name="Yudi Zhu" userId="571e1a55-055f-4c28-8b35-fca6dd1c1369" providerId="ADAL" clId="{75A88773-6EE1-484E-AADE-FE631E01463B}" dt="2025-11-21T06:05:08.671" v="91575"/>
            <ac:graphicFrameMkLst>
              <pc:docMk/>
              <pc:sldMasterMk cId="2736379655" sldId="2147483672"/>
              <pc:sldLayoutMk cId="1837848828" sldId="2147483681"/>
              <ac:graphicFrameMk id="7" creationId="{CB8E99FA-EA61-4A50-84AE-4C4EAD18947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81" v="91579"/>
          <pc:sldLayoutMkLst>
            <pc:docMk/>
            <pc:sldMasterMk cId="2736379655" sldId="2147483672"/>
            <pc:sldLayoutMk cId="1273026239" sldId="2147483682"/>
          </pc:sldLayoutMkLst>
          <pc:spChg chg="mod">
            <ac:chgData name="Yudi Zhu" userId="571e1a55-055f-4c28-8b35-fca6dd1c1369" providerId="ADAL" clId="{75A88773-6EE1-484E-AADE-FE631E01463B}" dt="2025-11-21T06:01:56.935" v="58014" actId="948"/>
            <ac:spMkLst>
              <pc:docMk/>
              <pc:sldMasterMk cId="2736379655" sldId="2147483672"/>
              <pc:sldLayoutMk cId="1273026239" sldId="2147483682"/>
              <ac:spMk id="9" creationId="{077DD58C-F691-8349-8D04-9EA40DEFCE8E}"/>
            </ac:spMkLst>
          </pc:spChg>
          <pc:spChg chg="add del mod modVis">
            <ac:chgData name="Yudi Zhu" userId="571e1a55-055f-4c28-8b35-fca6dd1c1369" providerId="ADAL" clId="{75A88773-6EE1-484E-AADE-FE631E01463B}" dt="2025-11-21T06:02:24.978" v="70229" actId="478"/>
            <ac:spMkLst>
              <pc:docMk/>
              <pc:sldMasterMk cId="2736379655" sldId="2147483672"/>
              <pc:sldLayoutMk cId="1273026239" sldId="2147483682"/>
              <ac:spMk id="55" creationId="{AA4FA4BC-9A8D-7658-53CA-8BB4A08ACA3C}"/>
            </ac:spMkLst>
          </pc:spChg>
          <pc:graphicFrameChg chg="mod">
            <ac:chgData name="Yudi Zhu" userId="571e1a55-055f-4c28-8b35-fca6dd1c1369" providerId="ADAL" clId="{75A88773-6EE1-484E-AADE-FE631E01463B}" dt="2025-11-21T06:05:08.681" v="91579"/>
            <ac:graphicFrameMkLst>
              <pc:docMk/>
              <pc:sldMasterMk cId="2736379655" sldId="2147483672"/>
              <pc:sldLayoutMk cId="1273026239" sldId="2147483682"/>
              <ac:graphicFrameMk id="4" creationId="{142ADBD7-DF1A-43E7-8670-644A11CBC42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93" v="91583"/>
          <pc:sldLayoutMkLst>
            <pc:docMk/>
            <pc:sldMasterMk cId="2736379655" sldId="2147483672"/>
            <pc:sldLayoutMk cId="635377561" sldId="2147483683"/>
          </pc:sldLayoutMkLst>
          <pc:spChg chg="mod">
            <ac:chgData name="Yudi Zhu" userId="571e1a55-055f-4c28-8b35-fca6dd1c1369" providerId="ADAL" clId="{75A88773-6EE1-484E-AADE-FE631E01463B}" dt="2025-11-21T06:01:57.009" v="58056" actId="948"/>
            <ac:spMkLst>
              <pc:docMk/>
              <pc:sldMasterMk cId="2736379655" sldId="2147483672"/>
              <pc:sldLayoutMk cId="635377561" sldId="2147483683"/>
              <ac:spMk id="9" creationId="{077DD58C-F691-8349-8D04-9EA40DEFCE8E}"/>
            </ac:spMkLst>
          </pc:spChg>
          <pc:spChg chg="add del mod modVis">
            <ac:chgData name="Yudi Zhu" userId="571e1a55-055f-4c28-8b35-fca6dd1c1369" providerId="ADAL" clId="{75A88773-6EE1-484E-AADE-FE631E01463B}" dt="2025-11-21T06:02:24.986" v="70233" actId="478"/>
            <ac:spMkLst>
              <pc:docMk/>
              <pc:sldMasterMk cId="2736379655" sldId="2147483672"/>
              <pc:sldLayoutMk cId="635377561" sldId="2147483683"/>
              <ac:spMk id="10" creationId="{16A1B0EC-DD39-CF61-499D-4AD5372E1EA5}"/>
            </ac:spMkLst>
          </pc:spChg>
          <pc:graphicFrameChg chg="mod">
            <ac:chgData name="Yudi Zhu" userId="571e1a55-055f-4c28-8b35-fca6dd1c1369" providerId="ADAL" clId="{75A88773-6EE1-484E-AADE-FE631E01463B}" dt="2025-11-21T06:05:08.693" v="91583"/>
            <ac:graphicFrameMkLst>
              <pc:docMk/>
              <pc:sldMasterMk cId="2736379655" sldId="2147483672"/>
              <pc:sldLayoutMk cId="635377561" sldId="2147483683"/>
              <ac:graphicFrameMk id="7" creationId="{C1938CA3-0A88-445C-8BD1-B883D6BE39A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99" v="91585"/>
          <pc:sldLayoutMkLst>
            <pc:docMk/>
            <pc:sldMasterMk cId="2736379655" sldId="2147483672"/>
            <pc:sldLayoutMk cId="1509453833" sldId="2147483684"/>
          </pc:sldLayoutMkLst>
          <pc:spChg chg="mod">
            <ac:chgData name="Yudi Zhu" userId="571e1a55-055f-4c28-8b35-fca6dd1c1369" providerId="ADAL" clId="{75A88773-6EE1-484E-AADE-FE631E01463B}" dt="2025-11-21T06:01:57.048" v="58077" actId="948"/>
            <ac:spMkLst>
              <pc:docMk/>
              <pc:sldMasterMk cId="2736379655" sldId="2147483672"/>
              <pc:sldLayoutMk cId="1509453833" sldId="2147483684"/>
              <ac:spMk id="9" creationId="{78FEB782-97E7-6B46-98EB-11F9D2031ADB}"/>
            </ac:spMkLst>
          </pc:spChg>
          <pc:spChg chg="add del mod modVis">
            <ac:chgData name="Yudi Zhu" userId="571e1a55-055f-4c28-8b35-fca6dd1c1369" providerId="ADAL" clId="{75A88773-6EE1-484E-AADE-FE631E01463B}" dt="2025-11-21T06:02:24.990" v="70235" actId="478"/>
            <ac:spMkLst>
              <pc:docMk/>
              <pc:sldMasterMk cId="2736379655" sldId="2147483672"/>
              <pc:sldLayoutMk cId="1509453833" sldId="2147483684"/>
              <ac:spMk id="10" creationId="{E88FEE50-B20B-8D45-D61C-B740FD6BEFF8}"/>
            </ac:spMkLst>
          </pc:spChg>
          <pc:graphicFrameChg chg="mod">
            <ac:chgData name="Yudi Zhu" userId="571e1a55-055f-4c28-8b35-fca6dd1c1369" providerId="ADAL" clId="{75A88773-6EE1-484E-AADE-FE631E01463B}" dt="2025-11-21T06:05:08.699" v="91585"/>
            <ac:graphicFrameMkLst>
              <pc:docMk/>
              <pc:sldMasterMk cId="2736379655" sldId="2147483672"/>
              <pc:sldLayoutMk cId="1509453833" sldId="2147483684"/>
              <ac:graphicFrameMk id="7" creationId="{B6B6FC61-B9D5-4F53-A9F8-80380D75FDC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04" v="91587"/>
          <pc:sldLayoutMkLst>
            <pc:docMk/>
            <pc:sldMasterMk cId="2736379655" sldId="2147483672"/>
            <pc:sldLayoutMk cId="29157018" sldId="2147483685"/>
          </pc:sldLayoutMkLst>
          <pc:spChg chg="add del mod modVis">
            <ac:chgData name="Yudi Zhu" userId="571e1a55-055f-4c28-8b35-fca6dd1c1369" providerId="ADAL" clId="{75A88773-6EE1-484E-AADE-FE631E01463B}" dt="2025-11-21T06:02:24.994" v="70237" actId="478"/>
            <ac:spMkLst>
              <pc:docMk/>
              <pc:sldMasterMk cId="2736379655" sldId="2147483672"/>
              <pc:sldLayoutMk cId="29157018" sldId="2147483685"/>
              <ac:spMk id="7" creationId="{322F38D8-E6E2-D4D4-66D9-2E812C5341BC}"/>
            </ac:spMkLst>
          </pc:spChg>
          <pc:spChg chg="mod">
            <ac:chgData name="Yudi Zhu" userId="571e1a55-055f-4c28-8b35-fca6dd1c1369" providerId="ADAL" clId="{75A88773-6EE1-484E-AADE-FE631E01463B}" dt="2025-11-21T06:01:57.086" v="58098" actId="948"/>
            <ac:spMkLst>
              <pc:docMk/>
              <pc:sldMasterMk cId="2736379655" sldId="2147483672"/>
              <pc:sldLayoutMk cId="29157018" sldId="2147483685"/>
              <ac:spMk id="9" creationId="{78FEB782-97E7-6B46-98EB-11F9D2031ADB}"/>
            </ac:spMkLst>
          </pc:spChg>
          <pc:graphicFrameChg chg="mod">
            <ac:chgData name="Yudi Zhu" userId="571e1a55-055f-4c28-8b35-fca6dd1c1369" providerId="ADAL" clId="{75A88773-6EE1-484E-AADE-FE631E01463B}" dt="2025-11-21T06:05:08.704" v="91587"/>
            <ac:graphicFrameMkLst>
              <pc:docMk/>
              <pc:sldMasterMk cId="2736379655" sldId="2147483672"/>
              <pc:sldLayoutMk cId="29157018" sldId="2147483685"/>
              <ac:graphicFrameMk id="5" creationId="{2C3F72DE-1E77-4CF8-AB31-BE226257EA4E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09" v="91589"/>
          <pc:sldLayoutMkLst>
            <pc:docMk/>
            <pc:sldMasterMk cId="2736379655" sldId="2147483672"/>
            <pc:sldLayoutMk cId="2869423447" sldId="2147483686"/>
          </pc:sldLayoutMkLst>
          <pc:spChg chg="mod">
            <ac:chgData name="Yudi Zhu" userId="571e1a55-055f-4c28-8b35-fca6dd1c1369" providerId="ADAL" clId="{75A88773-6EE1-484E-AADE-FE631E01463B}" dt="2025-11-21T06:01:57.124" v="58119" actId="948"/>
            <ac:spMkLst>
              <pc:docMk/>
              <pc:sldMasterMk cId="2736379655" sldId="2147483672"/>
              <pc:sldLayoutMk cId="2869423447" sldId="2147483686"/>
              <ac:spMk id="8" creationId="{EFF4B651-A3DD-164E-A86F-87AAFD959FD9}"/>
            </ac:spMkLst>
          </pc:spChg>
          <pc:spChg chg="add del mod modVis">
            <ac:chgData name="Yudi Zhu" userId="571e1a55-055f-4c28-8b35-fca6dd1c1369" providerId="ADAL" clId="{75A88773-6EE1-484E-AADE-FE631E01463B}" dt="2025-11-21T06:02:24.999" v="70239" actId="478"/>
            <ac:spMkLst>
              <pc:docMk/>
              <pc:sldMasterMk cId="2736379655" sldId="2147483672"/>
              <pc:sldLayoutMk cId="2869423447" sldId="2147483686"/>
              <ac:spMk id="12" creationId="{28064140-A538-647E-2659-E2AD98103242}"/>
            </ac:spMkLst>
          </pc:spChg>
          <pc:graphicFrameChg chg="mod">
            <ac:chgData name="Yudi Zhu" userId="571e1a55-055f-4c28-8b35-fca6dd1c1369" providerId="ADAL" clId="{75A88773-6EE1-484E-AADE-FE631E01463B}" dt="2025-11-21T06:05:08.709" v="91589"/>
            <ac:graphicFrameMkLst>
              <pc:docMk/>
              <pc:sldMasterMk cId="2736379655" sldId="2147483672"/>
              <pc:sldLayoutMk cId="2869423447" sldId="2147483686"/>
              <ac:graphicFrameMk id="9" creationId="{F198DD6D-4CB4-41B2-A6EB-106DE8DB82F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688" v="91581"/>
          <pc:sldLayoutMkLst>
            <pc:docMk/>
            <pc:sldMasterMk cId="2736379655" sldId="2147483672"/>
            <pc:sldLayoutMk cId="46463285" sldId="2147483687"/>
          </pc:sldLayoutMkLst>
          <pc:spChg chg="mod">
            <ac:chgData name="Yudi Zhu" userId="571e1a55-055f-4c28-8b35-fca6dd1c1369" providerId="ADAL" clId="{75A88773-6EE1-484E-AADE-FE631E01463B}" dt="2025-11-21T06:01:56.973" v="58035" actId="948"/>
            <ac:spMkLst>
              <pc:docMk/>
              <pc:sldMasterMk cId="2736379655" sldId="2147483672"/>
              <pc:sldLayoutMk cId="46463285" sldId="2147483687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4.982" v="70231" actId="478"/>
            <ac:spMkLst>
              <pc:docMk/>
              <pc:sldMasterMk cId="2736379655" sldId="2147483672"/>
              <pc:sldLayoutMk cId="46463285" sldId="2147483687"/>
              <ac:spMk id="12" creationId="{2FA97BEF-DB2F-0D02-5E43-4DCC1532B983}"/>
            </ac:spMkLst>
          </pc:spChg>
          <pc:graphicFrameChg chg="mod">
            <ac:chgData name="Yudi Zhu" userId="571e1a55-055f-4c28-8b35-fca6dd1c1369" providerId="ADAL" clId="{75A88773-6EE1-484E-AADE-FE631E01463B}" dt="2025-11-21T06:05:08.688" v="91581"/>
            <ac:graphicFrameMkLst>
              <pc:docMk/>
              <pc:sldMasterMk cId="2736379655" sldId="2147483672"/>
              <pc:sldLayoutMk cId="46463285" sldId="2147483687"/>
              <ac:graphicFrameMk id="9" creationId="{51727105-51C1-4E4A-9888-1325C5102F8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15" v="91591"/>
          <pc:sldLayoutMkLst>
            <pc:docMk/>
            <pc:sldMasterMk cId="2736379655" sldId="2147483672"/>
            <pc:sldLayoutMk cId="871925752" sldId="2147483688"/>
          </pc:sldLayoutMkLst>
          <pc:spChg chg="mod">
            <ac:chgData name="Yudi Zhu" userId="571e1a55-055f-4c28-8b35-fca6dd1c1369" providerId="ADAL" clId="{75A88773-6EE1-484E-AADE-FE631E01463B}" dt="2025-11-21T06:01:57.161" v="58140" actId="948"/>
            <ac:spMkLst>
              <pc:docMk/>
              <pc:sldMasterMk cId="2736379655" sldId="2147483672"/>
              <pc:sldLayoutMk cId="871925752" sldId="2147483688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5.002" v="70241" actId="478"/>
            <ac:spMkLst>
              <pc:docMk/>
              <pc:sldMasterMk cId="2736379655" sldId="2147483672"/>
              <pc:sldLayoutMk cId="871925752" sldId="2147483688"/>
              <ac:spMk id="12" creationId="{C24FF156-BD3D-ABE4-00EF-5F73B1F14590}"/>
            </ac:spMkLst>
          </pc:spChg>
          <pc:graphicFrameChg chg="mod">
            <ac:chgData name="Yudi Zhu" userId="571e1a55-055f-4c28-8b35-fca6dd1c1369" providerId="ADAL" clId="{75A88773-6EE1-484E-AADE-FE631E01463B}" dt="2025-11-21T06:05:08.715" v="91591"/>
            <ac:graphicFrameMkLst>
              <pc:docMk/>
              <pc:sldMasterMk cId="2736379655" sldId="2147483672"/>
              <pc:sldLayoutMk cId="871925752" sldId="2147483688"/>
              <ac:graphicFrameMk id="9" creationId="{9EAADC82-591B-490C-B13F-D6EC88661634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20" v="91593"/>
          <pc:sldLayoutMkLst>
            <pc:docMk/>
            <pc:sldMasterMk cId="2736379655" sldId="2147483672"/>
            <pc:sldLayoutMk cId="2577460711" sldId="2147483689"/>
          </pc:sldLayoutMkLst>
          <pc:spChg chg="add del mod modVis">
            <ac:chgData name="Yudi Zhu" userId="571e1a55-055f-4c28-8b35-fca6dd1c1369" providerId="ADAL" clId="{75A88773-6EE1-484E-AADE-FE631E01463B}" dt="2025-11-21T06:02:25.007" v="70243" actId="478"/>
            <ac:spMkLst>
              <pc:docMk/>
              <pc:sldMasterMk cId="2736379655" sldId="2147483672"/>
              <pc:sldLayoutMk cId="2577460711" sldId="2147483689"/>
              <ac:spMk id="3" creationId="{8624AD58-F10A-96F8-90E2-6A7A57469221}"/>
            </ac:spMkLst>
          </pc:spChg>
          <pc:spChg chg="mod">
            <ac:chgData name="Yudi Zhu" userId="571e1a55-055f-4c28-8b35-fca6dd1c1369" providerId="ADAL" clId="{75A88773-6EE1-484E-AADE-FE631E01463B}" dt="2025-11-21T06:01:57.199" v="58161" actId="948"/>
            <ac:spMkLst>
              <pc:docMk/>
              <pc:sldMasterMk cId="2736379655" sldId="2147483672"/>
              <pc:sldLayoutMk cId="2577460711" sldId="2147483689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20" v="91593"/>
            <ac:graphicFrameMkLst>
              <pc:docMk/>
              <pc:sldMasterMk cId="2736379655" sldId="2147483672"/>
              <pc:sldLayoutMk cId="2577460711" sldId="2147483689"/>
              <ac:graphicFrameMk id="4" creationId="{F694B70D-DA78-4133-AD7C-9C125CD357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31" v="91597"/>
          <pc:sldLayoutMkLst>
            <pc:docMk/>
            <pc:sldMasterMk cId="2736379655" sldId="2147483672"/>
            <pc:sldLayoutMk cId="3666832194" sldId="2147483690"/>
          </pc:sldLayoutMkLst>
          <pc:spChg chg="mod">
            <ac:chgData name="Yudi Zhu" userId="571e1a55-055f-4c28-8b35-fca6dd1c1369" providerId="ADAL" clId="{75A88773-6EE1-484E-AADE-FE631E01463B}" dt="2025-11-21T06:01:57.275" v="58203" actId="948"/>
            <ac:spMkLst>
              <pc:docMk/>
              <pc:sldMasterMk cId="2736379655" sldId="2147483672"/>
              <pc:sldLayoutMk cId="3666832194" sldId="2147483690"/>
              <ac:spMk id="2" creationId="{9FCE4FFF-81B3-4CDA-B0A1-3363FFB22A6A}"/>
            </ac:spMkLst>
          </pc:spChg>
          <pc:spChg chg="add del mod modVis">
            <ac:chgData name="Yudi Zhu" userId="571e1a55-055f-4c28-8b35-fca6dd1c1369" providerId="ADAL" clId="{75A88773-6EE1-484E-AADE-FE631E01463B}" dt="2025-11-21T06:02:25.015" v="70247" actId="478"/>
            <ac:spMkLst>
              <pc:docMk/>
              <pc:sldMasterMk cId="2736379655" sldId="2147483672"/>
              <pc:sldLayoutMk cId="3666832194" sldId="2147483690"/>
              <ac:spMk id="5" creationId="{87671580-7735-92BB-67D3-021DF6A5A15A}"/>
            </ac:spMkLst>
          </pc:spChg>
          <pc:graphicFrameChg chg="mod">
            <ac:chgData name="Yudi Zhu" userId="571e1a55-055f-4c28-8b35-fca6dd1c1369" providerId="ADAL" clId="{75A88773-6EE1-484E-AADE-FE631E01463B}" dt="2025-11-21T06:05:08.731" v="91597"/>
            <ac:graphicFrameMkLst>
              <pc:docMk/>
              <pc:sldMasterMk cId="2736379655" sldId="2147483672"/>
              <pc:sldLayoutMk cId="3666832194" sldId="2147483690"/>
              <ac:graphicFrameMk id="4" creationId="{B1094371-F322-4EBE-A1DB-90A69D6D0A4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25" v="91595"/>
          <pc:sldLayoutMkLst>
            <pc:docMk/>
            <pc:sldMasterMk cId="2736379655" sldId="2147483672"/>
            <pc:sldLayoutMk cId="3257528775" sldId="2147483691"/>
          </pc:sldLayoutMkLst>
          <pc:spChg chg="add del mod modVis">
            <ac:chgData name="Yudi Zhu" userId="571e1a55-055f-4c28-8b35-fca6dd1c1369" providerId="ADAL" clId="{75A88773-6EE1-484E-AADE-FE631E01463B}" dt="2025-11-21T06:02:25.011" v="70245" actId="478"/>
            <ac:spMkLst>
              <pc:docMk/>
              <pc:sldMasterMk cId="2736379655" sldId="2147483672"/>
              <pc:sldLayoutMk cId="3257528775" sldId="2147483691"/>
              <ac:spMk id="3" creationId="{153F3417-4E0C-E181-9AED-99BC956B77D2}"/>
            </ac:spMkLst>
          </pc:spChg>
          <pc:spChg chg="mod">
            <ac:chgData name="Yudi Zhu" userId="571e1a55-055f-4c28-8b35-fca6dd1c1369" providerId="ADAL" clId="{75A88773-6EE1-484E-AADE-FE631E01463B}" dt="2025-11-21T06:01:57.235" v="58182" actId="948"/>
            <ac:spMkLst>
              <pc:docMk/>
              <pc:sldMasterMk cId="2736379655" sldId="2147483672"/>
              <pc:sldLayoutMk cId="3257528775" sldId="2147483691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25" v="91595"/>
            <ac:graphicFrameMkLst>
              <pc:docMk/>
              <pc:sldMasterMk cId="2736379655" sldId="2147483672"/>
              <pc:sldLayoutMk cId="3257528775" sldId="2147483691"/>
              <ac:graphicFrameMk id="4" creationId="{427CE5A4-9DBE-452B-B1A7-06BD6A382B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36" v="91599"/>
          <pc:sldLayoutMkLst>
            <pc:docMk/>
            <pc:sldMasterMk cId="2736379655" sldId="2147483672"/>
            <pc:sldLayoutMk cId="4142179310" sldId="2147483692"/>
          </pc:sldLayoutMkLst>
          <pc:spChg chg="mod">
            <ac:chgData name="Yudi Zhu" userId="571e1a55-055f-4c28-8b35-fca6dd1c1369" providerId="ADAL" clId="{75A88773-6EE1-484E-AADE-FE631E01463B}" dt="2025-11-21T06:01:57.316" v="58224" actId="948"/>
            <ac:spMkLst>
              <pc:docMk/>
              <pc:sldMasterMk cId="2736379655" sldId="2147483672"/>
              <pc:sldLayoutMk cId="4142179310" sldId="2147483692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5.018" v="70249" actId="478"/>
            <ac:spMkLst>
              <pc:docMk/>
              <pc:sldMasterMk cId="2736379655" sldId="2147483672"/>
              <pc:sldLayoutMk cId="4142179310" sldId="2147483692"/>
              <ac:spMk id="3" creationId="{11F71053-C4B2-1671-A17D-8DF3BCA14630}"/>
            </ac:spMkLst>
          </pc:spChg>
          <pc:graphicFrameChg chg="mod">
            <ac:chgData name="Yudi Zhu" userId="571e1a55-055f-4c28-8b35-fca6dd1c1369" providerId="ADAL" clId="{75A88773-6EE1-484E-AADE-FE631E01463B}" dt="2025-11-21T06:05:08.736" v="91599"/>
            <ac:graphicFrameMkLst>
              <pc:docMk/>
              <pc:sldMasterMk cId="2736379655" sldId="2147483672"/>
              <pc:sldLayoutMk cId="4142179310" sldId="2147483692"/>
              <ac:graphicFrameMk id="6" creationId="{3C86DF70-975B-49FD-AA3C-9F168629776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41" v="91601"/>
          <pc:sldLayoutMkLst>
            <pc:docMk/>
            <pc:sldMasterMk cId="2736379655" sldId="2147483672"/>
            <pc:sldLayoutMk cId="4075683577" sldId="2147483693"/>
          </pc:sldLayoutMkLst>
          <pc:spChg chg="add del mod modVis">
            <ac:chgData name="Yudi Zhu" userId="571e1a55-055f-4c28-8b35-fca6dd1c1369" providerId="ADAL" clId="{75A88773-6EE1-484E-AADE-FE631E01463B}" dt="2025-11-21T06:02:25.022" v="70251" actId="478"/>
            <ac:spMkLst>
              <pc:docMk/>
              <pc:sldMasterMk cId="2736379655" sldId="2147483672"/>
              <pc:sldLayoutMk cId="4075683577" sldId="2147483693"/>
              <ac:spMk id="4" creationId="{83A70C10-7CCA-8D10-DAD4-61D1BF808D1D}"/>
            </ac:spMkLst>
          </pc:spChg>
          <pc:spChg chg="mod">
            <ac:chgData name="Yudi Zhu" userId="571e1a55-055f-4c28-8b35-fca6dd1c1369" providerId="ADAL" clId="{75A88773-6EE1-484E-AADE-FE631E01463B}" dt="2025-11-21T06:01:57.354" v="58245" actId="948"/>
            <ac:spMkLst>
              <pc:docMk/>
              <pc:sldMasterMk cId="2736379655" sldId="2147483672"/>
              <pc:sldLayoutMk cId="4075683577" sldId="2147483693"/>
              <ac:spMk id="14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41" v="91601"/>
            <ac:graphicFrameMkLst>
              <pc:docMk/>
              <pc:sldMasterMk cId="2736379655" sldId="2147483672"/>
              <pc:sldLayoutMk cId="4075683577" sldId="2147483693"/>
              <ac:graphicFrameMk id="3" creationId="{89BEC3BC-5B52-4AEA-9AE3-4F49A2B41DC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47" v="91603"/>
          <pc:sldLayoutMkLst>
            <pc:docMk/>
            <pc:sldMasterMk cId="2736379655" sldId="2147483672"/>
            <pc:sldLayoutMk cId="1228503467" sldId="2147483694"/>
          </pc:sldLayoutMkLst>
          <pc:spChg chg="add del mod modVis">
            <ac:chgData name="Yudi Zhu" userId="571e1a55-055f-4c28-8b35-fca6dd1c1369" providerId="ADAL" clId="{75A88773-6EE1-484E-AADE-FE631E01463B}" dt="2025-11-21T06:02:25.026" v="70253" actId="478"/>
            <ac:spMkLst>
              <pc:docMk/>
              <pc:sldMasterMk cId="2736379655" sldId="2147483672"/>
              <pc:sldLayoutMk cId="1228503467" sldId="2147483694"/>
              <ac:spMk id="4" creationId="{132BC8D6-7F3F-0A33-15B4-630AA0EF00F2}"/>
            </ac:spMkLst>
          </pc:spChg>
          <pc:spChg chg="mod">
            <ac:chgData name="Yudi Zhu" userId="571e1a55-055f-4c28-8b35-fca6dd1c1369" providerId="ADAL" clId="{75A88773-6EE1-484E-AADE-FE631E01463B}" dt="2025-11-21T06:01:57.393" v="58266" actId="948"/>
            <ac:spMkLst>
              <pc:docMk/>
              <pc:sldMasterMk cId="2736379655" sldId="2147483672"/>
              <pc:sldLayoutMk cId="1228503467" sldId="2147483694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47" v="91603"/>
            <ac:graphicFrameMkLst>
              <pc:docMk/>
              <pc:sldMasterMk cId="2736379655" sldId="2147483672"/>
              <pc:sldLayoutMk cId="1228503467" sldId="2147483694"/>
              <ac:graphicFrameMk id="3" creationId="{AE36173E-B310-4716-9B29-7C07860DEF5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52" v="91605"/>
          <pc:sldLayoutMkLst>
            <pc:docMk/>
            <pc:sldMasterMk cId="2736379655" sldId="2147483672"/>
            <pc:sldLayoutMk cId="2337538104" sldId="2147483695"/>
          </pc:sldLayoutMkLst>
          <pc:spChg chg="add del mod modVis">
            <ac:chgData name="Yudi Zhu" userId="571e1a55-055f-4c28-8b35-fca6dd1c1369" providerId="ADAL" clId="{75A88773-6EE1-484E-AADE-FE631E01463B}" dt="2025-11-21T06:02:25.029" v="70255" actId="478"/>
            <ac:spMkLst>
              <pc:docMk/>
              <pc:sldMasterMk cId="2736379655" sldId="2147483672"/>
              <pc:sldLayoutMk cId="2337538104" sldId="2147483695"/>
              <ac:spMk id="4" creationId="{768BEA8D-3497-4E32-66C5-061B1685F9A5}"/>
            </ac:spMkLst>
          </pc:spChg>
          <pc:spChg chg="mod">
            <ac:chgData name="Yudi Zhu" userId="571e1a55-055f-4c28-8b35-fca6dd1c1369" providerId="ADAL" clId="{75A88773-6EE1-484E-AADE-FE631E01463B}" dt="2025-11-21T06:01:57.433" v="58287" actId="948"/>
            <ac:spMkLst>
              <pc:docMk/>
              <pc:sldMasterMk cId="2736379655" sldId="2147483672"/>
              <pc:sldLayoutMk cId="2337538104" sldId="2147483695"/>
              <ac:spMk id="2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52" v="91605"/>
            <ac:graphicFrameMkLst>
              <pc:docMk/>
              <pc:sldMasterMk cId="2736379655" sldId="2147483672"/>
              <pc:sldLayoutMk cId="2337538104" sldId="2147483695"/>
              <ac:graphicFrameMk id="3" creationId="{740D9BE4-1868-4C0C-A22A-94A6A325677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64" v="91609"/>
          <pc:sldLayoutMkLst>
            <pc:docMk/>
            <pc:sldMasterMk cId="2736379655" sldId="2147483672"/>
            <pc:sldLayoutMk cId="2171762618" sldId="2147483696"/>
          </pc:sldLayoutMkLst>
          <pc:spChg chg="add del mod modVis">
            <ac:chgData name="Yudi Zhu" userId="571e1a55-055f-4c28-8b35-fca6dd1c1369" providerId="ADAL" clId="{75A88773-6EE1-484E-AADE-FE631E01463B}" dt="2025-11-21T06:02:25.038" v="70259" actId="478"/>
            <ac:spMkLst>
              <pc:docMk/>
              <pc:sldMasterMk cId="2736379655" sldId="2147483672"/>
              <pc:sldLayoutMk cId="2171762618" sldId="2147483696"/>
              <ac:spMk id="4" creationId="{CDE60518-E7B0-6365-3BA3-E284614C8EB5}"/>
            </ac:spMkLst>
          </pc:spChg>
          <pc:spChg chg="mod">
            <ac:chgData name="Yudi Zhu" userId="571e1a55-055f-4c28-8b35-fca6dd1c1369" providerId="ADAL" clId="{75A88773-6EE1-484E-AADE-FE631E01463B}" dt="2025-11-21T06:01:57.510" v="58329" actId="948"/>
            <ac:spMkLst>
              <pc:docMk/>
              <pc:sldMasterMk cId="2736379655" sldId="2147483672"/>
              <pc:sldLayoutMk cId="2171762618" sldId="2147483696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64" v="91609"/>
            <ac:graphicFrameMkLst>
              <pc:docMk/>
              <pc:sldMasterMk cId="2736379655" sldId="2147483672"/>
              <pc:sldLayoutMk cId="2171762618" sldId="2147483696"/>
              <ac:graphicFrameMk id="3" creationId="{33460BF9-A20F-4BA2-B465-4A56FB77CED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59" v="91607"/>
          <pc:sldLayoutMkLst>
            <pc:docMk/>
            <pc:sldMasterMk cId="2736379655" sldId="2147483672"/>
            <pc:sldLayoutMk cId="319883428" sldId="2147483697"/>
          </pc:sldLayoutMkLst>
          <pc:spChg chg="add del mod modVis">
            <ac:chgData name="Yudi Zhu" userId="571e1a55-055f-4c28-8b35-fca6dd1c1369" providerId="ADAL" clId="{75A88773-6EE1-484E-AADE-FE631E01463B}" dt="2025-11-21T06:02:25.033" v="70257" actId="478"/>
            <ac:spMkLst>
              <pc:docMk/>
              <pc:sldMasterMk cId="2736379655" sldId="2147483672"/>
              <pc:sldLayoutMk cId="319883428" sldId="2147483697"/>
              <ac:spMk id="4" creationId="{1807A556-34E7-2DAC-4DED-EFC4DF89CD64}"/>
            </ac:spMkLst>
          </pc:spChg>
          <pc:spChg chg="mod">
            <ac:chgData name="Yudi Zhu" userId="571e1a55-055f-4c28-8b35-fca6dd1c1369" providerId="ADAL" clId="{75A88773-6EE1-484E-AADE-FE631E01463B}" dt="2025-11-21T06:01:57.471" v="58308" actId="948"/>
            <ac:spMkLst>
              <pc:docMk/>
              <pc:sldMasterMk cId="2736379655" sldId="2147483672"/>
              <pc:sldLayoutMk cId="319883428" sldId="2147483697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59" v="91607"/>
            <ac:graphicFrameMkLst>
              <pc:docMk/>
              <pc:sldMasterMk cId="2736379655" sldId="2147483672"/>
              <pc:sldLayoutMk cId="319883428" sldId="2147483697"/>
              <ac:graphicFrameMk id="3" creationId="{21B8B3E8-71F9-4C0F-A77C-14E2A550B00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70" v="91611"/>
          <pc:sldLayoutMkLst>
            <pc:docMk/>
            <pc:sldMasterMk cId="2736379655" sldId="2147483672"/>
            <pc:sldLayoutMk cId="3664237475" sldId="2147483698"/>
          </pc:sldLayoutMkLst>
          <pc:spChg chg="add del mod modVis">
            <ac:chgData name="Yudi Zhu" userId="571e1a55-055f-4c28-8b35-fca6dd1c1369" providerId="ADAL" clId="{75A88773-6EE1-484E-AADE-FE631E01463B}" dt="2025-11-21T06:02:25.042" v="70261" actId="478"/>
            <ac:spMkLst>
              <pc:docMk/>
              <pc:sldMasterMk cId="2736379655" sldId="2147483672"/>
              <pc:sldLayoutMk cId="3664237475" sldId="2147483698"/>
              <ac:spMk id="4" creationId="{F2B6813B-63A3-046E-E0E0-6A0809FA47A2}"/>
            </ac:spMkLst>
          </pc:spChg>
          <pc:spChg chg="mod">
            <ac:chgData name="Yudi Zhu" userId="571e1a55-055f-4c28-8b35-fca6dd1c1369" providerId="ADAL" clId="{75A88773-6EE1-484E-AADE-FE631E01463B}" dt="2025-11-21T06:01:57.548" v="58350" actId="948"/>
            <ac:spMkLst>
              <pc:docMk/>
              <pc:sldMasterMk cId="2736379655" sldId="2147483672"/>
              <pc:sldLayoutMk cId="3664237475" sldId="2147483698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70" v="91611"/>
            <ac:graphicFrameMkLst>
              <pc:docMk/>
              <pc:sldMasterMk cId="2736379655" sldId="2147483672"/>
              <pc:sldLayoutMk cId="3664237475" sldId="2147483698"/>
              <ac:graphicFrameMk id="3" creationId="{BE3A7B4D-95CD-4AE1-AE8D-43D3327B7DD8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75" v="91613"/>
          <pc:sldLayoutMkLst>
            <pc:docMk/>
            <pc:sldMasterMk cId="2736379655" sldId="2147483672"/>
            <pc:sldLayoutMk cId="3383486904" sldId="2147483699"/>
          </pc:sldLayoutMkLst>
          <pc:spChg chg="add del mod modVis">
            <ac:chgData name="Yudi Zhu" userId="571e1a55-055f-4c28-8b35-fca6dd1c1369" providerId="ADAL" clId="{75A88773-6EE1-484E-AADE-FE631E01463B}" dt="2025-11-21T06:02:25.046" v="70263" actId="478"/>
            <ac:spMkLst>
              <pc:docMk/>
              <pc:sldMasterMk cId="2736379655" sldId="2147483672"/>
              <pc:sldLayoutMk cId="3383486904" sldId="2147483699"/>
              <ac:spMk id="4" creationId="{366E65E8-5028-2989-4730-519AA479B616}"/>
            </ac:spMkLst>
          </pc:spChg>
          <pc:spChg chg="mod">
            <ac:chgData name="Yudi Zhu" userId="571e1a55-055f-4c28-8b35-fca6dd1c1369" providerId="ADAL" clId="{75A88773-6EE1-484E-AADE-FE631E01463B}" dt="2025-11-21T06:01:57.586" v="58371" actId="948"/>
            <ac:spMkLst>
              <pc:docMk/>
              <pc:sldMasterMk cId="2736379655" sldId="2147483672"/>
              <pc:sldLayoutMk cId="3383486904" sldId="2147483699"/>
              <ac:spMk id="1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75" v="91613"/>
            <ac:graphicFrameMkLst>
              <pc:docMk/>
              <pc:sldMasterMk cId="2736379655" sldId="2147483672"/>
              <pc:sldLayoutMk cId="3383486904" sldId="2147483699"/>
              <ac:graphicFrameMk id="3" creationId="{1FF3201F-7543-4E9D-BD53-2057C237D0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80" v="91615"/>
          <pc:sldLayoutMkLst>
            <pc:docMk/>
            <pc:sldMasterMk cId="2736379655" sldId="2147483672"/>
            <pc:sldLayoutMk cId="538088655" sldId="2147483700"/>
          </pc:sldLayoutMkLst>
          <pc:spChg chg="mod">
            <ac:chgData name="Yudi Zhu" userId="571e1a55-055f-4c28-8b35-fca6dd1c1369" providerId="ADAL" clId="{75A88773-6EE1-484E-AADE-FE631E01463B}" dt="2025-11-21T06:01:57.624" v="58392" actId="948"/>
            <ac:spMkLst>
              <pc:docMk/>
              <pc:sldMasterMk cId="2736379655" sldId="2147483672"/>
              <pc:sldLayoutMk cId="538088655" sldId="2147483700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5.050" v="70265" actId="478"/>
            <ac:spMkLst>
              <pc:docMk/>
              <pc:sldMasterMk cId="2736379655" sldId="2147483672"/>
              <pc:sldLayoutMk cId="538088655" sldId="2147483700"/>
              <ac:spMk id="5" creationId="{E3DB1797-506C-8BBC-8722-A6C49546EA87}"/>
            </ac:spMkLst>
          </pc:spChg>
          <pc:graphicFrameChg chg="mod">
            <ac:chgData name="Yudi Zhu" userId="571e1a55-055f-4c28-8b35-fca6dd1c1369" providerId="ADAL" clId="{75A88773-6EE1-484E-AADE-FE631E01463B}" dt="2025-11-21T06:05:08.780" v="91615"/>
            <ac:graphicFrameMkLst>
              <pc:docMk/>
              <pc:sldMasterMk cId="2736379655" sldId="2147483672"/>
              <pc:sldLayoutMk cId="538088655" sldId="2147483700"/>
              <ac:graphicFrameMk id="4" creationId="{7CC96504-3966-4B1D-97BC-EDBCCA68DEE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85" v="91617"/>
          <pc:sldLayoutMkLst>
            <pc:docMk/>
            <pc:sldMasterMk cId="2736379655" sldId="2147483672"/>
            <pc:sldLayoutMk cId="1226655877" sldId="2147483701"/>
          </pc:sldLayoutMkLst>
          <pc:spChg chg="add del mod modVis">
            <ac:chgData name="Yudi Zhu" userId="571e1a55-055f-4c28-8b35-fca6dd1c1369" providerId="ADAL" clId="{75A88773-6EE1-484E-AADE-FE631E01463B}" dt="2025-11-21T06:02:25.055" v="70267" actId="478"/>
            <ac:spMkLst>
              <pc:docMk/>
              <pc:sldMasterMk cId="2736379655" sldId="2147483672"/>
              <pc:sldLayoutMk cId="1226655877" sldId="2147483701"/>
              <ac:spMk id="4" creationId="{14D6B5C2-97C4-D4C4-0CBD-550932097271}"/>
            </ac:spMkLst>
          </pc:spChg>
          <pc:spChg chg="mod">
            <ac:chgData name="Yudi Zhu" userId="571e1a55-055f-4c28-8b35-fca6dd1c1369" providerId="ADAL" clId="{75A88773-6EE1-484E-AADE-FE631E01463B}" dt="2025-11-21T06:01:57.661" v="58413" actId="948"/>
            <ac:spMkLst>
              <pc:docMk/>
              <pc:sldMasterMk cId="2736379655" sldId="2147483672"/>
              <pc:sldLayoutMk cId="1226655877" sldId="2147483701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85" v="91617"/>
            <ac:graphicFrameMkLst>
              <pc:docMk/>
              <pc:sldMasterMk cId="2736379655" sldId="2147483672"/>
              <pc:sldLayoutMk cId="1226655877" sldId="2147483701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90" v="91619"/>
          <pc:sldLayoutMkLst>
            <pc:docMk/>
            <pc:sldMasterMk cId="2736379655" sldId="2147483672"/>
            <pc:sldLayoutMk cId="2683554733" sldId="2147483702"/>
          </pc:sldLayoutMkLst>
          <pc:spChg chg="add del mod modVis">
            <ac:chgData name="Yudi Zhu" userId="571e1a55-055f-4c28-8b35-fca6dd1c1369" providerId="ADAL" clId="{75A88773-6EE1-484E-AADE-FE631E01463B}" dt="2025-11-21T06:02:25.058" v="70269" actId="478"/>
            <ac:spMkLst>
              <pc:docMk/>
              <pc:sldMasterMk cId="2736379655" sldId="2147483672"/>
              <pc:sldLayoutMk cId="2683554733" sldId="2147483702"/>
              <ac:spMk id="4" creationId="{A835E3CE-1447-2375-4F22-4669B1F8B112}"/>
            </ac:spMkLst>
          </pc:spChg>
          <pc:spChg chg="mod">
            <ac:chgData name="Yudi Zhu" userId="571e1a55-055f-4c28-8b35-fca6dd1c1369" providerId="ADAL" clId="{75A88773-6EE1-484E-AADE-FE631E01463B}" dt="2025-11-21T06:01:57.698" v="58434" actId="948"/>
            <ac:spMkLst>
              <pc:docMk/>
              <pc:sldMasterMk cId="2736379655" sldId="2147483672"/>
              <pc:sldLayoutMk cId="2683554733" sldId="2147483702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90" v="91619"/>
            <ac:graphicFrameMkLst>
              <pc:docMk/>
              <pc:sldMasterMk cId="2736379655" sldId="2147483672"/>
              <pc:sldLayoutMk cId="2683554733" sldId="2147483702"/>
              <ac:graphicFrameMk id="3" creationId="{97663192-C1D4-47D8-9B83-FA528821B9F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795" v="91621"/>
          <pc:sldLayoutMkLst>
            <pc:docMk/>
            <pc:sldMasterMk cId="2736379655" sldId="2147483672"/>
            <pc:sldLayoutMk cId="97937372" sldId="2147483703"/>
          </pc:sldLayoutMkLst>
          <pc:spChg chg="add del mod modVis">
            <ac:chgData name="Yudi Zhu" userId="571e1a55-055f-4c28-8b35-fca6dd1c1369" providerId="ADAL" clId="{75A88773-6EE1-484E-AADE-FE631E01463B}" dt="2025-11-21T06:02:25.063" v="70271" actId="478"/>
            <ac:spMkLst>
              <pc:docMk/>
              <pc:sldMasterMk cId="2736379655" sldId="2147483672"/>
              <pc:sldLayoutMk cId="97937372" sldId="2147483703"/>
              <ac:spMk id="4" creationId="{BCCEDDD4-D8C9-A3BD-62E7-5FBA2972F053}"/>
            </ac:spMkLst>
          </pc:spChg>
          <pc:spChg chg="mod">
            <ac:chgData name="Yudi Zhu" userId="571e1a55-055f-4c28-8b35-fca6dd1c1369" providerId="ADAL" clId="{75A88773-6EE1-484E-AADE-FE631E01463B}" dt="2025-11-21T06:01:57.737" v="58455" actId="948"/>
            <ac:spMkLst>
              <pc:docMk/>
              <pc:sldMasterMk cId="2736379655" sldId="2147483672"/>
              <pc:sldLayoutMk cId="97937372" sldId="2147483703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795" v="91621"/>
            <ac:graphicFrameMkLst>
              <pc:docMk/>
              <pc:sldMasterMk cId="2736379655" sldId="2147483672"/>
              <pc:sldLayoutMk cId="97937372" sldId="2147483703"/>
              <ac:graphicFrameMk id="3" creationId="{056CA221-254A-4377-A964-767461649C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801" v="91623"/>
          <pc:sldLayoutMkLst>
            <pc:docMk/>
            <pc:sldMasterMk cId="2736379655" sldId="2147483672"/>
            <pc:sldLayoutMk cId="99930191" sldId="2147483704"/>
          </pc:sldLayoutMkLst>
          <pc:spChg chg="add del mod modVis">
            <ac:chgData name="Yudi Zhu" userId="571e1a55-055f-4c28-8b35-fca6dd1c1369" providerId="ADAL" clId="{75A88773-6EE1-484E-AADE-FE631E01463B}" dt="2025-11-21T06:02:25.067" v="70273" actId="478"/>
            <ac:spMkLst>
              <pc:docMk/>
              <pc:sldMasterMk cId="2736379655" sldId="2147483672"/>
              <pc:sldLayoutMk cId="99930191" sldId="2147483704"/>
              <ac:spMk id="4" creationId="{C5345990-ACC7-1811-41DB-7204E0C8111A}"/>
            </ac:spMkLst>
          </pc:spChg>
          <pc:spChg chg="mod">
            <ac:chgData name="Yudi Zhu" userId="571e1a55-055f-4c28-8b35-fca6dd1c1369" providerId="ADAL" clId="{75A88773-6EE1-484E-AADE-FE631E01463B}" dt="2025-11-21T06:01:57.773" v="58476" actId="948"/>
            <ac:spMkLst>
              <pc:docMk/>
              <pc:sldMasterMk cId="2736379655" sldId="2147483672"/>
              <pc:sldLayoutMk cId="99930191" sldId="2147483704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801" v="91623"/>
            <ac:graphicFrameMkLst>
              <pc:docMk/>
              <pc:sldMasterMk cId="2736379655" sldId="2147483672"/>
              <pc:sldLayoutMk cId="99930191" sldId="2147483704"/>
              <ac:graphicFrameMk id="3" creationId="{E2189FA9-37D4-48A4-87E0-F2517B31D7D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806" v="91625"/>
          <pc:sldLayoutMkLst>
            <pc:docMk/>
            <pc:sldMasterMk cId="2736379655" sldId="2147483672"/>
            <pc:sldLayoutMk cId="169414507" sldId="2147483705"/>
          </pc:sldLayoutMkLst>
          <pc:spChg chg="add del mod modVis">
            <ac:chgData name="Yudi Zhu" userId="571e1a55-055f-4c28-8b35-fca6dd1c1369" providerId="ADAL" clId="{75A88773-6EE1-484E-AADE-FE631E01463B}" dt="2025-11-21T06:02:25.071" v="70275" actId="478"/>
            <ac:spMkLst>
              <pc:docMk/>
              <pc:sldMasterMk cId="2736379655" sldId="2147483672"/>
              <pc:sldLayoutMk cId="169414507" sldId="2147483705"/>
              <ac:spMk id="4" creationId="{DF112F2D-EF90-F04F-EA37-33F512E27BB2}"/>
            </ac:spMkLst>
          </pc:spChg>
          <pc:spChg chg="mod">
            <ac:chgData name="Yudi Zhu" userId="571e1a55-055f-4c28-8b35-fca6dd1c1369" providerId="ADAL" clId="{75A88773-6EE1-484E-AADE-FE631E01463B}" dt="2025-11-21T06:01:57.811" v="58497" actId="948"/>
            <ac:spMkLst>
              <pc:docMk/>
              <pc:sldMasterMk cId="2736379655" sldId="2147483672"/>
              <pc:sldLayoutMk cId="169414507" sldId="2147483705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806" v="91625"/>
            <ac:graphicFrameMkLst>
              <pc:docMk/>
              <pc:sldMasterMk cId="2736379655" sldId="2147483672"/>
              <pc:sldLayoutMk cId="169414507" sldId="2147483705"/>
              <ac:graphicFrameMk id="3" creationId="{C456CDC6-32B5-4797-86DC-72C5A4B6B5F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036" v="90977"/>
          <pc:sldLayoutMkLst>
            <pc:docMk/>
            <pc:sldMasterMk cId="2736379655" sldId="2147483672"/>
            <pc:sldLayoutMk cId="2252209056" sldId="2147483706"/>
          </pc:sldLayoutMkLst>
          <pc:spChg chg="add del mod modVis">
            <ac:chgData name="Yudi Zhu" userId="571e1a55-055f-4c28-8b35-fca6dd1c1369" providerId="ADAL" clId="{75A88773-6EE1-484E-AADE-FE631E01463B}" dt="2025-11-21T06:02:23.665" v="69732" actId="478"/>
            <ac:spMkLst>
              <pc:docMk/>
              <pc:sldMasterMk cId="2736379655" sldId="2147483672"/>
              <pc:sldLayoutMk cId="2252209056" sldId="2147483706"/>
              <ac:spMk id="4" creationId="{46776830-E35B-D6C5-0214-FC2AFA670C9F}"/>
            </ac:spMkLst>
          </pc:spChg>
          <pc:spChg chg="mod">
            <ac:chgData name="Yudi Zhu" userId="571e1a55-055f-4c28-8b35-fca6dd1c1369" providerId="ADAL" clId="{75A88773-6EE1-484E-AADE-FE631E01463B}" dt="2025-11-21T06:01:48.708" v="53299" actId="948"/>
            <ac:spMkLst>
              <pc:docMk/>
              <pc:sldMasterMk cId="2736379655" sldId="2147483672"/>
              <pc:sldLayoutMk cId="2252209056" sldId="2147483706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036" v="90977"/>
            <ac:graphicFrameMkLst>
              <pc:docMk/>
              <pc:sldMasterMk cId="2736379655" sldId="2147483672"/>
              <pc:sldLayoutMk cId="2252209056" sldId="2147483706"/>
              <ac:graphicFrameMk id="3" creationId="{4099332F-3EDF-4319-AC87-D52E3339183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041" v="90979"/>
          <pc:sldLayoutMkLst>
            <pc:docMk/>
            <pc:sldMasterMk cId="2736379655" sldId="2147483672"/>
            <pc:sldLayoutMk cId="1971433916" sldId="2147483707"/>
          </pc:sldLayoutMkLst>
          <pc:spChg chg="add del mod modVis">
            <ac:chgData name="Yudi Zhu" userId="571e1a55-055f-4c28-8b35-fca6dd1c1369" providerId="ADAL" clId="{75A88773-6EE1-484E-AADE-FE631E01463B}" dt="2025-11-21T06:02:23.671" v="69734" actId="478"/>
            <ac:spMkLst>
              <pc:docMk/>
              <pc:sldMasterMk cId="2736379655" sldId="2147483672"/>
              <pc:sldLayoutMk cId="1971433916" sldId="2147483707"/>
              <ac:spMk id="3" creationId="{897717AD-6B10-3B59-F526-7735EC65F607}"/>
            </ac:spMkLst>
          </pc:spChg>
          <pc:spChg chg="mod">
            <ac:chgData name="Yudi Zhu" userId="571e1a55-055f-4c28-8b35-fca6dd1c1369" providerId="ADAL" clId="{75A88773-6EE1-484E-AADE-FE631E01463B}" dt="2025-11-21T06:01:48.753" v="53320" actId="948"/>
            <ac:spMkLst>
              <pc:docMk/>
              <pc:sldMasterMk cId="2736379655" sldId="2147483672"/>
              <pc:sldLayoutMk cId="1971433916" sldId="2147483707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041" v="90979"/>
            <ac:graphicFrameMkLst>
              <pc:docMk/>
              <pc:sldMasterMk cId="2736379655" sldId="2147483672"/>
              <pc:sldLayoutMk cId="1971433916" sldId="2147483707"/>
              <ac:graphicFrameMk id="5" creationId="{7A1DDBE9-65FD-4988-9128-A621DD77E9D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047" v="90981"/>
          <pc:sldLayoutMkLst>
            <pc:docMk/>
            <pc:sldMasterMk cId="2736379655" sldId="2147483672"/>
            <pc:sldLayoutMk cId="1802547824" sldId="2147483708"/>
          </pc:sldLayoutMkLst>
          <pc:spChg chg="add del mod modVis">
            <ac:chgData name="Yudi Zhu" userId="571e1a55-055f-4c28-8b35-fca6dd1c1369" providerId="ADAL" clId="{75A88773-6EE1-484E-AADE-FE631E01463B}" dt="2025-11-21T06:02:23.677" v="69736" actId="478"/>
            <ac:spMkLst>
              <pc:docMk/>
              <pc:sldMasterMk cId="2736379655" sldId="2147483672"/>
              <pc:sldLayoutMk cId="1802547824" sldId="2147483708"/>
              <ac:spMk id="3" creationId="{DA6348FF-8CED-5924-4A5D-2F1B88451CC7}"/>
            </ac:spMkLst>
          </pc:spChg>
          <pc:spChg chg="mod">
            <ac:chgData name="Yudi Zhu" userId="571e1a55-055f-4c28-8b35-fca6dd1c1369" providerId="ADAL" clId="{75A88773-6EE1-484E-AADE-FE631E01463B}" dt="2025-11-21T06:01:48.797" v="53341" actId="948"/>
            <ac:spMkLst>
              <pc:docMk/>
              <pc:sldMasterMk cId="2736379655" sldId="2147483672"/>
              <pc:sldLayoutMk cId="1802547824" sldId="2147483708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047" v="90981"/>
            <ac:graphicFrameMkLst>
              <pc:docMk/>
              <pc:sldMasterMk cId="2736379655" sldId="2147483672"/>
              <pc:sldLayoutMk cId="1802547824" sldId="2147483708"/>
              <ac:graphicFrameMk id="4" creationId="{D4DD5D8F-9E57-4422-B165-49B0B98E4E2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052" v="90983"/>
          <pc:sldLayoutMkLst>
            <pc:docMk/>
            <pc:sldMasterMk cId="2736379655" sldId="2147483672"/>
            <pc:sldLayoutMk cId="339712268" sldId="2147483709"/>
          </pc:sldLayoutMkLst>
          <pc:graphicFrameChg chg="mod">
            <ac:chgData name="Yudi Zhu" userId="571e1a55-055f-4c28-8b35-fca6dd1c1369" providerId="ADAL" clId="{75A88773-6EE1-484E-AADE-FE631E01463B}" dt="2025-11-21T06:05:07.052" v="90983"/>
            <ac:graphicFrameMkLst>
              <pc:docMk/>
              <pc:sldMasterMk cId="2736379655" sldId="2147483672"/>
              <pc:sldLayoutMk cId="339712268" sldId="2147483709"/>
              <ac:graphicFrameMk id="2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057" v="90985"/>
          <pc:sldLayoutMkLst>
            <pc:docMk/>
            <pc:sldMasterMk cId="2736379655" sldId="2147483672"/>
            <pc:sldLayoutMk cId="3986284509" sldId="2147483710"/>
          </pc:sldLayoutMkLst>
          <pc:spChg chg="add del mod modVis">
            <ac:chgData name="Yudi Zhu" userId="571e1a55-055f-4c28-8b35-fca6dd1c1369" providerId="ADAL" clId="{75A88773-6EE1-484E-AADE-FE631E01463B}" dt="2025-11-21T06:02:23.687" v="69739" actId="478"/>
            <ac:spMkLst>
              <pc:docMk/>
              <pc:sldMasterMk cId="2736379655" sldId="2147483672"/>
              <pc:sldLayoutMk cId="3986284509" sldId="2147483710"/>
              <ac:spMk id="2" creationId="{BCF17217-F30C-EEE5-66A1-530AF910DCA5}"/>
            </ac:spMkLst>
          </pc:spChg>
          <pc:spChg chg="mod">
            <ac:chgData name="Yudi Zhu" userId="571e1a55-055f-4c28-8b35-fca6dd1c1369" providerId="ADAL" clId="{75A88773-6EE1-484E-AADE-FE631E01463B}" dt="2025-11-21T06:01:48.836" v="53362" actId="948"/>
            <ac:spMkLst>
              <pc:docMk/>
              <pc:sldMasterMk cId="2736379655" sldId="2147483672"/>
              <pc:sldLayoutMk cId="3986284509" sldId="2147483710"/>
              <ac:spMk id="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057" v="90985"/>
            <ac:graphicFrameMkLst>
              <pc:docMk/>
              <pc:sldMasterMk cId="2736379655" sldId="2147483672"/>
              <pc:sldLayoutMk cId="3986284509" sldId="2147483710"/>
              <ac:graphicFrameMk id="6" creationId="{F24234DD-8906-4B2C-86B2-FC42EE7D18F2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062" v="90987"/>
          <pc:sldLayoutMkLst>
            <pc:docMk/>
            <pc:sldMasterMk cId="2736379655" sldId="2147483672"/>
            <pc:sldLayoutMk cId="3759859918" sldId="2147483711"/>
          </pc:sldLayoutMkLst>
          <pc:graphicFrameChg chg="mod">
            <ac:chgData name="Yudi Zhu" userId="571e1a55-055f-4c28-8b35-fca6dd1c1369" providerId="ADAL" clId="{75A88773-6EE1-484E-AADE-FE631E01463B}" dt="2025-11-21T06:05:07.062" v="90987"/>
            <ac:graphicFrameMkLst>
              <pc:docMk/>
              <pc:sldMasterMk cId="2736379655" sldId="2147483672"/>
              <pc:sldLayoutMk cId="3759859918" sldId="2147483711"/>
              <ac:graphicFrameMk id="2" creationId="{4E8F715B-D22C-49C6-B3AC-D5F1AA2959AE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068" v="90989"/>
          <pc:sldLayoutMkLst>
            <pc:docMk/>
            <pc:sldMasterMk cId="2736379655" sldId="2147483672"/>
            <pc:sldLayoutMk cId="1034071400" sldId="2147483712"/>
          </pc:sldLayoutMkLst>
          <pc:graphicFrameChg chg="mod">
            <ac:chgData name="Yudi Zhu" userId="571e1a55-055f-4c28-8b35-fca6dd1c1369" providerId="ADAL" clId="{75A88773-6EE1-484E-AADE-FE631E01463B}" dt="2025-11-21T06:05:07.068" v="90989"/>
            <ac:graphicFrameMkLst>
              <pc:docMk/>
              <pc:sldMasterMk cId="2736379655" sldId="2147483672"/>
              <pc:sldLayoutMk cId="1034071400" sldId="2147483712"/>
              <ac:graphicFrameMk id="3" creationId="{654A8F4E-CFF1-4233-9249-84E4C229A9C1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029" v="90975"/>
          <pc:sldLayoutMkLst>
            <pc:docMk/>
            <pc:sldMasterMk cId="2736379655" sldId="2147483672"/>
            <pc:sldLayoutMk cId="2617080726" sldId="2147483713"/>
          </pc:sldLayoutMkLst>
          <pc:graphicFrameChg chg="mod">
            <ac:chgData name="Yudi Zhu" userId="571e1a55-055f-4c28-8b35-fca6dd1c1369" providerId="ADAL" clId="{75A88773-6EE1-484E-AADE-FE631E01463B}" dt="2025-11-21T06:05:07.029" v="90975"/>
            <ac:graphicFrameMkLst>
              <pc:docMk/>
              <pc:sldMasterMk cId="2736379655" sldId="2147483672"/>
              <pc:sldLayoutMk cId="2617080726" sldId="2147483713"/>
              <ac:graphicFrameMk id="3" creationId="{BA148DDD-B54A-42E3-A874-08D6674E359D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095" v="90997"/>
          <pc:sldLayoutMkLst>
            <pc:docMk/>
            <pc:sldMasterMk cId="2736379655" sldId="2147483672"/>
            <pc:sldLayoutMk cId="1121836391" sldId="2147483714"/>
          </pc:sldLayoutMkLst>
          <pc:graphicFrameChg chg="mod">
            <ac:chgData name="Yudi Zhu" userId="571e1a55-055f-4c28-8b35-fca6dd1c1369" providerId="ADAL" clId="{75A88773-6EE1-484E-AADE-FE631E01463B}" dt="2025-11-21T06:05:07.095" v="90997"/>
            <ac:graphicFrameMkLst>
              <pc:docMk/>
              <pc:sldMasterMk cId="2736379655" sldId="2147483672"/>
              <pc:sldLayoutMk cId="1121836391" sldId="2147483714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100" v="90999"/>
          <pc:sldLayoutMkLst>
            <pc:docMk/>
            <pc:sldMasterMk cId="2736379655" sldId="2147483672"/>
            <pc:sldLayoutMk cId="1270855606" sldId="2147483715"/>
          </pc:sldLayoutMkLst>
          <pc:graphicFrameChg chg="mod">
            <ac:chgData name="Yudi Zhu" userId="571e1a55-055f-4c28-8b35-fca6dd1c1369" providerId="ADAL" clId="{75A88773-6EE1-484E-AADE-FE631E01463B}" dt="2025-11-21T06:05:07.100" v="90999"/>
            <ac:graphicFrameMkLst>
              <pc:docMk/>
              <pc:sldMasterMk cId="2736379655" sldId="2147483672"/>
              <pc:sldLayoutMk cId="1270855606" sldId="2147483715"/>
              <ac:graphicFrameMk id="3" creationId="{099B63DB-FE12-4864-AD4A-41FDE6A896F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05" v="91001"/>
          <pc:sldLayoutMkLst>
            <pc:docMk/>
            <pc:sldMasterMk cId="2736379655" sldId="2147483672"/>
            <pc:sldLayoutMk cId="360766690" sldId="2147483716"/>
          </pc:sldLayoutMkLst>
          <pc:spChg chg="add del mod modVis">
            <ac:chgData name="Yudi Zhu" userId="571e1a55-055f-4c28-8b35-fca6dd1c1369" providerId="ADAL" clId="{75A88773-6EE1-484E-AADE-FE631E01463B}" dt="2025-11-21T06:02:23.734" v="69749" actId="478"/>
            <ac:spMkLst>
              <pc:docMk/>
              <pc:sldMasterMk cId="2736379655" sldId="2147483672"/>
              <pc:sldLayoutMk cId="360766690" sldId="2147483716"/>
              <ac:spMk id="5" creationId="{9F3A23F9-213D-A7A6-32D2-4648C8B08F35}"/>
            </ac:spMkLst>
          </pc:spChg>
          <pc:spChg chg="mod">
            <ac:chgData name="Yudi Zhu" userId="571e1a55-055f-4c28-8b35-fca6dd1c1369" providerId="ADAL" clId="{75A88773-6EE1-484E-AADE-FE631E01463B}" dt="2025-11-21T06:01:49.033" v="53446" actId="948"/>
            <ac:spMkLst>
              <pc:docMk/>
              <pc:sldMasterMk cId="2736379655" sldId="2147483672"/>
              <pc:sldLayoutMk cId="360766690" sldId="2147483716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105" v="91001"/>
            <ac:graphicFrameMkLst>
              <pc:docMk/>
              <pc:sldMasterMk cId="2736379655" sldId="2147483672"/>
              <pc:sldLayoutMk cId="360766690" sldId="2147483716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09" v="91003"/>
          <pc:sldLayoutMkLst>
            <pc:docMk/>
            <pc:sldMasterMk cId="2736379655" sldId="2147483672"/>
            <pc:sldLayoutMk cId="3838135901" sldId="2147483717"/>
          </pc:sldLayoutMkLst>
          <pc:spChg chg="add del mod modVis">
            <ac:chgData name="Yudi Zhu" userId="571e1a55-055f-4c28-8b35-fca6dd1c1369" providerId="ADAL" clId="{75A88773-6EE1-484E-AADE-FE631E01463B}" dt="2025-11-21T06:02:23.740" v="69751" actId="478"/>
            <ac:spMkLst>
              <pc:docMk/>
              <pc:sldMasterMk cId="2736379655" sldId="2147483672"/>
              <pc:sldLayoutMk cId="3838135901" sldId="2147483717"/>
              <ac:spMk id="4" creationId="{7958CAD3-A9B9-96F1-F7FE-5895AB9A2FC3}"/>
            </ac:spMkLst>
          </pc:spChg>
          <pc:spChg chg="mod">
            <ac:chgData name="Yudi Zhu" userId="571e1a55-055f-4c28-8b35-fca6dd1c1369" providerId="ADAL" clId="{75A88773-6EE1-484E-AADE-FE631E01463B}" dt="2025-11-21T06:01:49.071" v="53467" actId="948"/>
            <ac:spMkLst>
              <pc:docMk/>
              <pc:sldMasterMk cId="2736379655" sldId="2147483672"/>
              <pc:sldLayoutMk cId="3838135901" sldId="2147483717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09" v="91003"/>
            <ac:graphicFrameMkLst>
              <pc:docMk/>
              <pc:sldMasterMk cId="2736379655" sldId="2147483672"/>
              <pc:sldLayoutMk cId="3838135901" sldId="2147483717"/>
              <ac:graphicFrameMk id="3" creationId="{1B9D99E9-D699-49DD-B838-EFF0878D7A3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15" v="91005"/>
          <pc:sldLayoutMkLst>
            <pc:docMk/>
            <pc:sldMasterMk cId="2736379655" sldId="2147483672"/>
            <pc:sldLayoutMk cId="3647062316" sldId="2147483718"/>
          </pc:sldLayoutMkLst>
          <pc:spChg chg="add del mod modVis">
            <ac:chgData name="Yudi Zhu" userId="571e1a55-055f-4c28-8b35-fca6dd1c1369" providerId="ADAL" clId="{75A88773-6EE1-484E-AADE-FE631E01463B}" dt="2025-11-21T06:02:23.745" v="69753" actId="478"/>
            <ac:spMkLst>
              <pc:docMk/>
              <pc:sldMasterMk cId="2736379655" sldId="2147483672"/>
              <pc:sldLayoutMk cId="3647062316" sldId="2147483718"/>
              <ac:spMk id="4" creationId="{EC4D7192-F939-0E43-FFC4-4DCE1EC96C34}"/>
            </ac:spMkLst>
          </pc:spChg>
          <pc:spChg chg="mod">
            <ac:chgData name="Yudi Zhu" userId="571e1a55-055f-4c28-8b35-fca6dd1c1369" providerId="ADAL" clId="{75A88773-6EE1-484E-AADE-FE631E01463B}" dt="2025-11-21T06:01:49.115" v="53488" actId="948"/>
            <ac:spMkLst>
              <pc:docMk/>
              <pc:sldMasterMk cId="2736379655" sldId="2147483672"/>
              <pc:sldLayoutMk cId="3647062316" sldId="2147483718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15" v="91005"/>
            <ac:graphicFrameMkLst>
              <pc:docMk/>
              <pc:sldMasterMk cId="2736379655" sldId="2147483672"/>
              <pc:sldLayoutMk cId="3647062316" sldId="2147483718"/>
              <ac:graphicFrameMk id="3" creationId="{1B9D99E9-D699-49DD-B838-EFF0878D7A3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20" v="91007"/>
          <pc:sldLayoutMkLst>
            <pc:docMk/>
            <pc:sldMasterMk cId="2736379655" sldId="2147483672"/>
            <pc:sldLayoutMk cId="2299845081" sldId="2147483719"/>
          </pc:sldLayoutMkLst>
          <pc:spChg chg="mod">
            <ac:chgData name="Yudi Zhu" userId="571e1a55-055f-4c28-8b35-fca6dd1c1369" providerId="ADAL" clId="{75A88773-6EE1-484E-AADE-FE631E01463B}" dt="2025-11-21T06:01:49.154" v="53509" actId="948"/>
            <ac:spMkLst>
              <pc:docMk/>
              <pc:sldMasterMk cId="2736379655" sldId="2147483672"/>
              <pc:sldLayoutMk cId="2299845081" sldId="2147483719"/>
              <ac:spMk id="2" creationId="{AB083126-25E7-42D8-B799-608CFD4DF6C3}"/>
            </ac:spMkLst>
          </pc:spChg>
          <pc:spChg chg="add del mod modVis">
            <ac:chgData name="Yudi Zhu" userId="571e1a55-055f-4c28-8b35-fca6dd1c1369" providerId="ADAL" clId="{75A88773-6EE1-484E-AADE-FE631E01463B}" dt="2025-11-21T06:02:23.750" v="69755" actId="478"/>
            <ac:spMkLst>
              <pc:docMk/>
              <pc:sldMasterMk cId="2736379655" sldId="2147483672"/>
              <pc:sldLayoutMk cId="2299845081" sldId="2147483719"/>
              <ac:spMk id="4" creationId="{35E0CF37-4E09-8F1F-A7D9-64D65C84CF19}"/>
            </ac:spMkLst>
          </pc:spChg>
          <pc:graphicFrameChg chg="mod">
            <ac:chgData name="Yudi Zhu" userId="571e1a55-055f-4c28-8b35-fca6dd1c1369" providerId="ADAL" clId="{75A88773-6EE1-484E-AADE-FE631E01463B}" dt="2025-11-21T06:05:07.120" v="91007"/>
            <ac:graphicFrameMkLst>
              <pc:docMk/>
              <pc:sldMasterMk cId="2736379655" sldId="2147483672"/>
              <pc:sldLayoutMk cId="2299845081" sldId="2147483719"/>
              <ac:graphicFrameMk id="5" creationId="{A8EDC70C-1C9C-4E9E-B370-A4CA068F427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25" v="91009"/>
          <pc:sldLayoutMkLst>
            <pc:docMk/>
            <pc:sldMasterMk cId="2736379655" sldId="2147483672"/>
            <pc:sldLayoutMk cId="1962872113" sldId="2147483720"/>
          </pc:sldLayoutMkLst>
          <pc:spChg chg="add del mod modVis">
            <ac:chgData name="Yudi Zhu" userId="571e1a55-055f-4c28-8b35-fca6dd1c1369" providerId="ADAL" clId="{75A88773-6EE1-484E-AADE-FE631E01463B}" dt="2025-11-21T06:02:23.756" v="69757" actId="478"/>
            <ac:spMkLst>
              <pc:docMk/>
              <pc:sldMasterMk cId="2736379655" sldId="2147483672"/>
              <pc:sldLayoutMk cId="1962872113" sldId="2147483720"/>
              <ac:spMk id="4" creationId="{DF7A3496-D987-B5E9-DB11-65FC7E38B5BD}"/>
            </ac:spMkLst>
          </pc:spChg>
          <pc:spChg chg="mod">
            <ac:chgData name="Yudi Zhu" userId="571e1a55-055f-4c28-8b35-fca6dd1c1369" providerId="ADAL" clId="{75A88773-6EE1-484E-AADE-FE631E01463B}" dt="2025-11-21T06:01:49.196" v="53530" actId="948"/>
            <ac:spMkLst>
              <pc:docMk/>
              <pc:sldMasterMk cId="2736379655" sldId="2147483672"/>
              <pc:sldLayoutMk cId="1962872113" sldId="2147483720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25" v="91009"/>
            <ac:graphicFrameMkLst>
              <pc:docMk/>
              <pc:sldMasterMk cId="2736379655" sldId="2147483672"/>
              <pc:sldLayoutMk cId="1962872113" sldId="2147483720"/>
              <ac:graphicFrameMk id="3" creationId="{AB9DA2CB-7FF8-4CFB-A652-684E594036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30" v="91011"/>
          <pc:sldLayoutMkLst>
            <pc:docMk/>
            <pc:sldMasterMk cId="2736379655" sldId="2147483672"/>
            <pc:sldLayoutMk cId="1592450984" sldId="2147483721"/>
          </pc:sldLayoutMkLst>
          <pc:spChg chg="add del mod modVis">
            <ac:chgData name="Yudi Zhu" userId="571e1a55-055f-4c28-8b35-fca6dd1c1369" providerId="ADAL" clId="{75A88773-6EE1-484E-AADE-FE631E01463B}" dt="2025-11-21T06:02:23.762" v="69759" actId="478"/>
            <ac:spMkLst>
              <pc:docMk/>
              <pc:sldMasterMk cId="2736379655" sldId="2147483672"/>
              <pc:sldLayoutMk cId="1592450984" sldId="2147483721"/>
              <ac:spMk id="4" creationId="{9BBC3276-C694-68E8-87A2-59A3C5B08E0A}"/>
            </ac:spMkLst>
          </pc:spChg>
          <pc:spChg chg="mod">
            <ac:chgData name="Yudi Zhu" userId="571e1a55-055f-4c28-8b35-fca6dd1c1369" providerId="ADAL" clId="{75A88773-6EE1-484E-AADE-FE631E01463B}" dt="2025-11-21T06:01:49.242" v="53551"/>
            <ac:spMkLst>
              <pc:docMk/>
              <pc:sldMasterMk cId="2736379655" sldId="2147483672"/>
              <pc:sldLayoutMk cId="1592450984" sldId="2147483721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30" v="91011"/>
            <ac:graphicFrameMkLst>
              <pc:docMk/>
              <pc:sldMasterMk cId="2736379655" sldId="2147483672"/>
              <pc:sldLayoutMk cId="1592450984" sldId="2147483721"/>
              <ac:graphicFrameMk id="3" creationId="{D49FE2CA-F5BD-459D-B701-FB8A0A61B64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40" v="91015"/>
          <pc:sldLayoutMkLst>
            <pc:docMk/>
            <pc:sldMasterMk cId="2736379655" sldId="2147483672"/>
            <pc:sldLayoutMk cId="3398091429" sldId="2147483722"/>
          </pc:sldLayoutMkLst>
          <pc:spChg chg="add del mod modVis">
            <ac:chgData name="Yudi Zhu" userId="571e1a55-055f-4c28-8b35-fca6dd1c1369" providerId="ADAL" clId="{75A88773-6EE1-484E-AADE-FE631E01463B}" dt="2025-11-21T06:02:23.772" v="69763" actId="478"/>
            <ac:spMkLst>
              <pc:docMk/>
              <pc:sldMasterMk cId="2736379655" sldId="2147483672"/>
              <pc:sldLayoutMk cId="3398091429" sldId="2147483722"/>
              <ac:spMk id="4" creationId="{473A58B1-2CBC-E5B2-896F-637388F969F1}"/>
            </ac:spMkLst>
          </pc:spChg>
          <pc:spChg chg="mod">
            <ac:chgData name="Yudi Zhu" userId="571e1a55-055f-4c28-8b35-fca6dd1c1369" providerId="ADAL" clId="{75A88773-6EE1-484E-AADE-FE631E01463B}" dt="2025-11-21T06:01:49.323" v="53593" actId="948"/>
            <ac:spMkLst>
              <pc:docMk/>
              <pc:sldMasterMk cId="2736379655" sldId="2147483672"/>
              <pc:sldLayoutMk cId="3398091429" sldId="2147483722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40" v="91015"/>
            <ac:graphicFrameMkLst>
              <pc:docMk/>
              <pc:sldMasterMk cId="2736379655" sldId="2147483672"/>
              <pc:sldLayoutMk cId="3398091429" sldId="2147483722"/>
              <ac:graphicFrameMk id="3" creationId="{040DD4ED-ADCE-4880-9BC8-443A0A81159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35" v="91013"/>
          <pc:sldLayoutMkLst>
            <pc:docMk/>
            <pc:sldMasterMk cId="2736379655" sldId="2147483672"/>
            <pc:sldLayoutMk cId="1502349333" sldId="2147483723"/>
          </pc:sldLayoutMkLst>
          <pc:spChg chg="add del mod modVis">
            <ac:chgData name="Yudi Zhu" userId="571e1a55-055f-4c28-8b35-fca6dd1c1369" providerId="ADAL" clId="{75A88773-6EE1-484E-AADE-FE631E01463B}" dt="2025-11-21T06:02:23.767" v="69761" actId="478"/>
            <ac:spMkLst>
              <pc:docMk/>
              <pc:sldMasterMk cId="2736379655" sldId="2147483672"/>
              <pc:sldLayoutMk cId="1502349333" sldId="2147483723"/>
              <ac:spMk id="4" creationId="{5C48F6EF-C25D-C118-95AA-A8E63AA0CCC0}"/>
            </ac:spMkLst>
          </pc:spChg>
          <pc:spChg chg="mod">
            <ac:chgData name="Yudi Zhu" userId="571e1a55-055f-4c28-8b35-fca6dd1c1369" providerId="ADAL" clId="{75A88773-6EE1-484E-AADE-FE631E01463B}" dt="2025-11-21T06:01:49.286" v="53572" actId="948"/>
            <ac:spMkLst>
              <pc:docMk/>
              <pc:sldMasterMk cId="2736379655" sldId="2147483672"/>
              <pc:sldLayoutMk cId="1502349333" sldId="2147483723"/>
              <ac:spMk id="2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35" v="91013"/>
            <ac:graphicFrameMkLst>
              <pc:docMk/>
              <pc:sldMasterMk cId="2736379655" sldId="2147483672"/>
              <pc:sldLayoutMk cId="1502349333" sldId="2147483723"/>
              <ac:graphicFrameMk id="3" creationId="{A79C6112-A96D-4B61-8290-08899155E92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45" v="91017"/>
          <pc:sldLayoutMkLst>
            <pc:docMk/>
            <pc:sldMasterMk cId="2736379655" sldId="2147483672"/>
            <pc:sldLayoutMk cId="722391942" sldId="2147483724"/>
          </pc:sldLayoutMkLst>
          <pc:spChg chg="mod">
            <ac:chgData name="Yudi Zhu" userId="571e1a55-055f-4c28-8b35-fca6dd1c1369" providerId="ADAL" clId="{75A88773-6EE1-484E-AADE-FE631E01463B}" dt="2025-11-21T06:01:49.360" v="53614" actId="948"/>
            <ac:spMkLst>
              <pc:docMk/>
              <pc:sldMasterMk cId="2736379655" sldId="2147483672"/>
              <pc:sldLayoutMk cId="722391942" sldId="2147483724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777" v="69765" actId="478"/>
            <ac:spMkLst>
              <pc:docMk/>
              <pc:sldMasterMk cId="2736379655" sldId="2147483672"/>
              <pc:sldLayoutMk cId="722391942" sldId="2147483724"/>
              <ac:spMk id="5" creationId="{B5CE26BE-84FD-933E-B54E-FEA90342B94F}"/>
            </ac:spMkLst>
          </pc:spChg>
          <pc:graphicFrameChg chg="mod">
            <ac:chgData name="Yudi Zhu" userId="571e1a55-055f-4c28-8b35-fca6dd1c1369" providerId="ADAL" clId="{75A88773-6EE1-484E-AADE-FE631E01463B}" dt="2025-11-21T06:05:07.145" v="91017"/>
            <ac:graphicFrameMkLst>
              <pc:docMk/>
              <pc:sldMasterMk cId="2736379655" sldId="2147483672"/>
              <pc:sldLayoutMk cId="722391942" sldId="2147483724"/>
              <ac:graphicFrameMk id="4" creationId="{A5E46131-D60C-4AB8-9741-E3D3445EE01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51" v="91019"/>
          <pc:sldLayoutMkLst>
            <pc:docMk/>
            <pc:sldMasterMk cId="2736379655" sldId="2147483672"/>
            <pc:sldLayoutMk cId="2452344261" sldId="2147483725"/>
          </pc:sldLayoutMkLst>
          <pc:spChg chg="mod">
            <ac:chgData name="Yudi Zhu" userId="571e1a55-055f-4c28-8b35-fca6dd1c1369" providerId="ADAL" clId="{75A88773-6EE1-484E-AADE-FE631E01463B}" dt="2025-11-21T06:01:49.398" v="53635" actId="948"/>
            <ac:spMkLst>
              <pc:docMk/>
              <pc:sldMasterMk cId="2736379655" sldId="2147483672"/>
              <pc:sldLayoutMk cId="2452344261" sldId="2147483725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783" v="69767" actId="478"/>
            <ac:spMkLst>
              <pc:docMk/>
              <pc:sldMasterMk cId="2736379655" sldId="2147483672"/>
              <pc:sldLayoutMk cId="2452344261" sldId="2147483725"/>
              <ac:spMk id="5" creationId="{7EBFC6A8-7CFE-BBF8-8D00-D74798831936}"/>
            </ac:spMkLst>
          </pc:spChg>
          <pc:graphicFrameChg chg="mod">
            <ac:chgData name="Yudi Zhu" userId="571e1a55-055f-4c28-8b35-fca6dd1c1369" providerId="ADAL" clId="{75A88773-6EE1-484E-AADE-FE631E01463B}" dt="2025-11-21T06:05:07.151" v="91019"/>
            <ac:graphicFrameMkLst>
              <pc:docMk/>
              <pc:sldMasterMk cId="2736379655" sldId="2147483672"/>
              <pc:sldLayoutMk cId="2452344261" sldId="2147483725"/>
              <ac:graphicFrameMk id="4" creationId="{9CB55A6B-96AD-443A-8BE6-D7196A4B8F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090" v="90995"/>
          <pc:sldLayoutMkLst>
            <pc:docMk/>
            <pc:sldMasterMk cId="2736379655" sldId="2147483672"/>
            <pc:sldLayoutMk cId="1118842502" sldId="2147483726"/>
          </pc:sldLayoutMkLst>
          <pc:spChg chg="add del mod modVis">
            <ac:chgData name="Yudi Zhu" userId="571e1a55-055f-4c28-8b35-fca6dd1c1369" providerId="ADAL" clId="{75A88773-6EE1-484E-AADE-FE631E01463B}" dt="2025-11-21T06:02:23.718" v="69745" actId="478"/>
            <ac:spMkLst>
              <pc:docMk/>
              <pc:sldMasterMk cId="2736379655" sldId="2147483672"/>
              <pc:sldLayoutMk cId="1118842502" sldId="2147483726"/>
              <ac:spMk id="4" creationId="{C8DF3CDC-EC3D-9AA7-36A1-0C5339A9C6C1}"/>
            </ac:spMkLst>
          </pc:spChg>
          <pc:spChg chg="mod">
            <ac:chgData name="Yudi Zhu" userId="571e1a55-055f-4c28-8b35-fca6dd1c1369" providerId="ADAL" clId="{75A88773-6EE1-484E-AADE-FE631E01463B}" dt="2025-11-21T06:01:48.988" v="53425" actId="948"/>
            <ac:spMkLst>
              <pc:docMk/>
              <pc:sldMasterMk cId="2736379655" sldId="2147483672"/>
              <pc:sldLayoutMk cId="1118842502" sldId="2147483726"/>
              <ac:spMk id="2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090" v="90995"/>
            <ac:graphicFrameMkLst>
              <pc:docMk/>
              <pc:sldMasterMk cId="2736379655" sldId="2147483672"/>
              <pc:sldLayoutMk cId="1118842502" sldId="2147483726"/>
              <ac:graphicFrameMk id="3" creationId="{6CEEDCB5-AEBF-499C-B756-7B17B4A9535D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56" v="91021"/>
          <pc:sldLayoutMkLst>
            <pc:docMk/>
            <pc:sldMasterMk cId="2736379655" sldId="2147483672"/>
            <pc:sldLayoutMk cId="463068999" sldId="2147483727"/>
          </pc:sldLayoutMkLst>
          <pc:spChg chg="add del mod modVis">
            <ac:chgData name="Yudi Zhu" userId="571e1a55-055f-4c28-8b35-fca6dd1c1369" providerId="ADAL" clId="{75A88773-6EE1-484E-AADE-FE631E01463B}" dt="2025-11-21T06:02:23.788" v="69769" actId="478"/>
            <ac:spMkLst>
              <pc:docMk/>
              <pc:sldMasterMk cId="2736379655" sldId="2147483672"/>
              <pc:sldLayoutMk cId="463068999" sldId="2147483727"/>
              <ac:spMk id="4" creationId="{A69B755A-2B83-CD13-2429-A9704E4E080E}"/>
            </ac:spMkLst>
          </pc:spChg>
          <pc:spChg chg="mod">
            <ac:chgData name="Yudi Zhu" userId="571e1a55-055f-4c28-8b35-fca6dd1c1369" providerId="ADAL" clId="{75A88773-6EE1-484E-AADE-FE631E01463B}" dt="2025-11-21T06:01:49.433" v="53656" actId="948"/>
            <ac:spMkLst>
              <pc:docMk/>
              <pc:sldMasterMk cId="2736379655" sldId="2147483672"/>
              <pc:sldLayoutMk cId="463068999" sldId="2147483727"/>
              <ac:spMk id="1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56" v="91021"/>
            <ac:graphicFrameMkLst>
              <pc:docMk/>
              <pc:sldMasterMk cId="2736379655" sldId="2147483672"/>
              <pc:sldLayoutMk cId="463068999" sldId="2147483727"/>
              <ac:graphicFrameMk id="3" creationId="{1D69369B-8A66-4FA2-A3BA-152FECEA34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61" v="91023"/>
          <pc:sldLayoutMkLst>
            <pc:docMk/>
            <pc:sldMasterMk cId="2736379655" sldId="2147483672"/>
            <pc:sldLayoutMk cId="851180128" sldId="2147483728"/>
          </pc:sldLayoutMkLst>
          <pc:spChg chg="add del mod modVis">
            <ac:chgData name="Yudi Zhu" userId="571e1a55-055f-4c28-8b35-fca6dd1c1369" providerId="ADAL" clId="{75A88773-6EE1-484E-AADE-FE631E01463B}" dt="2025-11-21T06:02:23.793" v="69771" actId="478"/>
            <ac:spMkLst>
              <pc:docMk/>
              <pc:sldMasterMk cId="2736379655" sldId="2147483672"/>
              <pc:sldLayoutMk cId="851180128" sldId="2147483728"/>
              <ac:spMk id="4" creationId="{3BE38ACB-79A2-C7EF-7E85-DF6CD296DA58}"/>
            </ac:spMkLst>
          </pc:spChg>
          <pc:spChg chg="mod">
            <ac:chgData name="Yudi Zhu" userId="571e1a55-055f-4c28-8b35-fca6dd1c1369" providerId="ADAL" clId="{75A88773-6EE1-484E-AADE-FE631E01463B}" dt="2025-11-21T06:01:49.467" v="53677" actId="948"/>
            <ac:spMkLst>
              <pc:docMk/>
              <pc:sldMasterMk cId="2736379655" sldId="2147483672"/>
              <pc:sldLayoutMk cId="851180128" sldId="2147483728"/>
              <ac:spMk id="1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61" v="91023"/>
            <ac:graphicFrameMkLst>
              <pc:docMk/>
              <pc:sldMasterMk cId="2736379655" sldId="2147483672"/>
              <pc:sldLayoutMk cId="851180128" sldId="2147483728"/>
              <ac:graphicFrameMk id="3" creationId="{AB9C19B9-9588-464B-841B-4E0F598DE58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67" v="91025"/>
          <pc:sldLayoutMkLst>
            <pc:docMk/>
            <pc:sldMasterMk cId="2736379655" sldId="2147483672"/>
            <pc:sldLayoutMk cId="95384547" sldId="2147483729"/>
          </pc:sldLayoutMkLst>
          <pc:spChg chg="add del mod modVis">
            <ac:chgData name="Yudi Zhu" userId="571e1a55-055f-4c28-8b35-fca6dd1c1369" providerId="ADAL" clId="{75A88773-6EE1-484E-AADE-FE631E01463B}" dt="2025-11-21T06:02:23.799" v="69773" actId="478"/>
            <ac:spMkLst>
              <pc:docMk/>
              <pc:sldMasterMk cId="2736379655" sldId="2147483672"/>
              <pc:sldLayoutMk cId="95384547" sldId="2147483729"/>
              <ac:spMk id="4" creationId="{5E068172-D554-4EE3-EBE2-71546FE19E71}"/>
            </ac:spMkLst>
          </pc:spChg>
          <pc:spChg chg="mod">
            <ac:chgData name="Yudi Zhu" userId="571e1a55-055f-4c28-8b35-fca6dd1c1369" providerId="ADAL" clId="{75A88773-6EE1-484E-AADE-FE631E01463B}" dt="2025-11-21T06:01:49.502" v="53698" actId="948"/>
            <ac:spMkLst>
              <pc:docMk/>
              <pc:sldMasterMk cId="2736379655" sldId="2147483672"/>
              <pc:sldLayoutMk cId="95384547" sldId="2147483729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67" v="91025"/>
            <ac:graphicFrameMkLst>
              <pc:docMk/>
              <pc:sldMasterMk cId="2736379655" sldId="2147483672"/>
              <pc:sldLayoutMk cId="95384547" sldId="2147483729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76" v="91029"/>
          <pc:sldLayoutMkLst>
            <pc:docMk/>
            <pc:sldMasterMk cId="2736379655" sldId="2147483672"/>
            <pc:sldLayoutMk cId="1339641738" sldId="2147483730"/>
          </pc:sldLayoutMkLst>
          <pc:spChg chg="add del mod modVis">
            <ac:chgData name="Yudi Zhu" userId="571e1a55-055f-4c28-8b35-fca6dd1c1369" providerId="ADAL" clId="{75A88773-6EE1-484E-AADE-FE631E01463B}" dt="2025-11-21T06:02:23.809" v="69777" actId="478"/>
            <ac:spMkLst>
              <pc:docMk/>
              <pc:sldMasterMk cId="2736379655" sldId="2147483672"/>
              <pc:sldLayoutMk cId="1339641738" sldId="2147483730"/>
              <ac:spMk id="4" creationId="{006BA6A4-B770-B53C-1BD4-0E123197FE8A}"/>
            </ac:spMkLst>
          </pc:spChg>
          <pc:spChg chg="mod">
            <ac:chgData name="Yudi Zhu" userId="571e1a55-055f-4c28-8b35-fca6dd1c1369" providerId="ADAL" clId="{75A88773-6EE1-484E-AADE-FE631E01463B}" dt="2025-11-21T06:01:49.581" v="53740" actId="948"/>
            <ac:spMkLst>
              <pc:docMk/>
              <pc:sldMasterMk cId="2736379655" sldId="2147483672"/>
              <pc:sldLayoutMk cId="1339641738" sldId="2147483730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76" v="91029"/>
            <ac:graphicFrameMkLst>
              <pc:docMk/>
              <pc:sldMasterMk cId="2736379655" sldId="2147483672"/>
              <pc:sldLayoutMk cId="1339641738" sldId="2147483730"/>
              <ac:graphicFrameMk id="3" creationId="{CB93EF4C-1394-476A-823F-13E6F1417F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72" v="91027"/>
          <pc:sldLayoutMkLst>
            <pc:docMk/>
            <pc:sldMasterMk cId="2736379655" sldId="2147483672"/>
            <pc:sldLayoutMk cId="2395044885" sldId="2147483731"/>
          </pc:sldLayoutMkLst>
          <pc:spChg chg="add del mod modVis">
            <ac:chgData name="Yudi Zhu" userId="571e1a55-055f-4c28-8b35-fca6dd1c1369" providerId="ADAL" clId="{75A88773-6EE1-484E-AADE-FE631E01463B}" dt="2025-11-21T06:02:23.804" v="69775" actId="478"/>
            <ac:spMkLst>
              <pc:docMk/>
              <pc:sldMasterMk cId="2736379655" sldId="2147483672"/>
              <pc:sldLayoutMk cId="2395044885" sldId="2147483731"/>
              <ac:spMk id="4" creationId="{3F886392-3836-5BE5-25C2-4582A20F6F3B}"/>
            </ac:spMkLst>
          </pc:spChg>
          <pc:spChg chg="mod">
            <ac:chgData name="Yudi Zhu" userId="571e1a55-055f-4c28-8b35-fca6dd1c1369" providerId="ADAL" clId="{75A88773-6EE1-484E-AADE-FE631E01463B}" dt="2025-11-21T06:01:49.540" v="53719" actId="948"/>
            <ac:spMkLst>
              <pc:docMk/>
              <pc:sldMasterMk cId="2736379655" sldId="2147483672"/>
              <pc:sldLayoutMk cId="2395044885" sldId="2147483731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72" v="91027"/>
            <ac:graphicFrameMkLst>
              <pc:docMk/>
              <pc:sldMasterMk cId="2736379655" sldId="2147483672"/>
              <pc:sldLayoutMk cId="2395044885" sldId="2147483731"/>
              <ac:graphicFrameMk id="3" creationId="{D769B887-2B13-4C8F-946E-E594927AC08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81" v="91031"/>
          <pc:sldLayoutMkLst>
            <pc:docMk/>
            <pc:sldMasterMk cId="2736379655" sldId="2147483672"/>
            <pc:sldLayoutMk cId="1948563237" sldId="2147483732"/>
          </pc:sldLayoutMkLst>
          <pc:spChg chg="add del mod modVis">
            <ac:chgData name="Yudi Zhu" userId="571e1a55-055f-4c28-8b35-fca6dd1c1369" providerId="ADAL" clId="{75A88773-6EE1-484E-AADE-FE631E01463B}" dt="2025-11-21T06:02:23.814" v="69779" actId="478"/>
            <ac:spMkLst>
              <pc:docMk/>
              <pc:sldMasterMk cId="2736379655" sldId="2147483672"/>
              <pc:sldLayoutMk cId="1948563237" sldId="2147483732"/>
              <ac:spMk id="4" creationId="{E7D534C3-BA6D-6B96-3CE5-134BB8538EB3}"/>
            </ac:spMkLst>
          </pc:spChg>
          <pc:spChg chg="mod">
            <ac:chgData name="Yudi Zhu" userId="571e1a55-055f-4c28-8b35-fca6dd1c1369" providerId="ADAL" clId="{75A88773-6EE1-484E-AADE-FE631E01463B}" dt="2025-11-21T06:01:49.616" v="53761" actId="948"/>
            <ac:spMkLst>
              <pc:docMk/>
              <pc:sldMasterMk cId="2736379655" sldId="2147483672"/>
              <pc:sldLayoutMk cId="1948563237" sldId="2147483732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181" v="91031"/>
            <ac:graphicFrameMkLst>
              <pc:docMk/>
              <pc:sldMasterMk cId="2736379655" sldId="2147483672"/>
              <pc:sldLayoutMk cId="1948563237" sldId="2147483732"/>
              <ac:graphicFrameMk id="3" creationId="{455A7C36-70AD-47B9-A14E-627B49FA23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86" v="91033"/>
          <pc:sldLayoutMkLst>
            <pc:docMk/>
            <pc:sldMasterMk cId="2736379655" sldId="2147483672"/>
            <pc:sldLayoutMk cId="460771156" sldId="2147483733"/>
          </pc:sldLayoutMkLst>
          <pc:spChg chg="mod">
            <ac:chgData name="Yudi Zhu" userId="571e1a55-055f-4c28-8b35-fca6dd1c1369" providerId="ADAL" clId="{75A88773-6EE1-484E-AADE-FE631E01463B}" dt="2025-11-21T06:01:49.652" v="53782" actId="948"/>
            <ac:spMkLst>
              <pc:docMk/>
              <pc:sldMasterMk cId="2736379655" sldId="2147483672"/>
              <pc:sldLayoutMk cId="460771156" sldId="2147483733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819" v="69781" actId="478"/>
            <ac:spMkLst>
              <pc:docMk/>
              <pc:sldMasterMk cId="2736379655" sldId="2147483672"/>
              <pc:sldLayoutMk cId="460771156" sldId="2147483733"/>
              <ac:spMk id="5" creationId="{1D855C8E-F1D7-A079-858E-6C9559EB13C2}"/>
            </ac:spMkLst>
          </pc:spChg>
          <pc:graphicFrameChg chg="mod">
            <ac:chgData name="Yudi Zhu" userId="571e1a55-055f-4c28-8b35-fca6dd1c1369" providerId="ADAL" clId="{75A88773-6EE1-484E-AADE-FE631E01463B}" dt="2025-11-21T06:05:07.186" v="91033"/>
            <ac:graphicFrameMkLst>
              <pc:docMk/>
              <pc:sldMasterMk cId="2736379655" sldId="2147483672"/>
              <pc:sldLayoutMk cId="460771156" sldId="2147483733"/>
              <ac:graphicFrameMk id="4" creationId="{039D2536-1DC7-4B54-9D7A-41732CF834E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191" v="91035"/>
          <pc:sldLayoutMkLst>
            <pc:docMk/>
            <pc:sldMasterMk cId="2736379655" sldId="2147483672"/>
            <pc:sldLayoutMk cId="333500334" sldId="2147483734"/>
          </pc:sldLayoutMkLst>
          <pc:spChg chg="mod">
            <ac:chgData name="Yudi Zhu" userId="571e1a55-055f-4c28-8b35-fca6dd1c1369" providerId="ADAL" clId="{75A88773-6EE1-484E-AADE-FE631E01463B}" dt="2025-11-21T06:01:49.687" v="53803" actId="948"/>
            <ac:spMkLst>
              <pc:docMk/>
              <pc:sldMasterMk cId="2736379655" sldId="2147483672"/>
              <pc:sldLayoutMk cId="333500334" sldId="2147483734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825" v="69783" actId="478"/>
            <ac:spMkLst>
              <pc:docMk/>
              <pc:sldMasterMk cId="2736379655" sldId="2147483672"/>
              <pc:sldLayoutMk cId="333500334" sldId="2147483734"/>
              <ac:spMk id="5" creationId="{6F38BC67-3AF9-43BA-9E9E-A5E8B715551B}"/>
            </ac:spMkLst>
          </pc:spChg>
          <pc:graphicFrameChg chg="mod">
            <ac:chgData name="Yudi Zhu" userId="571e1a55-055f-4c28-8b35-fca6dd1c1369" providerId="ADAL" clId="{75A88773-6EE1-484E-AADE-FE631E01463B}" dt="2025-11-21T06:05:07.191" v="91035"/>
            <ac:graphicFrameMkLst>
              <pc:docMk/>
              <pc:sldMasterMk cId="2736379655" sldId="2147483672"/>
              <pc:sldLayoutMk cId="333500334" sldId="2147483734"/>
              <ac:graphicFrameMk id="4" creationId="{8B473B82-53D5-4DFB-9CCC-3DDD34E832E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06" v="91041"/>
          <pc:sldLayoutMkLst>
            <pc:docMk/>
            <pc:sldMasterMk cId="2736379655" sldId="2147483672"/>
            <pc:sldLayoutMk cId="3548685860" sldId="2147483735"/>
          </pc:sldLayoutMkLst>
          <pc:spChg chg="mod">
            <ac:chgData name="Yudi Zhu" userId="571e1a55-055f-4c28-8b35-fca6dd1c1369" providerId="ADAL" clId="{75A88773-6EE1-484E-AADE-FE631E01463B}" dt="2025-11-21T06:01:49.728" v="53824" actId="948"/>
            <ac:spMkLst>
              <pc:docMk/>
              <pc:sldMasterMk cId="2736379655" sldId="2147483672"/>
              <pc:sldLayoutMk cId="3548685860" sldId="2147483735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837" v="69787" actId="478"/>
            <ac:spMkLst>
              <pc:docMk/>
              <pc:sldMasterMk cId="2736379655" sldId="2147483672"/>
              <pc:sldLayoutMk cId="3548685860" sldId="2147483735"/>
              <ac:spMk id="5" creationId="{2C02010A-BE0F-3550-8DC9-A66D9437CD89}"/>
            </ac:spMkLst>
          </pc:spChg>
          <pc:graphicFrameChg chg="mod">
            <ac:chgData name="Yudi Zhu" userId="571e1a55-055f-4c28-8b35-fca6dd1c1369" providerId="ADAL" clId="{75A88773-6EE1-484E-AADE-FE631E01463B}" dt="2025-11-21T06:05:07.206" v="91041"/>
            <ac:graphicFrameMkLst>
              <pc:docMk/>
              <pc:sldMasterMk cId="2736379655" sldId="2147483672"/>
              <pc:sldLayoutMk cId="3548685860" sldId="2147483735"/>
              <ac:graphicFrameMk id="4" creationId="{897521DA-F255-4067-808C-8D586F745C2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17" v="91045"/>
          <pc:sldLayoutMkLst>
            <pc:docMk/>
            <pc:sldMasterMk cId="2736379655" sldId="2147483672"/>
            <pc:sldLayoutMk cId="661086120" sldId="2147483736"/>
          </pc:sldLayoutMkLst>
          <pc:spChg chg="mod">
            <ac:chgData name="Yudi Zhu" userId="571e1a55-055f-4c28-8b35-fca6dd1c1369" providerId="ADAL" clId="{75A88773-6EE1-484E-AADE-FE631E01463B}" dt="2025-11-21T06:01:49.803" v="53866" actId="948"/>
            <ac:spMkLst>
              <pc:docMk/>
              <pc:sldMasterMk cId="2736379655" sldId="2147483672"/>
              <pc:sldLayoutMk cId="661086120" sldId="2147483736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848" v="69791" actId="478"/>
            <ac:spMkLst>
              <pc:docMk/>
              <pc:sldMasterMk cId="2736379655" sldId="2147483672"/>
              <pc:sldLayoutMk cId="661086120" sldId="2147483736"/>
              <ac:spMk id="5" creationId="{2E0A6301-6E8E-9AD6-D76D-E8DDEA747280}"/>
            </ac:spMkLst>
          </pc:spChg>
          <pc:graphicFrameChg chg="mod">
            <ac:chgData name="Yudi Zhu" userId="571e1a55-055f-4c28-8b35-fca6dd1c1369" providerId="ADAL" clId="{75A88773-6EE1-484E-AADE-FE631E01463B}" dt="2025-11-21T06:05:07.217" v="91045"/>
            <ac:graphicFrameMkLst>
              <pc:docMk/>
              <pc:sldMasterMk cId="2736379655" sldId="2147483672"/>
              <pc:sldLayoutMk cId="661086120" sldId="2147483736"/>
              <ac:graphicFrameMk id="4" creationId="{D7F540FA-7567-4B2F-82E1-9079310B73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11" v="91043"/>
          <pc:sldLayoutMkLst>
            <pc:docMk/>
            <pc:sldMasterMk cId="2736379655" sldId="2147483672"/>
            <pc:sldLayoutMk cId="2125138356" sldId="2147483737"/>
          </pc:sldLayoutMkLst>
          <pc:spChg chg="add del mod modVis">
            <ac:chgData name="Yudi Zhu" userId="571e1a55-055f-4c28-8b35-fca6dd1c1369" providerId="ADAL" clId="{75A88773-6EE1-484E-AADE-FE631E01463B}" dt="2025-11-21T06:02:23.843" v="69789" actId="478"/>
            <ac:spMkLst>
              <pc:docMk/>
              <pc:sldMasterMk cId="2736379655" sldId="2147483672"/>
              <pc:sldLayoutMk cId="2125138356" sldId="2147483737"/>
              <ac:spMk id="4" creationId="{872C811E-6E82-0881-6360-CAF4FB591C28}"/>
            </ac:spMkLst>
          </pc:spChg>
          <pc:spChg chg="mod">
            <ac:chgData name="Yudi Zhu" userId="571e1a55-055f-4c28-8b35-fca6dd1c1369" providerId="ADAL" clId="{75A88773-6EE1-484E-AADE-FE631E01463B}" dt="2025-11-21T06:01:49.766" v="53845" actId="948"/>
            <ac:spMkLst>
              <pc:docMk/>
              <pc:sldMasterMk cId="2736379655" sldId="2147483672"/>
              <pc:sldLayoutMk cId="2125138356" sldId="2147483737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211" v="91043"/>
            <ac:graphicFrameMkLst>
              <pc:docMk/>
              <pc:sldMasterMk cId="2736379655" sldId="2147483672"/>
              <pc:sldLayoutMk cId="2125138356" sldId="2147483737"/>
              <ac:graphicFrameMk id="3" creationId="{F0C2C8FA-CE5C-4408-854B-AC23B40E844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22" v="91047"/>
          <pc:sldLayoutMkLst>
            <pc:docMk/>
            <pc:sldMasterMk cId="2736379655" sldId="2147483672"/>
            <pc:sldLayoutMk cId="2830248278" sldId="2147483738"/>
          </pc:sldLayoutMkLst>
          <pc:spChg chg="add del mod modVis">
            <ac:chgData name="Yudi Zhu" userId="571e1a55-055f-4c28-8b35-fca6dd1c1369" providerId="ADAL" clId="{75A88773-6EE1-484E-AADE-FE631E01463B}" dt="2025-11-21T06:02:23.853" v="69793" actId="478"/>
            <ac:spMkLst>
              <pc:docMk/>
              <pc:sldMasterMk cId="2736379655" sldId="2147483672"/>
              <pc:sldLayoutMk cId="2830248278" sldId="2147483738"/>
              <ac:spMk id="4" creationId="{933A6BFC-A678-5BFE-4D62-F289CD846931}"/>
            </ac:spMkLst>
          </pc:spChg>
          <pc:spChg chg="mod">
            <ac:chgData name="Yudi Zhu" userId="571e1a55-055f-4c28-8b35-fca6dd1c1369" providerId="ADAL" clId="{75A88773-6EE1-484E-AADE-FE631E01463B}" dt="2025-11-21T06:01:49.843" v="53887" actId="948"/>
            <ac:spMkLst>
              <pc:docMk/>
              <pc:sldMasterMk cId="2736379655" sldId="2147483672"/>
              <pc:sldLayoutMk cId="2830248278" sldId="2147483738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222" v="91047"/>
            <ac:graphicFrameMkLst>
              <pc:docMk/>
              <pc:sldMasterMk cId="2736379655" sldId="2147483672"/>
              <pc:sldLayoutMk cId="2830248278" sldId="2147483738"/>
              <ac:graphicFrameMk id="3" creationId="{459F9065-0E22-4E32-800E-137DEFB3B9A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27" v="91049"/>
          <pc:sldLayoutMkLst>
            <pc:docMk/>
            <pc:sldMasterMk cId="2736379655" sldId="2147483672"/>
            <pc:sldLayoutMk cId="71902458" sldId="2147483739"/>
          </pc:sldLayoutMkLst>
          <pc:graphicFrameChg chg="mod">
            <ac:chgData name="Yudi Zhu" userId="571e1a55-055f-4c28-8b35-fca6dd1c1369" providerId="ADAL" clId="{75A88773-6EE1-484E-AADE-FE631E01463B}" dt="2025-11-21T06:05:07.227" v="91049"/>
            <ac:graphicFrameMkLst>
              <pc:docMk/>
              <pc:sldMasterMk cId="2736379655" sldId="2147483672"/>
              <pc:sldLayoutMk cId="71902458" sldId="2147483739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33" v="91051"/>
          <pc:sldLayoutMkLst>
            <pc:docMk/>
            <pc:sldMasterMk cId="2736379655" sldId="2147483672"/>
            <pc:sldLayoutMk cId="1744627132" sldId="2147483740"/>
          </pc:sldLayoutMkLst>
          <pc:spChg chg="mod">
            <ac:chgData name="Yudi Zhu" userId="571e1a55-055f-4c28-8b35-fca6dd1c1369" providerId="ADAL" clId="{75A88773-6EE1-484E-AADE-FE631E01463B}" dt="2025-11-21T06:01:49.880" v="53908" actId="948"/>
            <ac:spMkLst>
              <pc:docMk/>
              <pc:sldMasterMk cId="2736379655" sldId="2147483672"/>
              <pc:sldLayoutMk cId="1744627132" sldId="2147483740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3.864" v="69796" actId="478"/>
            <ac:spMkLst>
              <pc:docMk/>
              <pc:sldMasterMk cId="2736379655" sldId="2147483672"/>
              <pc:sldLayoutMk cId="1744627132" sldId="2147483740"/>
              <ac:spMk id="3" creationId="{B3D51F13-FC9F-ECEA-D426-46177946FB73}"/>
            </ac:spMkLst>
          </pc:spChg>
          <pc:graphicFrameChg chg="mod">
            <ac:chgData name="Yudi Zhu" userId="571e1a55-055f-4c28-8b35-fca6dd1c1369" providerId="ADAL" clId="{75A88773-6EE1-484E-AADE-FE631E01463B}" dt="2025-11-21T06:05:07.233" v="91051"/>
            <ac:graphicFrameMkLst>
              <pc:docMk/>
              <pc:sldMasterMk cId="2736379655" sldId="2147483672"/>
              <pc:sldLayoutMk cId="1744627132" sldId="2147483740"/>
              <ac:graphicFrameMk id="6" creationId="{9AA175C1-DC26-4FD0-87C7-BD23A645D29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38" v="91053"/>
          <pc:sldLayoutMkLst>
            <pc:docMk/>
            <pc:sldMasterMk cId="2736379655" sldId="2147483672"/>
            <pc:sldLayoutMk cId="1777625510" sldId="2147483741"/>
          </pc:sldLayoutMkLst>
          <pc:graphicFrameChg chg="mod">
            <ac:chgData name="Yudi Zhu" userId="571e1a55-055f-4c28-8b35-fca6dd1c1369" providerId="ADAL" clId="{75A88773-6EE1-484E-AADE-FE631E01463B}" dt="2025-11-21T06:05:07.238" v="91053"/>
            <ac:graphicFrameMkLst>
              <pc:docMk/>
              <pc:sldMasterMk cId="2736379655" sldId="2147483672"/>
              <pc:sldLayoutMk cId="1777625510" sldId="2147483741"/>
              <ac:graphicFrameMk id="2" creationId="{90FE13CB-8AEE-4F29-95FA-616822F7CDB7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50" v="91057"/>
          <pc:sldLayoutMkLst>
            <pc:docMk/>
            <pc:sldMasterMk cId="2736379655" sldId="2147483672"/>
            <pc:sldLayoutMk cId="3415433587" sldId="2147483742"/>
          </pc:sldLayoutMkLst>
          <pc:graphicFrameChg chg="mod">
            <ac:chgData name="Yudi Zhu" userId="571e1a55-055f-4c28-8b35-fca6dd1c1369" providerId="ADAL" clId="{75A88773-6EE1-484E-AADE-FE631E01463B}" dt="2025-11-21T06:05:07.250" v="91057"/>
            <ac:graphicFrameMkLst>
              <pc:docMk/>
              <pc:sldMasterMk cId="2736379655" sldId="2147483672"/>
              <pc:sldLayoutMk cId="3415433587" sldId="2147483742"/>
              <ac:graphicFrameMk id="2" creationId="{08B54EDB-E442-4474-B407-4BE7EB22B24F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43" v="91055"/>
          <pc:sldLayoutMkLst>
            <pc:docMk/>
            <pc:sldMasterMk cId="2736379655" sldId="2147483672"/>
            <pc:sldLayoutMk cId="1072279131" sldId="2147483743"/>
          </pc:sldLayoutMkLst>
          <pc:graphicFrameChg chg="mod">
            <ac:chgData name="Yudi Zhu" userId="571e1a55-055f-4c28-8b35-fca6dd1c1369" providerId="ADAL" clId="{75A88773-6EE1-484E-AADE-FE631E01463B}" dt="2025-11-21T06:05:07.243" v="91055"/>
            <ac:graphicFrameMkLst>
              <pc:docMk/>
              <pc:sldMasterMk cId="2736379655" sldId="2147483672"/>
              <pc:sldLayoutMk cId="1072279131" sldId="2147483743"/>
              <ac:graphicFrameMk id="2" creationId="{B3D5FDBA-D1AA-421F-84E5-80647FFAA8A9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61" v="91061"/>
          <pc:sldLayoutMkLst>
            <pc:docMk/>
            <pc:sldMasterMk cId="2736379655" sldId="2147483672"/>
            <pc:sldLayoutMk cId="2548663631" sldId="2147483744"/>
          </pc:sldLayoutMkLst>
          <pc:graphicFrameChg chg="mod">
            <ac:chgData name="Yudi Zhu" userId="571e1a55-055f-4c28-8b35-fca6dd1c1369" providerId="ADAL" clId="{75A88773-6EE1-484E-AADE-FE631E01463B}" dt="2025-11-21T06:05:07.261" v="91061"/>
            <ac:graphicFrameMkLst>
              <pc:docMk/>
              <pc:sldMasterMk cId="2736379655" sldId="2147483672"/>
              <pc:sldLayoutMk cId="2548663631" sldId="2147483744"/>
              <ac:graphicFrameMk id="2" creationId="{464584B5-037D-4D0E-AE3F-7F004DDC1BD6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55" v="91059"/>
          <pc:sldLayoutMkLst>
            <pc:docMk/>
            <pc:sldMasterMk cId="2736379655" sldId="2147483672"/>
            <pc:sldLayoutMk cId="1081216999" sldId="2147483745"/>
          </pc:sldLayoutMkLst>
          <pc:graphicFrameChg chg="mod">
            <ac:chgData name="Yudi Zhu" userId="571e1a55-055f-4c28-8b35-fca6dd1c1369" providerId="ADAL" clId="{75A88773-6EE1-484E-AADE-FE631E01463B}" dt="2025-11-21T06:05:07.255" v="91059"/>
            <ac:graphicFrameMkLst>
              <pc:docMk/>
              <pc:sldMasterMk cId="2736379655" sldId="2147483672"/>
              <pc:sldLayoutMk cId="1081216999" sldId="2147483745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67" v="91063"/>
          <pc:sldLayoutMkLst>
            <pc:docMk/>
            <pc:sldMasterMk cId="2736379655" sldId="2147483672"/>
            <pc:sldLayoutMk cId="3163786577" sldId="2147483746"/>
          </pc:sldLayoutMkLst>
          <pc:graphicFrameChg chg="mod">
            <ac:chgData name="Yudi Zhu" userId="571e1a55-055f-4c28-8b35-fca6dd1c1369" providerId="ADAL" clId="{75A88773-6EE1-484E-AADE-FE631E01463B}" dt="2025-11-21T06:05:07.267" v="91063"/>
            <ac:graphicFrameMkLst>
              <pc:docMk/>
              <pc:sldMasterMk cId="2736379655" sldId="2147483672"/>
              <pc:sldLayoutMk cId="3163786577" sldId="2147483746"/>
              <ac:graphicFrameMk id="3" creationId="{FB5C556E-5BF3-471B-A5EA-32A4AD58020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196" v="91037"/>
          <pc:sldLayoutMkLst>
            <pc:docMk/>
            <pc:sldMasterMk cId="2736379655" sldId="2147483672"/>
            <pc:sldLayoutMk cId="2127686052" sldId="2147483747"/>
          </pc:sldLayoutMkLst>
          <pc:graphicFrameChg chg="mod">
            <ac:chgData name="Yudi Zhu" userId="571e1a55-055f-4c28-8b35-fca6dd1c1369" providerId="ADAL" clId="{75A88773-6EE1-484E-AADE-FE631E01463B}" dt="2025-11-21T06:05:07.196" v="91037"/>
            <ac:graphicFrameMkLst>
              <pc:docMk/>
              <pc:sldMasterMk cId="2736379655" sldId="2147483672"/>
              <pc:sldLayoutMk cId="2127686052" sldId="2147483747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01" v="91039"/>
          <pc:sldLayoutMkLst>
            <pc:docMk/>
            <pc:sldMasterMk cId="2736379655" sldId="2147483672"/>
            <pc:sldLayoutMk cId="897725995" sldId="2147483748"/>
          </pc:sldLayoutMkLst>
          <pc:graphicFrameChg chg="mod">
            <ac:chgData name="Yudi Zhu" userId="571e1a55-055f-4c28-8b35-fca6dd1c1369" providerId="ADAL" clId="{75A88773-6EE1-484E-AADE-FE631E01463B}" dt="2025-11-21T06:05:07.201" v="91039"/>
            <ac:graphicFrameMkLst>
              <pc:docMk/>
              <pc:sldMasterMk cId="2736379655" sldId="2147483672"/>
              <pc:sldLayoutMk cId="897725995" sldId="2147483748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78" v="91067"/>
          <pc:sldLayoutMkLst>
            <pc:docMk/>
            <pc:sldMasterMk cId="2736379655" sldId="2147483672"/>
            <pc:sldLayoutMk cId="3959674577" sldId="2147483749"/>
          </pc:sldLayoutMkLst>
          <pc:graphicFrameChg chg="mod">
            <ac:chgData name="Yudi Zhu" userId="571e1a55-055f-4c28-8b35-fca6dd1c1369" providerId="ADAL" clId="{75A88773-6EE1-484E-AADE-FE631E01463B}" dt="2025-11-21T06:05:07.278" v="91067"/>
            <ac:graphicFrameMkLst>
              <pc:docMk/>
              <pc:sldMasterMk cId="2736379655" sldId="2147483672"/>
              <pc:sldLayoutMk cId="3959674577" sldId="2147483749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89" v="91071"/>
          <pc:sldLayoutMkLst>
            <pc:docMk/>
            <pc:sldMasterMk cId="2736379655" sldId="2147483672"/>
            <pc:sldLayoutMk cId="3507712805" sldId="2147483750"/>
          </pc:sldLayoutMkLst>
          <pc:graphicFrameChg chg="mod">
            <ac:chgData name="Yudi Zhu" userId="571e1a55-055f-4c28-8b35-fca6dd1c1369" providerId="ADAL" clId="{75A88773-6EE1-484E-AADE-FE631E01463B}" dt="2025-11-21T06:05:07.289" v="91071"/>
            <ac:graphicFrameMkLst>
              <pc:docMk/>
              <pc:sldMasterMk cId="2736379655" sldId="2147483672"/>
              <pc:sldLayoutMk cId="3507712805" sldId="2147483750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84" v="91069"/>
          <pc:sldLayoutMkLst>
            <pc:docMk/>
            <pc:sldMasterMk cId="2736379655" sldId="2147483672"/>
            <pc:sldLayoutMk cId="1253929951" sldId="2147483751"/>
          </pc:sldLayoutMkLst>
          <pc:graphicFrameChg chg="mod">
            <ac:chgData name="Yudi Zhu" userId="571e1a55-055f-4c28-8b35-fca6dd1c1369" providerId="ADAL" clId="{75A88773-6EE1-484E-AADE-FE631E01463B}" dt="2025-11-21T06:05:07.284" v="91069"/>
            <ac:graphicFrameMkLst>
              <pc:docMk/>
              <pc:sldMasterMk cId="2736379655" sldId="2147483672"/>
              <pc:sldLayoutMk cId="1253929951" sldId="2147483751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93" v="91073"/>
          <pc:sldLayoutMkLst>
            <pc:docMk/>
            <pc:sldMasterMk cId="2736379655" sldId="2147483672"/>
            <pc:sldLayoutMk cId="697426879" sldId="2147483752"/>
          </pc:sldLayoutMkLst>
          <pc:graphicFrameChg chg="mod">
            <ac:chgData name="Yudi Zhu" userId="571e1a55-055f-4c28-8b35-fca6dd1c1369" providerId="ADAL" clId="{75A88773-6EE1-484E-AADE-FE631E01463B}" dt="2025-11-21T06:05:07.293" v="91073"/>
            <ac:graphicFrameMkLst>
              <pc:docMk/>
              <pc:sldMasterMk cId="2736379655" sldId="2147483672"/>
              <pc:sldLayoutMk cId="697426879" sldId="2147483752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299" v="91075"/>
          <pc:sldLayoutMkLst>
            <pc:docMk/>
            <pc:sldMasterMk cId="2736379655" sldId="2147483672"/>
            <pc:sldLayoutMk cId="2943521249" sldId="2147483753"/>
          </pc:sldLayoutMkLst>
          <pc:graphicFrameChg chg="mod">
            <ac:chgData name="Yudi Zhu" userId="571e1a55-055f-4c28-8b35-fca6dd1c1369" providerId="ADAL" clId="{75A88773-6EE1-484E-AADE-FE631E01463B}" dt="2025-11-21T06:05:07.299" v="91075"/>
            <ac:graphicFrameMkLst>
              <pc:docMk/>
              <pc:sldMasterMk cId="2736379655" sldId="2147483672"/>
              <pc:sldLayoutMk cId="2943521249" sldId="2147483753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304" v="91077"/>
          <pc:sldLayoutMkLst>
            <pc:docMk/>
            <pc:sldMasterMk cId="2736379655" sldId="2147483672"/>
            <pc:sldLayoutMk cId="983330514" sldId="2147483754"/>
          </pc:sldLayoutMkLst>
          <pc:graphicFrameChg chg="mod">
            <ac:chgData name="Yudi Zhu" userId="571e1a55-055f-4c28-8b35-fca6dd1c1369" providerId="ADAL" clId="{75A88773-6EE1-484E-AADE-FE631E01463B}" dt="2025-11-21T06:05:07.304" v="91077"/>
            <ac:graphicFrameMkLst>
              <pc:docMk/>
              <pc:sldMasterMk cId="2736379655" sldId="2147483672"/>
              <pc:sldLayoutMk cId="983330514" sldId="2147483754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309" v="91079"/>
          <pc:sldLayoutMkLst>
            <pc:docMk/>
            <pc:sldMasterMk cId="2736379655" sldId="2147483672"/>
            <pc:sldLayoutMk cId="1229442874" sldId="2147483755"/>
          </pc:sldLayoutMkLst>
          <pc:graphicFrameChg chg="mod">
            <ac:chgData name="Yudi Zhu" userId="571e1a55-055f-4c28-8b35-fca6dd1c1369" providerId="ADAL" clId="{75A88773-6EE1-484E-AADE-FE631E01463B}" dt="2025-11-21T06:05:07.309" v="91079"/>
            <ac:graphicFrameMkLst>
              <pc:docMk/>
              <pc:sldMasterMk cId="2736379655" sldId="2147483672"/>
              <pc:sldLayoutMk cId="1229442874" sldId="2147483755"/>
              <ac:graphicFrameMk id="2" creationId="{00000000-0000-0000-0000-000000000000}"/>
            </ac:graphicFrameMkLst>
          </pc:graphicFrameChg>
        </pc:sldLayoutChg>
      </pc:sldMasterChg>
      <pc:sldMasterChg chg="addSp delSp modSp mod modSldLayout">
        <pc:chgData name="Yudi Zhu" userId="571e1a55-055f-4c28-8b35-fca6dd1c1369" providerId="ADAL" clId="{75A88773-6EE1-484E-AADE-FE631E01463B}" dt="2025-11-21T06:05:07.742" v="91247"/>
        <pc:sldMasterMkLst>
          <pc:docMk/>
          <pc:sldMasterMk cId="3322049571" sldId="2147483756"/>
        </pc:sldMasterMkLst>
        <pc:spChg chg="add del mod modVis">
          <ac:chgData name="Yudi Zhu" userId="571e1a55-055f-4c28-8b35-fca6dd1c1369" providerId="ADAL" clId="{75A88773-6EE1-484E-AADE-FE631E01463B}" dt="2025-11-21T06:02:23.939" v="69815" actId="478"/>
          <ac:spMkLst>
            <pc:docMk/>
            <pc:sldMasterMk cId="3322049571" sldId="2147483756"/>
            <ac:spMk id="5" creationId="{FE887C68-4BE6-3E74-F6B4-44183B3961DE}"/>
          </ac:spMkLst>
        </pc:spChg>
        <pc:spChg chg="mod">
          <ac:chgData name="Yudi Zhu" userId="571e1a55-055f-4c28-8b35-fca6dd1c1369" providerId="ADAL" clId="{75A88773-6EE1-484E-AADE-FE631E01463B}" dt="2025-11-21T06:01:50.006" v="53971" actId="948"/>
          <ac:spMkLst>
            <pc:docMk/>
            <pc:sldMasterMk cId="3322049571" sldId="2147483756"/>
            <ac:spMk id="9" creationId="{00000000-0000-0000-0000-000000000000}"/>
          </ac:spMkLst>
        </pc:spChg>
        <pc:graphicFrameChg chg="mod">
          <ac:chgData name="Yudi Zhu" userId="571e1a55-055f-4c28-8b35-fca6dd1c1369" providerId="ADAL" clId="{75A88773-6EE1-484E-AADE-FE631E01463B}" dt="2025-11-21T06:05:07.319" v="91083"/>
          <ac:graphicFrameMkLst>
            <pc:docMk/>
            <pc:sldMasterMk cId="3322049571" sldId="2147483756"/>
            <ac:graphicFrameMk id="2" creationId="{00000000-0000-0000-0000-000000000000}"/>
          </ac:graphicFrameMkLst>
        </pc:graphicFrameChg>
        <pc:sldLayoutChg chg="addSp delSp modSp mod">
          <pc:chgData name="Yudi Zhu" userId="571e1a55-055f-4c28-8b35-fca6dd1c1369" providerId="ADAL" clId="{75A88773-6EE1-484E-AADE-FE631E01463B}" dt="2025-11-21T06:05:07.313" v="91081"/>
          <pc:sldLayoutMkLst>
            <pc:docMk/>
            <pc:sldMasterMk cId="3322049571" sldId="2147483756"/>
            <pc:sldLayoutMk cId="667526693" sldId="2147483757"/>
          </pc:sldLayoutMkLst>
          <pc:spChg chg="add del mod modVis">
            <ac:chgData name="Yudi Zhu" userId="571e1a55-055f-4c28-8b35-fca6dd1c1369" providerId="ADAL" clId="{75A88773-6EE1-484E-AADE-FE631E01463B}" dt="2025-11-21T06:02:23.934" v="69813" actId="478"/>
            <ac:spMkLst>
              <pc:docMk/>
              <pc:sldMasterMk cId="3322049571" sldId="2147483756"/>
              <pc:sldLayoutMk cId="667526693" sldId="2147483757"/>
              <ac:spMk id="5" creationId="{9A3FCB42-980A-D276-8190-7FFEA725CE0B}"/>
            </ac:spMkLst>
          </pc:spChg>
          <pc:spChg chg="mod">
            <ac:chgData name="Yudi Zhu" userId="571e1a55-055f-4c28-8b35-fca6dd1c1369" providerId="ADAL" clId="{75A88773-6EE1-484E-AADE-FE631E01463B}" dt="2025-11-21T06:01:49.968" v="53950" actId="948"/>
            <ac:spMkLst>
              <pc:docMk/>
              <pc:sldMasterMk cId="3322049571" sldId="2147483756"/>
              <pc:sldLayoutMk cId="667526693" sldId="2147483757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313" v="91081"/>
            <ac:graphicFrameMkLst>
              <pc:docMk/>
              <pc:sldMasterMk cId="3322049571" sldId="2147483756"/>
              <pc:sldLayoutMk cId="667526693" sldId="2147483757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24" v="91085"/>
          <pc:sldLayoutMkLst>
            <pc:docMk/>
            <pc:sldMasterMk cId="3322049571" sldId="2147483756"/>
            <pc:sldLayoutMk cId="3572625708" sldId="2147483758"/>
          </pc:sldLayoutMkLst>
          <pc:spChg chg="add del mod modVis">
            <ac:chgData name="Yudi Zhu" userId="571e1a55-055f-4c28-8b35-fca6dd1c1369" providerId="ADAL" clId="{75A88773-6EE1-484E-AADE-FE631E01463B}" dt="2025-11-21T06:02:23.945" v="69817" actId="478"/>
            <ac:spMkLst>
              <pc:docMk/>
              <pc:sldMasterMk cId="3322049571" sldId="2147483756"/>
              <pc:sldLayoutMk cId="3572625708" sldId="2147483758"/>
              <ac:spMk id="5" creationId="{3547C277-A053-CC5E-5BBB-9E0E80110ABA}"/>
            </ac:spMkLst>
          </pc:spChg>
          <pc:spChg chg="mod">
            <ac:chgData name="Yudi Zhu" userId="571e1a55-055f-4c28-8b35-fca6dd1c1369" providerId="ADAL" clId="{75A88773-6EE1-484E-AADE-FE631E01463B}" dt="2025-11-21T06:01:50.039" v="53992" actId="948"/>
            <ac:spMkLst>
              <pc:docMk/>
              <pc:sldMasterMk cId="3322049571" sldId="2147483756"/>
              <pc:sldLayoutMk cId="3572625708" sldId="2147483758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324" v="91085"/>
            <ac:graphicFrameMkLst>
              <pc:docMk/>
              <pc:sldMasterMk cId="3322049571" sldId="2147483756"/>
              <pc:sldLayoutMk cId="3572625708" sldId="2147483758"/>
              <ac:graphicFrameMk id="3" creationId="{EA8382DF-DD0E-40F7-835E-30AACFFFD9C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30" v="91087"/>
          <pc:sldLayoutMkLst>
            <pc:docMk/>
            <pc:sldMasterMk cId="3322049571" sldId="2147483756"/>
            <pc:sldLayoutMk cId="2378959290" sldId="2147483759"/>
          </pc:sldLayoutMkLst>
          <pc:spChg chg="add del mod modVis">
            <ac:chgData name="Yudi Zhu" userId="571e1a55-055f-4c28-8b35-fca6dd1c1369" providerId="ADAL" clId="{75A88773-6EE1-484E-AADE-FE631E01463B}" dt="2025-11-21T06:02:23.950" v="69819" actId="478"/>
            <ac:spMkLst>
              <pc:docMk/>
              <pc:sldMasterMk cId="3322049571" sldId="2147483756"/>
              <pc:sldLayoutMk cId="2378959290" sldId="2147483759"/>
              <ac:spMk id="3" creationId="{08619724-5924-6B7C-6DBB-0FEB3AA2491A}"/>
            </ac:spMkLst>
          </pc:spChg>
          <pc:spChg chg="mod">
            <ac:chgData name="Yudi Zhu" userId="571e1a55-055f-4c28-8b35-fca6dd1c1369" providerId="ADAL" clId="{75A88773-6EE1-484E-AADE-FE631E01463B}" dt="2025-11-21T06:01:50.074" v="54013" actId="948"/>
            <ac:spMkLst>
              <pc:docMk/>
              <pc:sldMasterMk cId="3322049571" sldId="2147483756"/>
              <pc:sldLayoutMk cId="2378959290" sldId="2147483759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330" v="91087"/>
            <ac:graphicFrameMkLst>
              <pc:docMk/>
              <pc:sldMasterMk cId="3322049571" sldId="2147483756"/>
              <pc:sldLayoutMk cId="2378959290" sldId="2147483759"/>
              <ac:graphicFrameMk id="4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34" v="91089"/>
          <pc:sldLayoutMkLst>
            <pc:docMk/>
            <pc:sldMasterMk cId="3322049571" sldId="2147483756"/>
            <pc:sldLayoutMk cId="2410216678" sldId="2147483760"/>
          </pc:sldLayoutMkLst>
          <pc:spChg chg="mod">
            <ac:chgData name="Yudi Zhu" userId="571e1a55-055f-4c28-8b35-fca6dd1c1369" providerId="ADAL" clId="{75A88773-6EE1-484E-AADE-FE631E01463B}" dt="2025-11-21T06:01:50.106" v="54034" actId="948"/>
            <ac:spMkLst>
              <pc:docMk/>
              <pc:sldMasterMk cId="3322049571" sldId="2147483756"/>
              <pc:sldLayoutMk cId="2410216678" sldId="2147483760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955" v="69821" actId="478"/>
            <ac:spMkLst>
              <pc:docMk/>
              <pc:sldMasterMk cId="3322049571" sldId="2147483756"/>
              <pc:sldLayoutMk cId="2410216678" sldId="2147483760"/>
              <ac:spMk id="4" creationId="{191C05CF-1BCF-CA55-EB79-AB13BD19C6D1}"/>
            </ac:spMkLst>
          </pc:spChg>
          <pc:graphicFrameChg chg="mod">
            <ac:chgData name="Yudi Zhu" userId="571e1a55-055f-4c28-8b35-fca6dd1c1369" providerId="ADAL" clId="{75A88773-6EE1-484E-AADE-FE631E01463B}" dt="2025-11-21T06:05:07.334" v="91089"/>
            <ac:graphicFrameMkLst>
              <pc:docMk/>
              <pc:sldMasterMk cId="3322049571" sldId="2147483756"/>
              <pc:sldLayoutMk cId="2410216678" sldId="2147483760"/>
              <ac:graphicFrameMk id="11" creationId="{1C49E326-DBA2-4445-874C-28966110423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273" v="91065"/>
          <pc:sldLayoutMkLst>
            <pc:docMk/>
            <pc:sldMasterMk cId="3322049571" sldId="2147483756"/>
            <pc:sldLayoutMk cId="1792142456" sldId="2147483761"/>
          </pc:sldLayoutMkLst>
          <pc:spChg chg="mod">
            <ac:chgData name="Yudi Zhu" userId="571e1a55-055f-4c28-8b35-fca6dd1c1369" providerId="ADAL" clId="{75A88773-6EE1-484E-AADE-FE631E01463B}" dt="2025-11-21T06:01:49.920" v="53929" actId="948"/>
            <ac:spMkLst>
              <pc:docMk/>
              <pc:sldMasterMk cId="3322049571" sldId="2147483756"/>
              <pc:sldLayoutMk cId="1792142456" sldId="2147483761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897" v="69804" actId="478"/>
            <ac:spMkLst>
              <pc:docMk/>
              <pc:sldMasterMk cId="3322049571" sldId="2147483756"/>
              <pc:sldLayoutMk cId="1792142456" sldId="2147483761"/>
              <ac:spMk id="9" creationId="{03C56DDF-355D-81C4-D4B3-9572F4F2AD5A}"/>
            </ac:spMkLst>
          </pc:spChg>
          <pc:graphicFrameChg chg="mod">
            <ac:chgData name="Yudi Zhu" userId="571e1a55-055f-4c28-8b35-fca6dd1c1369" providerId="ADAL" clId="{75A88773-6EE1-484E-AADE-FE631E01463B}" dt="2025-11-21T06:05:07.273" v="91065"/>
            <ac:graphicFrameMkLst>
              <pc:docMk/>
              <pc:sldMasterMk cId="3322049571" sldId="2147483756"/>
              <pc:sldLayoutMk cId="1792142456" sldId="2147483761"/>
              <ac:graphicFrameMk id="5" creationId="{233D9DF1-FCEF-430D-A893-2CC47EDD51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40" v="91091"/>
          <pc:sldLayoutMkLst>
            <pc:docMk/>
            <pc:sldMasterMk cId="3322049571" sldId="2147483756"/>
            <pc:sldLayoutMk cId="586123139" sldId="2147483762"/>
          </pc:sldLayoutMkLst>
          <pc:spChg chg="mod">
            <ac:chgData name="Yudi Zhu" userId="571e1a55-055f-4c28-8b35-fca6dd1c1369" providerId="ADAL" clId="{75A88773-6EE1-484E-AADE-FE631E01463B}" dt="2025-11-21T06:01:50.138" v="54055" actId="948"/>
            <ac:spMkLst>
              <pc:docMk/>
              <pc:sldMasterMk cId="3322049571" sldId="2147483756"/>
              <pc:sldLayoutMk cId="586123139" sldId="2147483762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961" v="69823" actId="478"/>
            <ac:spMkLst>
              <pc:docMk/>
              <pc:sldMasterMk cId="3322049571" sldId="2147483756"/>
              <pc:sldLayoutMk cId="586123139" sldId="2147483762"/>
              <ac:spMk id="9" creationId="{A46AA38A-E383-A915-985A-28DFF3B4062C}"/>
            </ac:spMkLst>
          </pc:spChg>
          <pc:graphicFrameChg chg="mod">
            <ac:chgData name="Yudi Zhu" userId="571e1a55-055f-4c28-8b35-fca6dd1c1369" providerId="ADAL" clId="{75A88773-6EE1-484E-AADE-FE631E01463B}" dt="2025-11-21T06:05:07.340" v="91091"/>
            <ac:graphicFrameMkLst>
              <pc:docMk/>
              <pc:sldMasterMk cId="3322049571" sldId="2147483756"/>
              <pc:sldLayoutMk cId="586123139" sldId="2147483762"/>
              <ac:graphicFrameMk id="5" creationId="{AA26FC7E-B5D2-403D-B518-88504CD8F4D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44" v="91093"/>
          <pc:sldLayoutMkLst>
            <pc:docMk/>
            <pc:sldMasterMk cId="3322049571" sldId="2147483756"/>
            <pc:sldLayoutMk cId="2123070445" sldId="2147483763"/>
          </pc:sldLayoutMkLst>
          <pc:spChg chg="mod">
            <ac:chgData name="Yudi Zhu" userId="571e1a55-055f-4c28-8b35-fca6dd1c1369" providerId="ADAL" clId="{75A88773-6EE1-484E-AADE-FE631E01463B}" dt="2025-11-21T06:01:50.173" v="54076" actId="948"/>
            <ac:spMkLst>
              <pc:docMk/>
              <pc:sldMasterMk cId="3322049571" sldId="2147483756"/>
              <pc:sldLayoutMk cId="2123070445" sldId="2147483763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965" v="69825" actId="478"/>
            <ac:spMkLst>
              <pc:docMk/>
              <pc:sldMasterMk cId="3322049571" sldId="2147483756"/>
              <pc:sldLayoutMk cId="2123070445" sldId="2147483763"/>
              <ac:spMk id="9" creationId="{D5B5250D-4583-0168-F60A-DBD4F91CC67A}"/>
            </ac:spMkLst>
          </pc:spChg>
          <pc:graphicFrameChg chg="mod">
            <ac:chgData name="Yudi Zhu" userId="571e1a55-055f-4c28-8b35-fca6dd1c1369" providerId="ADAL" clId="{75A88773-6EE1-484E-AADE-FE631E01463B}" dt="2025-11-21T06:05:07.344" v="91093"/>
            <ac:graphicFrameMkLst>
              <pc:docMk/>
              <pc:sldMasterMk cId="3322049571" sldId="2147483756"/>
              <pc:sldLayoutMk cId="2123070445" sldId="2147483763"/>
              <ac:graphicFrameMk id="7" creationId="{44EFA9AF-5D73-4A5C-95AB-BDC831988A6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50" v="91095"/>
          <pc:sldLayoutMkLst>
            <pc:docMk/>
            <pc:sldMasterMk cId="3322049571" sldId="2147483756"/>
            <pc:sldLayoutMk cId="1177532105" sldId="2147483764"/>
          </pc:sldLayoutMkLst>
          <pc:spChg chg="mod">
            <ac:chgData name="Yudi Zhu" userId="571e1a55-055f-4c28-8b35-fca6dd1c1369" providerId="ADAL" clId="{75A88773-6EE1-484E-AADE-FE631E01463B}" dt="2025-11-21T06:01:50.209" v="54097" actId="948"/>
            <ac:spMkLst>
              <pc:docMk/>
              <pc:sldMasterMk cId="3322049571" sldId="2147483756"/>
              <pc:sldLayoutMk cId="1177532105" sldId="2147483764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969" v="69827" actId="478"/>
            <ac:spMkLst>
              <pc:docMk/>
              <pc:sldMasterMk cId="3322049571" sldId="2147483756"/>
              <pc:sldLayoutMk cId="1177532105" sldId="2147483764"/>
              <ac:spMk id="9" creationId="{4A4665A4-9307-F5F3-4A35-CF17F548FBA6}"/>
            </ac:spMkLst>
          </pc:spChg>
          <pc:graphicFrameChg chg="mod">
            <ac:chgData name="Yudi Zhu" userId="571e1a55-055f-4c28-8b35-fca6dd1c1369" providerId="ADAL" clId="{75A88773-6EE1-484E-AADE-FE631E01463B}" dt="2025-11-21T06:05:07.350" v="91095"/>
            <ac:graphicFrameMkLst>
              <pc:docMk/>
              <pc:sldMasterMk cId="3322049571" sldId="2147483756"/>
              <pc:sldLayoutMk cId="1177532105" sldId="2147483764"/>
              <ac:graphicFrameMk id="5" creationId="{A60AC594-74DD-41E5-9BEC-4966C0107C5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55" v="91097"/>
          <pc:sldLayoutMkLst>
            <pc:docMk/>
            <pc:sldMasterMk cId="3322049571" sldId="2147483756"/>
            <pc:sldLayoutMk cId="3578577646" sldId="2147483765"/>
          </pc:sldLayoutMkLst>
          <pc:spChg chg="mod">
            <ac:chgData name="Yudi Zhu" userId="571e1a55-055f-4c28-8b35-fca6dd1c1369" providerId="ADAL" clId="{75A88773-6EE1-484E-AADE-FE631E01463B}" dt="2025-11-21T06:01:50.245" v="54118" actId="948"/>
            <ac:spMkLst>
              <pc:docMk/>
              <pc:sldMasterMk cId="3322049571" sldId="2147483756"/>
              <pc:sldLayoutMk cId="3578577646" sldId="2147483765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3.974" v="69829" actId="478"/>
            <ac:spMkLst>
              <pc:docMk/>
              <pc:sldMasterMk cId="3322049571" sldId="2147483756"/>
              <pc:sldLayoutMk cId="3578577646" sldId="2147483765"/>
              <ac:spMk id="10" creationId="{7B03BBB7-7038-D00B-6A29-F862ABC29C9A}"/>
            </ac:spMkLst>
          </pc:spChg>
          <pc:graphicFrameChg chg="mod">
            <ac:chgData name="Yudi Zhu" userId="571e1a55-055f-4c28-8b35-fca6dd1c1369" providerId="ADAL" clId="{75A88773-6EE1-484E-AADE-FE631E01463B}" dt="2025-11-21T06:05:07.355" v="91097"/>
            <ac:graphicFrameMkLst>
              <pc:docMk/>
              <pc:sldMasterMk cId="3322049571" sldId="2147483756"/>
              <pc:sldLayoutMk cId="3578577646" sldId="2147483765"/>
              <ac:graphicFrameMk id="7" creationId="{CB8E99FA-EA61-4A50-84AE-4C4EAD18947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59" v="91099"/>
          <pc:sldLayoutMkLst>
            <pc:docMk/>
            <pc:sldMasterMk cId="3322049571" sldId="2147483756"/>
            <pc:sldLayoutMk cId="3420894037" sldId="2147483766"/>
          </pc:sldLayoutMkLst>
          <pc:spChg chg="add del mod modVis">
            <ac:chgData name="Yudi Zhu" userId="571e1a55-055f-4c28-8b35-fca6dd1c1369" providerId="ADAL" clId="{75A88773-6EE1-484E-AADE-FE631E01463B}" dt="2025-11-21T06:02:23.978" v="69831" actId="478"/>
            <ac:spMkLst>
              <pc:docMk/>
              <pc:sldMasterMk cId="3322049571" sldId="2147483756"/>
              <pc:sldLayoutMk cId="3420894037" sldId="2147483766"/>
              <ac:spMk id="7" creationId="{A8D762CA-66AD-42B7-ECE9-109962820F93}"/>
            </ac:spMkLst>
          </pc:spChg>
          <pc:spChg chg="mod">
            <ac:chgData name="Yudi Zhu" userId="571e1a55-055f-4c28-8b35-fca6dd1c1369" providerId="ADAL" clId="{75A88773-6EE1-484E-AADE-FE631E01463B}" dt="2025-11-21T06:01:50.285" v="54139" actId="948"/>
            <ac:spMkLst>
              <pc:docMk/>
              <pc:sldMasterMk cId="3322049571" sldId="2147483756"/>
              <pc:sldLayoutMk cId="3420894037" sldId="2147483766"/>
              <ac:spMk id="9" creationId="{077DD58C-F691-8349-8D04-9EA40DEFCE8E}"/>
            </ac:spMkLst>
          </pc:spChg>
          <pc:graphicFrameChg chg="mod">
            <ac:chgData name="Yudi Zhu" userId="571e1a55-055f-4c28-8b35-fca6dd1c1369" providerId="ADAL" clId="{75A88773-6EE1-484E-AADE-FE631E01463B}" dt="2025-11-21T06:05:07.359" v="91099"/>
            <ac:graphicFrameMkLst>
              <pc:docMk/>
              <pc:sldMasterMk cId="3322049571" sldId="2147483756"/>
              <pc:sldLayoutMk cId="3420894037" sldId="2147483766"/>
              <ac:graphicFrameMk id="4" creationId="{142ADBD7-DF1A-43E7-8670-644A11CBC42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66" v="91101"/>
          <pc:sldLayoutMkLst>
            <pc:docMk/>
            <pc:sldMasterMk cId="3322049571" sldId="2147483756"/>
            <pc:sldLayoutMk cId="338693034" sldId="2147483767"/>
          </pc:sldLayoutMkLst>
          <pc:spChg chg="mod">
            <ac:chgData name="Yudi Zhu" userId="571e1a55-055f-4c28-8b35-fca6dd1c1369" providerId="ADAL" clId="{75A88773-6EE1-484E-AADE-FE631E01463B}" dt="2025-11-21T06:01:50.320" v="54160" actId="948"/>
            <ac:spMkLst>
              <pc:docMk/>
              <pc:sldMasterMk cId="3322049571" sldId="2147483756"/>
              <pc:sldLayoutMk cId="338693034" sldId="2147483767"/>
              <ac:spMk id="9" creationId="{077DD58C-F691-8349-8D04-9EA40DEFCE8E}"/>
            </ac:spMkLst>
          </pc:spChg>
          <pc:spChg chg="add del mod modVis">
            <ac:chgData name="Yudi Zhu" userId="571e1a55-055f-4c28-8b35-fca6dd1c1369" providerId="ADAL" clId="{75A88773-6EE1-484E-AADE-FE631E01463B}" dt="2025-11-21T06:02:23.982" v="69833" actId="478"/>
            <ac:spMkLst>
              <pc:docMk/>
              <pc:sldMasterMk cId="3322049571" sldId="2147483756"/>
              <pc:sldLayoutMk cId="338693034" sldId="2147483767"/>
              <ac:spMk id="10" creationId="{C832B1AD-22AE-D0C6-D7C6-6563D6EF80EA}"/>
            </ac:spMkLst>
          </pc:spChg>
          <pc:graphicFrameChg chg="mod">
            <ac:chgData name="Yudi Zhu" userId="571e1a55-055f-4c28-8b35-fca6dd1c1369" providerId="ADAL" clId="{75A88773-6EE1-484E-AADE-FE631E01463B}" dt="2025-11-21T06:05:07.366" v="91101"/>
            <ac:graphicFrameMkLst>
              <pc:docMk/>
              <pc:sldMasterMk cId="3322049571" sldId="2147483756"/>
              <pc:sldLayoutMk cId="338693034" sldId="2147483767"/>
              <ac:graphicFrameMk id="7" creationId="{C1938CA3-0A88-445C-8BD1-B883D6BE39A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71" v="91103"/>
          <pc:sldLayoutMkLst>
            <pc:docMk/>
            <pc:sldMasterMk cId="3322049571" sldId="2147483756"/>
            <pc:sldLayoutMk cId="3545059598" sldId="2147483768"/>
          </pc:sldLayoutMkLst>
          <pc:spChg chg="mod">
            <ac:chgData name="Yudi Zhu" userId="571e1a55-055f-4c28-8b35-fca6dd1c1369" providerId="ADAL" clId="{75A88773-6EE1-484E-AADE-FE631E01463B}" dt="2025-11-21T06:01:50.351" v="54181" actId="948"/>
            <ac:spMkLst>
              <pc:docMk/>
              <pc:sldMasterMk cId="3322049571" sldId="2147483756"/>
              <pc:sldLayoutMk cId="3545059598" sldId="2147483768"/>
              <ac:spMk id="9" creationId="{78FEB782-97E7-6B46-98EB-11F9D2031ADB}"/>
            </ac:spMkLst>
          </pc:spChg>
          <pc:spChg chg="add del mod modVis">
            <ac:chgData name="Yudi Zhu" userId="571e1a55-055f-4c28-8b35-fca6dd1c1369" providerId="ADAL" clId="{75A88773-6EE1-484E-AADE-FE631E01463B}" dt="2025-11-21T06:02:23.986" v="69835" actId="478"/>
            <ac:spMkLst>
              <pc:docMk/>
              <pc:sldMasterMk cId="3322049571" sldId="2147483756"/>
              <pc:sldLayoutMk cId="3545059598" sldId="2147483768"/>
              <ac:spMk id="10" creationId="{22504448-CECF-232D-C2F8-2F4CB3B7D0DC}"/>
            </ac:spMkLst>
          </pc:spChg>
          <pc:graphicFrameChg chg="mod">
            <ac:chgData name="Yudi Zhu" userId="571e1a55-055f-4c28-8b35-fca6dd1c1369" providerId="ADAL" clId="{75A88773-6EE1-484E-AADE-FE631E01463B}" dt="2025-11-21T06:05:07.371" v="91103"/>
            <ac:graphicFrameMkLst>
              <pc:docMk/>
              <pc:sldMasterMk cId="3322049571" sldId="2147483756"/>
              <pc:sldLayoutMk cId="3545059598" sldId="2147483768"/>
              <ac:graphicFrameMk id="7" creationId="{B6B6FC61-B9D5-4F53-A9F8-80380D75FDC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76" v="91105"/>
          <pc:sldLayoutMkLst>
            <pc:docMk/>
            <pc:sldMasterMk cId="3322049571" sldId="2147483756"/>
            <pc:sldLayoutMk cId="2202980685" sldId="2147483769"/>
          </pc:sldLayoutMkLst>
          <pc:spChg chg="add del mod modVis">
            <ac:chgData name="Yudi Zhu" userId="571e1a55-055f-4c28-8b35-fca6dd1c1369" providerId="ADAL" clId="{75A88773-6EE1-484E-AADE-FE631E01463B}" dt="2025-11-21T06:02:23.992" v="69837" actId="478"/>
            <ac:spMkLst>
              <pc:docMk/>
              <pc:sldMasterMk cId="3322049571" sldId="2147483756"/>
              <pc:sldLayoutMk cId="2202980685" sldId="2147483769"/>
              <ac:spMk id="7" creationId="{79AF260A-CA81-BD3E-AB17-AEB773836BB7}"/>
            </ac:spMkLst>
          </pc:spChg>
          <pc:spChg chg="mod">
            <ac:chgData name="Yudi Zhu" userId="571e1a55-055f-4c28-8b35-fca6dd1c1369" providerId="ADAL" clId="{75A88773-6EE1-484E-AADE-FE631E01463B}" dt="2025-11-21T06:01:50.385" v="54202" actId="948"/>
            <ac:spMkLst>
              <pc:docMk/>
              <pc:sldMasterMk cId="3322049571" sldId="2147483756"/>
              <pc:sldLayoutMk cId="2202980685" sldId="2147483769"/>
              <ac:spMk id="9" creationId="{78FEB782-97E7-6B46-98EB-11F9D2031ADB}"/>
            </ac:spMkLst>
          </pc:spChg>
          <pc:graphicFrameChg chg="mod">
            <ac:chgData name="Yudi Zhu" userId="571e1a55-055f-4c28-8b35-fca6dd1c1369" providerId="ADAL" clId="{75A88773-6EE1-484E-AADE-FE631E01463B}" dt="2025-11-21T06:05:07.376" v="91105"/>
            <ac:graphicFrameMkLst>
              <pc:docMk/>
              <pc:sldMasterMk cId="3322049571" sldId="2147483756"/>
              <pc:sldLayoutMk cId="2202980685" sldId="2147483769"/>
              <ac:graphicFrameMk id="5" creationId="{2C3F72DE-1E77-4CF8-AB31-BE226257EA4E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81" v="91107"/>
          <pc:sldLayoutMkLst>
            <pc:docMk/>
            <pc:sldMasterMk cId="3322049571" sldId="2147483756"/>
            <pc:sldLayoutMk cId="464820992" sldId="2147483770"/>
          </pc:sldLayoutMkLst>
          <pc:spChg chg="mod">
            <ac:chgData name="Yudi Zhu" userId="571e1a55-055f-4c28-8b35-fca6dd1c1369" providerId="ADAL" clId="{75A88773-6EE1-484E-AADE-FE631E01463B}" dt="2025-11-21T06:01:50.421" v="54223" actId="948"/>
            <ac:spMkLst>
              <pc:docMk/>
              <pc:sldMasterMk cId="3322049571" sldId="2147483756"/>
              <pc:sldLayoutMk cId="464820992" sldId="2147483770"/>
              <ac:spMk id="8" creationId="{EFF4B651-A3DD-164E-A86F-87AAFD959FD9}"/>
            </ac:spMkLst>
          </pc:spChg>
          <pc:spChg chg="add del mod modVis">
            <ac:chgData name="Yudi Zhu" userId="571e1a55-055f-4c28-8b35-fca6dd1c1369" providerId="ADAL" clId="{75A88773-6EE1-484E-AADE-FE631E01463B}" dt="2025-11-21T06:02:23.997" v="69839" actId="478"/>
            <ac:spMkLst>
              <pc:docMk/>
              <pc:sldMasterMk cId="3322049571" sldId="2147483756"/>
              <pc:sldLayoutMk cId="464820992" sldId="2147483770"/>
              <ac:spMk id="12" creationId="{65B350DE-0C6F-436C-25AE-7AD72EBBAA17}"/>
            </ac:spMkLst>
          </pc:spChg>
          <pc:graphicFrameChg chg="mod">
            <ac:chgData name="Yudi Zhu" userId="571e1a55-055f-4c28-8b35-fca6dd1c1369" providerId="ADAL" clId="{75A88773-6EE1-484E-AADE-FE631E01463B}" dt="2025-11-21T06:05:07.381" v="91107"/>
            <ac:graphicFrameMkLst>
              <pc:docMk/>
              <pc:sldMasterMk cId="3322049571" sldId="2147483756"/>
              <pc:sldLayoutMk cId="464820992" sldId="2147483770"/>
              <ac:graphicFrameMk id="9" creationId="{F198DD6D-4CB4-41B2-A6EB-106DE8DB82F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92" v="91111"/>
          <pc:sldLayoutMkLst>
            <pc:docMk/>
            <pc:sldMasterMk cId="3322049571" sldId="2147483756"/>
            <pc:sldLayoutMk cId="4113460558" sldId="2147483771"/>
          </pc:sldLayoutMkLst>
          <pc:spChg chg="mod">
            <ac:chgData name="Yudi Zhu" userId="571e1a55-055f-4c28-8b35-fca6dd1c1369" providerId="ADAL" clId="{75A88773-6EE1-484E-AADE-FE631E01463B}" dt="2025-11-21T06:01:50.454" v="54244" actId="948"/>
            <ac:spMkLst>
              <pc:docMk/>
              <pc:sldMasterMk cId="3322049571" sldId="2147483756"/>
              <pc:sldLayoutMk cId="4113460558" sldId="2147483771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4.004" v="69842" actId="478"/>
            <ac:spMkLst>
              <pc:docMk/>
              <pc:sldMasterMk cId="3322049571" sldId="2147483756"/>
              <pc:sldLayoutMk cId="4113460558" sldId="2147483771"/>
              <ac:spMk id="12" creationId="{0DB89F76-EB73-615B-D680-BEA003B8C7F1}"/>
            </ac:spMkLst>
          </pc:spChg>
          <pc:graphicFrameChg chg="mod">
            <ac:chgData name="Yudi Zhu" userId="571e1a55-055f-4c28-8b35-fca6dd1c1369" providerId="ADAL" clId="{75A88773-6EE1-484E-AADE-FE631E01463B}" dt="2025-11-21T06:05:07.392" v="91111"/>
            <ac:graphicFrameMkLst>
              <pc:docMk/>
              <pc:sldMasterMk cId="3322049571" sldId="2147483756"/>
              <pc:sldLayoutMk cId="4113460558" sldId="2147483771"/>
              <ac:graphicFrameMk id="9" creationId="{51727105-51C1-4E4A-9888-1325C5102F8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397" v="91113"/>
          <pc:sldLayoutMkLst>
            <pc:docMk/>
            <pc:sldMasterMk cId="3322049571" sldId="2147483756"/>
            <pc:sldLayoutMk cId="174949130" sldId="2147483772"/>
          </pc:sldLayoutMkLst>
          <pc:spChg chg="mod">
            <ac:chgData name="Yudi Zhu" userId="571e1a55-055f-4c28-8b35-fca6dd1c1369" providerId="ADAL" clId="{75A88773-6EE1-484E-AADE-FE631E01463B}" dt="2025-11-21T06:01:50.489" v="54265" actId="948"/>
            <ac:spMkLst>
              <pc:docMk/>
              <pc:sldMasterMk cId="3322049571" sldId="2147483756"/>
              <pc:sldLayoutMk cId="174949130" sldId="2147483772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4.015" v="69844" actId="478"/>
            <ac:spMkLst>
              <pc:docMk/>
              <pc:sldMasterMk cId="3322049571" sldId="2147483756"/>
              <pc:sldLayoutMk cId="174949130" sldId="2147483772"/>
              <ac:spMk id="12" creationId="{A09EABDB-CFD9-2A73-4F37-BB480DD0C0F4}"/>
            </ac:spMkLst>
          </pc:spChg>
          <pc:graphicFrameChg chg="mod">
            <ac:chgData name="Yudi Zhu" userId="571e1a55-055f-4c28-8b35-fca6dd1c1369" providerId="ADAL" clId="{75A88773-6EE1-484E-AADE-FE631E01463B}" dt="2025-11-21T06:05:07.397" v="91113"/>
            <ac:graphicFrameMkLst>
              <pc:docMk/>
              <pc:sldMasterMk cId="3322049571" sldId="2147483756"/>
              <pc:sldLayoutMk cId="174949130" sldId="2147483772"/>
              <ac:graphicFrameMk id="9" creationId="{9EAADC82-591B-490C-B13F-D6EC88661634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07" v="91117"/>
          <pc:sldLayoutMkLst>
            <pc:docMk/>
            <pc:sldMasterMk cId="3322049571" sldId="2147483756"/>
            <pc:sldLayoutMk cId="1169034341" sldId="2147483773"/>
          </pc:sldLayoutMkLst>
          <pc:spChg chg="add del mod modVis">
            <ac:chgData name="Yudi Zhu" userId="571e1a55-055f-4c28-8b35-fca6dd1c1369" providerId="ADAL" clId="{75A88773-6EE1-484E-AADE-FE631E01463B}" dt="2025-11-21T06:02:24.026" v="69848" actId="478"/>
            <ac:spMkLst>
              <pc:docMk/>
              <pc:sldMasterMk cId="3322049571" sldId="2147483756"/>
              <pc:sldLayoutMk cId="1169034341" sldId="2147483773"/>
              <ac:spMk id="3" creationId="{DFEE9253-F968-9741-B71E-FE4E6ED7CAD6}"/>
            </ac:spMkLst>
          </pc:spChg>
          <pc:spChg chg="mod">
            <ac:chgData name="Yudi Zhu" userId="571e1a55-055f-4c28-8b35-fca6dd1c1369" providerId="ADAL" clId="{75A88773-6EE1-484E-AADE-FE631E01463B}" dt="2025-11-21T06:01:50.554" v="54307" actId="948"/>
            <ac:spMkLst>
              <pc:docMk/>
              <pc:sldMasterMk cId="3322049571" sldId="2147483756"/>
              <pc:sldLayoutMk cId="1169034341" sldId="2147483773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07" v="91117"/>
            <ac:graphicFrameMkLst>
              <pc:docMk/>
              <pc:sldMasterMk cId="3322049571" sldId="2147483756"/>
              <pc:sldLayoutMk cId="1169034341" sldId="2147483773"/>
              <ac:graphicFrameMk id="4" creationId="{F694B70D-DA78-4133-AD7C-9C125CD357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02" v="91115"/>
          <pc:sldLayoutMkLst>
            <pc:docMk/>
            <pc:sldMasterMk cId="3322049571" sldId="2147483756"/>
            <pc:sldLayoutMk cId="3491498106" sldId="2147483774"/>
          </pc:sldLayoutMkLst>
          <pc:spChg chg="mod">
            <ac:chgData name="Yudi Zhu" userId="571e1a55-055f-4c28-8b35-fca6dd1c1369" providerId="ADAL" clId="{75A88773-6EE1-484E-AADE-FE631E01463B}" dt="2025-11-21T06:01:50.523" v="54286" actId="948"/>
            <ac:spMkLst>
              <pc:docMk/>
              <pc:sldMasterMk cId="3322049571" sldId="2147483756"/>
              <pc:sldLayoutMk cId="3491498106" sldId="2147483774"/>
              <ac:spMk id="2" creationId="{9FCE4FFF-81B3-4CDA-B0A1-3363FFB22A6A}"/>
            </ac:spMkLst>
          </pc:spChg>
          <pc:spChg chg="add del mod modVis">
            <ac:chgData name="Yudi Zhu" userId="571e1a55-055f-4c28-8b35-fca6dd1c1369" providerId="ADAL" clId="{75A88773-6EE1-484E-AADE-FE631E01463B}" dt="2025-11-21T06:02:24.021" v="69846" actId="478"/>
            <ac:spMkLst>
              <pc:docMk/>
              <pc:sldMasterMk cId="3322049571" sldId="2147483756"/>
              <pc:sldLayoutMk cId="3491498106" sldId="2147483774"/>
              <ac:spMk id="5" creationId="{7693F656-4C34-90D5-41D9-6D46D47FCB98}"/>
            </ac:spMkLst>
          </pc:spChg>
          <pc:graphicFrameChg chg="mod">
            <ac:chgData name="Yudi Zhu" userId="571e1a55-055f-4c28-8b35-fca6dd1c1369" providerId="ADAL" clId="{75A88773-6EE1-484E-AADE-FE631E01463B}" dt="2025-11-21T06:05:07.402" v="91115"/>
            <ac:graphicFrameMkLst>
              <pc:docMk/>
              <pc:sldMasterMk cId="3322049571" sldId="2147483756"/>
              <pc:sldLayoutMk cId="3491498106" sldId="2147483774"/>
              <ac:graphicFrameMk id="4" creationId="{B1094371-F322-4EBE-A1DB-90A69D6D0A4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12" v="91119"/>
          <pc:sldLayoutMkLst>
            <pc:docMk/>
            <pc:sldMasterMk cId="3322049571" sldId="2147483756"/>
            <pc:sldLayoutMk cId="3184775906" sldId="2147483775"/>
          </pc:sldLayoutMkLst>
          <pc:spChg chg="add del mod modVis">
            <ac:chgData name="Yudi Zhu" userId="571e1a55-055f-4c28-8b35-fca6dd1c1369" providerId="ADAL" clId="{75A88773-6EE1-484E-AADE-FE631E01463B}" dt="2025-11-21T06:02:24.031" v="69850" actId="478"/>
            <ac:spMkLst>
              <pc:docMk/>
              <pc:sldMasterMk cId="3322049571" sldId="2147483756"/>
              <pc:sldLayoutMk cId="3184775906" sldId="2147483775"/>
              <ac:spMk id="3" creationId="{016A5A3B-7142-E846-5DAA-1F2ED2FF2912}"/>
            </ac:spMkLst>
          </pc:spChg>
          <pc:spChg chg="mod">
            <ac:chgData name="Yudi Zhu" userId="571e1a55-055f-4c28-8b35-fca6dd1c1369" providerId="ADAL" clId="{75A88773-6EE1-484E-AADE-FE631E01463B}" dt="2025-11-21T06:01:50.586" v="54328" actId="948"/>
            <ac:spMkLst>
              <pc:docMk/>
              <pc:sldMasterMk cId="3322049571" sldId="2147483756"/>
              <pc:sldLayoutMk cId="3184775906" sldId="2147483775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12" v="91119"/>
            <ac:graphicFrameMkLst>
              <pc:docMk/>
              <pc:sldMasterMk cId="3322049571" sldId="2147483756"/>
              <pc:sldLayoutMk cId="3184775906" sldId="2147483775"/>
              <ac:graphicFrameMk id="4" creationId="{427CE5A4-9DBE-452B-B1A7-06BD6A382B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18" v="91121"/>
          <pc:sldLayoutMkLst>
            <pc:docMk/>
            <pc:sldMasterMk cId="3322049571" sldId="2147483756"/>
            <pc:sldLayoutMk cId="2558272921" sldId="2147483776"/>
          </pc:sldLayoutMkLst>
          <pc:spChg chg="mod">
            <ac:chgData name="Yudi Zhu" userId="571e1a55-055f-4c28-8b35-fca6dd1c1369" providerId="ADAL" clId="{75A88773-6EE1-484E-AADE-FE631E01463B}" dt="2025-11-21T06:01:50.619" v="54349" actId="948"/>
            <ac:spMkLst>
              <pc:docMk/>
              <pc:sldMasterMk cId="3322049571" sldId="2147483756"/>
              <pc:sldLayoutMk cId="2558272921" sldId="2147483776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035" v="69852" actId="478"/>
            <ac:spMkLst>
              <pc:docMk/>
              <pc:sldMasterMk cId="3322049571" sldId="2147483756"/>
              <pc:sldLayoutMk cId="2558272921" sldId="2147483776"/>
              <ac:spMk id="3" creationId="{3B54AEA7-A76E-4072-3E51-A3F8CD6FEE23}"/>
            </ac:spMkLst>
          </pc:spChg>
          <pc:graphicFrameChg chg="mod">
            <ac:chgData name="Yudi Zhu" userId="571e1a55-055f-4c28-8b35-fca6dd1c1369" providerId="ADAL" clId="{75A88773-6EE1-484E-AADE-FE631E01463B}" dt="2025-11-21T06:05:07.418" v="91121"/>
            <ac:graphicFrameMkLst>
              <pc:docMk/>
              <pc:sldMasterMk cId="3322049571" sldId="2147483756"/>
              <pc:sldLayoutMk cId="2558272921" sldId="2147483776"/>
              <ac:graphicFrameMk id="6" creationId="{3C86DF70-975B-49FD-AA3C-9F168629776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23" v="91123"/>
          <pc:sldLayoutMkLst>
            <pc:docMk/>
            <pc:sldMasterMk cId="3322049571" sldId="2147483756"/>
            <pc:sldLayoutMk cId="4209582139" sldId="2147483777"/>
          </pc:sldLayoutMkLst>
          <pc:spChg chg="add del mod modVis">
            <ac:chgData name="Yudi Zhu" userId="571e1a55-055f-4c28-8b35-fca6dd1c1369" providerId="ADAL" clId="{75A88773-6EE1-484E-AADE-FE631E01463B}" dt="2025-11-21T06:02:24.040" v="69854" actId="478"/>
            <ac:spMkLst>
              <pc:docMk/>
              <pc:sldMasterMk cId="3322049571" sldId="2147483756"/>
              <pc:sldLayoutMk cId="4209582139" sldId="2147483777"/>
              <ac:spMk id="4" creationId="{D95D5D2A-4012-1081-7FA8-B230B26D17E8}"/>
            </ac:spMkLst>
          </pc:spChg>
          <pc:spChg chg="mod">
            <ac:chgData name="Yudi Zhu" userId="571e1a55-055f-4c28-8b35-fca6dd1c1369" providerId="ADAL" clId="{75A88773-6EE1-484E-AADE-FE631E01463B}" dt="2025-11-21T06:01:50.651" v="54370" actId="948"/>
            <ac:spMkLst>
              <pc:docMk/>
              <pc:sldMasterMk cId="3322049571" sldId="2147483756"/>
              <pc:sldLayoutMk cId="4209582139" sldId="2147483777"/>
              <ac:spMk id="14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23" v="91123"/>
            <ac:graphicFrameMkLst>
              <pc:docMk/>
              <pc:sldMasterMk cId="3322049571" sldId="2147483756"/>
              <pc:sldLayoutMk cId="4209582139" sldId="2147483777"/>
              <ac:graphicFrameMk id="3" creationId="{89BEC3BC-5B52-4AEA-9AE3-4F49A2B41DC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28" v="91125"/>
          <pc:sldLayoutMkLst>
            <pc:docMk/>
            <pc:sldMasterMk cId="3322049571" sldId="2147483756"/>
            <pc:sldLayoutMk cId="1125019245" sldId="2147483778"/>
          </pc:sldLayoutMkLst>
          <pc:spChg chg="add del mod modVis">
            <ac:chgData name="Yudi Zhu" userId="571e1a55-055f-4c28-8b35-fca6dd1c1369" providerId="ADAL" clId="{75A88773-6EE1-484E-AADE-FE631E01463B}" dt="2025-11-21T06:02:24.046" v="69856" actId="478"/>
            <ac:spMkLst>
              <pc:docMk/>
              <pc:sldMasterMk cId="3322049571" sldId="2147483756"/>
              <pc:sldLayoutMk cId="1125019245" sldId="2147483778"/>
              <ac:spMk id="4" creationId="{4CB5C3BD-1E0F-BF12-2A4B-BB169C025107}"/>
            </ac:spMkLst>
          </pc:spChg>
          <pc:spChg chg="mod">
            <ac:chgData name="Yudi Zhu" userId="571e1a55-055f-4c28-8b35-fca6dd1c1369" providerId="ADAL" clId="{75A88773-6EE1-484E-AADE-FE631E01463B}" dt="2025-11-21T06:01:50.686" v="54391" actId="948"/>
            <ac:spMkLst>
              <pc:docMk/>
              <pc:sldMasterMk cId="3322049571" sldId="2147483756"/>
              <pc:sldLayoutMk cId="1125019245" sldId="2147483778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28" v="91125"/>
            <ac:graphicFrameMkLst>
              <pc:docMk/>
              <pc:sldMasterMk cId="3322049571" sldId="2147483756"/>
              <pc:sldLayoutMk cId="1125019245" sldId="2147483778"/>
              <ac:graphicFrameMk id="3" creationId="{AE36173E-B310-4716-9B29-7C07860DEF5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32" v="91127"/>
          <pc:sldLayoutMkLst>
            <pc:docMk/>
            <pc:sldMasterMk cId="3322049571" sldId="2147483756"/>
            <pc:sldLayoutMk cId="1918535987" sldId="2147483779"/>
          </pc:sldLayoutMkLst>
          <pc:spChg chg="add del mod modVis">
            <ac:chgData name="Yudi Zhu" userId="571e1a55-055f-4c28-8b35-fca6dd1c1369" providerId="ADAL" clId="{75A88773-6EE1-484E-AADE-FE631E01463B}" dt="2025-11-21T06:02:24.051" v="69858" actId="478"/>
            <ac:spMkLst>
              <pc:docMk/>
              <pc:sldMasterMk cId="3322049571" sldId="2147483756"/>
              <pc:sldLayoutMk cId="1918535987" sldId="2147483779"/>
              <ac:spMk id="4" creationId="{7A05A1FC-983B-EFFD-3E01-31075BBCFC67}"/>
            </ac:spMkLst>
          </pc:spChg>
          <pc:spChg chg="mod">
            <ac:chgData name="Yudi Zhu" userId="571e1a55-055f-4c28-8b35-fca6dd1c1369" providerId="ADAL" clId="{75A88773-6EE1-484E-AADE-FE631E01463B}" dt="2025-11-21T06:01:50.720" v="54412" actId="948"/>
            <ac:spMkLst>
              <pc:docMk/>
              <pc:sldMasterMk cId="3322049571" sldId="2147483756"/>
              <pc:sldLayoutMk cId="1918535987" sldId="2147483779"/>
              <ac:spMk id="2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32" v="91127"/>
            <ac:graphicFrameMkLst>
              <pc:docMk/>
              <pc:sldMasterMk cId="3322049571" sldId="2147483756"/>
              <pc:sldLayoutMk cId="1918535987" sldId="2147483779"/>
              <ac:graphicFrameMk id="3" creationId="{740D9BE4-1868-4C0C-A22A-94A6A325677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42" v="91131"/>
          <pc:sldLayoutMkLst>
            <pc:docMk/>
            <pc:sldMasterMk cId="3322049571" sldId="2147483756"/>
            <pc:sldLayoutMk cId="96746605" sldId="2147483780"/>
          </pc:sldLayoutMkLst>
          <pc:spChg chg="add del mod modVis">
            <ac:chgData name="Yudi Zhu" userId="571e1a55-055f-4c28-8b35-fca6dd1c1369" providerId="ADAL" clId="{75A88773-6EE1-484E-AADE-FE631E01463B}" dt="2025-11-21T06:02:24.071" v="69862" actId="478"/>
            <ac:spMkLst>
              <pc:docMk/>
              <pc:sldMasterMk cId="3322049571" sldId="2147483756"/>
              <pc:sldLayoutMk cId="96746605" sldId="2147483780"/>
              <ac:spMk id="4" creationId="{52C88DCB-5F96-2D08-8458-2FC9C200BE6A}"/>
            </ac:spMkLst>
          </pc:spChg>
          <pc:spChg chg="mod">
            <ac:chgData name="Yudi Zhu" userId="571e1a55-055f-4c28-8b35-fca6dd1c1369" providerId="ADAL" clId="{75A88773-6EE1-484E-AADE-FE631E01463B}" dt="2025-11-21T06:01:50.788" v="54454" actId="948"/>
            <ac:spMkLst>
              <pc:docMk/>
              <pc:sldMasterMk cId="3322049571" sldId="2147483756"/>
              <pc:sldLayoutMk cId="96746605" sldId="2147483780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42" v="91131"/>
            <ac:graphicFrameMkLst>
              <pc:docMk/>
              <pc:sldMasterMk cId="3322049571" sldId="2147483756"/>
              <pc:sldLayoutMk cId="96746605" sldId="2147483780"/>
              <ac:graphicFrameMk id="3" creationId="{33460BF9-A20F-4BA2-B465-4A56FB77CED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37" v="91129"/>
          <pc:sldLayoutMkLst>
            <pc:docMk/>
            <pc:sldMasterMk cId="3322049571" sldId="2147483756"/>
            <pc:sldLayoutMk cId="3430488720" sldId="2147483781"/>
          </pc:sldLayoutMkLst>
          <pc:spChg chg="add del mod modVis">
            <ac:chgData name="Yudi Zhu" userId="571e1a55-055f-4c28-8b35-fca6dd1c1369" providerId="ADAL" clId="{75A88773-6EE1-484E-AADE-FE631E01463B}" dt="2025-11-21T06:02:24.061" v="69860" actId="478"/>
            <ac:spMkLst>
              <pc:docMk/>
              <pc:sldMasterMk cId="3322049571" sldId="2147483756"/>
              <pc:sldLayoutMk cId="3430488720" sldId="2147483781"/>
              <ac:spMk id="4" creationId="{BA76919B-4DB7-3AE9-FD66-9C1EB8E8DAFC}"/>
            </ac:spMkLst>
          </pc:spChg>
          <pc:spChg chg="mod">
            <ac:chgData name="Yudi Zhu" userId="571e1a55-055f-4c28-8b35-fca6dd1c1369" providerId="ADAL" clId="{75A88773-6EE1-484E-AADE-FE631E01463B}" dt="2025-11-21T06:01:50.755" v="54433" actId="948"/>
            <ac:spMkLst>
              <pc:docMk/>
              <pc:sldMasterMk cId="3322049571" sldId="2147483756"/>
              <pc:sldLayoutMk cId="3430488720" sldId="2147483781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37" v="91129"/>
            <ac:graphicFrameMkLst>
              <pc:docMk/>
              <pc:sldMasterMk cId="3322049571" sldId="2147483756"/>
              <pc:sldLayoutMk cId="3430488720" sldId="2147483781"/>
              <ac:graphicFrameMk id="3" creationId="{21B8B3E8-71F9-4C0F-A77C-14E2A550B00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48" v="91133"/>
          <pc:sldLayoutMkLst>
            <pc:docMk/>
            <pc:sldMasterMk cId="3322049571" sldId="2147483756"/>
            <pc:sldLayoutMk cId="3642821665" sldId="2147483782"/>
          </pc:sldLayoutMkLst>
          <pc:spChg chg="add del mod modVis">
            <ac:chgData name="Yudi Zhu" userId="571e1a55-055f-4c28-8b35-fca6dd1c1369" providerId="ADAL" clId="{75A88773-6EE1-484E-AADE-FE631E01463B}" dt="2025-11-21T06:02:24.081" v="69864" actId="478"/>
            <ac:spMkLst>
              <pc:docMk/>
              <pc:sldMasterMk cId="3322049571" sldId="2147483756"/>
              <pc:sldLayoutMk cId="3642821665" sldId="2147483782"/>
              <ac:spMk id="4" creationId="{9A4795A9-7189-947F-F308-A1A7847E1750}"/>
            </ac:spMkLst>
          </pc:spChg>
          <pc:spChg chg="mod">
            <ac:chgData name="Yudi Zhu" userId="571e1a55-055f-4c28-8b35-fca6dd1c1369" providerId="ADAL" clId="{75A88773-6EE1-484E-AADE-FE631E01463B}" dt="2025-11-21T06:01:50.820" v="54475" actId="948"/>
            <ac:spMkLst>
              <pc:docMk/>
              <pc:sldMasterMk cId="3322049571" sldId="2147483756"/>
              <pc:sldLayoutMk cId="3642821665" sldId="2147483782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48" v="91133"/>
            <ac:graphicFrameMkLst>
              <pc:docMk/>
              <pc:sldMasterMk cId="3322049571" sldId="2147483756"/>
              <pc:sldLayoutMk cId="3642821665" sldId="2147483782"/>
              <ac:graphicFrameMk id="3" creationId="{BE3A7B4D-95CD-4AE1-AE8D-43D3327B7DD8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53" v="91135"/>
          <pc:sldLayoutMkLst>
            <pc:docMk/>
            <pc:sldMasterMk cId="3322049571" sldId="2147483756"/>
            <pc:sldLayoutMk cId="3391535004" sldId="2147483783"/>
          </pc:sldLayoutMkLst>
          <pc:spChg chg="add del mod modVis">
            <ac:chgData name="Yudi Zhu" userId="571e1a55-055f-4c28-8b35-fca6dd1c1369" providerId="ADAL" clId="{75A88773-6EE1-484E-AADE-FE631E01463B}" dt="2025-11-21T06:02:24.086" v="69866" actId="478"/>
            <ac:spMkLst>
              <pc:docMk/>
              <pc:sldMasterMk cId="3322049571" sldId="2147483756"/>
              <pc:sldLayoutMk cId="3391535004" sldId="2147483783"/>
              <ac:spMk id="4" creationId="{4836FBA7-E08A-803B-1071-CCB629D351AF}"/>
            </ac:spMkLst>
          </pc:spChg>
          <pc:spChg chg="mod">
            <ac:chgData name="Yudi Zhu" userId="571e1a55-055f-4c28-8b35-fca6dd1c1369" providerId="ADAL" clId="{75A88773-6EE1-484E-AADE-FE631E01463B}" dt="2025-11-21T06:01:50.852" v="54496" actId="948"/>
            <ac:spMkLst>
              <pc:docMk/>
              <pc:sldMasterMk cId="3322049571" sldId="2147483756"/>
              <pc:sldLayoutMk cId="3391535004" sldId="2147483783"/>
              <ac:spMk id="1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53" v="91135"/>
            <ac:graphicFrameMkLst>
              <pc:docMk/>
              <pc:sldMasterMk cId="3322049571" sldId="2147483756"/>
              <pc:sldLayoutMk cId="3391535004" sldId="2147483783"/>
              <ac:graphicFrameMk id="3" creationId="{1FF3201F-7543-4E9D-BD53-2057C237D0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64" v="91139"/>
          <pc:sldLayoutMkLst>
            <pc:docMk/>
            <pc:sldMasterMk cId="3322049571" sldId="2147483756"/>
            <pc:sldLayoutMk cId="2212087805" sldId="2147483784"/>
          </pc:sldLayoutMkLst>
          <pc:spChg chg="mod">
            <ac:chgData name="Yudi Zhu" userId="571e1a55-055f-4c28-8b35-fca6dd1c1369" providerId="ADAL" clId="{75A88773-6EE1-484E-AADE-FE631E01463B}" dt="2025-11-21T06:01:50.923" v="54538" actId="948"/>
            <ac:spMkLst>
              <pc:docMk/>
              <pc:sldMasterMk cId="3322049571" sldId="2147483756"/>
              <pc:sldLayoutMk cId="2212087805" sldId="2147483784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100" v="69870" actId="478"/>
            <ac:spMkLst>
              <pc:docMk/>
              <pc:sldMasterMk cId="3322049571" sldId="2147483756"/>
              <pc:sldLayoutMk cId="2212087805" sldId="2147483784"/>
              <ac:spMk id="5" creationId="{F050731F-025C-514E-A72C-DA7BF508D52A}"/>
            </ac:spMkLst>
          </pc:spChg>
          <pc:graphicFrameChg chg="mod">
            <ac:chgData name="Yudi Zhu" userId="571e1a55-055f-4c28-8b35-fca6dd1c1369" providerId="ADAL" clId="{75A88773-6EE1-484E-AADE-FE631E01463B}" dt="2025-11-21T06:05:07.464" v="91139"/>
            <ac:graphicFrameMkLst>
              <pc:docMk/>
              <pc:sldMasterMk cId="3322049571" sldId="2147483756"/>
              <pc:sldLayoutMk cId="2212087805" sldId="2147483784"/>
              <ac:graphicFrameMk id="4" creationId="{7CC96504-3966-4B1D-97BC-EDBCCA68DEE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58" v="91137"/>
          <pc:sldLayoutMkLst>
            <pc:docMk/>
            <pc:sldMasterMk cId="3322049571" sldId="2147483756"/>
            <pc:sldLayoutMk cId="274802269" sldId="2147483785"/>
          </pc:sldLayoutMkLst>
          <pc:spChg chg="add del mod modVis">
            <ac:chgData name="Yudi Zhu" userId="571e1a55-055f-4c28-8b35-fca6dd1c1369" providerId="ADAL" clId="{75A88773-6EE1-484E-AADE-FE631E01463B}" dt="2025-11-21T06:02:24.093" v="69868" actId="478"/>
            <ac:spMkLst>
              <pc:docMk/>
              <pc:sldMasterMk cId="3322049571" sldId="2147483756"/>
              <pc:sldLayoutMk cId="274802269" sldId="2147483785"/>
              <ac:spMk id="4" creationId="{101AA3D8-A58B-01F1-11C2-7AD3F45CEE9E}"/>
            </ac:spMkLst>
          </pc:spChg>
          <pc:spChg chg="mod">
            <ac:chgData name="Yudi Zhu" userId="571e1a55-055f-4c28-8b35-fca6dd1c1369" providerId="ADAL" clId="{75A88773-6EE1-484E-AADE-FE631E01463B}" dt="2025-11-21T06:01:50.890" v="54517" actId="948"/>
            <ac:spMkLst>
              <pc:docMk/>
              <pc:sldMasterMk cId="3322049571" sldId="2147483756"/>
              <pc:sldLayoutMk cId="274802269" sldId="2147483785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58" v="91137"/>
            <ac:graphicFrameMkLst>
              <pc:docMk/>
              <pc:sldMasterMk cId="3322049571" sldId="2147483756"/>
              <pc:sldLayoutMk cId="274802269" sldId="2147483785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69" v="91141"/>
          <pc:sldLayoutMkLst>
            <pc:docMk/>
            <pc:sldMasterMk cId="3322049571" sldId="2147483756"/>
            <pc:sldLayoutMk cId="3161461722" sldId="2147483786"/>
          </pc:sldLayoutMkLst>
          <pc:spChg chg="add del mod modVis">
            <ac:chgData name="Yudi Zhu" userId="571e1a55-055f-4c28-8b35-fca6dd1c1369" providerId="ADAL" clId="{75A88773-6EE1-484E-AADE-FE631E01463B}" dt="2025-11-21T06:02:24.104" v="69872" actId="478"/>
            <ac:spMkLst>
              <pc:docMk/>
              <pc:sldMasterMk cId="3322049571" sldId="2147483756"/>
              <pc:sldLayoutMk cId="3161461722" sldId="2147483786"/>
              <ac:spMk id="4" creationId="{C07392FD-39E7-F376-43F3-7AAC3D1F7D9D}"/>
            </ac:spMkLst>
          </pc:spChg>
          <pc:spChg chg="mod">
            <ac:chgData name="Yudi Zhu" userId="571e1a55-055f-4c28-8b35-fca6dd1c1369" providerId="ADAL" clId="{75A88773-6EE1-484E-AADE-FE631E01463B}" dt="2025-11-21T06:01:50.955" v="54559" actId="948"/>
            <ac:spMkLst>
              <pc:docMk/>
              <pc:sldMasterMk cId="3322049571" sldId="2147483756"/>
              <pc:sldLayoutMk cId="3161461722" sldId="2147483786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69" v="91141"/>
            <ac:graphicFrameMkLst>
              <pc:docMk/>
              <pc:sldMasterMk cId="3322049571" sldId="2147483756"/>
              <pc:sldLayoutMk cId="3161461722" sldId="2147483786"/>
              <ac:graphicFrameMk id="3" creationId="{97663192-C1D4-47D8-9B83-FA528821B9F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79" v="91145"/>
          <pc:sldLayoutMkLst>
            <pc:docMk/>
            <pc:sldMasterMk cId="3322049571" sldId="2147483756"/>
            <pc:sldLayoutMk cId="2257318934" sldId="2147483787"/>
          </pc:sldLayoutMkLst>
          <pc:spChg chg="add del mod modVis">
            <ac:chgData name="Yudi Zhu" userId="571e1a55-055f-4c28-8b35-fca6dd1c1369" providerId="ADAL" clId="{75A88773-6EE1-484E-AADE-FE631E01463B}" dt="2025-11-21T06:02:24.115" v="69876" actId="478"/>
            <ac:spMkLst>
              <pc:docMk/>
              <pc:sldMasterMk cId="3322049571" sldId="2147483756"/>
              <pc:sldLayoutMk cId="2257318934" sldId="2147483787"/>
              <ac:spMk id="4" creationId="{4468AF87-7336-6415-8BAD-0A8EF7D4BFF1}"/>
            </ac:spMkLst>
          </pc:spChg>
          <pc:spChg chg="mod">
            <ac:chgData name="Yudi Zhu" userId="571e1a55-055f-4c28-8b35-fca6dd1c1369" providerId="ADAL" clId="{75A88773-6EE1-484E-AADE-FE631E01463B}" dt="2025-11-21T06:01:51.021" v="54601" actId="948"/>
            <ac:spMkLst>
              <pc:docMk/>
              <pc:sldMasterMk cId="3322049571" sldId="2147483756"/>
              <pc:sldLayoutMk cId="2257318934" sldId="2147483787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79" v="91145"/>
            <ac:graphicFrameMkLst>
              <pc:docMk/>
              <pc:sldMasterMk cId="3322049571" sldId="2147483756"/>
              <pc:sldLayoutMk cId="2257318934" sldId="2147483787"/>
              <ac:graphicFrameMk id="3" creationId="{056CA221-254A-4377-A964-767461649C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74" v="91143"/>
          <pc:sldLayoutMkLst>
            <pc:docMk/>
            <pc:sldMasterMk cId="3322049571" sldId="2147483756"/>
            <pc:sldLayoutMk cId="3351740422" sldId="2147483788"/>
          </pc:sldLayoutMkLst>
          <pc:spChg chg="add del mod modVis">
            <ac:chgData name="Yudi Zhu" userId="571e1a55-055f-4c28-8b35-fca6dd1c1369" providerId="ADAL" clId="{75A88773-6EE1-484E-AADE-FE631E01463B}" dt="2025-11-21T06:02:24.111" v="69874" actId="478"/>
            <ac:spMkLst>
              <pc:docMk/>
              <pc:sldMasterMk cId="3322049571" sldId="2147483756"/>
              <pc:sldLayoutMk cId="3351740422" sldId="2147483788"/>
              <ac:spMk id="4" creationId="{CEC93E7E-606C-3AE6-2B42-B537B4E76021}"/>
            </ac:spMkLst>
          </pc:spChg>
          <pc:spChg chg="mod">
            <ac:chgData name="Yudi Zhu" userId="571e1a55-055f-4c28-8b35-fca6dd1c1369" providerId="ADAL" clId="{75A88773-6EE1-484E-AADE-FE631E01463B}" dt="2025-11-21T06:01:50.988" v="54580" actId="948"/>
            <ac:spMkLst>
              <pc:docMk/>
              <pc:sldMasterMk cId="3322049571" sldId="2147483756"/>
              <pc:sldLayoutMk cId="3351740422" sldId="2147483788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74" v="91143"/>
            <ac:graphicFrameMkLst>
              <pc:docMk/>
              <pc:sldMasterMk cId="3322049571" sldId="2147483756"/>
              <pc:sldLayoutMk cId="3351740422" sldId="2147483788"/>
              <ac:graphicFrameMk id="3" creationId="{E2189FA9-37D4-48A4-87E0-F2517B31D7D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85" v="91147"/>
          <pc:sldLayoutMkLst>
            <pc:docMk/>
            <pc:sldMasterMk cId="3322049571" sldId="2147483756"/>
            <pc:sldLayoutMk cId="1273322162" sldId="2147483789"/>
          </pc:sldLayoutMkLst>
          <pc:spChg chg="add del mod modVis">
            <ac:chgData name="Yudi Zhu" userId="571e1a55-055f-4c28-8b35-fca6dd1c1369" providerId="ADAL" clId="{75A88773-6EE1-484E-AADE-FE631E01463B}" dt="2025-11-21T06:02:24.120" v="69878" actId="478"/>
            <ac:spMkLst>
              <pc:docMk/>
              <pc:sldMasterMk cId="3322049571" sldId="2147483756"/>
              <pc:sldLayoutMk cId="1273322162" sldId="2147483789"/>
              <ac:spMk id="4" creationId="{DC3B9527-B357-BA8B-1864-D57DF4D88B92}"/>
            </ac:spMkLst>
          </pc:spChg>
          <pc:spChg chg="mod">
            <ac:chgData name="Yudi Zhu" userId="571e1a55-055f-4c28-8b35-fca6dd1c1369" providerId="ADAL" clId="{75A88773-6EE1-484E-AADE-FE631E01463B}" dt="2025-11-21T06:01:51.055" v="54622" actId="948"/>
            <ac:spMkLst>
              <pc:docMk/>
              <pc:sldMasterMk cId="3322049571" sldId="2147483756"/>
              <pc:sldLayoutMk cId="1273322162" sldId="2147483789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85" v="91147"/>
            <ac:graphicFrameMkLst>
              <pc:docMk/>
              <pc:sldMasterMk cId="3322049571" sldId="2147483756"/>
              <pc:sldLayoutMk cId="1273322162" sldId="2147483789"/>
              <ac:graphicFrameMk id="3" creationId="{C456CDC6-32B5-4797-86DC-72C5A4B6B5F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95" v="91151"/>
          <pc:sldLayoutMkLst>
            <pc:docMk/>
            <pc:sldMasterMk cId="3322049571" sldId="2147483756"/>
            <pc:sldLayoutMk cId="2890056349" sldId="2147483790"/>
          </pc:sldLayoutMkLst>
          <pc:spChg chg="add del mod modVis">
            <ac:chgData name="Yudi Zhu" userId="571e1a55-055f-4c28-8b35-fca6dd1c1369" providerId="ADAL" clId="{75A88773-6EE1-484E-AADE-FE631E01463B}" dt="2025-11-21T06:02:24.130" v="69882" actId="478"/>
            <ac:spMkLst>
              <pc:docMk/>
              <pc:sldMasterMk cId="3322049571" sldId="2147483756"/>
              <pc:sldLayoutMk cId="2890056349" sldId="2147483790"/>
              <ac:spMk id="4" creationId="{20744D65-26BA-FE60-9B4E-9E1CDF81E1D4}"/>
            </ac:spMkLst>
          </pc:spChg>
          <pc:spChg chg="mod">
            <ac:chgData name="Yudi Zhu" userId="571e1a55-055f-4c28-8b35-fca6dd1c1369" providerId="ADAL" clId="{75A88773-6EE1-484E-AADE-FE631E01463B}" dt="2025-11-21T06:01:51.125" v="54664" actId="948"/>
            <ac:spMkLst>
              <pc:docMk/>
              <pc:sldMasterMk cId="3322049571" sldId="2147483756"/>
              <pc:sldLayoutMk cId="2890056349" sldId="2147483790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95" v="91151"/>
            <ac:graphicFrameMkLst>
              <pc:docMk/>
              <pc:sldMasterMk cId="3322049571" sldId="2147483756"/>
              <pc:sldLayoutMk cId="2890056349" sldId="2147483790"/>
              <ac:graphicFrameMk id="3" creationId="{4099332F-3EDF-4319-AC87-D52E3339183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490" v="91149"/>
          <pc:sldLayoutMkLst>
            <pc:docMk/>
            <pc:sldMasterMk cId="3322049571" sldId="2147483756"/>
            <pc:sldLayoutMk cId="3611586272" sldId="2147483791"/>
          </pc:sldLayoutMkLst>
          <pc:spChg chg="add del mod modVis">
            <ac:chgData name="Yudi Zhu" userId="571e1a55-055f-4c28-8b35-fca6dd1c1369" providerId="ADAL" clId="{75A88773-6EE1-484E-AADE-FE631E01463B}" dt="2025-11-21T06:02:24.125" v="69880" actId="478"/>
            <ac:spMkLst>
              <pc:docMk/>
              <pc:sldMasterMk cId="3322049571" sldId="2147483756"/>
              <pc:sldLayoutMk cId="3611586272" sldId="2147483791"/>
              <ac:spMk id="3" creationId="{A66622E2-CA3B-06EC-78D9-44DEDEAD0374}"/>
            </ac:spMkLst>
          </pc:spChg>
          <pc:spChg chg="mod">
            <ac:chgData name="Yudi Zhu" userId="571e1a55-055f-4c28-8b35-fca6dd1c1369" providerId="ADAL" clId="{75A88773-6EE1-484E-AADE-FE631E01463B}" dt="2025-11-21T06:01:51.090" v="54643" actId="948"/>
            <ac:spMkLst>
              <pc:docMk/>
              <pc:sldMasterMk cId="3322049571" sldId="2147483756"/>
              <pc:sldLayoutMk cId="3611586272" sldId="2147483791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490" v="91149"/>
            <ac:graphicFrameMkLst>
              <pc:docMk/>
              <pc:sldMasterMk cId="3322049571" sldId="2147483756"/>
              <pc:sldLayoutMk cId="3611586272" sldId="2147483791"/>
              <ac:graphicFrameMk id="5" creationId="{7A1DDBE9-65FD-4988-9128-A621DD77E9D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01" v="91153"/>
          <pc:sldLayoutMkLst>
            <pc:docMk/>
            <pc:sldMasterMk cId="3322049571" sldId="2147483756"/>
            <pc:sldLayoutMk cId="1130486661" sldId="2147483792"/>
          </pc:sldLayoutMkLst>
          <pc:spChg chg="add del mod modVis">
            <ac:chgData name="Yudi Zhu" userId="571e1a55-055f-4c28-8b35-fca6dd1c1369" providerId="ADAL" clId="{75A88773-6EE1-484E-AADE-FE631E01463B}" dt="2025-11-21T06:02:24.135" v="69884" actId="478"/>
            <ac:spMkLst>
              <pc:docMk/>
              <pc:sldMasterMk cId="3322049571" sldId="2147483756"/>
              <pc:sldLayoutMk cId="1130486661" sldId="2147483792"/>
              <ac:spMk id="3" creationId="{86AAE5DA-88B1-56FE-0E5D-99C1A19A9D0B}"/>
            </ac:spMkLst>
          </pc:spChg>
          <pc:spChg chg="mod">
            <ac:chgData name="Yudi Zhu" userId="571e1a55-055f-4c28-8b35-fca6dd1c1369" providerId="ADAL" clId="{75A88773-6EE1-484E-AADE-FE631E01463B}" dt="2025-11-21T06:01:51.158" v="54685" actId="948"/>
            <ac:spMkLst>
              <pc:docMk/>
              <pc:sldMasterMk cId="3322049571" sldId="2147483756"/>
              <pc:sldLayoutMk cId="1130486661" sldId="2147483792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01" v="91153"/>
            <ac:graphicFrameMkLst>
              <pc:docMk/>
              <pc:sldMasterMk cId="3322049571" sldId="2147483756"/>
              <pc:sldLayoutMk cId="1130486661" sldId="2147483792"/>
              <ac:graphicFrameMk id="4" creationId="{D4DD5D8F-9E57-4422-B165-49B0B98E4E2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504" v="91155"/>
          <pc:sldLayoutMkLst>
            <pc:docMk/>
            <pc:sldMasterMk cId="3322049571" sldId="2147483756"/>
            <pc:sldLayoutMk cId="2566131467" sldId="2147483793"/>
          </pc:sldLayoutMkLst>
          <pc:graphicFrameChg chg="mod">
            <ac:chgData name="Yudi Zhu" userId="571e1a55-055f-4c28-8b35-fca6dd1c1369" providerId="ADAL" clId="{75A88773-6EE1-484E-AADE-FE631E01463B}" dt="2025-11-21T06:05:07.504" v="91155"/>
            <ac:graphicFrameMkLst>
              <pc:docMk/>
              <pc:sldMasterMk cId="3322049571" sldId="2147483756"/>
              <pc:sldLayoutMk cId="2566131467" sldId="2147483793"/>
              <ac:graphicFrameMk id="2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10" v="91157"/>
          <pc:sldLayoutMkLst>
            <pc:docMk/>
            <pc:sldMasterMk cId="3322049571" sldId="2147483756"/>
            <pc:sldLayoutMk cId="1412089855" sldId="2147483794"/>
          </pc:sldLayoutMkLst>
          <pc:spChg chg="add del mod modVis">
            <ac:chgData name="Yudi Zhu" userId="571e1a55-055f-4c28-8b35-fca6dd1c1369" providerId="ADAL" clId="{75A88773-6EE1-484E-AADE-FE631E01463B}" dt="2025-11-21T06:02:24.143" v="69887" actId="478"/>
            <ac:spMkLst>
              <pc:docMk/>
              <pc:sldMasterMk cId="3322049571" sldId="2147483756"/>
              <pc:sldLayoutMk cId="1412089855" sldId="2147483794"/>
              <ac:spMk id="2" creationId="{7F91A7F1-C480-408A-345F-655728169318}"/>
            </ac:spMkLst>
          </pc:spChg>
          <pc:spChg chg="mod">
            <ac:chgData name="Yudi Zhu" userId="571e1a55-055f-4c28-8b35-fca6dd1c1369" providerId="ADAL" clId="{75A88773-6EE1-484E-AADE-FE631E01463B}" dt="2025-11-21T06:01:51.194" v="54706" actId="948"/>
            <ac:spMkLst>
              <pc:docMk/>
              <pc:sldMasterMk cId="3322049571" sldId="2147483756"/>
              <pc:sldLayoutMk cId="1412089855" sldId="2147483794"/>
              <ac:spMk id="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10" v="91157"/>
            <ac:graphicFrameMkLst>
              <pc:docMk/>
              <pc:sldMasterMk cId="3322049571" sldId="2147483756"/>
              <pc:sldLayoutMk cId="1412089855" sldId="2147483794"/>
              <ac:graphicFrameMk id="6" creationId="{F24234DD-8906-4B2C-86B2-FC42EE7D18F2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516" v="91159"/>
          <pc:sldLayoutMkLst>
            <pc:docMk/>
            <pc:sldMasterMk cId="3322049571" sldId="2147483756"/>
            <pc:sldLayoutMk cId="1330645050" sldId="2147483795"/>
          </pc:sldLayoutMkLst>
          <pc:graphicFrameChg chg="mod">
            <ac:chgData name="Yudi Zhu" userId="571e1a55-055f-4c28-8b35-fca6dd1c1369" providerId="ADAL" clId="{75A88773-6EE1-484E-AADE-FE631E01463B}" dt="2025-11-21T06:05:07.516" v="91159"/>
            <ac:graphicFrameMkLst>
              <pc:docMk/>
              <pc:sldMasterMk cId="3322049571" sldId="2147483756"/>
              <pc:sldLayoutMk cId="1330645050" sldId="2147483795"/>
              <ac:graphicFrameMk id="2" creationId="{4E8F715B-D22C-49C6-B3AC-D5F1AA2959AE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521" v="91161"/>
          <pc:sldLayoutMkLst>
            <pc:docMk/>
            <pc:sldMasterMk cId="3322049571" sldId="2147483756"/>
            <pc:sldLayoutMk cId="3825328864" sldId="2147483796"/>
          </pc:sldLayoutMkLst>
          <pc:graphicFrameChg chg="mod">
            <ac:chgData name="Yudi Zhu" userId="571e1a55-055f-4c28-8b35-fca6dd1c1369" providerId="ADAL" clId="{75A88773-6EE1-484E-AADE-FE631E01463B}" dt="2025-11-21T06:05:07.521" v="91161"/>
            <ac:graphicFrameMkLst>
              <pc:docMk/>
              <pc:sldMasterMk cId="3322049571" sldId="2147483756"/>
              <pc:sldLayoutMk cId="3825328864" sldId="2147483796"/>
              <ac:graphicFrameMk id="3" creationId="{654A8F4E-CFF1-4233-9249-84E4C229A9C1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526" v="91163"/>
          <pc:sldLayoutMkLst>
            <pc:docMk/>
            <pc:sldMasterMk cId="3322049571" sldId="2147483756"/>
            <pc:sldLayoutMk cId="3818432357" sldId="2147483797"/>
          </pc:sldLayoutMkLst>
          <pc:graphicFrameChg chg="mod">
            <ac:chgData name="Yudi Zhu" userId="571e1a55-055f-4c28-8b35-fca6dd1c1369" providerId="ADAL" clId="{75A88773-6EE1-484E-AADE-FE631E01463B}" dt="2025-11-21T06:05:07.526" v="91163"/>
            <ac:graphicFrameMkLst>
              <pc:docMk/>
              <pc:sldMasterMk cId="3322049571" sldId="2147483756"/>
              <pc:sldLayoutMk cId="3818432357" sldId="2147483797"/>
              <ac:graphicFrameMk id="3" creationId="{BA148DDD-B54A-42E3-A874-08D6674E359D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530" v="91165"/>
          <pc:sldLayoutMkLst>
            <pc:docMk/>
            <pc:sldMasterMk cId="3322049571" sldId="2147483756"/>
            <pc:sldLayoutMk cId="2639299345" sldId="2147483798"/>
          </pc:sldLayoutMkLst>
          <pc:graphicFrameChg chg="mod">
            <ac:chgData name="Yudi Zhu" userId="571e1a55-055f-4c28-8b35-fca6dd1c1369" providerId="ADAL" clId="{75A88773-6EE1-484E-AADE-FE631E01463B}" dt="2025-11-21T06:05:07.530" v="91165"/>
            <ac:graphicFrameMkLst>
              <pc:docMk/>
              <pc:sldMasterMk cId="3322049571" sldId="2147483756"/>
              <pc:sldLayoutMk cId="2639299345" sldId="2147483798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387" v="91109"/>
          <pc:sldLayoutMkLst>
            <pc:docMk/>
            <pc:sldMasterMk cId="3322049571" sldId="2147483756"/>
            <pc:sldLayoutMk cId="758804428" sldId="2147483799"/>
          </pc:sldLayoutMkLst>
          <pc:graphicFrameChg chg="mod">
            <ac:chgData name="Yudi Zhu" userId="571e1a55-055f-4c28-8b35-fca6dd1c1369" providerId="ADAL" clId="{75A88773-6EE1-484E-AADE-FE631E01463B}" dt="2025-11-21T06:05:07.387" v="91109"/>
            <ac:graphicFrameMkLst>
              <pc:docMk/>
              <pc:sldMasterMk cId="3322049571" sldId="2147483756"/>
              <pc:sldLayoutMk cId="758804428" sldId="2147483799"/>
              <ac:graphicFrameMk id="3" creationId="{099B63DB-FE12-4864-AD4A-41FDE6A896F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36" v="91167"/>
          <pc:sldLayoutMkLst>
            <pc:docMk/>
            <pc:sldMasterMk cId="3322049571" sldId="2147483756"/>
            <pc:sldLayoutMk cId="192740646" sldId="2147483800"/>
          </pc:sldLayoutMkLst>
          <pc:spChg chg="add del mod modVis">
            <ac:chgData name="Yudi Zhu" userId="571e1a55-055f-4c28-8b35-fca6dd1c1369" providerId="ADAL" clId="{75A88773-6EE1-484E-AADE-FE631E01463B}" dt="2025-11-21T06:02:24.162" v="69893" actId="478"/>
            <ac:spMkLst>
              <pc:docMk/>
              <pc:sldMasterMk cId="3322049571" sldId="2147483756"/>
              <pc:sldLayoutMk cId="192740646" sldId="2147483800"/>
              <ac:spMk id="5" creationId="{0D8BFE53-DEE7-95D6-5CA8-6EAEBBAAFD9E}"/>
            </ac:spMkLst>
          </pc:spChg>
          <pc:spChg chg="mod">
            <ac:chgData name="Yudi Zhu" userId="571e1a55-055f-4c28-8b35-fca6dd1c1369" providerId="ADAL" clId="{75A88773-6EE1-484E-AADE-FE631E01463B}" dt="2025-11-21T06:01:51.230" v="54727" actId="948"/>
            <ac:spMkLst>
              <pc:docMk/>
              <pc:sldMasterMk cId="3322049571" sldId="2147483756"/>
              <pc:sldLayoutMk cId="192740646" sldId="2147483800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536" v="91167"/>
            <ac:graphicFrameMkLst>
              <pc:docMk/>
              <pc:sldMasterMk cId="3322049571" sldId="2147483756"/>
              <pc:sldLayoutMk cId="192740646" sldId="2147483800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40" v="91169"/>
          <pc:sldLayoutMkLst>
            <pc:docMk/>
            <pc:sldMasterMk cId="3322049571" sldId="2147483756"/>
            <pc:sldLayoutMk cId="748011274" sldId="2147483801"/>
          </pc:sldLayoutMkLst>
          <pc:spChg chg="add del mod modVis">
            <ac:chgData name="Yudi Zhu" userId="571e1a55-055f-4c28-8b35-fca6dd1c1369" providerId="ADAL" clId="{75A88773-6EE1-484E-AADE-FE631E01463B}" dt="2025-11-21T06:02:24.166" v="69895" actId="478"/>
            <ac:spMkLst>
              <pc:docMk/>
              <pc:sldMasterMk cId="3322049571" sldId="2147483756"/>
              <pc:sldLayoutMk cId="748011274" sldId="2147483801"/>
              <ac:spMk id="4" creationId="{7B560FAE-8805-4AAD-14AA-BA7C4538C182}"/>
            </ac:spMkLst>
          </pc:spChg>
          <pc:spChg chg="mod">
            <ac:chgData name="Yudi Zhu" userId="571e1a55-055f-4c28-8b35-fca6dd1c1369" providerId="ADAL" clId="{75A88773-6EE1-484E-AADE-FE631E01463B}" dt="2025-11-21T06:01:51.268" v="54748" actId="948"/>
            <ac:spMkLst>
              <pc:docMk/>
              <pc:sldMasterMk cId="3322049571" sldId="2147483756"/>
              <pc:sldLayoutMk cId="748011274" sldId="2147483801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40" v="91169"/>
            <ac:graphicFrameMkLst>
              <pc:docMk/>
              <pc:sldMasterMk cId="3322049571" sldId="2147483756"/>
              <pc:sldLayoutMk cId="748011274" sldId="2147483801"/>
              <ac:graphicFrameMk id="3" creationId="{1B9D99E9-D699-49DD-B838-EFF0878D7A3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45" v="91171"/>
          <pc:sldLayoutMkLst>
            <pc:docMk/>
            <pc:sldMasterMk cId="3322049571" sldId="2147483756"/>
            <pc:sldLayoutMk cId="3386898509" sldId="2147483802"/>
          </pc:sldLayoutMkLst>
          <pc:spChg chg="mod">
            <ac:chgData name="Yudi Zhu" userId="571e1a55-055f-4c28-8b35-fca6dd1c1369" providerId="ADAL" clId="{75A88773-6EE1-484E-AADE-FE631E01463B}" dt="2025-11-21T06:01:51.303" v="54769" actId="948"/>
            <ac:spMkLst>
              <pc:docMk/>
              <pc:sldMasterMk cId="3322049571" sldId="2147483756"/>
              <pc:sldLayoutMk cId="3386898509" sldId="2147483802"/>
              <ac:spMk id="2" creationId="{AB083126-25E7-42D8-B799-608CFD4DF6C3}"/>
            </ac:spMkLst>
          </pc:spChg>
          <pc:spChg chg="add del mod modVis">
            <ac:chgData name="Yudi Zhu" userId="571e1a55-055f-4c28-8b35-fca6dd1c1369" providerId="ADAL" clId="{75A88773-6EE1-484E-AADE-FE631E01463B}" dt="2025-11-21T06:02:24.170" v="69897" actId="478"/>
            <ac:spMkLst>
              <pc:docMk/>
              <pc:sldMasterMk cId="3322049571" sldId="2147483756"/>
              <pc:sldLayoutMk cId="3386898509" sldId="2147483802"/>
              <ac:spMk id="4" creationId="{8D35DDB0-8904-FB14-1FE4-8AD6224AD32D}"/>
            </ac:spMkLst>
          </pc:spChg>
          <pc:graphicFrameChg chg="mod">
            <ac:chgData name="Yudi Zhu" userId="571e1a55-055f-4c28-8b35-fca6dd1c1369" providerId="ADAL" clId="{75A88773-6EE1-484E-AADE-FE631E01463B}" dt="2025-11-21T06:05:07.545" v="91171"/>
            <ac:graphicFrameMkLst>
              <pc:docMk/>
              <pc:sldMasterMk cId="3322049571" sldId="2147483756"/>
              <pc:sldLayoutMk cId="3386898509" sldId="2147483802"/>
              <ac:graphicFrameMk id="5" creationId="{A8EDC70C-1C9C-4E9E-B370-A4CA068F427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51" v="91173"/>
          <pc:sldLayoutMkLst>
            <pc:docMk/>
            <pc:sldMasterMk cId="3322049571" sldId="2147483756"/>
            <pc:sldLayoutMk cId="463949761" sldId="2147483803"/>
          </pc:sldLayoutMkLst>
          <pc:spChg chg="add del mod modVis">
            <ac:chgData name="Yudi Zhu" userId="571e1a55-055f-4c28-8b35-fca6dd1c1369" providerId="ADAL" clId="{75A88773-6EE1-484E-AADE-FE631E01463B}" dt="2025-11-21T06:02:24.173" v="69899" actId="478"/>
            <ac:spMkLst>
              <pc:docMk/>
              <pc:sldMasterMk cId="3322049571" sldId="2147483756"/>
              <pc:sldLayoutMk cId="463949761" sldId="2147483803"/>
              <ac:spMk id="4" creationId="{778B3CDF-A6EC-57D0-813F-59400929838F}"/>
            </ac:spMkLst>
          </pc:spChg>
          <pc:spChg chg="mod">
            <ac:chgData name="Yudi Zhu" userId="571e1a55-055f-4c28-8b35-fca6dd1c1369" providerId="ADAL" clId="{75A88773-6EE1-484E-AADE-FE631E01463B}" dt="2025-11-21T06:01:51.341" v="54790" actId="948"/>
            <ac:spMkLst>
              <pc:docMk/>
              <pc:sldMasterMk cId="3322049571" sldId="2147483756"/>
              <pc:sldLayoutMk cId="463949761" sldId="2147483803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51" v="91173"/>
            <ac:graphicFrameMkLst>
              <pc:docMk/>
              <pc:sldMasterMk cId="3322049571" sldId="2147483756"/>
              <pc:sldLayoutMk cId="463949761" sldId="2147483803"/>
              <ac:graphicFrameMk id="3" creationId="{AB9DA2CB-7FF8-4CFB-A652-684E594036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55" v="91175"/>
          <pc:sldLayoutMkLst>
            <pc:docMk/>
            <pc:sldMasterMk cId="3322049571" sldId="2147483756"/>
            <pc:sldLayoutMk cId="3397101617" sldId="2147483804"/>
          </pc:sldLayoutMkLst>
          <pc:spChg chg="add del mod modVis">
            <ac:chgData name="Yudi Zhu" userId="571e1a55-055f-4c28-8b35-fca6dd1c1369" providerId="ADAL" clId="{75A88773-6EE1-484E-AADE-FE631E01463B}" dt="2025-11-21T06:02:24.177" v="69901" actId="478"/>
            <ac:spMkLst>
              <pc:docMk/>
              <pc:sldMasterMk cId="3322049571" sldId="2147483756"/>
              <pc:sldLayoutMk cId="3397101617" sldId="2147483804"/>
              <ac:spMk id="4" creationId="{FFA9EB63-9D9D-8997-F91B-C367E30FBB64}"/>
            </ac:spMkLst>
          </pc:spChg>
          <pc:spChg chg="mod">
            <ac:chgData name="Yudi Zhu" userId="571e1a55-055f-4c28-8b35-fca6dd1c1369" providerId="ADAL" clId="{75A88773-6EE1-484E-AADE-FE631E01463B}" dt="2025-11-21T06:01:51.378" v="54811"/>
            <ac:spMkLst>
              <pc:docMk/>
              <pc:sldMasterMk cId="3322049571" sldId="2147483756"/>
              <pc:sldLayoutMk cId="3397101617" sldId="2147483804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55" v="91175"/>
            <ac:graphicFrameMkLst>
              <pc:docMk/>
              <pc:sldMasterMk cId="3322049571" sldId="2147483756"/>
              <pc:sldLayoutMk cId="3397101617" sldId="2147483804"/>
              <ac:graphicFrameMk id="3" creationId="{D49FE2CA-F5BD-459D-B701-FB8A0A61B64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60" v="91177"/>
          <pc:sldLayoutMkLst>
            <pc:docMk/>
            <pc:sldMasterMk cId="3322049571" sldId="2147483756"/>
            <pc:sldLayoutMk cId="1208296580" sldId="2147483805"/>
          </pc:sldLayoutMkLst>
          <pc:spChg chg="add del mod modVis">
            <ac:chgData name="Yudi Zhu" userId="571e1a55-055f-4c28-8b35-fca6dd1c1369" providerId="ADAL" clId="{75A88773-6EE1-484E-AADE-FE631E01463B}" dt="2025-11-21T06:02:24.180" v="69903" actId="478"/>
            <ac:spMkLst>
              <pc:docMk/>
              <pc:sldMasterMk cId="3322049571" sldId="2147483756"/>
              <pc:sldLayoutMk cId="1208296580" sldId="2147483805"/>
              <ac:spMk id="4" creationId="{A4E86560-AC12-278C-9D30-18F00F01F453}"/>
            </ac:spMkLst>
          </pc:spChg>
          <pc:spChg chg="mod">
            <ac:chgData name="Yudi Zhu" userId="571e1a55-055f-4c28-8b35-fca6dd1c1369" providerId="ADAL" clId="{75A88773-6EE1-484E-AADE-FE631E01463B}" dt="2025-11-21T06:01:51.411" v="54832" actId="948"/>
            <ac:spMkLst>
              <pc:docMk/>
              <pc:sldMasterMk cId="3322049571" sldId="2147483756"/>
              <pc:sldLayoutMk cId="1208296580" sldId="2147483805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60" v="91177"/>
            <ac:graphicFrameMkLst>
              <pc:docMk/>
              <pc:sldMasterMk cId="3322049571" sldId="2147483756"/>
              <pc:sldLayoutMk cId="1208296580" sldId="2147483805"/>
              <ac:graphicFrameMk id="3" creationId="{040DD4ED-ADCE-4880-9BC8-443A0A81159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66" v="91179"/>
          <pc:sldLayoutMkLst>
            <pc:docMk/>
            <pc:sldMasterMk cId="3322049571" sldId="2147483756"/>
            <pc:sldLayoutMk cId="416960430" sldId="2147483806"/>
          </pc:sldLayoutMkLst>
          <pc:spChg chg="add del mod modVis">
            <ac:chgData name="Yudi Zhu" userId="571e1a55-055f-4c28-8b35-fca6dd1c1369" providerId="ADAL" clId="{75A88773-6EE1-484E-AADE-FE631E01463B}" dt="2025-11-21T06:02:24.183" v="69905" actId="478"/>
            <ac:spMkLst>
              <pc:docMk/>
              <pc:sldMasterMk cId="3322049571" sldId="2147483756"/>
              <pc:sldLayoutMk cId="416960430" sldId="2147483806"/>
              <ac:spMk id="4" creationId="{61E89A87-ABB8-D398-765B-FAA1B0ECB9C6}"/>
            </ac:spMkLst>
          </pc:spChg>
          <pc:spChg chg="mod">
            <ac:chgData name="Yudi Zhu" userId="571e1a55-055f-4c28-8b35-fca6dd1c1369" providerId="ADAL" clId="{75A88773-6EE1-484E-AADE-FE631E01463B}" dt="2025-11-21T06:01:51.446" v="54853" actId="948"/>
            <ac:spMkLst>
              <pc:docMk/>
              <pc:sldMasterMk cId="3322049571" sldId="2147483756"/>
              <pc:sldLayoutMk cId="416960430" sldId="2147483806"/>
              <ac:spMk id="2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66" v="91179"/>
            <ac:graphicFrameMkLst>
              <pc:docMk/>
              <pc:sldMasterMk cId="3322049571" sldId="2147483756"/>
              <pc:sldLayoutMk cId="416960430" sldId="2147483806"/>
              <ac:graphicFrameMk id="3" creationId="{A79C6112-A96D-4B61-8290-08899155E92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76" v="91183"/>
          <pc:sldLayoutMkLst>
            <pc:docMk/>
            <pc:sldMasterMk cId="3322049571" sldId="2147483756"/>
            <pc:sldLayoutMk cId="1763168753" sldId="2147483807"/>
          </pc:sldLayoutMkLst>
          <pc:spChg chg="mod">
            <ac:chgData name="Yudi Zhu" userId="571e1a55-055f-4c28-8b35-fca6dd1c1369" providerId="ADAL" clId="{75A88773-6EE1-484E-AADE-FE631E01463B}" dt="2025-11-21T06:01:51.512" v="54895" actId="948"/>
            <ac:spMkLst>
              <pc:docMk/>
              <pc:sldMasterMk cId="3322049571" sldId="2147483756"/>
              <pc:sldLayoutMk cId="1763168753" sldId="2147483807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192" v="69909" actId="478"/>
            <ac:spMkLst>
              <pc:docMk/>
              <pc:sldMasterMk cId="3322049571" sldId="2147483756"/>
              <pc:sldLayoutMk cId="1763168753" sldId="2147483807"/>
              <ac:spMk id="5" creationId="{6EB7F9DB-B240-F4B4-9026-C79A1464C3B0}"/>
            </ac:spMkLst>
          </pc:spChg>
          <pc:graphicFrameChg chg="mod">
            <ac:chgData name="Yudi Zhu" userId="571e1a55-055f-4c28-8b35-fca6dd1c1369" providerId="ADAL" clId="{75A88773-6EE1-484E-AADE-FE631E01463B}" dt="2025-11-21T06:05:07.576" v="91183"/>
            <ac:graphicFrameMkLst>
              <pc:docMk/>
              <pc:sldMasterMk cId="3322049571" sldId="2147483756"/>
              <pc:sldLayoutMk cId="1763168753" sldId="2147483807"/>
              <ac:graphicFrameMk id="4" creationId="{A5E46131-D60C-4AB8-9741-E3D3445EE01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71" v="91181"/>
          <pc:sldLayoutMkLst>
            <pc:docMk/>
            <pc:sldMasterMk cId="3322049571" sldId="2147483756"/>
            <pc:sldLayoutMk cId="1613001068" sldId="2147483808"/>
          </pc:sldLayoutMkLst>
          <pc:spChg chg="mod">
            <ac:chgData name="Yudi Zhu" userId="571e1a55-055f-4c28-8b35-fca6dd1c1369" providerId="ADAL" clId="{75A88773-6EE1-484E-AADE-FE631E01463B}" dt="2025-11-21T06:01:51.478" v="54874" actId="948"/>
            <ac:spMkLst>
              <pc:docMk/>
              <pc:sldMasterMk cId="3322049571" sldId="2147483756"/>
              <pc:sldLayoutMk cId="1613001068" sldId="2147483808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188" v="69907" actId="478"/>
            <ac:spMkLst>
              <pc:docMk/>
              <pc:sldMasterMk cId="3322049571" sldId="2147483756"/>
              <pc:sldLayoutMk cId="1613001068" sldId="2147483808"/>
              <ac:spMk id="5" creationId="{BFBB8B09-2CD5-9C2F-02CC-B8CE5DE33279}"/>
            </ac:spMkLst>
          </pc:spChg>
          <pc:graphicFrameChg chg="mod">
            <ac:chgData name="Yudi Zhu" userId="571e1a55-055f-4c28-8b35-fca6dd1c1369" providerId="ADAL" clId="{75A88773-6EE1-484E-AADE-FE631E01463B}" dt="2025-11-21T06:05:07.571" v="91181"/>
            <ac:graphicFrameMkLst>
              <pc:docMk/>
              <pc:sldMasterMk cId="3322049571" sldId="2147483756"/>
              <pc:sldLayoutMk cId="1613001068" sldId="2147483808"/>
              <ac:graphicFrameMk id="4" creationId="{9CB55A6B-96AD-443A-8BE6-D7196A4B8F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81" v="91185"/>
          <pc:sldLayoutMkLst>
            <pc:docMk/>
            <pc:sldMasterMk cId="3322049571" sldId="2147483756"/>
            <pc:sldLayoutMk cId="2057383355" sldId="2147483809"/>
          </pc:sldLayoutMkLst>
          <pc:spChg chg="add del mod modVis">
            <ac:chgData name="Yudi Zhu" userId="571e1a55-055f-4c28-8b35-fca6dd1c1369" providerId="ADAL" clId="{75A88773-6EE1-484E-AADE-FE631E01463B}" dt="2025-11-21T06:02:24.196" v="69911" actId="478"/>
            <ac:spMkLst>
              <pc:docMk/>
              <pc:sldMasterMk cId="3322049571" sldId="2147483756"/>
              <pc:sldLayoutMk cId="2057383355" sldId="2147483809"/>
              <ac:spMk id="4" creationId="{F28B65DD-D597-B476-5F46-5F157CD37B2D}"/>
            </ac:spMkLst>
          </pc:spChg>
          <pc:spChg chg="mod">
            <ac:chgData name="Yudi Zhu" userId="571e1a55-055f-4c28-8b35-fca6dd1c1369" providerId="ADAL" clId="{75A88773-6EE1-484E-AADE-FE631E01463B}" dt="2025-11-21T06:01:51.544" v="54916" actId="948"/>
            <ac:spMkLst>
              <pc:docMk/>
              <pc:sldMasterMk cId="3322049571" sldId="2147483756"/>
              <pc:sldLayoutMk cId="2057383355" sldId="2147483809"/>
              <ac:spMk id="2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81" v="91185"/>
            <ac:graphicFrameMkLst>
              <pc:docMk/>
              <pc:sldMasterMk cId="3322049571" sldId="2147483756"/>
              <pc:sldLayoutMk cId="2057383355" sldId="2147483809"/>
              <ac:graphicFrameMk id="3" creationId="{6CEEDCB5-AEBF-499C-B756-7B17B4A9535D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87" v="91187"/>
          <pc:sldLayoutMkLst>
            <pc:docMk/>
            <pc:sldMasterMk cId="3322049571" sldId="2147483756"/>
            <pc:sldLayoutMk cId="1827253107" sldId="2147483810"/>
          </pc:sldLayoutMkLst>
          <pc:spChg chg="add del mod modVis">
            <ac:chgData name="Yudi Zhu" userId="571e1a55-055f-4c28-8b35-fca6dd1c1369" providerId="ADAL" clId="{75A88773-6EE1-484E-AADE-FE631E01463B}" dt="2025-11-21T06:02:24.200" v="69913" actId="478"/>
            <ac:spMkLst>
              <pc:docMk/>
              <pc:sldMasterMk cId="3322049571" sldId="2147483756"/>
              <pc:sldLayoutMk cId="1827253107" sldId="2147483810"/>
              <ac:spMk id="4" creationId="{402355E5-1601-8C9F-4754-AA8BC84A293C}"/>
            </ac:spMkLst>
          </pc:spChg>
          <pc:spChg chg="mod">
            <ac:chgData name="Yudi Zhu" userId="571e1a55-055f-4c28-8b35-fca6dd1c1369" providerId="ADAL" clId="{75A88773-6EE1-484E-AADE-FE631E01463B}" dt="2025-11-21T06:01:51.578" v="54937" actId="948"/>
            <ac:spMkLst>
              <pc:docMk/>
              <pc:sldMasterMk cId="3322049571" sldId="2147483756"/>
              <pc:sldLayoutMk cId="1827253107" sldId="2147483810"/>
              <ac:spMk id="1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87" v="91187"/>
            <ac:graphicFrameMkLst>
              <pc:docMk/>
              <pc:sldMasterMk cId="3322049571" sldId="2147483756"/>
              <pc:sldLayoutMk cId="1827253107" sldId="2147483810"/>
              <ac:graphicFrameMk id="3" creationId="{1D69369B-8A66-4FA2-A3BA-152FECEA34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92" v="91189"/>
          <pc:sldLayoutMkLst>
            <pc:docMk/>
            <pc:sldMasterMk cId="3322049571" sldId="2147483756"/>
            <pc:sldLayoutMk cId="3678876039" sldId="2147483811"/>
          </pc:sldLayoutMkLst>
          <pc:spChg chg="add del mod modVis">
            <ac:chgData name="Yudi Zhu" userId="571e1a55-055f-4c28-8b35-fca6dd1c1369" providerId="ADAL" clId="{75A88773-6EE1-484E-AADE-FE631E01463B}" dt="2025-11-21T06:02:24.203" v="69915" actId="478"/>
            <ac:spMkLst>
              <pc:docMk/>
              <pc:sldMasterMk cId="3322049571" sldId="2147483756"/>
              <pc:sldLayoutMk cId="3678876039" sldId="2147483811"/>
              <ac:spMk id="4" creationId="{DECCE0E6-C608-60BE-1C20-E5457CD166AB}"/>
            </ac:spMkLst>
          </pc:spChg>
          <pc:spChg chg="mod">
            <ac:chgData name="Yudi Zhu" userId="571e1a55-055f-4c28-8b35-fca6dd1c1369" providerId="ADAL" clId="{75A88773-6EE1-484E-AADE-FE631E01463B}" dt="2025-11-21T06:01:51.612" v="54958" actId="948"/>
            <ac:spMkLst>
              <pc:docMk/>
              <pc:sldMasterMk cId="3322049571" sldId="2147483756"/>
              <pc:sldLayoutMk cId="3678876039" sldId="2147483811"/>
              <ac:spMk id="1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92" v="91189"/>
            <ac:graphicFrameMkLst>
              <pc:docMk/>
              <pc:sldMasterMk cId="3322049571" sldId="2147483756"/>
              <pc:sldLayoutMk cId="3678876039" sldId="2147483811"/>
              <ac:graphicFrameMk id="3" creationId="{AB9C19B9-9588-464B-841B-4E0F598DE58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597" v="91191"/>
          <pc:sldLayoutMkLst>
            <pc:docMk/>
            <pc:sldMasterMk cId="3322049571" sldId="2147483756"/>
            <pc:sldLayoutMk cId="2678304222" sldId="2147483812"/>
          </pc:sldLayoutMkLst>
          <pc:spChg chg="add del mod modVis">
            <ac:chgData name="Yudi Zhu" userId="571e1a55-055f-4c28-8b35-fca6dd1c1369" providerId="ADAL" clId="{75A88773-6EE1-484E-AADE-FE631E01463B}" dt="2025-11-21T06:02:24.207" v="69917" actId="478"/>
            <ac:spMkLst>
              <pc:docMk/>
              <pc:sldMasterMk cId="3322049571" sldId="2147483756"/>
              <pc:sldLayoutMk cId="2678304222" sldId="2147483812"/>
              <ac:spMk id="4" creationId="{42E3DA97-39C3-9369-85CB-226D3437DDAC}"/>
            </ac:spMkLst>
          </pc:spChg>
          <pc:spChg chg="mod">
            <ac:chgData name="Yudi Zhu" userId="571e1a55-055f-4c28-8b35-fca6dd1c1369" providerId="ADAL" clId="{75A88773-6EE1-484E-AADE-FE631E01463B}" dt="2025-11-21T06:01:51.643" v="54979" actId="948"/>
            <ac:spMkLst>
              <pc:docMk/>
              <pc:sldMasterMk cId="3322049571" sldId="2147483756"/>
              <pc:sldLayoutMk cId="2678304222" sldId="2147483812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597" v="91191"/>
            <ac:graphicFrameMkLst>
              <pc:docMk/>
              <pc:sldMasterMk cId="3322049571" sldId="2147483756"/>
              <pc:sldLayoutMk cId="2678304222" sldId="2147483812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02" v="91193"/>
          <pc:sldLayoutMkLst>
            <pc:docMk/>
            <pc:sldMasterMk cId="3322049571" sldId="2147483756"/>
            <pc:sldLayoutMk cId="1265864423" sldId="2147483813"/>
          </pc:sldLayoutMkLst>
          <pc:spChg chg="add del mod modVis">
            <ac:chgData name="Yudi Zhu" userId="571e1a55-055f-4c28-8b35-fca6dd1c1369" providerId="ADAL" clId="{75A88773-6EE1-484E-AADE-FE631E01463B}" dt="2025-11-21T06:02:24.211" v="69919" actId="478"/>
            <ac:spMkLst>
              <pc:docMk/>
              <pc:sldMasterMk cId="3322049571" sldId="2147483756"/>
              <pc:sldLayoutMk cId="1265864423" sldId="2147483813"/>
              <ac:spMk id="4" creationId="{8B4BC766-5E40-DBD2-2EC7-78DEF14133D6}"/>
            </ac:spMkLst>
          </pc:spChg>
          <pc:spChg chg="mod">
            <ac:chgData name="Yudi Zhu" userId="571e1a55-055f-4c28-8b35-fca6dd1c1369" providerId="ADAL" clId="{75A88773-6EE1-484E-AADE-FE631E01463B}" dt="2025-11-21T06:01:51.676" v="55000" actId="948"/>
            <ac:spMkLst>
              <pc:docMk/>
              <pc:sldMasterMk cId="3322049571" sldId="2147483756"/>
              <pc:sldLayoutMk cId="1265864423" sldId="2147483813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602" v="91193"/>
            <ac:graphicFrameMkLst>
              <pc:docMk/>
              <pc:sldMasterMk cId="3322049571" sldId="2147483756"/>
              <pc:sldLayoutMk cId="1265864423" sldId="2147483813"/>
              <ac:graphicFrameMk id="3" creationId="{CB93EF4C-1394-476A-823F-13E6F1417F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07" v="91195"/>
          <pc:sldLayoutMkLst>
            <pc:docMk/>
            <pc:sldMasterMk cId="3322049571" sldId="2147483756"/>
            <pc:sldLayoutMk cId="3310435940" sldId="2147483814"/>
          </pc:sldLayoutMkLst>
          <pc:spChg chg="add del mod modVis">
            <ac:chgData name="Yudi Zhu" userId="571e1a55-055f-4c28-8b35-fca6dd1c1369" providerId="ADAL" clId="{75A88773-6EE1-484E-AADE-FE631E01463B}" dt="2025-11-21T06:02:24.215" v="69921" actId="478"/>
            <ac:spMkLst>
              <pc:docMk/>
              <pc:sldMasterMk cId="3322049571" sldId="2147483756"/>
              <pc:sldLayoutMk cId="3310435940" sldId="2147483814"/>
              <ac:spMk id="4" creationId="{9BA3F20A-2BED-A217-CDAD-D6A01C5C6C79}"/>
            </ac:spMkLst>
          </pc:spChg>
          <pc:spChg chg="mod">
            <ac:chgData name="Yudi Zhu" userId="571e1a55-055f-4c28-8b35-fca6dd1c1369" providerId="ADAL" clId="{75A88773-6EE1-484E-AADE-FE631E01463B}" dt="2025-11-21T06:01:51.709" v="55021" actId="948"/>
            <ac:spMkLst>
              <pc:docMk/>
              <pc:sldMasterMk cId="3322049571" sldId="2147483756"/>
              <pc:sldLayoutMk cId="3310435940" sldId="2147483814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607" v="91195"/>
            <ac:graphicFrameMkLst>
              <pc:docMk/>
              <pc:sldMasterMk cId="3322049571" sldId="2147483756"/>
              <pc:sldLayoutMk cId="3310435940" sldId="2147483814"/>
              <ac:graphicFrameMk id="3" creationId="{D769B887-2B13-4C8F-946E-E594927AC08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11" v="91197"/>
          <pc:sldLayoutMkLst>
            <pc:docMk/>
            <pc:sldMasterMk cId="3322049571" sldId="2147483756"/>
            <pc:sldLayoutMk cId="2609507629" sldId="2147483815"/>
          </pc:sldLayoutMkLst>
          <pc:spChg chg="add del mod modVis">
            <ac:chgData name="Yudi Zhu" userId="571e1a55-055f-4c28-8b35-fca6dd1c1369" providerId="ADAL" clId="{75A88773-6EE1-484E-AADE-FE631E01463B}" dt="2025-11-21T06:02:24.218" v="69923" actId="478"/>
            <ac:spMkLst>
              <pc:docMk/>
              <pc:sldMasterMk cId="3322049571" sldId="2147483756"/>
              <pc:sldLayoutMk cId="2609507629" sldId="2147483815"/>
              <ac:spMk id="4" creationId="{3299DF86-FC98-F09D-4E37-9B26A7D79CE7}"/>
            </ac:spMkLst>
          </pc:spChg>
          <pc:spChg chg="mod">
            <ac:chgData name="Yudi Zhu" userId="571e1a55-055f-4c28-8b35-fca6dd1c1369" providerId="ADAL" clId="{75A88773-6EE1-484E-AADE-FE631E01463B}" dt="2025-11-21T06:01:51.743" v="55042" actId="948"/>
            <ac:spMkLst>
              <pc:docMk/>
              <pc:sldMasterMk cId="3322049571" sldId="2147483756"/>
              <pc:sldLayoutMk cId="2609507629" sldId="2147483815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611" v="91197"/>
            <ac:graphicFrameMkLst>
              <pc:docMk/>
              <pc:sldMasterMk cId="3322049571" sldId="2147483756"/>
              <pc:sldLayoutMk cId="2609507629" sldId="2147483815"/>
              <ac:graphicFrameMk id="3" creationId="{455A7C36-70AD-47B9-A14E-627B49FA23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17" v="91199"/>
          <pc:sldLayoutMkLst>
            <pc:docMk/>
            <pc:sldMasterMk cId="3322049571" sldId="2147483756"/>
            <pc:sldLayoutMk cId="2107395683" sldId="2147483816"/>
          </pc:sldLayoutMkLst>
          <pc:spChg chg="mod">
            <ac:chgData name="Yudi Zhu" userId="571e1a55-055f-4c28-8b35-fca6dd1c1369" providerId="ADAL" clId="{75A88773-6EE1-484E-AADE-FE631E01463B}" dt="2025-11-21T06:01:51.773" v="55063" actId="948"/>
            <ac:spMkLst>
              <pc:docMk/>
              <pc:sldMasterMk cId="3322049571" sldId="2147483756"/>
              <pc:sldLayoutMk cId="2107395683" sldId="2147483816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222" v="69925" actId="478"/>
            <ac:spMkLst>
              <pc:docMk/>
              <pc:sldMasterMk cId="3322049571" sldId="2147483756"/>
              <pc:sldLayoutMk cId="2107395683" sldId="2147483816"/>
              <ac:spMk id="5" creationId="{3C723565-DFE8-1B62-2F7B-92332DC6E1E6}"/>
            </ac:spMkLst>
          </pc:spChg>
          <pc:graphicFrameChg chg="mod">
            <ac:chgData name="Yudi Zhu" userId="571e1a55-055f-4c28-8b35-fca6dd1c1369" providerId="ADAL" clId="{75A88773-6EE1-484E-AADE-FE631E01463B}" dt="2025-11-21T06:05:07.617" v="91199"/>
            <ac:graphicFrameMkLst>
              <pc:docMk/>
              <pc:sldMasterMk cId="3322049571" sldId="2147483756"/>
              <pc:sldLayoutMk cId="2107395683" sldId="2147483816"/>
              <ac:graphicFrameMk id="4" creationId="{039D2536-1DC7-4B54-9D7A-41732CF834E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22" v="91201"/>
          <pc:sldLayoutMkLst>
            <pc:docMk/>
            <pc:sldMasterMk cId="3322049571" sldId="2147483756"/>
            <pc:sldLayoutMk cId="1414400225" sldId="2147483817"/>
          </pc:sldLayoutMkLst>
          <pc:spChg chg="mod">
            <ac:chgData name="Yudi Zhu" userId="571e1a55-055f-4c28-8b35-fca6dd1c1369" providerId="ADAL" clId="{75A88773-6EE1-484E-AADE-FE631E01463B}" dt="2025-11-21T06:01:51.805" v="55084" actId="948"/>
            <ac:spMkLst>
              <pc:docMk/>
              <pc:sldMasterMk cId="3322049571" sldId="2147483756"/>
              <pc:sldLayoutMk cId="1414400225" sldId="2147483817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226" v="69927" actId="478"/>
            <ac:spMkLst>
              <pc:docMk/>
              <pc:sldMasterMk cId="3322049571" sldId="2147483756"/>
              <pc:sldLayoutMk cId="1414400225" sldId="2147483817"/>
              <ac:spMk id="5" creationId="{E5877F34-1AD1-A3D5-115C-ED9D4738DFAE}"/>
            </ac:spMkLst>
          </pc:spChg>
          <pc:graphicFrameChg chg="mod">
            <ac:chgData name="Yudi Zhu" userId="571e1a55-055f-4c28-8b35-fca6dd1c1369" providerId="ADAL" clId="{75A88773-6EE1-484E-AADE-FE631E01463B}" dt="2025-11-21T06:05:07.622" v="91201"/>
            <ac:graphicFrameMkLst>
              <pc:docMk/>
              <pc:sldMasterMk cId="3322049571" sldId="2147483756"/>
              <pc:sldLayoutMk cId="1414400225" sldId="2147483817"/>
              <ac:graphicFrameMk id="4" creationId="{8B473B82-53D5-4DFB-9CCC-3DDD34E832E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32" v="91205"/>
          <pc:sldLayoutMkLst>
            <pc:docMk/>
            <pc:sldMasterMk cId="3322049571" sldId="2147483756"/>
            <pc:sldLayoutMk cId="938064355" sldId="2147483818"/>
          </pc:sldLayoutMkLst>
          <pc:spChg chg="mod">
            <ac:chgData name="Yudi Zhu" userId="571e1a55-055f-4c28-8b35-fca6dd1c1369" providerId="ADAL" clId="{75A88773-6EE1-484E-AADE-FE631E01463B}" dt="2025-11-21T06:01:51.873" v="55126" actId="948"/>
            <ac:spMkLst>
              <pc:docMk/>
              <pc:sldMasterMk cId="3322049571" sldId="2147483756"/>
              <pc:sldLayoutMk cId="938064355" sldId="2147483818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233" v="69931" actId="478"/>
            <ac:spMkLst>
              <pc:docMk/>
              <pc:sldMasterMk cId="3322049571" sldId="2147483756"/>
              <pc:sldLayoutMk cId="938064355" sldId="2147483818"/>
              <ac:spMk id="5" creationId="{3788AC48-2513-08EB-2D5D-5C13CFFD711D}"/>
            </ac:spMkLst>
          </pc:spChg>
          <pc:graphicFrameChg chg="mod">
            <ac:chgData name="Yudi Zhu" userId="571e1a55-055f-4c28-8b35-fca6dd1c1369" providerId="ADAL" clId="{75A88773-6EE1-484E-AADE-FE631E01463B}" dt="2025-11-21T06:05:07.632" v="91205"/>
            <ac:graphicFrameMkLst>
              <pc:docMk/>
              <pc:sldMasterMk cId="3322049571" sldId="2147483756"/>
              <pc:sldLayoutMk cId="938064355" sldId="2147483818"/>
              <ac:graphicFrameMk id="4" creationId="{897521DA-F255-4067-808C-8D586F745C2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27" v="91203"/>
          <pc:sldLayoutMkLst>
            <pc:docMk/>
            <pc:sldMasterMk cId="3322049571" sldId="2147483756"/>
            <pc:sldLayoutMk cId="1995412482" sldId="2147483819"/>
          </pc:sldLayoutMkLst>
          <pc:spChg chg="mod">
            <ac:chgData name="Yudi Zhu" userId="571e1a55-055f-4c28-8b35-fca6dd1c1369" providerId="ADAL" clId="{75A88773-6EE1-484E-AADE-FE631E01463B}" dt="2025-11-21T06:01:51.837" v="55105" actId="948"/>
            <ac:spMkLst>
              <pc:docMk/>
              <pc:sldMasterMk cId="3322049571" sldId="2147483756"/>
              <pc:sldLayoutMk cId="1995412482" sldId="2147483819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230" v="69929" actId="478"/>
            <ac:spMkLst>
              <pc:docMk/>
              <pc:sldMasterMk cId="3322049571" sldId="2147483756"/>
              <pc:sldLayoutMk cId="1995412482" sldId="2147483819"/>
              <ac:spMk id="5" creationId="{9398ACF8-A4FD-D7B8-8E3B-F222DE990423}"/>
            </ac:spMkLst>
          </pc:spChg>
          <pc:graphicFrameChg chg="mod">
            <ac:chgData name="Yudi Zhu" userId="571e1a55-055f-4c28-8b35-fca6dd1c1369" providerId="ADAL" clId="{75A88773-6EE1-484E-AADE-FE631E01463B}" dt="2025-11-21T06:05:07.627" v="91203"/>
            <ac:graphicFrameMkLst>
              <pc:docMk/>
              <pc:sldMasterMk cId="3322049571" sldId="2147483756"/>
              <pc:sldLayoutMk cId="1995412482" sldId="2147483819"/>
              <ac:graphicFrameMk id="4" creationId="{D7F540FA-7567-4B2F-82E1-9079310B73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37" v="91207"/>
          <pc:sldLayoutMkLst>
            <pc:docMk/>
            <pc:sldMasterMk cId="3322049571" sldId="2147483756"/>
            <pc:sldLayoutMk cId="3492811854" sldId="2147483820"/>
          </pc:sldLayoutMkLst>
          <pc:spChg chg="add del mod modVis">
            <ac:chgData name="Yudi Zhu" userId="571e1a55-055f-4c28-8b35-fca6dd1c1369" providerId="ADAL" clId="{75A88773-6EE1-484E-AADE-FE631E01463B}" dt="2025-11-21T06:02:24.237" v="69933" actId="478"/>
            <ac:spMkLst>
              <pc:docMk/>
              <pc:sldMasterMk cId="3322049571" sldId="2147483756"/>
              <pc:sldLayoutMk cId="3492811854" sldId="2147483820"/>
              <ac:spMk id="4" creationId="{04522FA3-7D07-C28F-6B78-7CF4D6DB972F}"/>
            </ac:spMkLst>
          </pc:spChg>
          <pc:spChg chg="mod">
            <ac:chgData name="Yudi Zhu" userId="571e1a55-055f-4c28-8b35-fca6dd1c1369" providerId="ADAL" clId="{75A88773-6EE1-484E-AADE-FE631E01463B}" dt="2025-11-21T06:01:51.907" v="55147" actId="948"/>
            <ac:spMkLst>
              <pc:docMk/>
              <pc:sldMasterMk cId="3322049571" sldId="2147483756"/>
              <pc:sldLayoutMk cId="3492811854" sldId="2147483820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637" v="91207"/>
            <ac:graphicFrameMkLst>
              <pc:docMk/>
              <pc:sldMasterMk cId="3322049571" sldId="2147483756"/>
              <pc:sldLayoutMk cId="3492811854" sldId="2147483820"/>
              <ac:graphicFrameMk id="3" creationId="{F0C2C8FA-CE5C-4408-854B-AC23B40E844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42" v="91209"/>
          <pc:sldLayoutMkLst>
            <pc:docMk/>
            <pc:sldMasterMk cId="3322049571" sldId="2147483756"/>
            <pc:sldLayoutMk cId="3265651925" sldId="2147483821"/>
          </pc:sldLayoutMkLst>
          <pc:spChg chg="add del mod modVis">
            <ac:chgData name="Yudi Zhu" userId="571e1a55-055f-4c28-8b35-fca6dd1c1369" providerId="ADAL" clId="{75A88773-6EE1-484E-AADE-FE631E01463B}" dt="2025-11-21T06:02:24.241" v="69935" actId="478"/>
            <ac:spMkLst>
              <pc:docMk/>
              <pc:sldMasterMk cId="3322049571" sldId="2147483756"/>
              <pc:sldLayoutMk cId="3265651925" sldId="2147483821"/>
              <ac:spMk id="4" creationId="{B73F252C-CA69-4932-CE85-06292C0DDDBD}"/>
            </ac:spMkLst>
          </pc:spChg>
          <pc:spChg chg="mod">
            <ac:chgData name="Yudi Zhu" userId="571e1a55-055f-4c28-8b35-fca6dd1c1369" providerId="ADAL" clId="{75A88773-6EE1-484E-AADE-FE631E01463B}" dt="2025-11-21T06:01:51.940" v="55168" actId="948"/>
            <ac:spMkLst>
              <pc:docMk/>
              <pc:sldMasterMk cId="3322049571" sldId="2147483756"/>
              <pc:sldLayoutMk cId="3265651925" sldId="2147483821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642" v="91209"/>
            <ac:graphicFrameMkLst>
              <pc:docMk/>
              <pc:sldMasterMk cId="3322049571" sldId="2147483756"/>
              <pc:sldLayoutMk cId="3265651925" sldId="2147483821"/>
              <ac:graphicFrameMk id="3" creationId="{459F9065-0E22-4E32-800E-137DEFB3B9A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47" v="91211"/>
          <pc:sldLayoutMkLst>
            <pc:docMk/>
            <pc:sldMasterMk cId="3322049571" sldId="2147483756"/>
            <pc:sldLayoutMk cId="3813612131" sldId="2147483822"/>
          </pc:sldLayoutMkLst>
          <pc:graphicFrameChg chg="mod">
            <ac:chgData name="Yudi Zhu" userId="571e1a55-055f-4c28-8b35-fca6dd1c1369" providerId="ADAL" clId="{75A88773-6EE1-484E-AADE-FE631E01463B}" dt="2025-11-21T06:05:07.647" v="91211"/>
            <ac:graphicFrameMkLst>
              <pc:docMk/>
              <pc:sldMasterMk cId="3322049571" sldId="2147483756"/>
              <pc:sldLayoutMk cId="3813612131" sldId="2147483822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651" v="91213"/>
          <pc:sldLayoutMkLst>
            <pc:docMk/>
            <pc:sldMasterMk cId="3322049571" sldId="2147483756"/>
            <pc:sldLayoutMk cId="1913728777" sldId="2147483823"/>
          </pc:sldLayoutMkLst>
          <pc:spChg chg="mod">
            <ac:chgData name="Yudi Zhu" userId="571e1a55-055f-4c28-8b35-fca6dd1c1369" providerId="ADAL" clId="{75A88773-6EE1-484E-AADE-FE631E01463B}" dt="2025-11-21T06:01:51.973" v="55189" actId="948"/>
            <ac:spMkLst>
              <pc:docMk/>
              <pc:sldMasterMk cId="3322049571" sldId="2147483756"/>
              <pc:sldLayoutMk cId="1913728777" sldId="2147483823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248" v="69938" actId="478"/>
            <ac:spMkLst>
              <pc:docMk/>
              <pc:sldMasterMk cId="3322049571" sldId="2147483756"/>
              <pc:sldLayoutMk cId="1913728777" sldId="2147483823"/>
              <ac:spMk id="3" creationId="{7F2239F2-1457-81EA-9419-21D284EA1D05}"/>
            </ac:spMkLst>
          </pc:spChg>
          <pc:graphicFrameChg chg="mod">
            <ac:chgData name="Yudi Zhu" userId="571e1a55-055f-4c28-8b35-fca6dd1c1369" providerId="ADAL" clId="{75A88773-6EE1-484E-AADE-FE631E01463B}" dt="2025-11-21T06:05:07.651" v="91213"/>
            <ac:graphicFrameMkLst>
              <pc:docMk/>
              <pc:sldMasterMk cId="3322049571" sldId="2147483756"/>
              <pc:sldLayoutMk cId="1913728777" sldId="2147483823"/>
              <ac:graphicFrameMk id="6" creationId="{9AA175C1-DC26-4FD0-87C7-BD23A645D29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61" v="91217"/>
          <pc:sldLayoutMkLst>
            <pc:docMk/>
            <pc:sldMasterMk cId="3322049571" sldId="2147483756"/>
            <pc:sldLayoutMk cId="489297089" sldId="2147483824"/>
          </pc:sldLayoutMkLst>
          <pc:graphicFrameChg chg="mod">
            <ac:chgData name="Yudi Zhu" userId="571e1a55-055f-4c28-8b35-fca6dd1c1369" providerId="ADAL" clId="{75A88773-6EE1-484E-AADE-FE631E01463B}" dt="2025-11-21T06:05:07.661" v="91217"/>
            <ac:graphicFrameMkLst>
              <pc:docMk/>
              <pc:sldMasterMk cId="3322049571" sldId="2147483756"/>
              <pc:sldLayoutMk cId="489297089" sldId="2147483824"/>
              <ac:graphicFrameMk id="2" creationId="{90FE13CB-8AEE-4F29-95FA-616822F7CDB7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56" v="91215"/>
          <pc:sldLayoutMkLst>
            <pc:docMk/>
            <pc:sldMasterMk cId="3322049571" sldId="2147483756"/>
            <pc:sldLayoutMk cId="3889780839" sldId="2147483825"/>
          </pc:sldLayoutMkLst>
          <pc:graphicFrameChg chg="mod">
            <ac:chgData name="Yudi Zhu" userId="571e1a55-055f-4c28-8b35-fca6dd1c1369" providerId="ADAL" clId="{75A88773-6EE1-484E-AADE-FE631E01463B}" dt="2025-11-21T06:05:07.656" v="91215"/>
            <ac:graphicFrameMkLst>
              <pc:docMk/>
              <pc:sldMasterMk cId="3322049571" sldId="2147483756"/>
              <pc:sldLayoutMk cId="3889780839" sldId="2147483825"/>
              <ac:graphicFrameMk id="2" creationId="{08B54EDB-E442-4474-B407-4BE7EB22B24F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72" v="91221"/>
          <pc:sldLayoutMkLst>
            <pc:docMk/>
            <pc:sldMasterMk cId="3322049571" sldId="2147483756"/>
            <pc:sldLayoutMk cId="982460570" sldId="2147483826"/>
          </pc:sldLayoutMkLst>
          <pc:graphicFrameChg chg="mod">
            <ac:chgData name="Yudi Zhu" userId="571e1a55-055f-4c28-8b35-fca6dd1c1369" providerId="ADAL" clId="{75A88773-6EE1-484E-AADE-FE631E01463B}" dt="2025-11-21T06:05:07.672" v="91221"/>
            <ac:graphicFrameMkLst>
              <pc:docMk/>
              <pc:sldMasterMk cId="3322049571" sldId="2147483756"/>
              <pc:sldLayoutMk cId="982460570" sldId="2147483826"/>
              <ac:graphicFrameMk id="2" creationId="{B3D5FDBA-D1AA-421F-84E5-80647FFAA8A9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67" v="91219"/>
          <pc:sldLayoutMkLst>
            <pc:docMk/>
            <pc:sldMasterMk cId="3322049571" sldId="2147483756"/>
            <pc:sldLayoutMk cId="3371496444" sldId="2147483827"/>
          </pc:sldLayoutMkLst>
          <pc:graphicFrameChg chg="mod">
            <ac:chgData name="Yudi Zhu" userId="571e1a55-055f-4c28-8b35-fca6dd1c1369" providerId="ADAL" clId="{75A88773-6EE1-484E-AADE-FE631E01463B}" dt="2025-11-21T06:05:07.667" v="91219"/>
            <ac:graphicFrameMkLst>
              <pc:docMk/>
              <pc:sldMasterMk cId="3322049571" sldId="2147483756"/>
              <pc:sldLayoutMk cId="3371496444" sldId="2147483827"/>
              <ac:graphicFrameMk id="2" creationId="{464584B5-037D-4D0E-AE3F-7F004DDC1BD6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77" v="91223"/>
          <pc:sldLayoutMkLst>
            <pc:docMk/>
            <pc:sldMasterMk cId="3322049571" sldId="2147483756"/>
            <pc:sldLayoutMk cId="1670502468" sldId="2147483828"/>
          </pc:sldLayoutMkLst>
          <pc:graphicFrameChg chg="mod">
            <ac:chgData name="Yudi Zhu" userId="571e1a55-055f-4c28-8b35-fca6dd1c1369" providerId="ADAL" clId="{75A88773-6EE1-484E-AADE-FE631E01463B}" dt="2025-11-21T06:05:07.677" v="91223"/>
            <ac:graphicFrameMkLst>
              <pc:docMk/>
              <pc:sldMasterMk cId="3322049571" sldId="2147483756"/>
              <pc:sldLayoutMk cId="1670502468" sldId="2147483828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695" v="91229"/>
          <pc:sldLayoutMkLst>
            <pc:docMk/>
            <pc:sldMasterMk cId="3322049571" sldId="2147483756"/>
            <pc:sldLayoutMk cId="2128399271" sldId="2147483829"/>
          </pc:sldLayoutMkLst>
          <pc:graphicFrameChg chg="mod">
            <ac:chgData name="Yudi Zhu" userId="571e1a55-055f-4c28-8b35-fca6dd1c1369" providerId="ADAL" clId="{75A88773-6EE1-484E-AADE-FE631E01463B}" dt="2025-11-21T06:05:07.695" v="91229"/>
            <ac:graphicFrameMkLst>
              <pc:docMk/>
              <pc:sldMasterMk cId="3322049571" sldId="2147483756"/>
              <pc:sldLayoutMk cId="2128399271" sldId="2147483829"/>
              <ac:graphicFrameMk id="3" creationId="{FB5C556E-5BF3-471B-A5EA-32A4AD58020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01" v="91231"/>
          <pc:sldLayoutMkLst>
            <pc:docMk/>
            <pc:sldMasterMk cId="3322049571" sldId="2147483756"/>
            <pc:sldLayoutMk cId="1106881932" sldId="2147483830"/>
          </pc:sldLayoutMkLst>
          <pc:graphicFrameChg chg="mod">
            <ac:chgData name="Yudi Zhu" userId="571e1a55-055f-4c28-8b35-fca6dd1c1369" providerId="ADAL" clId="{75A88773-6EE1-484E-AADE-FE631E01463B}" dt="2025-11-21T06:05:07.701" v="91231"/>
            <ac:graphicFrameMkLst>
              <pc:docMk/>
              <pc:sldMasterMk cId="3322049571" sldId="2147483756"/>
              <pc:sldLayoutMk cId="1106881932" sldId="2147483830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05" v="91233"/>
          <pc:sldLayoutMkLst>
            <pc:docMk/>
            <pc:sldMasterMk cId="3322049571" sldId="2147483756"/>
            <pc:sldLayoutMk cId="934330068" sldId="2147483831"/>
          </pc:sldLayoutMkLst>
          <pc:graphicFrameChg chg="mod">
            <ac:chgData name="Yudi Zhu" userId="571e1a55-055f-4c28-8b35-fca6dd1c1369" providerId="ADAL" clId="{75A88773-6EE1-484E-AADE-FE631E01463B}" dt="2025-11-21T06:05:07.705" v="91233"/>
            <ac:graphicFrameMkLst>
              <pc:docMk/>
              <pc:sldMasterMk cId="3322049571" sldId="2147483756"/>
              <pc:sldLayoutMk cId="934330068" sldId="2147483831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10" v="91235"/>
          <pc:sldLayoutMkLst>
            <pc:docMk/>
            <pc:sldMasterMk cId="3322049571" sldId="2147483756"/>
            <pc:sldLayoutMk cId="4192745896" sldId="2147483832"/>
          </pc:sldLayoutMkLst>
          <pc:graphicFrameChg chg="mod">
            <ac:chgData name="Yudi Zhu" userId="571e1a55-055f-4c28-8b35-fca6dd1c1369" providerId="ADAL" clId="{75A88773-6EE1-484E-AADE-FE631E01463B}" dt="2025-11-21T06:05:07.710" v="91235"/>
            <ac:graphicFrameMkLst>
              <pc:docMk/>
              <pc:sldMasterMk cId="3322049571" sldId="2147483756"/>
              <pc:sldLayoutMk cId="4192745896" sldId="2147483832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16" v="91237"/>
          <pc:sldLayoutMkLst>
            <pc:docMk/>
            <pc:sldMasterMk cId="3322049571" sldId="2147483756"/>
            <pc:sldLayoutMk cId="4117750846" sldId="2147483833"/>
          </pc:sldLayoutMkLst>
          <pc:graphicFrameChg chg="mod">
            <ac:chgData name="Yudi Zhu" userId="571e1a55-055f-4c28-8b35-fca6dd1c1369" providerId="ADAL" clId="{75A88773-6EE1-484E-AADE-FE631E01463B}" dt="2025-11-21T06:05:07.716" v="91237"/>
            <ac:graphicFrameMkLst>
              <pc:docMk/>
              <pc:sldMasterMk cId="3322049571" sldId="2147483756"/>
              <pc:sldLayoutMk cId="4117750846" sldId="2147483833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21" v="91239"/>
          <pc:sldLayoutMkLst>
            <pc:docMk/>
            <pc:sldMasterMk cId="3322049571" sldId="2147483756"/>
            <pc:sldLayoutMk cId="2508100231" sldId="2147483834"/>
          </pc:sldLayoutMkLst>
          <pc:graphicFrameChg chg="mod">
            <ac:chgData name="Yudi Zhu" userId="571e1a55-055f-4c28-8b35-fca6dd1c1369" providerId="ADAL" clId="{75A88773-6EE1-484E-AADE-FE631E01463B}" dt="2025-11-21T06:05:07.721" v="91239"/>
            <ac:graphicFrameMkLst>
              <pc:docMk/>
              <pc:sldMasterMk cId="3322049571" sldId="2147483756"/>
              <pc:sldLayoutMk cId="2508100231" sldId="2147483834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26" v="91241"/>
          <pc:sldLayoutMkLst>
            <pc:docMk/>
            <pc:sldMasterMk cId="3322049571" sldId="2147483756"/>
            <pc:sldLayoutMk cId="2852419966" sldId="2147483835"/>
          </pc:sldLayoutMkLst>
          <pc:graphicFrameChg chg="mod">
            <ac:chgData name="Yudi Zhu" userId="571e1a55-055f-4c28-8b35-fca6dd1c1369" providerId="ADAL" clId="{75A88773-6EE1-484E-AADE-FE631E01463B}" dt="2025-11-21T06:05:07.726" v="91241"/>
            <ac:graphicFrameMkLst>
              <pc:docMk/>
              <pc:sldMasterMk cId="3322049571" sldId="2147483756"/>
              <pc:sldLayoutMk cId="2852419966" sldId="2147483835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32" v="91243"/>
          <pc:sldLayoutMkLst>
            <pc:docMk/>
            <pc:sldMasterMk cId="3322049571" sldId="2147483756"/>
            <pc:sldLayoutMk cId="3539784149" sldId="2147483836"/>
          </pc:sldLayoutMkLst>
          <pc:graphicFrameChg chg="mod">
            <ac:chgData name="Yudi Zhu" userId="571e1a55-055f-4c28-8b35-fca6dd1c1369" providerId="ADAL" clId="{75A88773-6EE1-484E-AADE-FE631E01463B}" dt="2025-11-21T06:05:07.732" v="91243"/>
            <ac:graphicFrameMkLst>
              <pc:docMk/>
              <pc:sldMasterMk cId="3322049571" sldId="2147483756"/>
              <pc:sldLayoutMk cId="3539784149" sldId="2147483836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37" v="91245"/>
          <pc:sldLayoutMkLst>
            <pc:docMk/>
            <pc:sldMasterMk cId="3322049571" sldId="2147483756"/>
            <pc:sldLayoutMk cId="4051615269" sldId="2147483837"/>
          </pc:sldLayoutMkLst>
          <pc:graphicFrameChg chg="mod">
            <ac:chgData name="Yudi Zhu" userId="571e1a55-055f-4c28-8b35-fca6dd1c1369" providerId="ADAL" clId="{75A88773-6EE1-484E-AADE-FE631E01463B}" dt="2025-11-21T06:05:07.737" v="91245"/>
            <ac:graphicFrameMkLst>
              <pc:docMk/>
              <pc:sldMasterMk cId="3322049571" sldId="2147483756"/>
              <pc:sldLayoutMk cId="4051615269" sldId="2147483837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742" v="91247"/>
          <pc:sldLayoutMkLst>
            <pc:docMk/>
            <pc:sldMasterMk cId="3322049571" sldId="2147483756"/>
            <pc:sldLayoutMk cId="3511549003" sldId="2147483838"/>
          </pc:sldLayoutMkLst>
          <pc:graphicFrameChg chg="mod">
            <ac:chgData name="Yudi Zhu" userId="571e1a55-055f-4c28-8b35-fca6dd1c1369" providerId="ADAL" clId="{75A88773-6EE1-484E-AADE-FE631E01463B}" dt="2025-11-21T06:05:07.742" v="91247"/>
            <ac:graphicFrameMkLst>
              <pc:docMk/>
              <pc:sldMasterMk cId="3322049571" sldId="2147483756"/>
              <pc:sldLayoutMk cId="3511549003" sldId="2147483838"/>
              <ac:graphicFrameMk id="2" creationId="{00000000-0000-0000-0000-000000000000}"/>
            </ac:graphicFrameMkLst>
          </pc:graphicFrameChg>
        </pc:sldLayoutChg>
      </pc:sldMasterChg>
      <pc:sldMasterChg chg="addSp delSp modSp mod modSldLayout">
        <pc:chgData name="Yudi Zhu" userId="571e1a55-055f-4c28-8b35-fca6dd1c1369" providerId="ADAL" clId="{75A88773-6EE1-484E-AADE-FE631E01463B}" dt="2025-11-21T06:05:08.185" v="91417"/>
        <pc:sldMasterMkLst>
          <pc:docMk/>
          <pc:sldMasterMk cId="752824537" sldId="2147483840"/>
        </pc:sldMasterMkLst>
        <pc:spChg chg="add del mod modVis">
          <ac:chgData name="Yudi Zhu" userId="571e1a55-055f-4c28-8b35-fca6dd1c1369" providerId="ADAL" clId="{75A88773-6EE1-484E-AADE-FE631E01463B}" dt="2025-11-21T06:02:24.319" v="69959" actId="478"/>
          <ac:spMkLst>
            <pc:docMk/>
            <pc:sldMasterMk cId="752824537" sldId="2147483840"/>
            <ac:spMk id="5" creationId="{98DB5408-FA61-8E8F-CA33-3DF71D050EC1}"/>
          </ac:spMkLst>
        </pc:spChg>
        <pc:spChg chg="mod">
          <ac:chgData name="Yudi Zhu" userId="571e1a55-055f-4c28-8b35-fca6dd1c1369" providerId="ADAL" clId="{75A88773-6EE1-484E-AADE-FE631E01463B}" dt="2025-11-21T06:01:52.180" v="55299" actId="948"/>
          <ac:spMkLst>
            <pc:docMk/>
            <pc:sldMasterMk cId="752824537" sldId="2147483840"/>
            <ac:spMk id="9" creationId="{00000000-0000-0000-0000-000000000000}"/>
          </ac:spMkLst>
        </pc:spChg>
        <pc:graphicFrameChg chg="mod">
          <ac:chgData name="Yudi Zhu" userId="571e1a55-055f-4c28-8b35-fca6dd1c1369" providerId="ADAL" clId="{75A88773-6EE1-484E-AADE-FE631E01463B}" dt="2025-11-21T06:05:07.752" v="91251"/>
          <ac:graphicFrameMkLst>
            <pc:docMk/>
            <pc:sldMasterMk cId="752824537" sldId="2147483840"/>
            <ac:graphicFrameMk id="2" creationId="{00000000-0000-0000-0000-000000000000}"/>
          </ac:graphicFrameMkLst>
        </pc:graphicFrameChg>
        <pc:sldLayoutChg chg="addSp delSp modSp mod">
          <pc:chgData name="Yudi Zhu" userId="571e1a55-055f-4c28-8b35-fca6dd1c1369" providerId="ADAL" clId="{75A88773-6EE1-484E-AADE-FE631E01463B}" dt="2025-11-21T06:05:07.747" v="91249"/>
          <pc:sldLayoutMkLst>
            <pc:docMk/>
            <pc:sldMasterMk cId="752824537" sldId="2147483840"/>
            <pc:sldLayoutMk cId="2639911953" sldId="2147483841"/>
          </pc:sldLayoutMkLst>
          <pc:spChg chg="add del mod modVis">
            <ac:chgData name="Yudi Zhu" userId="571e1a55-055f-4c28-8b35-fca6dd1c1369" providerId="ADAL" clId="{75A88773-6EE1-484E-AADE-FE631E01463B}" dt="2025-11-21T06:02:24.314" v="69957" actId="478"/>
            <ac:spMkLst>
              <pc:docMk/>
              <pc:sldMasterMk cId="752824537" sldId="2147483840"/>
              <pc:sldLayoutMk cId="2639911953" sldId="2147483841"/>
              <ac:spMk id="5" creationId="{DF91EDFF-443B-1101-9F15-E1836E1CA111}"/>
            </ac:spMkLst>
          </pc:spChg>
          <pc:spChg chg="mod">
            <ac:chgData name="Yudi Zhu" userId="571e1a55-055f-4c28-8b35-fca6dd1c1369" providerId="ADAL" clId="{75A88773-6EE1-484E-AADE-FE631E01463B}" dt="2025-11-21T06:01:52.147" v="55278" actId="948"/>
            <ac:spMkLst>
              <pc:docMk/>
              <pc:sldMasterMk cId="752824537" sldId="2147483840"/>
              <pc:sldLayoutMk cId="2639911953" sldId="2147483841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747" v="91249"/>
            <ac:graphicFrameMkLst>
              <pc:docMk/>
              <pc:sldMasterMk cId="752824537" sldId="2147483840"/>
              <pc:sldLayoutMk cId="2639911953" sldId="2147483841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57" v="91253"/>
          <pc:sldLayoutMkLst>
            <pc:docMk/>
            <pc:sldMasterMk cId="752824537" sldId="2147483840"/>
            <pc:sldLayoutMk cId="2048452929" sldId="2147483842"/>
          </pc:sldLayoutMkLst>
          <pc:spChg chg="add del mod modVis">
            <ac:chgData name="Yudi Zhu" userId="571e1a55-055f-4c28-8b35-fca6dd1c1369" providerId="ADAL" clId="{75A88773-6EE1-484E-AADE-FE631E01463B}" dt="2025-11-21T06:02:24.322" v="69961" actId="478"/>
            <ac:spMkLst>
              <pc:docMk/>
              <pc:sldMasterMk cId="752824537" sldId="2147483840"/>
              <pc:sldLayoutMk cId="2048452929" sldId="2147483842"/>
              <ac:spMk id="5" creationId="{A11E9ED4-8693-381F-3BB3-49FB3297A788}"/>
            </ac:spMkLst>
          </pc:spChg>
          <pc:spChg chg="mod">
            <ac:chgData name="Yudi Zhu" userId="571e1a55-055f-4c28-8b35-fca6dd1c1369" providerId="ADAL" clId="{75A88773-6EE1-484E-AADE-FE631E01463B}" dt="2025-11-21T06:01:52.213" v="55320" actId="948"/>
            <ac:spMkLst>
              <pc:docMk/>
              <pc:sldMasterMk cId="752824537" sldId="2147483840"/>
              <pc:sldLayoutMk cId="2048452929" sldId="2147483842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757" v="91253"/>
            <ac:graphicFrameMkLst>
              <pc:docMk/>
              <pc:sldMasterMk cId="752824537" sldId="2147483840"/>
              <pc:sldLayoutMk cId="2048452929" sldId="2147483842"/>
              <ac:graphicFrameMk id="3" creationId="{EA8382DF-DD0E-40F7-835E-30AACFFFD9C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68" v="91257"/>
          <pc:sldLayoutMkLst>
            <pc:docMk/>
            <pc:sldMasterMk cId="752824537" sldId="2147483840"/>
            <pc:sldLayoutMk cId="3650040924" sldId="2147483843"/>
          </pc:sldLayoutMkLst>
          <pc:spChg chg="add del mod modVis">
            <ac:chgData name="Yudi Zhu" userId="571e1a55-055f-4c28-8b35-fca6dd1c1369" providerId="ADAL" clId="{75A88773-6EE1-484E-AADE-FE631E01463B}" dt="2025-11-21T06:02:24.330" v="69965" actId="478"/>
            <ac:spMkLst>
              <pc:docMk/>
              <pc:sldMasterMk cId="752824537" sldId="2147483840"/>
              <pc:sldLayoutMk cId="3650040924" sldId="2147483843"/>
              <ac:spMk id="3" creationId="{BF21ADFA-FDE3-18FE-43AA-565CB9EF28D2}"/>
            </ac:spMkLst>
          </pc:spChg>
          <pc:spChg chg="mod">
            <ac:chgData name="Yudi Zhu" userId="571e1a55-055f-4c28-8b35-fca6dd1c1369" providerId="ADAL" clId="{75A88773-6EE1-484E-AADE-FE631E01463B}" dt="2025-11-21T06:01:52.287" v="55362" actId="948"/>
            <ac:spMkLst>
              <pc:docMk/>
              <pc:sldMasterMk cId="752824537" sldId="2147483840"/>
              <pc:sldLayoutMk cId="3650040924" sldId="2147483843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768" v="91257"/>
            <ac:graphicFrameMkLst>
              <pc:docMk/>
              <pc:sldMasterMk cId="752824537" sldId="2147483840"/>
              <pc:sldLayoutMk cId="3650040924" sldId="2147483843"/>
              <ac:graphicFrameMk id="4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61" v="91255"/>
          <pc:sldLayoutMkLst>
            <pc:docMk/>
            <pc:sldMasterMk cId="752824537" sldId="2147483840"/>
            <pc:sldLayoutMk cId="3107172429" sldId="2147483844"/>
          </pc:sldLayoutMkLst>
          <pc:spChg chg="mod">
            <ac:chgData name="Yudi Zhu" userId="571e1a55-055f-4c28-8b35-fca6dd1c1369" providerId="ADAL" clId="{75A88773-6EE1-484E-AADE-FE631E01463B}" dt="2025-11-21T06:01:52.250" v="55341" actId="948"/>
            <ac:spMkLst>
              <pc:docMk/>
              <pc:sldMasterMk cId="752824537" sldId="2147483840"/>
              <pc:sldLayoutMk cId="3107172429" sldId="2147483844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26" v="69963" actId="478"/>
            <ac:spMkLst>
              <pc:docMk/>
              <pc:sldMasterMk cId="752824537" sldId="2147483840"/>
              <pc:sldLayoutMk cId="3107172429" sldId="2147483844"/>
              <ac:spMk id="4" creationId="{E2CF27B8-AEF0-4F2C-DFF7-E828147D55AD}"/>
            </ac:spMkLst>
          </pc:spChg>
          <pc:graphicFrameChg chg="mod">
            <ac:chgData name="Yudi Zhu" userId="571e1a55-055f-4c28-8b35-fca6dd1c1369" providerId="ADAL" clId="{75A88773-6EE1-484E-AADE-FE631E01463B}" dt="2025-11-21T06:05:07.761" v="91255"/>
            <ac:graphicFrameMkLst>
              <pc:docMk/>
              <pc:sldMasterMk cId="752824537" sldId="2147483840"/>
              <pc:sldLayoutMk cId="3107172429" sldId="2147483844"/>
              <ac:graphicFrameMk id="11" creationId="{1C49E326-DBA2-4445-874C-28966110423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73" v="91259"/>
          <pc:sldLayoutMkLst>
            <pc:docMk/>
            <pc:sldMasterMk cId="752824537" sldId="2147483840"/>
            <pc:sldLayoutMk cId="2452083669" sldId="2147483845"/>
          </pc:sldLayoutMkLst>
          <pc:spChg chg="mod">
            <ac:chgData name="Yudi Zhu" userId="571e1a55-055f-4c28-8b35-fca6dd1c1369" providerId="ADAL" clId="{75A88773-6EE1-484E-AADE-FE631E01463B}" dt="2025-11-21T06:01:52.323" v="55383" actId="948"/>
            <ac:spMkLst>
              <pc:docMk/>
              <pc:sldMasterMk cId="752824537" sldId="2147483840"/>
              <pc:sldLayoutMk cId="2452083669" sldId="2147483845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33" v="69967" actId="478"/>
            <ac:spMkLst>
              <pc:docMk/>
              <pc:sldMasterMk cId="752824537" sldId="2147483840"/>
              <pc:sldLayoutMk cId="2452083669" sldId="2147483845"/>
              <ac:spMk id="9" creationId="{0949D91D-6D04-7419-43F1-815921EA708E}"/>
            </ac:spMkLst>
          </pc:spChg>
          <pc:graphicFrameChg chg="mod">
            <ac:chgData name="Yudi Zhu" userId="571e1a55-055f-4c28-8b35-fca6dd1c1369" providerId="ADAL" clId="{75A88773-6EE1-484E-AADE-FE631E01463B}" dt="2025-11-21T06:05:07.773" v="91259"/>
            <ac:graphicFrameMkLst>
              <pc:docMk/>
              <pc:sldMasterMk cId="752824537" sldId="2147483840"/>
              <pc:sldLayoutMk cId="2452083669" sldId="2147483845"/>
              <ac:graphicFrameMk id="5" creationId="{233D9DF1-FCEF-430D-A893-2CC47EDD51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77" v="91261"/>
          <pc:sldLayoutMkLst>
            <pc:docMk/>
            <pc:sldMasterMk cId="752824537" sldId="2147483840"/>
            <pc:sldLayoutMk cId="2319319283" sldId="2147483846"/>
          </pc:sldLayoutMkLst>
          <pc:spChg chg="mod">
            <ac:chgData name="Yudi Zhu" userId="571e1a55-055f-4c28-8b35-fca6dd1c1369" providerId="ADAL" clId="{75A88773-6EE1-484E-AADE-FE631E01463B}" dt="2025-11-21T06:01:52.361" v="55404" actId="948"/>
            <ac:spMkLst>
              <pc:docMk/>
              <pc:sldMasterMk cId="752824537" sldId="2147483840"/>
              <pc:sldLayoutMk cId="2319319283" sldId="2147483846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38" v="69969" actId="478"/>
            <ac:spMkLst>
              <pc:docMk/>
              <pc:sldMasterMk cId="752824537" sldId="2147483840"/>
              <pc:sldLayoutMk cId="2319319283" sldId="2147483846"/>
              <ac:spMk id="9" creationId="{30F9CD73-E182-075A-C7A5-5BAAFCF563B9}"/>
            </ac:spMkLst>
          </pc:spChg>
          <pc:graphicFrameChg chg="mod">
            <ac:chgData name="Yudi Zhu" userId="571e1a55-055f-4c28-8b35-fca6dd1c1369" providerId="ADAL" clId="{75A88773-6EE1-484E-AADE-FE631E01463B}" dt="2025-11-21T06:05:07.777" v="91261"/>
            <ac:graphicFrameMkLst>
              <pc:docMk/>
              <pc:sldMasterMk cId="752824537" sldId="2147483840"/>
              <pc:sldLayoutMk cId="2319319283" sldId="2147483846"/>
              <ac:graphicFrameMk id="5" creationId="{AA26FC7E-B5D2-403D-B518-88504CD8F4D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83" v="91263"/>
          <pc:sldLayoutMkLst>
            <pc:docMk/>
            <pc:sldMasterMk cId="752824537" sldId="2147483840"/>
            <pc:sldLayoutMk cId="3745885597" sldId="2147483847"/>
          </pc:sldLayoutMkLst>
          <pc:spChg chg="mod">
            <ac:chgData name="Yudi Zhu" userId="571e1a55-055f-4c28-8b35-fca6dd1c1369" providerId="ADAL" clId="{75A88773-6EE1-484E-AADE-FE631E01463B}" dt="2025-11-21T06:01:52.396" v="55425" actId="948"/>
            <ac:spMkLst>
              <pc:docMk/>
              <pc:sldMasterMk cId="752824537" sldId="2147483840"/>
              <pc:sldLayoutMk cId="3745885597" sldId="2147483847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42" v="69971" actId="478"/>
            <ac:spMkLst>
              <pc:docMk/>
              <pc:sldMasterMk cId="752824537" sldId="2147483840"/>
              <pc:sldLayoutMk cId="3745885597" sldId="2147483847"/>
              <ac:spMk id="9" creationId="{0CFB2D74-C216-77AC-A1A1-BF7637291DAC}"/>
            </ac:spMkLst>
          </pc:spChg>
          <pc:graphicFrameChg chg="mod">
            <ac:chgData name="Yudi Zhu" userId="571e1a55-055f-4c28-8b35-fca6dd1c1369" providerId="ADAL" clId="{75A88773-6EE1-484E-AADE-FE631E01463B}" dt="2025-11-21T06:05:07.783" v="91263"/>
            <ac:graphicFrameMkLst>
              <pc:docMk/>
              <pc:sldMasterMk cId="752824537" sldId="2147483840"/>
              <pc:sldLayoutMk cId="3745885597" sldId="2147483847"/>
              <ac:graphicFrameMk id="7" creationId="{44EFA9AF-5D73-4A5C-95AB-BDC831988A6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88" v="91265"/>
          <pc:sldLayoutMkLst>
            <pc:docMk/>
            <pc:sldMasterMk cId="752824537" sldId="2147483840"/>
            <pc:sldLayoutMk cId="366245272" sldId="2147483848"/>
          </pc:sldLayoutMkLst>
          <pc:spChg chg="mod">
            <ac:chgData name="Yudi Zhu" userId="571e1a55-055f-4c28-8b35-fca6dd1c1369" providerId="ADAL" clId="{75A88773-6EE1-484E-AADE-FE631E01463B}" dt="2025-11-21T06:01:52.430" v="55446" actId="948"/>
            <ac:spMkLst>
              <pc:docMk/>
              <pc:sldMasterMk cId="752824537" sldId="2147483840"/>
              <pc:sldLayoutMk cId="366245272" sldId="2147483848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45" v="69973" actId="478"/>
            <ac:spMkLst>
              <pc:docMk/>
              <pc:sldMasterMk cId="752824537" sldId="2147483840"/>
              <pc:sldLayoutMk cId="366245272" sldId="2147483848"/>
              <ac:spMk id="9" creationId="{CD3C8D53-7A1C-FCC3-1A9F-2F6841A67EF5}"/>
            </ac:spMkLst>
          </pc:spChg>
          <pc:graphicFrameChg chg="mod">
            <ac:chgData name="Yudi Zhu" userId="571e1a55-055f-4c28-8b35-fca6dd1c1369" providerId="ADAL" clId="{75A88773-6EE1-484E-AADE-FE631E01463B}" dt="2025-11-21T06:05:07.788" v="91265"/>
            <ac:graphicFrameMkLst>
              <pc:docMk/>
              <pc:sldMasterMk cId="752824537" sldId="2147483840"/>
              <pc:sldLayoutMk cId="366245272" sldId="2147483848"/>
              <ac:graphicFrameMk id="5" creationId="{A60AC594-74DD-41E5-9BEC-4966C0107C5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93" v="91267"/>
          <pc:sldLayoutMkLst>
            <pc:docMk/>
            <pc:sldMasterMk cId="752824537" sldId="2147483840"/>
            <pc:sldLayoutMk cId="3489147382" sldId="2147483849"/>
          </pc:sldLayoutMkLst>
          <pc:spChg chg="mod">
            <ac:chgData name="Yudi Zhu" userId="571e1a55-055f-4c28-8b35-fca6dd1c1369" providerId="ADAL" clId="{75A88773-6EE1-484E-AADE-FE631E01463B}" dt="2025-11-21T06:01:52.464" v="55467" actId="948"/>
            <ac:spMkLst>
              <pc:docMk/>
              <pc:sldMasterMk cId="752824537" sldId="2147483840"/>
              <pc:sldLayoutMk cId="3489147382" sldId="2147483849"/>
              <ac:spMk id="2" creationId="{DAED0189-56B0-1042-BA75-6F7961626E43}"/>
            </ac:spMkLst>
          </pc:spChg>
          <pc:spChg chg="add del mod modVis">
            <ac:chgData name="Yudi Zhu" userId="571e1a55-055f-4c28-8b35-fca6dd1c1369" providerId="ADAL" clId="{75A88773-6EE1-484E-AADE-FE631E01463B}" dt="2025-11-21T06:02:24.349" v="69975" actId="478"/>
            <ac:spMkLst>
              <pc:docMk/>
              <pc:sldMasterMk cId="752824537" sldId="2147483840"/>
              <pc:sldLayoutMk cId="3489147382" sldId="2147483849"/>
              <ac:spMk id="10" creationId="{F668FDB2-6564-DEED-0A05-1B07464E6914}"/>
            </ac:spMkLst>
          </pc:spChg>
          <pc:graphicFrameChg chg="mod">
            <ac:chgData name="Yudi Zhu" userId="571e1a55-055f-4c28-8b35-fca6dd1c1369" providerId="ADAL" clId="{75A88773-6EE1-484E-AADE-FE631E01463B}" dt="2025-11-21T06:05:07.793" v="91267"/>
            <ac:graphicFrameMkLst>
              <pc:docMk/>
              <pc:sldMasterMk cId="752824537" sldId="2147483840"/>
              <pc:sldLayoutMk cId="3489147382" sldId="2147483849"/>
              <ac:graphicFrameMk id="7" creationId="{CB8E99FA-EA61-4A50-84AE-4C4EAD18947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798" v="91269"/>
          <pc:sldLayoutMkLst>
            <pc:docMk/>
            <pc:sldMasterMk cId="752824537" sldId="2147483840"/>
            <pc:sldLayoutMk cId="2153946437" sldId="2147483850"/>
          </pc:sldLayoutMkLst>
          <pc:spChg chg="add del mod modVis">
            <ac:chgData name="Yudi Zhu" userId="571e1a55-055f-4c28-8b35-fca6dd1c1369" providerId="ADAL" clId="{75A88773-6EE1-484E-AADE-FE631E01463B}" dt="2025-11-21T06:02:24.353" v="69977" actId="478"/>
            <ac:spMkLst>
              <pc:docMk/>
              <pc:sldMasterMk cId="752824537" sldId="2147483840"/>
              <pc:sldLayoutMk cId="2153946437" sldId="2147483850"/>
              <ac:spMk id="7" creationId="{88E7E034-25B2-5D40-DA90-09A9CD6A80B2}"/>
            </ac:spMkLst>
          </pc:spChg>
          <pc:spChg chg="mod">
            <ac:chgData name="Yudi Zhu" userId="571e1a55-055f-4c28-8b35-fca6dd1c1369" providerId="ADAL" clId="{75A88773-6EE1-484E-AADE-FE631E01463B}" dt="2025-11-21T06:01:52.498" v="55488" actId="948"/>
            <ac:spMkLst>
              <pc:docMk/>
              <pc:sldMasterMk cId="752824537" sldId="2147483840"/>
              <pc:sldLayoutMk cId="2153946437" sldId="2147483850"/>
              <ac:spMk id="9" creationId="{077DD58C-F691-8349-8D04-9EA40DEFCE8E}"/>
            </ac:spMkLst>
          </pc:spChg>
          <pc:graphicFrameChg chg="mod">
            <ac:chgData name="Yudi Zhu" userId="571e1a55-055f-4c28-8b35-fca6dd1c1369" providerId="ADAL" clId="{75A88773-6EE1-484E-AADE-FE631E01463B}" dt="2025-11-21T06:05:07.798" v="91269"/>
            <ac:graphicFrameMkLst>
              <pc:docMk/>
              <pc:sldMasterMk cId="752824537" sldId="2147483840"/>
              <pc:sldLayoutMk cId="2153946437" sldId="2147483850"/>
              <ac:graphicFrameMk id="4" creationId="{142ADBD7-DF1A-43E7-8670-644A11CBC42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03" v="91271"/>
          <pc:sldLayoutMkLst>
            <pc:docMk/>
            <pc:sldMasterMk cId="752824537" sldId="2147483840"/>
            <pc:sldLayoutMk cId="3451593191" sldId="2147483851"/>
          </pc:sldLayoutMkLst>
          <pc:spChg chg="mod">
            <ac:chgData name="Yudi Zhu" userId="571e1a55-055f-4c28-8b35-fca6dd1c1369" providerId="ADAL" clId="{75A88773-6EE1-484E-AADE-FE631E01463B}" dt="2025-11-21T06:01:52.534" v="55509" actId="948"/>
            <ac:spMkLst>
              <pc:docMk/>
              <pc:sldMasterMk cId="752824537" sldId="2147483840"/>
              <pc:sldLayoutMk cId="3451593191" sldId="2147483851"/>
              <ac:spMk id="9" creationId="{077DD58C-F691-8349-8D04-9EA40DEFCE8E}"/>
            </ac:spMkLst>
          </pc:spChg>
          <pc:spChg chg="add del mod modVis">
            <ac:chgData name="Yudi Zhu" userId="571e1a55-055f-4c28-8b35-fca6dd1c1369" providerId="ADAL" clId="{75A88773-6EE1-484E-AADE-FE631E01463B}" dt="2025-11-21T06:02:24.357" v="69979" actId="478"/>
            <ac:spMkLst>
              <pc:docMk/>
              <pc:sldMasterMk cId="752824537" sldId="2147483840"/>
              <pc:sldLayoutMk cId="3451593191" sldId="2147483851"/>
              <ac:spMk id="10" creationId="{7C5D05B5-3CAF-84BF-5CB8-BF78C103A075}"/>
            </ac:spMkLst>
          </pc:spChg>
          <pc:graphicFrameChg chg="mod">
            <ac:chgData name="Yudi Zhu" userId="571e1a55-055f-4c28-8b35-fca6dd1c1369" providerId="ADAL" clId="{75A88773-6EE1-484E-AADE-FE631E01463B}" dt="2025-11-21T06:05:07.803" v="91271"/>
            <ac:graphicFrameMkLst>
              <pc:docMk/>
              <pc:sldMasterMk cId="752824537" sldId="2147483840"/>
              <pc:sldLayoutMk cId="3451593191" sldId="2147483851"/>
              <ac:graphicFrameMk id="7" creationId="{C1938CA3-0A88-445C-8BD1-B883D6BE39A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08" v="91273"/>
          <pc:sldLayoutMkLst>
            <pc:docMk/>
            <pc:sldMasterMk cId="752824537" sldId="2147483840"/>
            <pc:sldLayoutMk cId="851440049" sldId="2147483852"/>
          </pc:sldLayoutMkLst>
          <pc:spChg chg="mod">
            <ac:chgData name="Yudi Zhu" userId="571e1a55-055f-4c28-8b35-fca6dd1c1369" providerId="ADAL" clId="{75A88773-6EE1-484E-AADE-FE631E01463B}" dt="2025-11-21T06:01:52.569" v="55530" actId="948"/>
            <ac:spMkLst>
              <pc:docMk/>
              <pc:sldMasterMk cId="752824537" sldId="2147483840"/>
              <pc:sldLayoutMk cId="851440049" sldId="2147483852"/>
              <ac:spMk id="9" creationId="{78FEB782-97E7-6B46-98EB-11F9D2031ADB}"/>
            </ac:spMkLst>
          </pc:spChg>
          <pc:spChg chg="add del mod modVis">
            <ac:chgData name="Yudi Zhu" userId="571e1a55-055f-4c28-8b35-fca6dd1c1369" providerId="ADAL" clId="{75A88773-6EE1-484E-AADE-FE631E01463B}" dt="2025-11-21T06:02:24.361" v="69981" actId="478"/>
            <ac:spMkLst>
              <pc:docMk/>
              <pc:sldMasterMk cId="752824537" sldId="2147483840"/>
              <pc:sldLayoutMk cId="851440049" sldId="2147483852"/>
              <ac:spMk id="10" creationId="{C6E3A0D2-93DC-BA96-A692-404D13C00C1C}"/>
            </ac:spMkLst>
          </pc:spChg>
          <pc:graphicFrameChg chg="mod">
            <ac:chgData name="Yudi Zhu" userId="571e1a55-055f-4c28-8b35-fca6dd1c1369" providerId="ADAL" clId="{75A88773-6EE1-484E-AADE-FE631E01463B}" dt="2025-11-21T06:05:07.808" v="91273"/>
            <ac:graphicFrameMkLst>
              <pc:docMk/>
              <pc:sldMasterMk cId="752824537" sldId="2147483840"/>
              <pc:sldLayoutMk cId="851440049" sldId="2147483852"/>
              <ac:graphicFrameMk id="7" creationId="{B6B6FC61-B9D5-4F53-A9F8-80380D75FDC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14" v="91275"/>
          <pc:sldLayoutMkLst>
            <pc:docMk/>
            <pc:sldMasterMk cId="752824537" sldId="2147483840"/>
            <pc:sldLayoutMk cId="1700477919" sldId="2147483853"/>
          </pc:sldLayoutMkLst>
          <pc:spChg chg="add del mod modVis">
            <ac:chgData name="Yudi Zhu" userId="571e1a55-055f-4c28-8b35-fca6dd1c1369" providerId="ADAL" clId="{75A88773-6EE1-484E-AADE-FE631E01463B}" dt="2025-11-21T06:02:24.365" v="69983" actId="478"/>
            <ac:spMkLst>
              <pc:docMk/>
              <pc:sldMasterMk cId="752824537" sldId="2147483840"/>
              <pc:sldLayoutMk cId="1700477919" sldId="2147483853"/>
              <ac:spMk id="7" creationId="{37903BA0-2FF1-2A09-1F5A-82BF4DA11A23}"/>
            </ac:spMkLst>
          </pc:spChg>
          <pc:spChg chg="mod">
            <ac:chgData name="Yudi Zhu" userId="571e1a55-055f-4c28-8b35-fca6dd1c1369" providerId="ADAL" clId="{75A88773-6EE1-484E-AADE-FE631E01463B}" dt="2025-11-21T06:01:52.604" v="55551" actId="948"/>
            <ac:spMkLst>
              <pc:docMk/>
              <pc:sldMasterMk cId="752824537" sldId="2147483840"/>
              <pc:sldLayoutMk cId="1700477919" sldId="2147483853"/>
              <ac:spMk id="9" creationId="{78FEB782-97E7-6B46-98EB-11F9D2031ADB}"/>
            </ac:spMkLst>
          </pc:spChg>
          <pc:graphicFrameChg chg="mod">
            <ac:chgData name="Yudi Zhu" userId="571e1a55-055f-4c28-8b35-fca6dd1c1369" providerId="ADAL" clId="{75A88773-6EE1-484E-AADE-FE631E01463B}" dt="2025-11-21T06:05:07.814" v="91275"/>
            <ac:graphicFrameMkLst>
              <pc:docMk/>
              <pc:sldMasterMk cId="752824537" sldId="2147483840"/>
              <pc:sldLayoutMk cId="1700477919" sldId="2147483853"/>
              <ac:graphicFrameMk id="5" creationId="{2C3F72DE-1E77-4CF8-AB31-BE226257EA4E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19" v="91277"/>
          <pc:sldLayoutMkLst>
            <pc:docMk/>
            <pc:sldMasterMk cId="752824537" sldId="2147483840"/>
            <pc:sldLayoutMk cId="1130647209" sldId="2147483854"/>
          </pc:sldLayoutMkLst>
          <pc:spChg chg="mod">
            <ac:chgData name="Yudi Zhu" userId="571e1a55-055f-4c28-8b35-fca6dd1c1369" providerId="ADAL" clId="{75A88773-6EE1-484E-AADE-FE631E01463B}" dt="2025-11-21T06:01:52.637" v="55572" actId="948"/>
            <ac:spMkLst>
              <pc:docMk/>
              <pc:sldMasterMk cId="752824537" sldId="2147483840"/>
              <pc:sldLayoutMk cId="1130647209" sldId="2147483854"/>
              <ac:spMk id="8" creationId="{EFF4B651-A3DD-164E-A86F-87AAFD959FD9}"/>
            </ac:spMkLst>
          </pc:spChg>
          <pc:spChg chg="add del mod modVis">
            <ac:chgData name="Yudi Zhu" userId="571e1a55-055f-4c28-8b35-fca6dd1c1369" providerId="ADAL" clId="{75A88773-6EE1-484E-AADE-FE631E01463B}" dt="2025-11-21T06:02:24.369" v="69985" actId="478"/>
            <ac:spMkLst>
              <pc:docMk/>
              <pc:sldMasterMk cId="752824537" sldId="2147483840"/>
              <pc:sldLayoutMk cId="1130647209" sldId="2147483854"/>
              <ac:spMk id="12" creationId="{F90AE915-3031-03F8-4FC6-BE7E301B8726}"/>
            </ac:spMkLst>
          </pc:spChg>
          <pc:graphicFrameChg chg="mod">
            <ac:chgData name="Yudi Zhu" userId="571e1a55-055f-4c28-8b35-fca6dd1c1369" providerId="ADAL" clId="{75A88773-6EE1-484E-AADE-FE631E01463B}" dt="2025-11-21T06:05:07.819" v="91277"/>
            <ac:graphicFrameMkLst>
              <pc:docMk/>
              <pc:sldMasterMk cId="752824537" sldId="2147483840"/>
              <pc:sldLayoutMk cId="1130647209" sldId="2147483854"/>
              <ac:graphicFrameMk id="9" creationId="{F198DD6D-4CB4-41B2-A6EB-106DE8DB82F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24" v="91279"/>
          <pc:sldLayoutMkLst>
            <pc:docMk/>
            <pc:sldMasterMk cId="752824537" sldId="2147483840"/>
            <pc:sldLayoutMk cId="1315386867" sldId="2147483855"/>
          </pc:sldLayoutMkLst>
          <pc:spChg chg="mod">
            <ac:chgData name="Yudi Zhu" userId="571e1a55-055f-4c28-8b35-fca6dd1c1369" providerId="ADAL" clId="{75A88773-6EE1-484E-AADE-FE631E01463B}" dt="2025-11-21T06:01:52.670" v="55593" actId="948"/>
            <ac:spMkLst>
              <pc:docMk/>
              <pc:sldMasterMk cId="752824537" sldId="2147483840"/>
              <pc:sldLayoutMk cId="1315386867" sldId="2147483855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4.372" v="69987" actId="478"/>
            <ac:spMkLst>
              <pc:docMk/>
              <pc:sldMasterMk cId="752824537" sldId="2147483840"/>
              <pc:sldLayoutMk cId="1315386867" sldId="2147483855"/>
              <ac:spMk id="12" creationId="{6163419F-2924-16AF-63B2-256647A9573A}"/>
            </ac:spMkLst>
          </pc:spChg>
          <pc:graphicFrameChg chg="mod">
            <ac:chgData name="Yudi Zhu" userId="571e1a55-055f-4c28-8b35-fca6dd1c1369" providerId="ADAL" clId="{75A88773-6EE1-484E-AADE-FE631E01463B}" dt="2025-11-21T06:05:07.824" v="91279"/>
            <ac:graphicFrameMkLst>
              <pc:docMk/>
              <pc:sldMasterMk cId="752824537" sldId="2147483840"/>
              <pc:sldLayoutMk cId="1315386867" sldId="2147483855"/>
              <ac:graphicFrameMk id="9" creationId="{51727105-51C1-4E4A-9888-1325C5102F8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29" v="91281"/>
          <pc:sldLayoutMkLst>
            <pc:docMk/>
            <pc:sldMasterMk cId="752824537" sldId="2147483840"/>
            <pc:sldLayoutMk cId="2441375550" sldId="2147483856"/>
          </pc:sldLayoutMkLst>
          <pc:spChg chg="mod">
            <ac:chgData name="Yudi Zhu" userId="571e1a55-055f-4c28-8b35-fca6dd1c1369" providerId="ADAL" clId="{75A88773-6EE1-484E-AADE-FE631E01463B}" dt="2025-11-21T06:01:52.705" v="55614" actId="948"/>
            <ac:spMkLst>
              <pc:docMk/>
              <pc:sldMasterMk cId="752824537" sldId="2147483840"/>
              <pc:sldLayoutMk cId="2441375550" sldId="2147483856"/>
              <ac:spMk id="8" creationId="{445531C7-4EC9-F140-AF42-1E4B33DE30E0}"/>
            </ac:spMkLst>
          </pc:spChg>
          <pc:spChg chg="add del mod modVis">
            <ac:chgData name="Yudi Zhu" userId="571e1a55-055f-4c28-8b35-fca6dd1c1369" providerId="ADAL" clId="{75A88773-6EE1-484E-AADE-FE631E01463B}" dt="2025-11-21T06:02:24.376" v="69989" actId="478"/>
            <ac:spMkLst>
              <pc:docMk/>
              <pc:sldMasterMk cId="752824537" sldId="2147483840"/>
              <pc:sldLayoutMk cId="2441375550" sldId="2147483856"/>
              <ac:spMk id="12" creationId="{CA963B58-4A87-655A-1DB5-23FF00F6294F}"/>
            </ac:spMkLst>
          </pc:spChg>
          <pc:graphicFrameChg chg="mod">
            <ac:chgData name="Yudi Zhu" userId="571e1a55-055f-4c28-8b35-fca6dd1c1369" providerId="ADAL" clId="{75A88773-6EE1-484E-AADE-FE631E01463B}" dt="2025-11-21T06:05:07.829" v="91281"/>
            <ac:graphicFrameMkLst>
              <pc:docMk/>
              <pc:sldMasterMk cId="752824537" sldId="2147483840"/>
              <pc:sldLayoutMk cId="2441375550" sldId="2147483856"/>
              <ac:graphicFrameMk id="9" creationId="{9EAADC82-591B-490C-B13F-D6EC88661634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34" v="91283"/>
          <pc:sldLayoutMkLst>
            <pc:docMk/>
            <pc:sldMasterMk cId="752824537" sldId="2147483840"/>
            <pc:sldLayoutMk cId="1092763955" sldId="2147483857"/>
          </pc:sldLayoutMkLst>
          <pc:spChg chg="add del mod modVis">
            <ac:chgData name="Yudi Zhu" userId="571e1a55-055f-4c28-8b35-fca6dd1c1369" providerId="ADAL" clId="{75A88773-6EE1-484E-AADE-FE631E01463B}" dt="2025-11-21T06:02:24.380" v="69991" actId="478"/>
            <ac:spMkLst>
              <pc:docMk/>
              <pc:sldMasterMk cId="752824537" sldId="2147483840"/>
              <pc:sldLayoutMk cId="1092763955" sldId="2147483857"/>
              <ac:spMk id="3" creationId="{C36E7436-C565-FF05-DB9D-174162CE36E7}"/>
            </ac:spMkLst>
          </pc:spChg>
          <pc:spChg chg="mod">
            <ac:chgData name="Yudi Zhu" userId="571e1a55-055f-4c28-8b35-fca6dd1c1369" providerId="ADAL" clId="{75A88773-6EE1-484E-AADE-FE631E01463B}" dt="2025-11-21T06:01:52.740" v="55635" actId="948"/>
            <ac:spMkLst>
              <pc:docMk/>
              <pc:sldMasterMk cId="752824537" sldId="2147483840"/>
              <pc:sldLayoutMk cId="1092763955" sldId="2147483857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34" v="91283"/>
            <ac:graphicFrameMkLst>
              <pc:docMk/>
              <pc:sldMasterMk cId="752824537" sldId="2147483840"/>
              <pc:sldLayoutMk cId="1092763955" sldId="2147483857"/>
              <ac:graphicFrameMk id="4" creationId="{F694B70D-DA78-4133-AD7C-9C125CD357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39" v="91285"/>
          <pc:sldLayoutMkLst>
            <pc:docMk/>
            <pc:sldMasterMk cId="752824537" sldId="2147483840"/>
            <pc:sldLayoutMk cId="2663634866" sldId="2147483858"/>
          </pc:sldLayoutMkLst>
          <pc:spChg chg="mod">
            <ac:chgData name="Yudi Zhu" userId="571e1a55-055f-4c28-8b35-fca6dd1c1369" providerId="ADAL" clId="{75A88773-6EE1-484E-AADE-FE631E01463B}" dt="2025-11-21T06:01:52.775" v="55656" actId="948"/>
            <ac:spMkLst>
              <pc:docMk/>
              <pc:sldMasterMk cId="752824537" sldId="2147483840"/>
              <pc:sldLayoutMk cId="2663634866" sldId="2147483858"/>
              <ac:spMk id="2" creationId="{9FCE4FFF-81B3-4CDA-B0A1-3363FFB22A6A}"/>
            </ac:spMkLst>
          </pc:spChg>
          <pc:spChg chg="add del mod modVis">
            <ac:chgData name="Yudi Zhu" userId="571e1a55-055f-4c28-8b35-fca6dd1c1369" providerId="ADAL" clId="{75A88773-6EE1-484E-AADE-FE631E01463B}" dt="2025-11-21T06:02:24.384" v="69993" actId="478"/>
            <ac:spMkLst>
              <pc:docMk/>
              <pc:sldMasterMk cId="752824537" sldId="2147483840"/>
              <pc:sldLayoutMk cId="2663634866" sldId="2147483858"/>
              <ac:spMk id="5" creationId="{C27739CC-9E4F-FB91-5A2E-0FBB0F0E5F24}"/>
            </ac:spMkLst>
          </pc:spChg>
          <pc:graphicFrameChg chg="mod">
            <ac:chgData name="Yudi Zhu" userId="571e1a55-055f-4c28-8b35-fca6dd1c1369" providerId="ADAL" clId="{75A88773-6EE1-484E-AADE-FE631E01463B}" dt="2025-11-21T06:05:07.839" v="91285"/>
            <ac:graphicFrameMkLst>
              <pc:docMk/>
              <pc:sldMasterMk cId="752824537" sldId="2147483840"/>
              <pc:sldLayoutMk cId="2663634866" sldId="2147483858"/>
              <ac:graphicFrameMk id="4" creationId="{B1094371-F322-4EBE-A1DB-90A69D6D0A4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44" v="91287"/>
          <pc:sldLayoutMkLst>
            <pc:docMk/>
            <pc:sldMasterMk cId="752824537" sldId="2147483840"/>
            <pc:sldLayoutMk cId="3756221264" sldId="2147483859"/>
          </pc:sldLayoutMkLst>
          <pc:spChg chg="add del mod modVis">
            <ac:chgData name="Yudi Zhu" userId="571e1a55-055f-4c28-8b35-fca6dd1c1369" providerId="ADAL" clId="{75A88773-6EE1-484E-AADE-FE631E01463B}" dt="2025-11-21T06:02:24.388" v="69995" actId="478"/>
            <ac:spMkLst>
              <pc:docMk/>
              <pc:sldMasterMk cId="752824537" sldId="2147483840"/>
              <pc:sldLayoutMk cId="3756221264" sldId="2147483859"/>
              <ac:spMk id="3" creationId="{6D0F6B40-72FA-2207-C55E-3F8D479D2F24}"/>
            </ac:spMkLst>
          </pc:spChg>
          <pc:spChg chg="mod">
            <ac:chgData name="Yudi Zhu" userId="571e1a55-055f-4c28-8b35-fca6dd1c1369" providerId="ADAL" clId="{75A88773-6EE1-484E-AADE-FE631E01463B}" dt="2025-11-21T06:01:52.806" v="55677" actId="948"/>
            <ac:spMkLst>
              <pc:docMk/>
              <pc:sldMasterMk cId="752824537" sldId="2147483840"/>
              <pc:sldLayoutMk cId="3756221264" sldId="2147483859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44" v="91287"/>
            <ac:graphicFrameMkLst>
              <pc:docMk/>
              <pc:sldMasterMk cId="752824537" sldId="2147483840"/>
              <pc:sldLayoutMk cId="3756221264" sldId="2147483859"/>
              <ac:graphicFrameMk id="4" creationId="{427CE5A4-9DBE-452B-B1A7-06BD6A382B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50" v="91289"/>
          <pc:sldLayoutMkLst>
            <pc:docMk/>
            <pc:sldMasterMk cId="752824537" sldId="2147483840"/>
            <pc:sldLayoutMk cId="3458402030" sldId="2147483860"/>
          </pc:sldLayoutMkLst>
          <pc:spChg chg="mod">
            <ac:chgData name="Yudi Zhu" userId="571e1a55-055f-4c28-8b35-fca6dd1c1369" providerId="ADAL" clId="{75A88773-6EE1-484E-AADE-FE631E01463B}" dt="2025-11-21T06:01:52.841" v="55698" actId="948"/>
            <ac:spMkLst>
              <pc:docMk/>
              <pc:sldMasterMk cId="752824537" sldId="2147483840"/>
              <pc:sldLayoutMk cId="3458402030" sldId="2147483860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391" v="69997" actId="478"/>
            <ac:spMkLst>
              <pc:docMk/>
              <pc:sldMasterMk cId="752824537" sldId="2147483840"/>
              <pc:sldLayoutMk cId="3458402030" sldId="2147483860"/>
              <ac:spMk id="3" creationId="{036DCD3E-14EF-1A55-858D-640F79E417FC}"/>
            </ac:spMkLst>
          </pc:spChg>
          <pc:graphicFrameChg chg="mod">
            <ac:chgData name="Yudi Zhu" userId="571e1a55-055f-4c28-8b35-fca6dd1c1369" providerId="ADAL" clId="{75A88773-6EE1-484E-AADE-FE631E01463B}" dt="2025-11-21T06:05:07.850" v="91289"/>
            <ac:graphicFrameMkLst>
              <pc:docMk/>
              <pc:sldMasterMk cId="752824537" sldId="2147483840"/>
              <pc:sldLayoutMk cId="3458402030" sldId="2147483860"/>
              <ac:graphicFrameMk id="6" creationId="{3C86DF70-975B-49FD-AA3C-9F168629776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55" v="91291"/>
          <pc:sldLayoutMkLst>
            <pc:docMk/>
            <pc:sldMasterMk cId="752824537" sldId="2147483840"/>
            <pc:sldLayoutMk cId="2859550114" sldId="2147483861"/>
          </pc:sldLayoutMkLst>
          <pc:spChg chg="add del mod modVis">
            <ac:chgData name="Yudi Zhu" userId="571e1a55-055f-4c28-8b35-fca6dd1c1369" providerId="ADAL" clId="{75A88773-6EE1-484E-AADE-FE631E01463B}" dt="2025-11-21T06:02:24.394" v="69999" actId="478"/>
            <ac:spMkLst>
              <pc:docMk/>
              <pc:sldMasterMk cId="752824537" sldId="2147483840"/>
              <pc:sldLayoutMk cId="2859550114" sldId="2147483861"/>
              <ac:spMk id="4" creationId="{B13BACFD-A751-1705-F1A2-61F9B5B27E95}"/>
            </ac:spMkLst>
          </pc:spChg>
          <pc:spChg chg="mod">
            <ac:chgData name="Yudi Zhu" userId="571e1a55-055f-4c28-8b35-fca6dd1c1369" providerId="ADAL" clId="{75A88773-6EE1-484E-AADE-FE631E01463B}" dt="2025-11-21T06:01:52.875" v="55719" actId="948"/>
            <ac:spMkLst>
              <pc:docMk/>
              <pc:sldMasterMk cId="752824537" sldId="2147483840"/>
              <pc:sldLayoutMk cId="2859550114" sldId="2147483861"/>
              <ac:spMk id="14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55" v="91291"/>
            <ac:graphicFrameMkLst>
              <pc:docMk/>
              <pc:sldMasterMk cId="752824537" sldId="2147483840"/>
              <pc:sldLayoutMk cId="2859550114" sldId="2147483861"/>
              <ac:graphicFrameMk id="3" creationId="{89BEC3BC-5B52-4AEA-9AE3-4F49A2B41DC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60" v="91293"/>
          <pc:sldLayoutMkLst>
            <pc:docMk/>
            <pc:sldMasterMk cId="752824537" sldId="2147483840"/>
            <pc:sldLayoutMk cId="1698296032" sldId="2147483862"/>
          </pc:sldLayoutMkLst>
          <pc:spChg chg="add del mod modVis">
            <ac:chgData name="Yudi Zhu" userId="571e1a55-055f-4c28-8b35-fca6dd1c1369" providerId="ADAL" clId="{75A88773-6EE1-484E-AADE-FE631E01463B}" dt="2025-11-21T06:02:24.398" v="70001" actId="478"/>
            <ac:spMkLst>
              <pc:docMk/>
              <pc:sldMasterMk cId="752824537" sldId="2147483840"/>
              <pc:sldLayoutMk cId="1698296032" sldId="2147483862"/>
              <ac:spMk id="4" creationId="{51F50F25-1A56-5726-DD93-11F3DBF4E1C7}"/>
            </ac:spMkLst>
          </pc:spChg>
          <pc:spChg chg="mod">
            <ac:chgData name="Yudi Zhu" userId="571e1a55-055f-4c28-8b35-fca6dd1c1369" providerId="ADAL" clId="{75A88773-6EE1-484E-AADE-FE631E01463B}" dt="2025-11-21T06:01:52.908" v="55740" actId="948"/>
            <ac:spMkLst>
              <pc:docMk/>
              <pc:sldMasterMk cId="752824537" sldId="2147483840"/>
              <pc:sldLayoutMk cId="1698296032" sldId="2147483862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60" v="91293"/>
            <ac:graphicFrameMkLst>
              <pc:docMk/>
              <pc:sldMasterMk cId="752824537" sldId="2147483840"/>
              <pc:sldLayoutMk cId="1698296032" sldId="2147483862"/>
              <ac:graphicFrameMk id="3" creationId="{AE36173E-B310-4716-9B29-7C07860DEF5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65" v="91295"/>
          <pc:sldLayoutMkLst>
            <pc:docMk/>
            <pc:sldMasterMk cId="752824537" sldId="2147483840"/>
            <pc:sldLayoutMk cId="3002523971" sldId="2147483863"/>
          </pc:sldLayoutMkLst>
          <pc:spChg chg="add del mod modVis">
            <ac:chgData name="Yudi Zhu" userId="571e1a55-055f-4c28-8b35-fca6dd1c1369" providerId="ADAL" clId="{75A88773-6EE1-484E-AADE-FE631E01463B}" dt="2025-11-21T06:02:24.402" v="70003" actId="478"/>
            <ac:spMkLst>
              <pc:docMk/>
              <pc:sldMasterMk cId="752824537" sldId="2147483840"/>
              <pc:sldLayoutMk cId="3002523971" sldId="2147483863"/>
              <ac:spMk id="4" creationId="{B35411C4-37D0-1413-BFC4-6AAC8A0ADA5A}"/>
            </ac:spMkLst>
          </pc:spChg>
          <pc:spChg chg="mod">
            <ac:chgData name="Yudi Zhu" userId="571e1a55-055f-4c28-8b35-fca6dd1c1369" providerId="ADAL" clId="{75A88773-6EE1-484E-AADE-FE631E01463B}" dt="2025-11-21T06:01:52.942" v="55761" actId="948"/>
            <ac:spMkLst>
              <pc:docMk/>
              <pc:sldMasterMk cId="752824537" sldId="2147483840"/>
              <pc:sldLayoutMk cId="3002523971" sldId="2147483863"/>
              <ac:spMk id="2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65" v="91295"/>
            <ac:graphicFrameMkLst>
              <pc:docMk/>
              <pc:sldMasterMk cId="752824537" sldId="2147483840"/>
              <pc:sldLayoutMk cId="3002523971" sldId="2147483863"/>
              <ac:graphicFrameMk id="3" creationId="{740D9BE4-1868-4C0C-A22A-94A6A325677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74" v="91299"/>
          <pc:sldLayoutMkLst>
            <pc:docMk/>
            <pc:sldMasterMk cId="752824537" sldId="2147483840"/>
            <pc:sldLayoutMk cId="2557247180" sldId="2147483864"/>
          </pc:sldLayoutMkLst>
          <pc:spChg chg="add del mod modVis">
            <ac:chgData name="Yudi Zhu" userId="571e1a55-055f-4c28-8b35-fca6dd1c1369" providerId="ADAL" clId="{75A88773-6EE1-484E-AADE-FE631E01463B}" dt="2025-11-21T06:02:24.411" v="70007" actId="478"/>
            <ac:spMkLst>
              <pc:docMk/>
              <pc:sldMasterMk cId="752824537" sldId="2147483840"/>
              <pc:sldLayoutMk cId="2557247180" sldId="2147483864"/>
              <ac:spMk id="4" creationId="{D6A2C470-17F8-FF36-302A-AA532F6B854D}"/>
            </ac:spMkLst>
          </pc:spChg>
          <pc:spChg chg="mod">
            <ac:chgData name="Yudi Zhu" userId="571e1a55-055f-4c28-8b35-fca6dd1c1369" providerId="ADAL" clId="{75A88773-6EE1-484E-AADE-FE631E01463B}" dt="2025-11-21T06:01:53.009" v="55803" actId="948"/>
            <ac:spMkLst>
              <pc:docMk/>
              <pc:sldMasterMk cId="752824537" sldId="2147483840"/>
              <pc:sldLayoutMk cId="2557247180" sldId="2147483864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74" v="91299"/>
            <ac:graphicFrameMkLst>
              <pc:docMk/>
              <pc:sldMasterMk cId="752824537" sldId="2147483840"/>
              <pc:sldLayoutMk cId="2557247180" sldId="2147483864"/>
              <ac:graphicFrameMk id="3" creationId="{33460BF9-A20F-4BA2-B465-4A56FB77CED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70" v="91297"/>
          <pc:sldLayoutMkLst>
            <pc:docMk/>
            <pc:sldMasterMk cId="752824537" sldId="2147483840"/>
            <pc:sldLayoutMk cId="3041281718" sldId="2147483865"/>
          </pc:sldLayoutMkLst>
          <pc:spChg chg="add del mod modVis">
            <ac:chgData name="Yudi Zhu" userId="571e1a55-055f-4c28-8b35-fca6dd1c1369" providerId="ADAL" clId="{75A88773-6EE1-484E-AADE-FE631E01463B}" dt="2025-11-21T06:02:24.407" v="70005" actId="478"/>
            <ac:spMkLst>
              <pc:docMk/>
              <pc:sldMasterMk cId="752824537" sldId="2147483840"/>
              <pc:sldLayoutMk cId="3041281718" sldId="2147483865"/>
              <ac:spMk id="4" creationId="{A4D055DE-4CD6-C778-6BAD-9D3E0321E381}"/>
            </ac:spMkLst>
          </pc:spChg>
          <pc:spChg chg="mod">
            <ac:chgData name="Yudi Zhu" userId="571e1a55-055f-4c28-8b35-fca6dd1c1369" providerId="ADAL" clId="{75A88773-6EE1-484E-AADE-FE631E01463B}" dt="2025-11-21T06:01:52.977" v="55782" actId="948"/>
            <ac:spMkLst>
              <pc:docMk/>
              <pc:sldMasterMk cId="752824537" sldId="2147483840"/>
              <pc:sldLayoutMk cId="3041281718" sldId="2147483865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70" v="91297"/>
            <ac:graphicFrameMkLst>
              <pc:docMk/>
              <pc:sldMasterMk cId="752824537" sldId="2147483840"/>
              <pc:sldLayoutMk cId="3041281718" sldId="2147483865"/>
              <ac:graphicFrameMk id="3" creationId="{21B8B3E8-71F9-4C0F-A77C-14E2A550B00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81" v="91301"/>
          <pc:sldLayoutMkLst>
            <pc:docMk/>
            <pc:sldMasterMk cId="752824537" sldId="2147483840"/>
            <pc:sldLayoutMk cId="1474902236" sldId="2147483866"/>
          </pc:sldLayoutMkLst>
          <pc:spChg chg="add del mod modVis">
            <ac:chgData name="Yudi Zhu" userId="571e1a55-055f-4c28-8b35-fca6dd1c1369" providerId="ADAL" clId="{75A88773-6EE1-484E-AADE-FE631E01463B}" dt="2025-11-21T06:02:24.415" v="70009" actId="478"/>
            <ac:spMkLst>
              <pc:docMk/>
              <pc:sldMasterMk cId="752824537" sldId="2147483840"/>
              <pc:sldLayoutMk cId="1474902236" sldId="2147483866"/>
              <ac:spMk id="4" creationId="{35462235-EEBF-52F5-9A48-A0771AAA0983}"/>
            </ac:spMkLst>
          </pc:spChg>
          <pc:spChg chg="mod">
            <ac:chgData name="Yudi Zhu" userId="571e1a55-055f-4c28-8b35-fca6dd1c1369" providerId="ADAL" clId="{75A88773-6EE1-484E-AADE-FE631E01463B}" dt="2025-11-21T06:01:53.046" v="55824" actId="948"/>
            <ac:spMkLst>
              <pc:docMk/>
              <pc:sldMasterMk cId="752824537" sldId="2147483840"/>
              <pc:sldLayoutMk cId="1474902236" sldId="2147483866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81" v="91301"/>
            <ac:graphicFrameMkLst>
              <pc:docMk/>
              <pc:sldMasterMk cId="752824537" sldId="2147483840"/>
              <pc:sldLayoutMk cId="1474902236" sldId="2147483866"/>
              <ac:graphicFrameMk id="3" creationId="{BE3A7B4D-95CD-4AE1-AE8D-43D3327B7DD8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90" v="91303"/>
          <pc:sldLayoutMkLst>
            <pc:docMk/>
            <pc:sldMasterMk cId="752824537" sldId="2147483840"/>
            <pc:sldLayoutMk cId="861415591" sldId="2147483867"/>
          </pc:sldLayoutMkLst>
          <pc:spChg chg="add del mod modVis">
            <ac:chgData name="Yudi Zhu" userId="571e1a55-055f-4c28-8b35-fca6dd1c1369" providerId="ADAL" clId="{75A88773-6EE1-484E-AADE-FE631E01463B}" dt="2025-11-21T06:02:24.418" v="70011" actId="478"/>
            <ac:spMkLst>
              <pc:docMk/>
              <pc:sldMasterMk cId="752824537" sldId="2147483840"/>
              <pc:sldLayoutMk cId="861415591" sldId="2147483867"/>
              <ac:spMk id="4" creationId="{2FD37387-3C8C-2826-C904-FA60300D4F1B}"/>
            </ac:spMkLst>
          </pc:spChg>
          <pc:spChg chg="mod">
            <ac:chgData name="Yudi Zhu" userId="571e1a55-055f-4c28-8b35-fca6dd1c1369" providerId="ADAL" clId="{75A88773-6EE1-484E-AADE-FE631E01463B}" dt="2025-11-21T06:01:53.082" v="55845" actId="948"/>
            <ac:spMkLst>
              <pc:docMk/>
              <pc:sldMasterMk cId="752824537" sldId="2147483840"/>
              <pc:sldLayoutMk cId="861415591" sldId="2147483867"/>
              <ac:spMk id="1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90" v="91303"/>
            <ac:graphicFrameMkLst>
              <pc:docMk/>
              <pc:sldMasterMk cId="752824537" sldId="2147483840"/>
              <pc:sldLayoutMk cId="861415591" sldId="2147483867"/>
              <ac:graphicFrameMk id="3" creationId="{1FF3201F-7543-4E9D-BD53-2057C237D0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01" v="91307"/>
          <pc:sldLayoutMkLst>
            <pc:docMk/>
            <pc:sldMasterMk cId="752824537" sldId="2147483840"/>
            <pc:sldLayoutMk cId="2888366555" sldId="2147483868"/>
          </pc:sldLayoutMkLst>
          <pc:spChg chg="mod">
            <ac:chgData name="Yudi Zhu" userId="571e1a55-055f-4c28-8b35-fca6dd1c1369" providerId="ADAL" clId="{75A88773-6EE1-484E-AADE-FE631E01463B}" dt="2025-11-21T06:01:53.150" v="55887" actId="948"/>
            <ac:spMkLst>
              <pc:docMk/>
              <pc:sldMasterMk cId="752824537" sldId="2147483840"/>
              <pc:sldLayoutMk cId="2888366555" sldId="2147483868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425" v="70015" actId="478"/>
            <ac:spMkLst>
              <pc:docMk/>
              <pc:sldMasterMk cId="752824537" sldId="2147483840"/>
              <pc:sldLayoutMk cId="2888366555" sldId="2147483868"/>
              <ac:spMk id="5" creationId="{2D6FF424-FF15-4F40-4151-97E8A0B1D061}"/>
            </ac:spMkLst>
          </pc:spChg>
          <pc:graphicFrameChg chg="mod">
            <ac:chgData name="Yudi Zhu" userId="571e1a55-055f-4c28-8b35-fca6dd1c1369" providerId="ADAL" clId="{75A88773-6EE1-484E-AADE-FE631E01463B}" dt="2025-11-21T06:05:07.901" v="91307"/>
            <ac:graphicFrameMkLst>
              <pc:docMk/>
              <pc:sldMasterMk cId="752824537" sldId="2147483840"/>
              <pc:sldLayoutMk cId="2888366555" sldId="2147483868"/>
              <ac:graphicFrameMk id="4" creationId="{7CC96504-3966-4B1D-97BC-EDBCCA68DEE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895" v="91305"/>
          <pc:sldLayoutMkLst>
            <pc:docMk/>
            <pc:sldMasterMk cId="752824537" sldId="2147483840"/>
            <pc:sldLayoutMk cId="3036424991" sldId="2147483869"/>
          </pc:sldLayoutMkLst>
          <pc:spChg chg="add del mod modVis">
            <ac:chgData name="Yudi Zhu" userId="571e1a55-055f-4c28-8b35-fca6dd1c1369" providerId="ADAL" clId="{75A88773-6EE1-484E-AADE-FE631E01463B}" dt="2025-11-21T06:02:24.421" v="70013" actId="478"/>
            <ac:spMkLst>
              <pc:docMk/>
              <pc:sldMasterMk cId="752824537" sldId="2147483840"/>
              <pc:sldLayoutMk cId="3036424991" sldId="2147483869"/>
              <ac:spMk id="4" creationId="{9A2F317B-DDF1-E0AE-CD9A-E9073F1BD6CE}"/>
            </ac:spMkLst>
          </pc:spChg>
          <pc:spChg chg="mod">
            <ac:chgData name="Yudi Zhu" userId="571e1a55-055f-4c28-8b35-fca6dd1c1369" providerId="ADAL" clId="{75A88773-6EE1-484E-AADE-FE631E01463B}" dt="2025-11-21T06:01:53.116" v="55866" actId="948"/>
            <ac:spMkLst>
              <pc:docMk/>
              <pc:sldMasterMk cId="752824537" sldId="2147483840"/>
              <pc:sldLayoutMk cId="3036424991" sldId="2147483869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895" v="91305"/>
            <ac:graphicFrameMkLst>
              <pc:docMk/>
              <pc:sldMasterMk cId="752824537" sldId="2147483840"/>
              <pc:sldLayoutMk cId="3036424991" sldId="2147483869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05" v="91309"/>
          <pc:sldLayoutMkLst>
            <pc:docMk/>
            <pc:sldMasterMk cId="752824537" sldId="2147483840"/>
            <pc:sldLayoutMk cId="2133933631" sldId="2147483870"/>
          </pc:sldLayoutMkLst>
          <pc:spChg chg="add del mod modVis">
            <ac:chgData name="Yudi Zhu" userId="571e1a55-055f-4c28-8b35-fca6dd1c1369" providerId="ADAL" clId="{75A88773-6EE1-484E-AADE-FE631E01463B}" dt="2025-11-21T06:02:24.429" v="70017" actId="478"/>
            <ac:spMkLst>
              <pc:docMk/>
              <pc:sldMasterMk cId="752824537" sldId="2147483840"/>
              <pc:sldLayoutMk cId="2133933631" sldId="2147483870"/>
              <ac:spMk id="4" creationId="{BB5C07D0-145D-A112-9715-72A86D127318}"/>
            </ac:spMkLst>
          </pc:spChg>
          <pc:spChg chg="mod">
            <ac:chgData name="Yudi Zhu" userId="571e1a55-055f-4c28-8b35-fca6dd1c1369" providerId="ADAL" clId="{75A88773-6EE1-484E-AADE-FE631E01463B}" dt="2025-11-21T06:01:53.184" v="55908" actId="948"/>
            <ac:spMkLst>
              <pc:docMk/>
              <pc:sldMasterMk cId="752824537" sldId="2147483840"/>
              <pc:sldLayoutMk cId="2133933631" sldId="2147483870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05" v="91309"/>
            <ac:graphicFrameMkLst>
              <pc:docMk/>
              <pc:sldMasterMk cId="752824537" sldId="2147483840"/>
              <pc:sldLayoutMk cId="2133933631" sldId="2147483870"/>
              <ac:graphicFrameMk id="3" creationId="{97663192-C1D4-47D8-9B83-FA528821B9F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10" v="91311"/>
          <pc:sldLayoutMkLst>
            <pc:docMk/>
            <pc:sldMasterMk cId="752824537" sldId="2147483840"/>
            <pc:sldLayoutMk cId="541219053" sldId="2147483871"/>
          </pc:sldLayoutMkLst>
          <pc:spChg chg="add del mod modVis">
            <ac:chgData name="Yudi Zhu" userId="571e1a55-055f-4c28-8b35-fca6dd1c1369" providerId="ADAL" clId="{75A88773-6EE1-484E-AADE-FE631E01463B}" dt="2025-11-21T06:02:24.432" v="70019" actId="478"/>
            <ac:spMkLst>
              <pc:docMk/>
              <pc:sldMasterMk cId="752824537" sldId="2147483840"/>
              <pc:sldLayoutMk cId="541219053" sldId="2147483871"/>
              <ac:spMk id="4" creationId="{81ECB8C3-BEED-5F00-094D-A22FE804A3E2}"/>
            </ac:spMkLst>
          </pc:spChg>
          <pc:spChg chg="mod">
            <ac:chgData name="Yudi Zhu" userId="571e1a55-055f-4c28-8b35-fca6dd1c1369" providerId="ADAL" clId="{75A88773-6EE1-484E-AADE-FE631E01463B}" dt="2025-11-21T06:01:53.221" v="55929" actId="948"/>
            <ac:spMkLst>
              <pc:docMk/>
              <pc:sldMasterMk cId="752824537" sldId="2147483840"/>
              <pc:sldLayoutMk cId="541219053" sldId="2147483871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10" v="91311"/>
            <ac:graphicFrameMkLst>
              <pc:docMk/>
              <pc:sldMasterMk cId="752824537" sldId="2147483840"/>
              <pc:sldLayoutMk cId="541219053" sldId="2147483871"/>
              <ac:graphicFrameMk id="3" creationId="{056CA221-254A-4377-A964-767461649C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20" v="91315"/>
          <pc:sldLayoutMkLst>
            <pc:docMk/>
            <pc:sldMasterMk cId="752824537" sldId="2147483840"/>
            <pc:sldLayoutMk cId="3392954520" sldId="2147483872"/>
          </pc:sldLayoutMkLst>
          <pc:spChg chg="add del mod modVis">
            <ac:chgData name="Yudi Zhu" userId="571e1a55-055f-4c28-8b35-fca6dd1c1369" providerId="ADAL" clId="{75A88773-6EE1-484E-AADE-FE631E01463B}" dt="2025-11-21T06:02:24.440" v="70023" actId="478"/>
            <ac:spMkLst>
              <pc:docMk/>
              <pc:sldMasterMk cId="752824537" sldId="2147483840"/>
              <pc:sldLayoutMk cId="3392954520" sldId="2147483872"/>
              <ac:spMk id="4" creationId="{EF057A2A-BA50-2AC9-74DF-9C6D2250B567}"/>
            </ac:spMkLst>
          </pc:spChg>
          <pc:spChg chg="mod">
            <ac:chgData name="Yudi Zhu" userId="571e1a55-055f-4c28-8b35-fca6dd1c1369" providerId="ADAL" clId="{75A88773-6EE1-484E-AADE-FE631E01463B}" dt="2025-11-21T06:01:53.295" v="55971" actId="948"/>
            <ac:spMkLst>
              <pc:docMk/>
              <pc:sldMasterMk cId="752824537" sldId="2147483840"/>
              <pc:sldLayoutMk cId="3392954520" sldId="2147483872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20" v="91315"/>
            <ac:graphicFrameMkLst>
              <pc:docMk/>
              <pc:sldMasterMk cId="752824537" sldId="2147483840"/>
              <pc:sldLayoutMk cId="3392954520" sldId="2147483872"/>
              <ac:graphicFrameMk id="3" creationId="{E2189FA9-37D4-48A4-87E0-F2517B31D7D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15" v="91313"/>
          <pc:sldLayoutMkLst>
            <pc:docMk/>
            <pc:sldMasterMk cId="752824537" sldId="2147483840"/>
            <pc:sldLayoutMk cId="948603576" sldId="2147483873"/>
          </pc:sldLayoutMkLst>
          <pc:spChg chg="add del mod modVis">
            <ac:chgData name="Yudi Zhu" userId="571e1a55-055f-4c28-8b35-fca6dd1c1369" providerId="ADAL" clId="{75A88773-6EE1-484E-AADE-FE631E01463B}" dt="2025-11-21T06:02:24.436" v="70021" actId="478"/>
            <ac:spMkLst>
              <pc:docMk/>
              <pc:sldMasterMk cId="752824537" sldId="2147483840"/>
              <pc:sldLayoutMk cId="948603576" sldId="2147483873"/>
              <ac:spMk id="4" creationId="{195C72B5-45CD-3761-7579-FA06C6166DFB}"/>
            </ac:spMkLst>
          </pc:spChg>
          <pc:spChg chg="mod">
            <ac:chgData name="Yudi Zhu" userId="571e1a55-055f-4c28-8b35-fca6dd1c1369" providerId="ADAL" clId="{75A88773-6EE1-484E-AADE-FE631E01463B}" dt="2025-11-21T06:01:53.256" v="55950" actId="948"/>
            <ac:spMkLst>
              <pc:docMk/>
              <pc:sldMasterMk cId="752824537" sldId="2147483840"/>
              <pc:sldLayoutMk cId="948603576" sldId="2147483873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15" v="91313"/>
            <ac:graphicFrameMkLst>
              <pc:docMk/>
              <pc:sldMasterMk cId="752824537" sldId="2147483840"/>
              <pc:sldLayoutMk cId="948603576" sldId="2147483873"/>
              <ac:graphicFrameMk id="3" creationId="{C456CDC6-32B5-4797-86DC-72C5A4B6B5F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25" v="91317"/>
          <pc:sldLayoutMkLst>
            <pc:docMk/>
            <pc:sldMasterMk cId="752824537" sldId="2147483840"/>
            <pc:sldLayoutMk cId="3522572062" sldId="2147483874"/>
          </pc:sldLayoutMkLst>
          <pc:spChg chg="add del mod modVis">
            <ac:chgData name="Yudi Zhu" userId="571e1a55-055f-4c28-8b35-fca6dd1c1369" providerId="ADAL" clId="{75A88773-6EE1-484E-AADE-FE631E01463B}" dt="2025-11-21T06:02:24.444" v="70025" actId="478"/>
            <ac:spMkLst>
              <pc:docMk/>
              <pc:sldMasterMk cId="752824537" sldId="2147483840"/>
              <pc:sldLayoutMk cId="3522572062" sldId="2147483874"/>
              <ac:spMk id="4" creationId="{60ADA1CA-E773-F18A-9044-BC6F78D4791F}"/>
            </ac:spMkLst>
          </pc:spChg>
          <pc:spChg chg="mod">
            <ac:chgData name="Yudi Zhu" userId="571e1a55-055f-4c28-8b35-fca6dd1c1369" providerId="ADAL" clId="{75A88773-6EE1-484E-AADE-FE631E01463B}" dt="2025-11-21T06:01:53.329" v="55992" actId="948"/>
            <ac:spMkLst>
              <pc:docMk/>
              <pc:sldMasterMk cId="752824537" sldId="2147483840"/>
              <pc:sldLayoutMk cId="3522572062" sldId="2147483874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25" v="91317"/>
            <ac:graphicFrameMkLst>
              <pc:docMk/>
              <pc:sldMasterMk cId="752824537" sldId="2147483840"/>
              <pc:sldLayoutMk cId="3522572062" sldId="2147483874"/>
              <ac:graphicFrameMk id="3" creationId="{4099332F-3EDF-4319-AC87-D52E3339183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36" v="91321"/>
          <pc:sldLayoutMkLst>
            <pc:docMk/>
            <pc:sldMasterMk cId="752824537" sldId="2147483840"/>
            <pc:sldLayoutMk cId="2565983557" sldId="2147483875"/>
          </pc:sldLayoutMkLst>
          <pc:spChg chg="add del mod modVis">
            <ac:chgData name="Yudi Zhu" userId="571e1a55-055f-4c28-8b35-fca6dd1c1369" providerId="ADAL" clId="{75A88773-6EE1-484E-AADE-FE631E01463B}" dt="2025-11-21T06:02:24.451" v="70029" actId="478"/>
            <ac:spMkLst>
              <pc:docMk/>
              <pc:sldMasterMk cId="752824537" sldId="2147483840"/>
              <pc:sldLayoutMk cId="2565983557" sldId="2147483875"/>
              <ac:spMk id="3" creationId="{A9C4EE8C-C4DE-EAF6-C472-56D4DD79CB3A}"/>
            </ac:spMkLst>
          </pc:spChg>
          <pc:spChg chg="mod">
            <ac:chgData name="Yudi Zhu" userId="571e1a55-055f-4c28-8b35-fca6dd1c1369" providerId="ADAL" clId="{75A88773-6EE1-484E-AADE-FE631E01463B}" dt="2025-11-21T06:01:53.401" v="56034" actId="948"/>
            <ac:spMkLst>
              <pc:docMk/>
              <pc:sldMasterMk cId="752824537" sldId="2147483840"/>
              <pc:sldLayoutMk cId="2565983557" sldId="2147483875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36" v="91321"/>
            <ac:graphicFrameMkLst>
              <pc:docMk/>
              <pc:sldMasterMk cId="752824537" sldId="2147483840"/>
              <pc:sldLayoutMk cId="2565983557" sldId="2147483875"/>
              <ac:graphicFrameMk id="5" creationId="{7A1DDBE9-65FD-4988-9128-A621DD77E9D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30" v="91319"/>
          <pc:sldLayoutMkLst>
            <pc:docMk/>
            <pc:sldMasterMk cId="752824537" sldId="2147483840"/>
            <pc:sldLayoutMk cId="3685559792" sldId="2147483876"/>
          </pc:sldLayoutMkLst>
          <pc:spChg chg="add del mod modVis">
            <ac:chgData name="Yudi Zhu" userId="571e1a55-055f-4c28-8b35-fca6dd1c1369" providerId="ADAL" clId="{75A88773-6EE1-484E-AADE-FE631E01463B}" dt="2025-11-21T06:02:24.447" v="70027" actId="478"/>
            <ac:spMkLst>
              <pc:docMk/>
              <pc:sldMasterMk cId="752824537" sldId="2147483840"/>
              <pc:sldLayoutMk cId="3685559792" sldId="2147483876"/>
              <ac:spMk id="3" creationId="{8F8C38D3-6307-53B0-9C56-D6A90E349631}"/>
            </ac:spMkLst>
          </pc:spChg>
          <pc:spChg chg="mod">
            <ac:chgData name="Yudi Zhu" userId="571e1a55-055f-4c28-8b35-fca6dd1c1369" providerId="ADAL" clId="{75A88773-6EE1-484E-AADE-FE631E01463B}" dt="2025-11-21T06:01:53.364" v="56013" actId="948"/>
            <ac:spMkLst>
              <pc:docMk/>
              <pc:sldMasterMk cId="752824537" sldId="2147483840"/>
              <pc:sldLayoutMk cId="3685559792" sldId="2147483876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30" v="91319"/>
            <ac:graphicFrameMkLst>
              <pc:docMk/>
              <pc:sldMasterMk cId="752824537" sldId="2147483840"/>
              <pc:sldLayoutMk cId="3685559792" sldId="2147483876"/>
              <ac:graphicFrameMk id="4" creationId="{D4DD5D8F-9E57-4422-B165-49B0B98E4E2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41" v="91323"/>
          <pc:sldLayoutMkLst>
            <pc:docMk/>
            <pc:sldMasterMk cId="752824537" sldId="2147483840"/>
            <pc:sldLayoutMk cId="1070587085" sldId="2147483877"/>
          </pc:sldLayoutMkLst>
          <pc:graphicFrameChg chg="mod">
            <ac:chgData name="Yudi Zhu" userId="571e1a55-055f-4c28-8b35-fca6dd1c1369" providerId="ADAL" clId="{75A88773-6EE1-484E-AADE-FE631E01463B}" dt="2025-11-21T06:05:07.941" v="91323"/>
            <ac:graphicFrameMkLst>
              <pc:docMk/>
              <pc:sldMasterMk cId="752824537" sldId="2147483840"/>
              <pc:sldLayoutMk cId="1070587085" sldId="2147483877"/>
              <ac:graphicFrameMk id="2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46" v="91325"/>
          <pc:sldLayoutMkLst>
            <pc:docMk/>
            <pc:sldMasterMk cId="752824537" sldId="2147483840"/>
            <pc:sldLayoutMk cId="4246965256" sldId="2147483878"/>
          </pc:sldLayoutMkLst>
          <pc:spChg chg="add del mod modVis">
            <ac:chgData name="Yudi Zhu" userId="571e1a55-055f-4c28-8b35-fca6dd1c1369" providerId="ADAL" clId="{75A88773-6EE1-484E-AADE-FE631E01463B}" dt="2025-11-21T06:02:24.458" v="70032" actId="478"/>
            <ac:spMkLst>
              <pc:docMk/>
              <pc:sldMasterMk cId="752824537" sldId="2147483840"/>
              <pc:sldLayoutMk cId="4246965256" sldId="2147483878"/>
              <ac:spMk id="2" creationId="{8C6AF3B7-424D-A6DA-6503-3368768E9AB0}"/>
            </ac:spMkLst>
          </pc:spChg>
          <pc:spChg chg="mod">
            <ac:chgData name="Yudi Zhu" userId="571e1a55-055f-4c28-8b35-fca6dd1c1369" providerId="ADAL" clId="{75A88773-6EE1-484E-AADE-FE631E01463B}" dt="2025-11-21T06:01:53.437" v="56055" actId="948"/>
            <ac:spMkLst>
              <pc:docMk/>
              <pc:sldMasterMk cId="752824537" sldId="2147483840"/>
              <pc:sldLayoutMk cId="4246965256" sldId="2147483878"/>
              <ac:spMk id="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46" v="91325"/>
            <ac:graphicFrameMkLst>
              <pc:docMk/>
              <pc:sldMasterMk cId="752824537" sldId="2147483840"/>
              <pc:sldLayoutMk cId="4246965256" sldId="2147483878"/>
              <ac:graphicFrameMk id="6" creationId="{F24234DD-8906-4B2C-86B2-FC42EE7D18F2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51" v="91327"/>
          <pc:sldLayoutMkLst>
            <pc:docMk/>
            <pc:sldMasterMk cId="752824537" sldId="2147483840"/>
            <pc:sldLayoutMk cId="3862274584" sldId="2147483879"/>
          </pc:sldLayoutMkLst>
          <pc:graphicFrameChg chg="mod">
            <ac:chgData name="Yudi Zhu" userId="571e1a55-055f-4c28-8b35-fca6dd1c1369" providerId="ADAL" clId="{75A88773-6EE1-484E-AADE-FE631E01463B}" dt="2025-11-21T06:05:07.951" v="91327"/>
            <ac:graphicFrameMkLst>
              <pc:docMk/>
              <pc:sldMasterMk cId="752824537" sldId="2147483840"/>
              <pc:sldLayoutMk cId="3862274584" sldId="2147483879"/>
              <ac:graphicFrameMk id="2" creationId="{4E8F715B-D22C-49C6-B3AC-D5F1AA2959AE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56" v="91329"/>
          <pc:sldLayoutMkLst>
            <pc:docMk/>
            <pc:sldMasterMk cId="752824537" sldId="2147483840"/>
            <pc:sldLayoutMk cId="1901370776" sldId="2147483880"/>
          </pc:sldLayoutMkLst>
          <pc:graphicFrameChg chg="mod">
            <ac:chgData name="Yudi Zhu" userId="571e1a55-055f-4c28-8b35-fca6dd1c1369" providerId="ADAL" clId="{75A88773-6EE1-484E-AADE-FE631E01463B}" dt="2025-11-21T06:05:07.956" v="91329"/>
            <ac:graphicFrameMkLst>
              <pc:docMk/>
              <pc:sldMasterMk cId="752824537" sldId="2147483840"/>
              <pc:sldLayoutMk cId="1901370776" sldId="2147483880"/>
              <ac:graphicFrameMk id="3" creationId="{654A8F4E-CFF1-4233-9249-84E4C229A9C1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61" v="91331"/>
          <pc:sldLayoutMkLst>
            <pc:docMk/>
            <pc:sldMasterMk cId="752824537" sldId="2147483840"/>
            <pc:sldLayoutMk cId="2255055805" sldId="2147483881"/>
          </pc:sldLayoutMkLst>
          <pc:graphicFrameChg chg="mod">
            <ac:chgData name="Yudi Zhu" userId="571e1a55-055f-4c28-8b35-fca6dd1c1369" providerId="ADAL" clId="{75A88773-6EE1-484E-AADE-FE631E01463B}" dt="2025-11-21T06:05:07.961" v="91331"/>
            <ac:graphicFrameMkLst>
              <pc:docMk/>
              <pc:sldMasterMk cId="752824537" sldId="2147483840"/>
              <pc:sldLayoutMk cId="2255055805" sldId="2147483881"/>
              <ac:graphicFrameMk id="3" creationId="{BA148DDD-B54A-42E3-A874-08D6674E359D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66" v="91333"/>
          <pc:sldLayoutMkLst>
            <pc:docMk/>
            <pc:sldMasterMk cId="752824537" sldId="2147483840"/>
            <pc:sldLayoutMk cId="1934017766" sldId="2147483882"/>
          </pc:sldLayoutMkLst>
          <pc:graphicFrameChg chg="mod">
            <ac:chgData name="Yudi Zhu" userId="571e1a55-055f-4c28-8b35-fca6dd1c1369" providerId="ADAL" clId="{75A88773-6EE1-484E-AADE-FE631E01463B}" dt="2025-11-21T06:05:07.966" v="91333"/>
            <ac:graphicFrameMkLst>
              <pc:docMk/>
              <pc:sldMasterMk cId="752824537" sldId="2147483840"/>
              <pc:sldLayoutMk cId="1934017766" sldId="2147483882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7.971" v="91335"/>
          <pc:sldLayoutMkLst>
            <pc:docMk/>
            <pc:sldMasterMk cId="752824537" sldId="2147483840"/>
            <pc:sldLayoutMk cId="54424294" sldId="2147483883"/>
          </pc:sldLayoutMkLst>
          <pc:graphicFrameChg chg="mod">
            <ac:chgData name="Yudi Zhu" userId="571e1a55-055f-4c28-8b35-fca6dd1c1369" providerId="ADAL" clId="{75A88773-6EE1-484E-AADE-FE631E01463B}" dt="2025-11-21T06:05:07.971" v="91335"/>
            <ac:graphicFrameMkLst>
              <pc:docMk/>
              <pc:sldMasterMk cId="752824537" sldId="2147483840"/>
              <pc:sldLayoutMk cId="54424294" sldId="2147483883"/>
              <ac:graphicFrameMk id="3" creationId="{099B63DB-FE12-4864-AD4A-41FDE6A896F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76" v="91337"/>
          <pc:sldLayoutMkLst>
            <pc:docMk/>
            <pc:sldMasterMk cId="752824537" sldId="2147483840"/>
            <pc:sldLayoutMk cId="277909291" sldId="2147483884"/>
          </pc:sldLayoutMkLst>
          <pc:spChg chg="add del mod modVis">
            <ac:chgData name="Yudi Zhu" userId="571e1a55-055f-4c28-8b35-fca6dd1c1369" providerId="ADAL" clId="{75A88773-6EE1-484E-AADE-FE631E01463B}" dt="2025-11-21T06:02:24.478" v="70039" actId="478"/>
            <ac:spMkLst>
              <pc:docMk/>
              <pc:sldMasterMk cId="752824537" sldId="2147483840"/>
              <pc:sldLayoutMk cId="277909291" sldId="2147483884"/>
              <ac:spMk id="5" creationId="{4CE62C34-8AA5-8EEF-3CD8-AE562CEA14A7}"/>
            </ac:spMkLst>
          </pc:spChg>
          <pc:spChg chg="mod">
            <ac:chgData name="Yudi Zhu" userId="571e1a55-055f-4c28-8b35-fca6dd1c1369" providerId="ADAL" clId="{75A88773-6EE1-484E-AADE-FE631E01463B}" dt="2025-11-21T06:01:53.477" v="56076" actId="948"/>
            <ac:spMkLst>
              <pc:docMk/>
              <pc:sldMasterMk cId="752824537" sldId="2147483840"/>
              <pc:sldLayoutMk cId="277909291" sldId="2147483884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7.976" v="91337"/>
            <ac:graphicFrameMkLst>
              <pc:docMk/>
              <pc:sldMasterMk cId="752824537" sldId="2147483840"/>
              <pc:sldLayoutMk cId="277909291" sldId="2147483884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88" v="91341"/>
          <pc:sldLayoutMkLst>
            <pc:docMk/>
            <pc:sldMasterMk cId="752824537" sldId="2147483840"/>
            <pc:sldLayoutMk cId="1473699782" sldId="2147483885"/>
          </pc:sldLayoutMkLst>
          <pc:spChg chg="add del mod modVis">
            <ac:chgData name="Yudi Zhu" userId="571e1a55-055f-4c28-8b35-fca6dd1c1369" providerId="ADAL" clId="{75A88773-6EE1-484E-AADE-FE631E01463B}" dt="2025-11-21T06:02:24.485" v="70043" actId="478"/>
            <ac:spMkLst>
              <pc:docMk/>
              <pc:sldMasterMk cId="752824537" sldId="2147483840"/>
              <pc:sldLayoutMk cId="1473699782" sldId="2147483885"/>
              <ac:spMk id="4" creationId="{5763CB4F-1F52-0FF2-D495-2D065EA21164}"/>
            </ac:spMkLst>
          </pc:spChg>
          <pc:spChg chg="mod">
            <ac:chgData name="Yudi Zhu" userId="571e1a55-055f-4c28-8b35-fca6dd1c1369" providerId="ADAL" clId="{75A88773-6EE1-484E-AADE-FE631E01463B}" dt="2025-11-21T06:01:53.545" v="56118" actId="948"/>
            <ac:spMkLst>
              <pc:docMk/>
              <pc:sldMasterMk cId="752824537" sldId="2147483840"/>
              <pc:sldLayoutMk cId="1473699782" sldId="2147483885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88" v="91341"/>
            <ac:graphicFrameMkLst>
              <pc:docMk/>
              <pc:sldMasterMk cId="752824537" sldId="2147483840"/>
              <pc:sldLayoutMk cId="1473699782" sldId="2147483885"/>
              <ac:graphicFrameMk id="3" creationId="{1B9D99E9-D699-49DD-B838-EFF0878D7A3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82" v="91339"/>
          <pc:sldLayoutMkLst>
            <pc:docMk/>
            <pc:sldMasterMk cId="752824537" sldId="2147483840"/>
            <pc:sldLayoutMk cId="1964109751" sldId="2147483886"/>
          </pc:sldLayoutMkLst>
          <pc:spChg chg="mod">
            <ac:chgData name="Yudi Zhu" userId="571e1a55-055f-4c28-8b35-fca6dd1c1369" providerId="ADAL" clId="{75A88773-6EE1-484E-AADE-FE631E01463B}" dt="2025-11-21T06:01:53.511" v="56097" actId="948"/>
            <ac:spMkLst>
              <pc:docMk/>
              <pc:sldMasterMk cId="752824537" sldId="2147483840"/>
              <pc:sldLayoutMk cId="1964109751" sldId="2147483886"/>
              <ac:spMk id="2" creationId="{AB083126-25E7-42D8-B799-608CFD4DF6C3}"/>
            </ac:spMkLst>
          </pc:spChg>
          <pc:spChg chg="add del mod modVis">
            <ac:chgData name="Yudi Zhu" userId="571e1a55-055f-4c28-8b35-fca6dd1c1369" providerId="ADAL" clId="{75A88773-6EE1-484E-AADE-FE631E01463B}" dt="2025-11-21T06:02:24.481" v="70041" actId="478"/>
            <ac:spMkLst>
              <pc:docMk/>
              <pc:sldMasterMk cId="752824537" sldId="2147483840"/>
              <pc:sldLayoutMk cId="1964109751" sldId="2147483886"/>
              <ac:spMk id="4" creationId="{99A34843-46B0-E523-6096-E39AD98E27B6}"/>
            </ac:spMkLst>
          </pc:spChg>
          <pc:graphicFrameChg chg="mod">
            <ac:chgData name="Yudi Zhu" userId="571e1a55-055f-4c28-8b35-fca6dd1c1369" providerId="ADAL" clId="{75A88773-6EE1-484E-AADE-FE631E01463B}" dt="2025-11-21T06:05:07.982" v="91339"/>
            <ac:graphicFrameMkLst>
              <pc:docMk/>
              <pc:sldMasterMk cId="752824537" sldId="2147483840"/>
              <pc:sldLayoutMk cId="1964109751" sldId="2147483886"/>
              <ac:graphicFrameMk id="5" creationId="{A8EDC70C-1C9C-4E9E-B370-A4CA068F427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93" v="91343"/>
          <pc:sldLayoutMkLst>
            <pc:docMk/>
            <pc:sldMasterMk cId="752824537" sldId="2147483840"/>
            <pc:sldLayoutMk cId="659536108" sldId="2147483887"/>
          </pc:sldLayoutMkLst>
          <pc:spChg chg="add del mod modVis">
            <ac:chgData name="Yudi Zhu" userId="571e1a55-055f-4c28-8b35-fca6dd1c1369" providerId="ADAL" clId="{75A88773-6EE1-484E-AADE-FE631E01463B}" dt="2025-11-21T06:02:24.489" v="70045" actId="478"/>
            <ac:spMkLst>
              <pc:docMk/>
              <pc:sldMasterMk cId="752824537" sldId="2147483840"/>
              <pc:sldLayoutMk cId="659536108" sldId="2147483887"/>
              <ac:spMk id="4" creationId="{13D411F2-8652-8664-715A-C248C6766D5B}"/>
            </ac:spMkLst>
          </pc:spChg>
          <pc:spChg chg="mod">
            <ac:chgData name="Yudi Zhu" userId="571e1a55-055f-4c28-8b35-fca6dd1c1369" providerId="ADAL" clId="{75A88773-6EE1-484E-AADE-FE631E01463B}" dt="2025-11-21T06:01:53.581" v="56139" actId="948"/>
            <ac:spMkLst>
              <pc:docMk/>
              <pc:sldMasterMk cId="752824537" sldId="2147483840"/>
              <pc:sldLayoutMk cId="659536108" sldId="2147483887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93" v="91343"/>
            <ac:graphicFrameMkLst>
              <pc:docMk/>
              <pc:sldMasterMk cId="752824537" sldId="2147483840"/>
              <pc:sldLayoutMk cId="659536108" sldId="2147483887"/>
              <ac:graphicFrameMk id="3" creationId="{AB9DA2CB-7FF8-4CFB-A652-684E594036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7.998" v="91345"/>
          <pc:sldLayoutMkLst>
            <pc:docMk/>
            <pc:sldMasterMk cId="752824537" sldId="2147483840"/>
            <pc:sldLayoutMk cId="453338622" sldId="2147483888"/>
          </pc:sldLayoutMkLst>
          <pc:spChg chg="add del mod modVis">
            <ac:chgData name="Yudi Zhu" userId="571e1a55-055f-4c28-8b35-fca6dd1c1369" providerId="ADAL" clId="{75A88773-6EE1-484E-AADE-FE631E01463B}" dt="2025-11-21T06:02:24.493" v="70047" actId="478"/>
            <ac:spMkLst>
              <pc:docMk/>
              <pc:sldMasterMk cId="752824537" sldId="2147483840"/>
              <pc:sldLayoutMk cId="453338622" sldId="2147483888"/>
              <ac:spMk id="4" creationId="{4927E319-049B-06EA-BACB-9826503247EA}"/>
            </ac:spMkLst>
          </pc:spChg>
          <pc:spChg chg="mod">
            <ac:chgData name="Yudi Zhu" userId="571e1a55-055f-4c28-8b35-fca6dd1c1369" providerId="ADAL" clId="{75A88773-6EE1-484E-AADE-FE631E01463B}" dt="2025-11-21T06:01:53.616" v="56160"/>
            <ac:spMkLst>
              <pc:docMk/>
              <pc:sldMasterMk cId="752824537" sldId="2147483840"/>
              <pc:sldLayoutMk cId="453338622" sldId="2147483888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7.998" v="91345"/>
            <ac:graphicFrameMkLst>
              <pc:docMk/>
              <pc:sldMasterMk cId="752824537" sldId="2147483840"/>
              <pc:sldLayoutMk cId="453338622" sldId="2147483888"/>
              <ac:graphicFrameMk id="3" creationId="{D49FE2CA-F5BD-459D-B701-FB8A0A61B64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08" v="91349"/>
          <pc:sldLayoutMkLst>
            <pc:docMk/>
            <pc:sldMasterMk cId="752824537" sldId="2147483840"/>
            <pc:sldLayoutMk cId="757247144" sldId="2147483889"/>
          </pc:sldLayoutMkLst>
          <pc:spChg chg="add del mod modVis">
            <ac:chgData name="Yudi Zhu" userId="571e1a55-055f-4c28-8b35-fca6dd1c1369" providerId="ADAL" clId="{75A88773-6EE1-484E-AADE-FE631E01463B}" dt="2025-11-21T06:02:24.500" v="70051" actId="478"/>
            <ac:spMkLst>
              <pc:docMk/>
              <pc:sldMasterMk cId="752824537" sldId="2147483840"/>
              <pc:sldLayoutMk cId="757247144" sldId="2147483889"/>
              <ac:spMk id="4" creationId="{7E350278-4D54-932A-3F34-D84C8697BF8B}"/>
            </ac:spMkLst>
          </pc:spChg>
          <pc:spChg chg="mod">
            <ac:chgData name="Yudi Zhu" userId="571e1a55-055f-4c28-8b35-fca6dd1c1369" providerId="ADAL" clId="{75A88773-6EE1-484E-AADE-FE631E01463B}" dt="2025-11-21T06:01:53.686" v="56202" actId="948"/>
            <ac:spMkLst>
              <pc:docMk/>
              <pc:sldMasterMk cId="752824537" sldId="2147483840"/>
              <pc:sldLayoutMk cId="757247144" sldId="2147483889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08" v="91349"/>
            <ac:graphicFrameMkLst>
              <pc:docMk/>
              <pc:sldMasterMk cId="752824537" sldId="2147483840"/>
              <pc:sldLayoutMk cId="757247144" sldId="2147483889"/>
              <ac:graphicFrameMk id="3" creationId="{040DD4ED-ADCE-4880-9BC8-443A0A81159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03" v="91347"/>
          <pc:sldLayoutMkLst>
            <pc:docMk/>
            <pc:sldMasterMk cId="752824537" sldId="2147483840"/>
            <pc:sldLayoutMk cId="1542326808" sldId="2147483890"/>
          </pc:sldLayoutMkLst>
          <pc:spChg chg="add del mod modVis">
            <ac:chgData name="Yudi Zhu" userId="571e1a55-055f-4c28-8b35-fca6dd1c1369" providerId="ADAL" clId="{75A88773-6EE1-484E-AADE-FE631E01463B}" dt="2025-11-21T06:02:24.497" v="70049" actId="478"/>
            <ac:spMkLst>
              <pc:docMk/>
              <pc:sldMasterMk cId="752824537" sldId="2147483840"/>
              <pc:sldLayoutMk cId="1542326808" sldId="2147483890"/>
              <ac:spMk id="4" creationId="{F16DBBA6-C0A2-09A4-9C6F-5FC49B7306BB}"/>
            </ac:spMkLst>
          </pc:spChg>
          <pc:spChg chg="mod">
            <ac:chgData name="Yudi Zhu" userId="571e1a55-055f-4c28-8b35-fca6dd1c1369" providerId="ADAL" clId="{75A88773-6EE1-484E-AADE-FE631E01463B}" dt="2025-11-21T06:01:53.653" v="56181" actId="948"/>
            <ac:spMkLst>
              <pc:docMk/>
              <pc:sldMasterMk cId="752824537" sldId="2147483840"/>
              <pc:sldLayoutMk cId="1542326808" sldId="2147483890"/>
              <ac:spMk id="2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03" v="91347"/>
            <ac:graphicFrameMkLst>
              <pc:docMk/>
              <pc:sldMasterMk cId="752824537" sldId="2147483840"/>
              <pc:sldLayoutMk cId="1542326808" sldId="2147483890"/>
              <ac:graphicFrameMk id="3" creationId="{A79C6112-A96D-4B61-8290-08899155E92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14" v="91351"/>
          <pc:sldLayoutMkLst>
            <pc:docMk/>
            <pc:sldMasterMk cId="752824537" sldId="2147483840"/>
            <pc:sldLayoutMk cId="270401497" sldId="2147483891"/>
          </pc:sldLayoutMkLst>
          <pc:spChg chg="mod">
            <ac:chgData name="Yudi Zhu" userId="571e1a55-055f-4c28-8b35-fca6dd1c1369" providerId="ADAL" clId="{75A88773-6EE1-484E-AADE-FE631E01463B}" dt="2025-11-21T06:01:53.719" v="56223" actId="948"/>
            <ac:spMkLst>
              <pc:docMk/>
              <pc:sldMasterMk cId="752824537" sldId="2147483840"/>
              <pc:sldLayoutMk cId="270401497" sldId="2147483891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04" v="70053" actId="478"/>
            <ac:spMkLst>
              <pc:docMk/>
              <pc:sldMasterMk cId="752824537" sldId="2147483840"/>
              <pc:sldLayoutMk cId="270401497" sldId="2147483891"/>
              <ac:spMk id="5" creationId="{6E710EE9-F2E9-9639-D0B0-151F5193E86F}"/>
            </ac:spMkLst>
          </pc:spChg>
          <pc:graphicFrameChg chg="mod">
            <ac:chgData name="Yudi Zhu" userId="571e1a55-055f-4c28-8b35-fca6dd1c1369" providerId="ADAL" clId="{75A88773-6EE1-484E-AADE-FE631E01463B}" dt="2025-11-21T06:05:08.014" v="91351"/>
            <ac:graphicFrameMkLst>
              <pc:docMk/>
              <pc:sldMasterMk cId="752824537" sldId="2147483840"/>
              <pc:sldLayoutMk cId="270401497" sldId="2147483891"/>
              <ac:graphicFrameMk id="4" creationId="{A5E46131-D60C-4AB8-9741-E3D3445EE01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24" v="91355"/>
          <pc:sldLayoutMkLst>
            <pc:docMk/>
            <pc:sldMasterMk cId="752824537" sldId="2147483840"/>
            <pc:sldLayoutMk cId="3417352216" sldId="2147483892"/>
          </pc:sldLayoutMkLst>
          <pc:spChg chg="mod">
            <ac:chgData name="Yudi Zhu" userId="571e1a55-055f-4c28-8b35-fca6dd1c1369" providerId="ADAL" clId="{75A88773-6EE1-484E-AADE-FE631E01463B}" dt="2025-11-21T06:01:53.789" v="56265" actId="948"/>
            <ac:spMkLst>
              <pc:docMk/>
              <pc:sldMasterMk cId="752824537" sldId="2147483840"/>
              <pc:sldLayoutMk cId="3417352216" sldId="2147483892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11" v="70057" actId="478"/>
            <ac:spMkLst>
              <pc:docMk/>
              <pc:sldMasterMk cId="752824537" sldId="2147483840"/>
              <pc:sldLayoutMk cId="3417352216" sldId="2147483892"/>
              <ac:spMk id="5" creationId="{4EAE99F3-7D4A-C007-7663-E2907F977F25}"/>
            </ac:spMkLst>
          </pc:spChg>
          <pc:graphicFrameChg chg="mod">
            <ac:chgData name="Yudi Zhu" userId="571e1a55-055f-4c28-8b35-fca6dd1c1369" providerId="ADAL" clId="{75A88773-6EE1-484E-AADE-FE631E01463B}" dt="2025-11-21T06:05:08.024" v="91355"/>
            <ac:graphicFrameMkLst>
              <pc:docMk/>
              <pc:sldMasterMk cId="752824537" sldId="2147483840"/>
              <pc:sldLayoutMk cId="3417352216" sldId="2147483892"/>
              <ac:graphicFrameMk id="4" creationId="{9CB55A6B-96AD-443A-8BE6-D7196A4B8F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19" v="91353"/>
          <pc:sldLayoutMkLst>
            <pc:docMk/>
            <pc:sldMasterMk cId="752824537" sldId="2147483840"/>
            <pc:sldLayoutMk cId="2148215933" sldId="2147483893"/>
          </pc:sldLayoutMkLst>
          <pc:spChg chg="add del mod modVis">
            <ac:chgData name="Yudi Zhu" userId="571e1a55-055f-4c28-8b35-fca6dd1c1369" providerId="ADAL" clId="{75A88773-6EE1-484E-AADE-FE631E01463B}" dt="2025-11-21T06:02:24.508" v="70055" actId="478"/>
            <ac:spMkLst>
              <pc:docMk/>
              <pc:sldMasterMk cId="752824537" sldId="2147483840"/>
              <pc:sldLayoutMk cId="2148215933" sldId="2147483893"/>
              <ac:spMk id="4" creationId="{83ADD493-75DD-C416-BD27-D25D57F0A7B3}"/>
            </ac:spMkLst>
          </pc:spChg>
          <pc:spChg chg="mod">
            <ac:chgData name="Yudi Zhu" userId="571e1a55-055f-4c28-8b35-fca6dd1c1369" providerId="ADAL" clId="{75A88773-6EE1-484E-AADE-FE631E01463B}" dt="2025-11-21T06:01:53.752" v="56244" actId="948"/>
            <ac:spMkLst>
              <pc:docMk/>
              <pc:sldMasterMk cId="752824537" sldId="2147483840"/>
              <pc:sldLayoutMk cId="2148215933" sldId="2147483893"/>
              <ac:spMk id="2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19" v="91353"/>
            <ac:graphicFrameMkLst>
              <pc:docMk/>
              <pc:sldMasterMk cId="752824537" sldId="2147483840"/>
              <pc:sldLayoutMk cId="2148215933" sldId="2147483893"/>
              <ac:graphicFrameMk id="3" creationId="{6CEEDCB5-AEBF-499C-B756-7B17B4A9535D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29" v="91357"/>
          <pc:sldLayoutMkLst>
            <pc:docMk/>
            <pc:sldMasterMk cId="752824537" sldId="2147483840"/>
            <pc:sldLayoutMk cId="217942689" sldId="2147483894"/>
          </pc:sldLayoutMkLst>
          <pc:spChg chg="add del mod modVis">
            <ac:chgData name="Yudi Zhu" userId="571e1a55-055f-4c28-8b35-fca6dd1c1369" providerId="ADAL" clId="{75A88773-6EE1-484E-AADE-FE631E01463B}" dt="2025-11-21T06:02:24.515" v="70059" actId="478"/>
            <ac:spMkLst>
              <pc:docMk/>
              <pc:sldMasterMk cId="752824537" sldId="2147483840"/>
              <pc:sldLayoutMk cId="217942689" sldId="2147483894"/>
              <ac:spMk id="4" creationId="{A5B9211E-A18F-27F2-33A5-3A66B0850EF9}"/>
            </ac:spMkLst>
          </pc:spChg>
          <pc:spChg chg="mod">
            <ac:chgData name="Yudi Zhu" userId="571e1a55-055f-4c28-8b35-fca6dd1c1369" providerId="ADAL" clId="{75A88773-6EE1-484E-AADE-FE631E01463B}" dt="2025-11-21T06:01:53.823" v="56286" actId="948"/>
            <ac:spMkLst>
              <pc:docMk/>
              <pc:sldMasterMk cId="752824537" sldId="2147483840"/>
              <pc:sldLayoutMk cId="217942689" sldId="2147483894"/>
              <ac:spMk id="1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29" v="91357"/>
            <ac:graphicFrameMkLst>
              <pc:docMk/>
              <pc:sldMasterMk cId="752824537" sldId="2147483840"/>
              <pc:sldLayoutMk cId="217942689" sldId="2147483894"/>
              <ac:graphicFrameMk id="3" creationId="{1D69369B-8A66-4FA2-A3BA-152FECEA34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35" v="91359"/>
          <pc:sldLayoutMkLst>
            <pc:docMk/>
            <pc:sldMasterMk cId="752824537" sldId="2147483840"/>
            <pc:sldLayoutMk cId="798227674" sldId="2147483895"/>
          </pc:sldLayoutMkLst>
          <pc:spChg chg="add del mod modVis">
            <ac:chgData name="Yudi Zhu" userId="571e1a55-055f-4c28-8b35-fca6dd1c1369" providerId="ADAL" clId="{75A88773-6EE1-484E-AADE-FE631E01463B}" dt="2025-11-21T06:02:24.518" v="70061" actId="478"/>
            <ac:spMkLst>
              <pc:docMk/>
              <pc:sldMasterMk cId="752824537" sldId="2147483840"/>
              <pc:sldLayoutMk cId="798227674" sldId="2147483895"/>
              <ac:spMk id="4" creationId="{7A931792-50C6-BCB0-1D7B-8BC40C5AD66F}"/>
            </ac:spMkLst>
          </pc:spChg>
          <pc:spChg chg="mod">
            <ac:chgData name="Yudi Zhu" userId="571e1a55-055f-4c28-8b35-fca6dd1c1369" providerId="ADAL" clId="{75A88773-6EE1-484E-AADE-FE631E01463B}" dt="2025-11-21T06:01:53.855" v="56307" actId="948"/>
            <ac:spMkLst>
              <pc:docMk/>
              <pc:sldMasterMk cId="752824537" sldId="2147483840"/>
              <pc:sldLayoutMk cId="798227674" sldId="2147483895"/>
              <ac:spMk id="1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35" v="91359"/>
            <ac:graphicFrameMkLst>
              <pc:docMk/>
              <pc:sldMasterMk cId="752824537" sldId="2147483840"/>
              <pc:sldLayoutMk cId="798227674" sldId="2147483895"/>
              <ac:graphicFrameMk id="3" creationId="{AB9C19B9-9588-464B-841B-4E0F598DE58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40" v="91361"/>
          <pc:sldLayoutMkLst>
            <pc:docMk/>
            <pc:sldMasterMk cId="752824537" sldId="2147483840"/>
            <pc:sldLayoutMk cId="2619556614" sldId="2147483896"/>
          </pc:sldLayoutMkLst>
          <pc:spChg chg="add del mod modVis">
            <ac:chgData name="Yudi Zhu" userId="571e1a55-055f-4c28-8b35-fca6dd1c1369" providerId="ADAL" clId="{75A88773-6EE1-484E-AADE-FE631E01463B}" dt="2025-11-21T06:02:24.523" v="70063" actId="478"/>
            <ac:spMkLst>
              <pc:docMk/>
              <pc:sldMasterMk cId="752824537" sldId="2147483840"/>
              <pc:sldLayoutMk cId="2619556614" sldId="2147483896"/>
              <ac:spMk id="4" creationId="{B4B32130-5BC0-D03B-3C84-2DD4F88C0E79}"/>
            </ac:spMkLst>
          </pc:spChg>
          <pc:spChg chg="mod">
            <ac:chgData name="Yudi Zhu" userId="571e1a55-055f-4c28-8b35-fca6dd1c1369" providerId="ADAL" clId="{75A88773-6EE1-484E-AADE-FE631E01463B}" dt="2025-11-21T06:01:53.890" v="56328" actId="948"/>
            <ac:spMkLst>
              <pc:docMk/>
              <pc:sldMasterMk cId="752824537" sldId="2147483840"/>
              <pc:sldLayoutMk cId="2619556614" sldId="2147483896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40" v="91361"/>
            <ac:graphicFrameMkLst>
              <pc:docMk/>
              <pc:sldMasterMk cId="752824537" sldId="2147483840"/>
              <pc:sldLayoutMk cId="2619556614" sldId="2147483896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45" v="91363"/>
          <pc:sldLayoutMkLst>
            <pc:docMk/>
            <pc:sldMasterMk cId="752824537" sldId="2147483840"/>
            <pc:sldLayoutMk cId="1164835607" sldId="2147483897"/>
          </pc:sldLayoutMkLst>
          <pc:spChg chg="add del mod modVis">
            <ac:chgData name="Yudi Zhu" userId="571e1a55-055f-4c28-8b35-fca6dd1c1369" providerId="ADAL" clId="{75A88773-6EE1-484E-AADE-FE631E01463B}" dt="2025-11-21T06:02:24.526" v="70065" actId="478"/>
            <ac:spMkLst>
              <pc:docMk/>
              <pc:sldMasterMk cId="752824537" sldId="2147483840"/>
              <pc:sldLayoutMk cId="1164835607" sldId="2147483897"/>
              <ac:spMk id="4" creationId="{BF88C46C-6792-D1CB-5505-B8014474C403}"/>
            </ac:spMkLst>
          </pc:spChg>
          <pc:spChg chg="mod">
            <ac:chgData name="Yudi Zhu" userId="571e1a55-055f-4c28-8b35-fca6dd1c1369" providerId="ADAL" clId="{75A88773-6EE1-484E-AADE-FE631E01463B}" dt="2025-11-21T06:01:53.923" v="56349" actId="948"/>
            <ac:spMkLst>
              <pc:docMk/>
              <pc:sldMasterMk cId="752824537" sldId="2147483840"/>
              <pc:sldLayoutMk cId="1164835607" sldId="2147483897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45" v="91363"/>
            <ac:graphicFrameMkLst>
              <pc:docMk/>
              <pc:sldMasterMk cId="752824537" sldId="2147483840"/>
              <pc:sldLayoutMk cId="1164835607" sldId="2147483897"/>
              <ac:graphicFrameMk id="3" creationId="{CB93EF4C-1394-476A-823F-13E6F1417F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50" v="91365"/>
          <pc:sldLayoutMkLst>
            <pc:docMk/>
            <pc:sldMasterMk cId="752824537" sldId="2147483840"/>
            <pc:sldLayoutMk cId="886628768" sldId="2147483898"/>
          </pc:sldLayoutMkLst>
          <pc:spChg chg="add del mod modVis">
            <ac:chgData name="Yudi Zhu" userId="571e1a55-055f-4c28-8b35-fca6dd1c1369" providerId="ADAL" clId="{75A88773-6EE1-484E-AADE-FE631E01463B}" dt="2025-11-21T06:02:24.530" v="70067" actId="478"/>
            <ac:spMkLst>
              <pc:docMk/>
              <pc:sldMasterMk cId="752824537" sldId="2147483840"/>
              <pc:sldLayoutMk cId="886628768" sldId="2147483898"/>
              <ac:spMk id="4" creationId="{7BC22D46-3247-1343-7C15-55F9E856F3A0}"/>
            </ac:spMkLst>
          </pc:spChg>
          <pc:spChg chg="mod">
            <ac:chgData name="Yudi Zhu" userId="571e1a55-055f-4c28-8b35-fca6dd1c1369" providerId="ADAL" clId="{75A88773-6EE1-484E-AADE-FE631E01463B}" dt="2025-11-21T06:01:53.958" v="56370" actId="948"/>
            <ac:spMkLst>
              <pc:docMk/>
              <pc:sldMasterMk cId="752824537" sldId="2147483840"/>
              <pc:sldLayoutMk cId="886628768" sldId="2147483898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50" v="91365"/>
            <ac:graphicFrameMkLst>
              <pc:docMk/>
              <pc:sldMasterMk cId="752824537" sldId="2147483840"/>
              <pc:sldLayoutMk cId="886628768" sldId="2147483898"/>
              <ac:graphicFrameMk id="3" creationId="{D769B887-2B13-4C8F-946E-E594927AC08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55" v="91367"/>
          <pc:sldLayoutMkLst>
            <pc:docMk/>
            <pc:sldMasterMk cId="752824537" sldId="2147483840"/>
            <pc:sldLayoutMk cId="4257148608" sldId="2147483899"/>
          </pc:sldLayoutMkLst>
          <pc:spChg chg="add del mod modVis">
            <ac:chgData name="Yudi Zhu" userId="571e1a55-055f-4c28-8b35-fca6dd1c1369" providerId="ADAL" clId="{75A88773-6EE1-484E-AADE-FE631E01463B}" dt="2025-11-21T06:02:24.533" v="70069" actId="478"/>
            <ac:spMkLst>
              <pc:docMk/>
              <pc:sldMasterMk cId="752824537" sldId="2147483840"/>
              <pc:sldLayoutMk cId="4257148608" sldId="2147483899"/>
              <ac:spMk id="4" creationId="{8D72D398-861D-FD1D-974C-804FF5BE3DAF}"/>
            </ac:spMkLst>
          </pc:spChg>
          <pc:spChg chg="mod">
            <ac:chgData name="Yudi Zhu" userId="571e1a55-055f-4c28-8b35-fca6dd1c1369" providerId="ADAL" clId="{75A88773-6EE1-484E-AADE-FE631E01463B}" dt="2025-11-21T06:01:53.993" v="56391" actId="948"/>
            <ac:spMkLst>
              <pc:docMk/>
              <pc:sldMasterMk cId="752824537" sldId="2147483840"/>
              <pc:sldLayoutMk cId="4257148608" sldId="2147483899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55" v="91367"/>
            <ac:graphicFrameMkLst>
              <pc:docMk/>
              <pc:sldMasterMk cId="752824537" sldId="2147483840"/>
              <pc:sldLayoutMk cId="4257148608" sldId="2147483899"/>
              <ac:graphicFrameMk id="3" creationId="{455A7C36-70AD-47B9-A14E-627B49FA23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60" v="91369"/>
          <pc:sldLayoutMkLst>
            <pc:docMk/>
            <pc:sldMasterMk cId="752824537" sldId="2147483840"/>
            <pc:sldLayoutMk cId="233280747" sldId="2147483900"/>
          </pc:sldLayoutMkLst>
          <pc:spChg chg="mod">
            <ac:chgData name="Yudi Zhu" userId="571e1a55-055f-4c28-8b35-fca6dd1c1369" providerId="ADAL" clId="{75A88773-6EE1-484E-AADE-FE631E01463B}" dt="2025-11-21T06:01:54.025" v="56412" actId="948"/>
            <ac:spMkLst>
              <pc:docMk/>
              <pc:sldMasterMk cId="752824537" sldId="2147483840"/>
              <pc:sldLayoutMk cId="233280747" sldId="2147483900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37" v="70071" actId="478"/>
            <ac:spMkLst>
              <pc:docMk/>
              <pc:sldMasterMk cId="752824537" sldId="2147483840"/>
              <pc:sldLayoutMk cId="233280747" sldId="2147483900"/>
              <ac:spMk id="5" creationId="{F1895CCC-F316-7305-7C5F-CDAAB16D0306}"/>
            </ac:spMkLst>
          </pc:spChg>
          <pc:graphicFrameChg chg="mod">
            <ac:chgData name="Yudi Zhu" userId="571e1a55-055f-4c28-8b35-fca6dd1c1369" providerId="ADAL" clId="{75A88773-6EE1-484E-AADE-FE631E01463B}" dt="2025-11-21T06:05:08.060" v="91369"/>
            <ac:graphicFrameMkLst>
              <pc:docMk/>
              <pc:sldMasterMk cId="752824537" sldId="2147483840"/>
              <pc:sldLayoutMk cId="233280747" sldId="2147483900"/>
              <ac:graphicFrameMk id="4" creationId="{039D2536-1DC7-4B54-9D7A-41732CF834E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65" v="91371"/>
          <pc:sldLayoutMkLst>
            <pc:docMk/>
            <pc:sldMasterMk cId="752824537" sldId="2147483840"/>
            <pc:sldLayoutMk cId="2357228012" sldId="2147483901"/>
          </pc:sldLayoutMkLst>
          <pc:spChg chg="mod">
            <ac:chgData name="Yudi Zhu" userId="571e1a55-055f-4c28-8b35-fca6dd1c1369" providerId="ADAL" clId="{75A88773-6EE1-484E-AADE-FE631E01463B}" dt="2025-11-21T06:01:54.057" v="56433" actId="948"/>
            <ac:spMkLst>
              <pc:docMk/>
              <pc:sldMasterMk cId="752824537" sldId="2147483840"/>
              <pc:sldLayoutMk cId="2357228012" sldId="2147483901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41" v="70073" actId="478"/>
            <ac:spMkLst>
              <pc:docMk/>
              <pc:sldMasterMk cId="752824537" sldId="2147483840"/>
              <pc:sldLayoutMk cId="2357228012" sldId="2147483901"/>
              <ac:spMk id="5" creationId="{A4F79168-CDA0-DC78-3D2E-EF12F574F225}"/>
            </ac:spMkLst>
          </pc:spChg>
          <pc:graphicFrameChg chg="mod">
            <ac:chgData name="Yudi Zhu" userId="571e1a55-055f-4c28-8b35-fca6dd1c1369" providerId="ADAL" clId="{75A88773-6EE1-484E-AADE-FE631E01463B}" dt="2025-11-21T06:05:08.065" v="91371"/>
            <ac:graphicFrameMkLst>
              <pc:docMk/>
              <pc:sldMasterMk cId="752824537" sldId="2147483840"/>
              <pc:sldLayoutMk cId="2357228012" sldId="2147483901"/>
              <ac:graphicFrameMk id="4" creationId="{8B473B82-53D5-4DFB-9CCC-3DDD34E832E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70" v="91373"/>
          <pc:sldLayoutMkLst>
            <pc:docMk/>
            <pc:sldMasterMk cId="752824537" sldId="2147483840"/>
            <pc:sldLayoutMk cId="4067630734" sldId="2147483902"/>
          </pc:sldLayoutMkLst>
          <pc:spChg chg="mod">
            <ac:chgData name="Yudi Zhu" userId="571e1a55-055f-4c28-8b35-fca6dd1c1369" providerId="ADAL" clId="{75A88773-6EE1-484E-AADE-FE631E01463B}" dt="2025-11-21T06:01:54.091" v="56454" actId="948"/>
            <ac:spMkLst>
              <pc:docMk/>
              <pc:sldMasterMk cId="752824537" sldId="2147483840"/>
              <pc:sldLayoutMk cId="4067630734" sldId="2147483902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45" v="70075" actId="478"/>
            <ac:spMkLst>
              <pc:docMk/>
              <pc:sldMasterMk cId="752824537" sldId="2147483840"/>
              <pc:sldLayoutMk cId="4067630734" sldId="2147483902"/>
              <ac:spMk id="5" creationId="{3C58C8A5-A150-1C0E-2508-529AFA7627E6}"/>
            </ac:spMkLst>
          </pc:spChg>
          <pc:graphicFrameChg chg="mod">
            <ac:chgData name="Yudi Zhu" userId="571e1a55-055f-4c28-8b35-fca6dd1c1369" providerId="ADAL" clId="{75A88773-6EE1-484E-AADE-FE631E01463B}" dt="2025-11-21T06:05:08.070" v="91373"/>
            <ac:graphicFrameMkLst>
              <pc:docMk/>
              <pc:sldMasterMk cId="752824537" sldId="2147483840"/>
              <pc:sldLayoutMk cId="4067630734" sldId="2147483902"/>
              <ac:graphicFrameMk id="4" creationId="{897521DA-F255-4067-808C-8D586F745C2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80" v="91377"/>
          <pc:sldLayoutMkLst>
            <pc:docMk/>
            <pc:sldMasterMk cId="752824537" sldId="2147483840"/>
            <pc:sldLayoutMk cId="2098852824" sldId="2147483903"/>
          </pc:sldLayoutMkLst>
          <pc:spChg chg="mod">
            <ac:chgData name="Yudi Zhu" userId="571e1a55-055f-4c28-8b35-fca6dd1c1369" providerId="ADAL" clId="{75A88773-6EE1-484E-AADE-FE631E01463B}" dt="2025-11-21T06:01:54.158" v="56496" actId="948"/>
            <ac:spMkLst>
              <pc:docMk/>
              <pc:sldMasterMk cId="752824537" sldId="2147483840"/>
              <pc:sldLayoutMk cId="2098852824" sldId="2147483903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52" v="70079" actId="478"/>
            <ac:spMkLst>
              <pc:docMk/>
              <pc:sldMasterMk cId="752824537" sldId="2147483840"/>
              <pc:sldLayoutMk cId="2098852824" sldId="2147483903"/>
              <ac:spMk id="5" creationId="{A8C63A1F-6CB9-62B3-E8BA-BEBF0B51ED4B}"/>
            </ac:spMkLst>
          </pc:spChg>
          <pc:graphicFrameChg chg="mod">
            <ac:chgData name="Yudi Zhu" userId="571e1a55-055f-4c28-8b35-fca6dd1c1369" providerId="ADAL" clId="{75A88773-6EE1-484E-AADE-FE631E01463B}" dt="2025-11-21T06:05:08.080" v="91377"/>
            <ac:graphicFrameMkLst>
              <pc:docMk/>
              <pc:sldMasterMk cId="752824537" sldId="2147483840"/>
              <pc:sldLayoutMk cId="2098852824" sldId="2147483903"/>
              <ac:graphicFrameMk id="4" creationId="{D7F540FA-7567-4B2F-82E1-9079310B736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75" v="91375"/>
          <pc:sldLayoutMkLst>
            <pc:docMk/>
            <pc:sldMasterMk cId="752824537" sldId="2147483840"/>
            <pc:sldLayoutMk cId="32563566" sldId="2147483904"/>
          </pc:sldLayoutMkLst>
          <pc:spChg chg="add del mod modVis">
            <ac:chgData name="Yudi Zhu" userId="571e1a55-055f-4c28-8b35-fca6dd1c1369" providerId="ADAL" clId="{75A88773-6EE1-484E-AADE-FE631E01463B}" dt="2025-11-21T06:02:24.548" v="70077" actId="478"/>
            <ac:spMkLst>
              <pc:docMk/>
              <pc:sldMasterMk cId="752824537" sldId="2147483840"/>
              <pc:sldLayoutMk cId="32563566" sldId="2147483904"/>
              <ac:spMk id="4" creationId="{ECBE8538-3A3D-3E45-33B2-2E86DB0F08B0}"/>
            </ac:spMkLst>
          </pc:spChg>
          <pc:spChg chg="mod">
            <ac:chgData name="Yudi Zhu" userId="571e1a55-055f-4c28-8b35-fca6dd1c1369" providerId="ADAL" clId="{75A88773-6EE1-484E-AADE-FE631E01463B}" dt="2025-11-21T06:01:54.125" v="56475" actId="948"/>
            <ac:spMkLst>
              <pc:docMk/>
              <pc:sldMasterMk cId="752824537" sldId="2147483840"/>
              <pc:sldLayoutMk cId="32563566" sldId="2147483904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75" v="91375"/>
            <ac:graphicFrameMkLst>
              <pc:docMk/>
              <pc:sldMasterMk cId="752824537" sldId="2147483840"/>
              <pc:sldLayoutMk cId="32563566" sldId="2147483904"/>
              <ac:graphicFrameMk id="3" creationId="{F0C2C8FA-CE5C-4408-854B-AC23B40E844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86" v="91379"/>
          <pc:sldLayoutMkLst>
            <pc:docMk/>
            <pc:sldMasterMk cId="752824537" sldId="2147483840"/>
            <pc:sldLayoutMk cId="2157139944" sldId="2147483905"/>
          </pc:sldLayoutMkLst>
          <pc:spChg chg="add del mod modVis">
            <ac:chgData name="Yudi Zhu" userId="571e1a55-055f-4c28-8b35-fca6dd1c1369" providerId="ADAL" clId="{75A88773-6EE1-484E-AADE-FE631E01463B}" dt="2025-11-21T06:02:24.557" v="70081" actId="478"/>
            <ac:spMkLst>
              <pc:docMk/>
              <pc:sldMasterMk cId="752824537" sldId="2147483840"/>
              <pc:sldLayoutMk cId="2157139944" sldId="2147483905"/>
              <ac:spMk id="4" creationId="{3FCE0BF2-DD81-1688-1AD8-4877DD0A2B03}"/>
            </ac:spMkLst>
          </pc:spChg>
          <pc:spChg chg="mod">
            <ac:chgData name="Yudi Zhu" userId="571e1a55-055f-4c28-8b35-fca6dd1c1369" providerId="ADAL" clId="{75A88773-6EE1-484E-AADE-FE631E01463B}" dt="2025-11-21T06:01:54.192" v="56517" actId="948"/>
            <ac:spMkLst>
              <pc:docMk/>
              <pc:sldMasterMk cId="752824537" sldId="2147483840"/>
              <pc:sldLayoutMk cId="2157139944" sldId="2147483905"/>
              <ac:spMk id="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086" v="91379"/>
            <ac:graphicFrameMkLst>
              <pc:docMk/>
              <pc:sldMasterMk cId="752824537" sldId="2147483840"/>
              <pc:sldLayoutMk cId="2157139944" sldId="2147483905"/>
              <ac:graphicFrameMk id="3" creationId="{459F9065-0E22-4E32-800E-137DEFB3B9A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095" v="91383"/>
          <pc:sldLayoutMkLst>
            <pc:docMk/>
            <pc:sldMasterMk cId="752824537" sldId="2147483840"/>
            <pc:sldLayoutMk cId="4251997670" sldId="2147483906"/>
          </pc:sldLayoutMkLst>
          <pc:graphicFrameChg chg="mod">
            <ac:chgData name="Yudi Zhu" userId="571e1a55-055f-4c28-8b35-fca6dd1c1369" providerId="ADAL" clId="{75A88773-6EE1-484E-AADE-FE631E01463B}" dt="2025-11-21T06:05:08.095" v="91383"/>
            <ac:graphicFrameMkLst>
              <pc:docMk/>
              <pc:sldMasterMk cId="752824537" sldId="2147483840"/>
              <pc:sldLayoutMk cId="4251997670" sldId="2147483906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090" v="91381"/>
          <pc:sldLayoutMkLst>
            <pc:docMk/>
            <pc:sldMasterMk cId="752824537" sldId="2147483840"/>
            <pc:sldLayoutMk cId="2084060291" sldId="2147483907"/>
          </pc:sldLayoutMkLst>
          <pc:spChg chg="mod">
            <ac:chgData name="Yudi Zhu" userId="571e1a55-055f-4c28-8b35-fca6dd1c1369" providerId="ADAL" clId="{75A88773-6EE1-484E-AADE-FE631E01463B}" dt="2025-11-21T06:01:54.228" v="56538" actId="948"/>
            <ac:spMkLst>
              <pc:docMk/>
              <pc:sldMasterMk cId="752824537" sldId="2147483840"/>
              <pc:sldLayoutMk cId="2084060291" sldId="2147483907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561" v="70083" actId="478"/>
            <ac:spMkLst>
              <pc:docMk/>
              <pc:sldMasterMk cId="752824537" sldId="2147483840"/>
              <pc:sldLayoutMk cId="2084060291" sldId="2147483907"/>
              <ac:spMk id="3" creationId="{9B06CC63-8618-B69A-69B3-9F82FE5329E9}"/>
            </ac:spMkLst>
          </pc:spChg>
          <pc:graphicFrameChg chg="mod">
            <ac:chgData name="Yudi Zhu" userId="571e1a55-055f-4c28-8b35-fca6dd1c1369" providerId="ADAL" clId="{75A88773-6EE1-484E-AADE-FE631E01463B}" dt="2025-11-21T06:05:08.090" v="91381"/>
            <ac:graphicFrameMkLst>
              <pc:docMk/>
              <pc:sldMasterMk cId="752824537" sldId="2147483840"/>
              <pc:sldLayoutMk cId="2084060291" sldId="2147483907"/>
              <ac:graphicFrameMk id="6" creationId="{9AA175C1-DC26-4FD0-87C7-BD23A645D29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00" v="91385"/>
          <pc:sldLayoutMkLst>
            <pc:docMk/>
            <pc:sldMasterMk cId="752824537" sldId="2147483840"/>
            <pc:sldLayoutMk cId="2995367085" sldId="2147483908"/>
          </pc:sldLayoutMkLst>
          <pc:graphicFrameChg chg="mod">
            <ac:chgData name="Yudi Zhu" userId="571e1a55-055f-4c28-8b35-fca6dd1c1369" providerId="ADAL" clId="{75A88773-6EE1-484E-AADE-FE631E01463B}" dt="2025-11-21T06:05:08.100" v="91385"/>
            <ac:graphicFrameMkLst>
              <pc:docMk/>
              <pc:sldMasterMk cId="752824537" sldId="2147483840"/>
              <pc:sldLayoutMk cId="2995367085" sldId="2147483908"/>
              <ac:graphicFrameMk id="2" creationId="{90FE13CB-8AEE-4F29-95FA-616822F7CDB7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05" v="91387"/>
          <pc:sldLayoutMkLst>
            <pc:docMk/>
            <pc:sldMasterMk cId="752824537" sldId="2147483840"/>
            <pc:sldLayoutMk cId="952977138" sldId="2147483909"/>
          </pc:sldLayoutMkLst>
          <pc:graphicFrameChg chg="mod">
            <ac:chgData name="Yudi Zhu" userId="571e1a55-055f-4c28-8b35-fca6dd1c1369" providerId="ADAL" clId="{75A88773-6EE1-484E-AADE-FE631E01463B}" dt="2025-11-21T06:05:08.105" v="91387"/>
            <ac:graphicFrameMkLst>
              <pc:docMk/>
              <pc:sldMasterMk cId="752824537" sldId="2147483840"/>
              <pc:sldLayoutMk cId="952977138" sldId="2147483909"/>
              <ac:graphicFrameMk id="2" creationId="{08B54EDB-E442-4474-B407-4BE7EB22B24F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10" v="91389"/>
          <pc:sldLayoutMkLst>
            <pc:docMk/>
            <pc:sldMasterMk cId="752824537" sldId="2147483840"/>
            <pc:sldLayoutMk cId="3562614556" sldId="2147483910"/>
          </pc:sldLayoutMkLst>
          <pc:graphicFrameChg chg="mod">
            <ac:chgData name="Yudi Zhu" userId="571e1a55-055f-4c28-8b35-fca6dd1c1369" providerId="ADAL" clId="{75A88773-6EE1-484E-AADE-FE631E01463B}" dt="2025-11-21T06:05:08.110" v="91389"/>
            <ac:graphicFrameMkLst>
              <pc:docMk/>
              <pc:sldMasterMk cId="752824537" sldId="2147483840"/>
              <pc:sldLayoutMk cId="3562614556" sldId="2147483910"/>
              <ac:graphicFrameMk id="2" creationId="{B3D5FDBA-D1AA-421F-84E5-80647FFAA8A9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15" v="91391"/>
          <pc:sldLayoutMkLst>
            <pc:docMk/>
            <pc:sldMasterMk cId="752824537" sldId="2147483840"/>
            <pc:sldLayoutMk cId="835920297" sldId="2147483911"/>
          </pc:sldLayoutMkLst>
          <pc:graphicFrameChg chg="mod">
            <ac:chgData name="Yudi Zhu" userId="571e1a55-055f-4c28-8b35-fca6dd1c1369" providerId="ADAL" clId="{75A88773-6EE1-484E-AADE-FE631E01463B}" dt="2025-11-21T06:05:08.115" v="91391"/>
            <ac:graphicFrameMkLst>
              <pc:docMk/>
              <pc:sldMasterMk cId="752824537" sldId="2147483840"/>
              <pc:sldLayoutMk cId="835920297" sldId="2147483911"/>
              <ac:graphicFrameMk id="2" creationId="{464584B5-037D-4D0E-AE3F-7F004DDC1BD6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21" v="91393"/>
          <pc:sldLayoutMkLst>
            <pc:docMk/>
            <pc:sldMasterMk cId="752824537" sldId="2147483840"/>
            <pc:sldLayoutMk cId="3490262697" sldId="2147483912"/>
          </pc:sldLayoutMkLst>
          <pc:graphicFrameChg chg="mod">
            <ac:chgData name="Yudi Zhu" userId="571e1a55-055f-4c28-8b35-fca6dd1c1369" providerId="ADAL" clId="{75A88773-6EE1-484E-AADE-FE631E01463B}" dt="2025-11-21T06:05:08.121" v="91393"/>
            <ac:graphicFrameMkLst>
              <pc:docMk/>
              <pc:sldMasterMk cId="752824537" sldId="2147483840"/>
              <pc:sldLayoutMk cId="3490262697" sldId="2147483912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30" v="91397"/>
          <pc:sldLayoutMkLst>
            <pc:docMk/>
            <pc:sldMasterMk cId="752824537" sldId="2147483840"/>
            <pc:sldLayoutMk cId="2118778177" sldId="2147483913"/>
          </pc:sldLayoutMkLst>
          <pc:graphicFrameChg chg="mod">
            <ac:chgData name="Yudi Zhu" userId="571e1a55-055f-4c28-8b35-fca6dd1c1369" providerId="ADAL" clId="{75A88773-6EE1-484E-AADE-FE631E01463B}" dt="2025-11-21T06:05:08.130" v="91397"/>
            <ac:graphicFrameMkLst>
              <pc:docMk/>
              <pc:sldMasterMk cId="752824537" sldId="2147483840"/>
              <pc:sldLayoutMk cId="2118778177" sldId="2147483913"/>
              <ac:graphicFrameMk id="3" creationId="{FB5C556E-5BF3-471B-A5EA-32A4AD58020A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35" v="91399"/>
          <pc:sldLayoutMkLst>
            <pc:docMk/>
            <pc:sldMasterMk cId="752824537" sldId="2147483840"/>
            <pc:sldLayoutMk cId="3385272513" sldId="2147483914"/>
          </pc:sldLayoutMkLst>
          <pc:graphicFrameChg chg="mod">
            <ac:chgData name="Yudi Zhu" userId="571e1a55-055f-4c28-8b35-fca6dd1c1369" providerId="ADAL" clId="{75A88773-6EE1-484E-AADE-FE631E01463B}" dt="2025-11-21T06:05:08.135" v="91399"/>
            <ac:graphicFrameMkLst>
              <pc:docMk/>
              <pc:sldMasterMk cId="752824537" sldId="2147483840"/>
              <pc:sldLayoutMk cId="3385272513" sldId="2147483914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40" v="91401"/>
          <pc:sldLayoutMkLst>
            <pc:docMk/>
            <pc:sldMasterMk cId="752824537" sldId="2147483840"/>
            <pc:sldLayoutMk cId="132630114" sldId="2147483915"/>
          </pc:sldLayoutMkLst>
          <pc:graphicFrameChg chg="mod">
            <ac:chgData name="Yudi Zhu" userId="571e1a55-055f-4c28-8b35-fca6dd1c1369" providerId="ADAL" clId="{75A88773-6EE1-484E-AADE-FE631E01463B}" dt="2025-11-21T06:05:08.140" v="91401"/>
            <ac:graphicFrameMkLst>
              <pc:docMk/>
              <pc:sldMasterMk cId="752824537" sldId="2147483840"/>
              <pc:sldLayoutMk cId="132630114" sldId="2147483915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51" v="91405"/>
          <pc:sldLayoutMkLst>
            <pc:docMk/>
            <pc:sldMasterMk cId="752824537" sldId="2147483840"/>
            <pc:sldLayoutMk cId="2134164154" sldId="2147483916"/>
          </pc:sldLayoutMkLst>
          <pc:graphicFrameChg chg="mod">
            <ac:chgData name="Yudi Zhu" userId="571e1a55-055f-4c28-8b35-fca6dd1c1369" providerId="ADAL" clId="{75A88773-6EE1-484E-AADE-FE631E01463B}" dt="2025-11-21T06:05:08.151" v="91405"/>
            <ac:graphicFrameMkLst>
              <pc:docMk/>
              <pc:sldMasterMk cId="752824537" sldId="2147483840"/>
              <pc:sldLayoutMk cId="2134164154" sldId="2147483916"/>
              <ac:graphicFrameMk id="3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45" v="91403"/>
          <pc:sldLayoutMkLst>
            <pc:docMk/>
            <pc:sldMasterMk cId="752824537" sldId="2147483840"/>
            <pc:sldLayoutMk cId="2393519613" sldId="2147483917"/>
          </pc:sldLayoutMkLst>
          <pc:graphicFrameChg chg="mod">
            <ac:chgData name="Yudi Zhu" userId="571e1a55-055f-4c28-8b35-fca6dd1c1369" providerId="ADAL" clId="{75A88773-6EE1-484E-AADE-FE631E01463B}" dt="2025-11-21T06:05:08.145" v="91403"/>
            <ac:graphicFrameMkLst>
              <pc:docMk/>
              <pc:sldMasterMk cId="752824537" sldId="2147483840"/>
              <pc:sldLayoutMk cId="2393519613" sldId="2147483917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57" v="91407"/>
          <pc:sldLayoutMkLst>
            <pc:docMk/>
            <pc:sldMasterMk cId="752824537" sldId="2147483840"/>
            <pc:sldLayoutMk cId="1913787313" sldId="2147483918"/>
          </pc:sldLayoutMkLst>
          <pc:graphicFrameChg chg="mod">
            <ac:chgData name="Yudi Zhu" userId="571e1a55-055f-4c28-8b35-fca6dd1c1369" providerId="ADAL" clId="{75A88773-6EE1-484E-AADE-FE631E01463B}" dt="2025-11-21T06:05:08.157" v="91407"/>
            <ac:graphicFrameMkLst>
              <pc:docMk/>
              <pc:sldMasterMk cId="752824537" sldId="2147483840"/>
              <pc:sldLayoutMk cId="1913787313" sldId="2147483918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68" v="91411"/>
          <pc:sldLayoutMkLst>
            <pc:docMk/>
            <pc:sldMasterMk cId="752824537" sldId="2147483840"/>
            <pc:sldLayoutMk cId="898457409" sldId="2147483919"/>
          </pc:sldLayoutMkLst>
          <pc:graphicFrameChg chg="mod">
            <ac:chgData name="Yudi Zhu" userId="571e1a55-055f-4c28-8b35-fca6dd1c1369" providerId="ADAL" clId="{75A88773-6EE1-484E-AADE-FE631E01463B}" dt="2025-11-21T06:05:08.168" v="91411"/>
            <ac:graphicFrameMkLst>
              <pc:docMk/>
              <pc:sldMasterMk cId="752824537" sldId="2147483840"/>
              <pc:sldLayoutMk cId="898457409" sldId="2147483919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62" v="91409"/>
          <pc:sldLayoutMkLst>
            <pc:docMk/>
            <pc:sldMasterMk cId="752824537" sldId="2147483840"/>
            <pc:sldLayoutMk cId="3406135811" sldId="2147483920"/>
          </pc:sldLayoutMkLst>
          <pc:graphicFrameChg chg="mod">
            <ac:chgData name="Yudi Zhu" userId="571e1a55-055f-4c28-8b35-fca6dd1c1369" providerId="ADAL" clId="{75A88773-6EE1-484E-AADE-FE631E01463B}" dt="2025-11-21T06:05:08.162" v="91409"/>
            <ac:graphicFrameMkLst>
              <pc:docMk/>
              <pc:sldMasterMk cId="752824537" sldId="2147483840"/>
              <pc:sldLayoutMk cId="3406135811" sldId="2147483920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73" v="91413"/>
          <pc:sldLayoutMkLst>
            <pc:docMk/>
            <pc:sldMasterMk cId="752824537" sldId="2147483840"/>
            <pc:sldLayoutMk cId="2010352376" sldId="2147483921"/>
          </pc:sldLayoutMkLst>
          <pc:graphicFrameChg chg="mod">
            <ac:chgData name="Yudi Zhu" userId="571e1a55-055f-4c28-8b35-fca6dd1c1369" providerId="ADAL" clId="{75A88773-6EE1-484E-AADE-FE631E01463B}" dt="2025-11-21T06:05:08.173" v="91413"/>
            <ac:graphicFrameMkLst>
              <pc:docMk/>
              <pc:sldMasterMk cId="752824537" sldId="2147483840"/>
              <pc:sldLayoutMk cId="2010352376" sldId="2147483921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85" v="91417"/>
          <pc:sldLayoutMkLst>
            <pc:docMk/>
            <pc:sldMasterMk cId="752824537" sldId="2147483840"/>
            <pc:sldLayoutMk cId="1105928687" sldId="2147483922"/>
          </pc:sldLayoutMkLst>
          <pc:graphicFrameChg chg="mod">
            <ac:chgData name="Yudi Zhu" userId="571e1a55-055f-4c28-8b35-fca6dd1c1369" providerId="ADAL" clId="{75A88773-6EE1-484E-AADE-FE631E01463B}" dt="2025-11-21T06:05:08.185" v="91417"/>
            <ac:graphicFrameMkLst>
              <pc:docMk/>
              <pc:sldMasterMk cId="752824537" sldId="2147483840"/>
              <pc:sldLayoutMk cId="1105928687" sldId="2147483922"/>
              <ac:graphicFrameMk id="2" creationId="{00000000-0000-0000-0000-000000000000}"/>
            </ac:graphicFrameMkLst>
          </pc:graphicFrameChg>
        </pc:sldLayoutChg>
      </pc:sldMasterChg>
      <pc:sldMasterChg chg="addSp delSp modSp mod modSldLayout">
        <pc:chgData name="Yudi Zhu" userId="571e1a55-055f-4c28-8b35-fca6dd1c1369" providerId="ADAL" clId="{75A88773-6EE1-484E-AADE-FE631E01463B}" dt="2025-11-21T06:05:08.484" v="91521"/>
        <pc:sldMasterMkLst>
          <pc:docMk/>
          <pc:sldMasterMk cId="1145051703" sldId="2147483935"/>
        </pc:sldMasterMkLst>
        <pc:spChg chg="add del mod modVis">
          <ac:chgData name="Yudi Zhu" userId="571e1a55-055f-4c28-8b35-fca6dd1c1369" providerId="ADAL" clId="{75A88773-6EE1-484E-AADE-FE631E01463B}" dt="2025-11-21T06:02:24.617" v="70101" actId="478"/>
          <ac:spMkLst>
            <pc:docMk/>
            <pc:sldMasterMk cId="1145051703" sldId="2147483935"/>
            <ac:spMk id="5" creationId="{C3C641F5-F7C5-8CF3-35A6-38F3C40FA571}"/>
          </ac:spMkLst>
        </pc:spChg>
        <pc:spChg chg="mod">
          <ac:chgData name="Yudi Zhu" userId="571e1a55-055f-4c28-8b35-fca6dd1c1369" providerId="ADAL" clId="{75A88773-6EE1-484E-AADE-FE631E01463B}" dt="2025-11-21T06:01:54.267" v="56559" actId="948"/>
          <ac:spMkLst>
            <pc:docMk/>
            <pc:sldMasterMk cId="1145051703" sldId="2147483935"/>
            <ac:spMk id="9" creationId="{00000000-0000-0000-0000-000000000000}"/>
          </ac:spMkLst>
        </pc:spChg>
        <pc:graphicFrameChg chg="mod">
          <ac:chgData name="Yudi Zhu" userId="571e1a55-055f-4c28-8b35-fca6dd1c1369" providerId="ADAL" clId="{75A88773-6EE1-484E-AADE-FE631E01463B}" dt="2025-11-21T06:05:08.178" v="91415"/>
          <ac:graphicFrameMkLst>
            <pc:docMk/>
            <pc:sldMasterMk cId="1145051703" sldId="2147483935"/>
            <ac:graphicFrameMk id="2" creationId="{00000000-0000-0000-0000-000000000000}"/>
          </ac:graphicFrameMkLst>
        </pc:graphicFrameChg>
        <pc:sldLayoutChg chg="addSp delSp modSp mod">
          <pc:chgData name="Yudi Zhu" userId="571e1a55-055f-4c28-8b35-fca6dd1c1369" providerId="ADAL" clId="{75A88773-6EE1-484E-AADE-FE631E01463B}" dt="2025-11-21T06:05:08.191" v="91419"/>
          <pc:sldLayoutMkLst>
            <pc:docMk/>
            <pc:sldMasterMk cId="1145051703" sldId="2147483935"/>
            <pc:sldLayoutMk cId="1908221941" sldId="2147483936"/>
          </pc:sldLayoutMkLst>
          <pc:spChg chg="add del mod modVis">
            <ac:chgData name="Yudi Zhu" userId="571e1a55-055f-4c28-8b35-fca6dd1c1369" providerId="ADAL" clId="{75A88773-6EE1-484E-AADE-FE631E01463B}" dt="2025-11-21T06:02:24.625" v="70104" actId="478"/>
            <ac:spMkLst>
              <pc:docMk/>
              <pc:sldMasterMk cId="1145051703" sldId="2147483935"/>
              <pc:sldLayoutMk cId="1908221941" sldId="2147483936"/>
              <ac:spMk id="5" creationId="{0BD546F1-720B-5D1C-38ED-4174C017752C}"/>
            </ac:spMkLst>
          </pc:spChg>
          <pc:spChg chg="mod">
            <ac:chgData name="Yudi Zhu" userId="571e1a55-055f-4c28-8b35-fca6dd1c1369" providerId="ADAL" clId="{75A88773-6EE1-484E-AADE-FE631E01463B}" dt="2025-11-21T06:01:54.311" v="56581" actId="948"/>
            <ac:spMkLst>
              <pc:docMk/>
              <pc:sldMasterMk cId="1145051703" sldId="2147483935"/>
              <pc:sldLayoutMk cId="1908221941" sldId="2147483936"/>
              <ac:spMk id="9" creationId="{6F0D426C-C360-4642-82E3-3DA56ACAFBC4}"/>
            </ac:spMkLst>
          </pc:spChg>
          <pc:graphicFrameChg chg="mod">
            <ac:chgData name="Yudi Zhu" userId="571e1a55-055f-4c28-8b35-fca6dd1c1369" providerId="ADAL" clId="{75A88773-6EE1-484E-AADE-FE631E01463B}" dt="2025-11-21T06:05:08.191" v="91419"/>
            <ac:graphicFrameMkLst>
              <pc:docMk/>
              <pc:sldMasterMk cId="1145051703" sldId="2147483935"/>
              <pc:sldLayoutMk cId="1908221941" sldId="2147483936"/>
              <ac:graphicFrameMk id="4" creationId="{C8252351-350B-4EE1-80DA-480857AC1D3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196" v="91421"/>
          <pc:sldLayoutMkLst>
            <pc:docMk/>
            <pc:sldMasterMk cId="1145051703" sldId="2147483935"/>
            <pc:sldLayoutMk cId="1723754033" sldId="2147483937"/>
          </pc:sldLayoutMkLst>
          <pc:spChg chg="add del mod modVis">
            <ac:chgData name="Yudi Zhu" userId="571e1a55-055f-4c28-8b35-fca6dd1c1369" providerId="ADAL" clId="{75A88773-6EE1-484E-AADE-FE631E01463B}" dt="2025-11-21T06:02:24.629" v="70106" actId="478"/>
            <ac:spMkLst>
              <pc:docMk/>
              <pc:sldMasterMk cId="1145051703" sldId="2147483935"/>
              <pc:sldLayoutMk cId="1723754033" sldId="2147483937"/>
              <ac:spMk id="3" creationId="{EDE429C4-10E6-45DF-1610-C4E2E385AF62}"/>
            </ac:spMkLst>
          </pc:spChg>
          <pc:spChg chg="mod">
            <ac:chgData name="Yudi Zhu" userId="571e1a55-055f-4c28-8b35-fca6dd1c1369" providerId="ADAL" clId="{75A88773-6EE1-484E-AADE-FE631E01463B}" dt="2025-11-21T06:01:54.346" v="56603" actId="948"/>
            <ac:spMkLst>
              <pc:docMk/>
              <pc:sldMasterMk cId="1145051703" sldId="2147483935"/>
              <pc:sldLayoutMk cId="1723754033" sldId="2147483937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196" v="91421"/>
            <ac:graphicFrameMkLst>
              <pc:docMk/>
              <pc:sldMasterMk cId="1145051703" sldId="2147483935"/>
              <pc:sldLayoutMk cId="1723754033" sldId="2147483937"/>
              <ac:graphicFrameMk id="4" creationId="{F694B70D-DA78-4133-AD7C-9C125CD357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07" v="91425"/>
          <pc:sldLayoutMkLst>
            <pc:docMk/>
            <pc:sldMasterMk cId="1145051703" sldId="2147483935"/>
            <pc:sldLayoutMk cId="1245920832" sldId="2147483938"/>
          </pc:sldLayoutMkLst>
          <pc:spChg chg="add del mod modVis">
            <ac:chgData name="Yudi Zhu" userId="571e1a55-055f-4c28-8b35-fca6dd1c1369" providerId="ADAL" clId="{75A88773-6EE1-484E-AADE-FE631E01463B}" dt="2025-11-21T06:02:24.635" v="70110" actId="478"/>
            <ac:spMkLst>
              <pc:docMk/>
              <pc:sldMasterMk cId="1145051703" sldId="2147483935"/>
              <pc:sldLayoutMk cId="1245920832" sldId="2147483938"/>
              <ac:spMk id="3" creationId="{1881054C-3EC0-FE36-0EE6-059D618C6A68}"/>
            </ac:spMkLst>
          </pc:spChg>
          <pc:spChg chg="mod">
            <ac:chgData name="Yudi Zhu" userId="571e1a55-055f-4c28-8b35-fca6dd1c1369" providerId="ADAL" clId="{75A88773-6EE1-484E-AADE-FE631E01463B}" dt="2025-11-21T06:01:54.419" v="56647" actId="948"/>
            <ac:spMkLst>
              <pc:docMk/>
              <pc:sldMasterMk cId="1145051703" sldId="2147483935"/>
              <pc:sldLayoutMk cId="1245920832" sldId="2147483938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07" v="91425"/>
            <ac:graphicFrameMkLst>
              <pc:docMk/>
              <pc:sldMasterMk cId="1145051703" sldId="2147483935"/>
              <pc:sldLayoutMk cId="1245920832" sldId="2147483938"/>
              <ac:graphicFrameMk id="4" creationId="{427CE5A4-9DBE-452B-B1A7-06BD6A382B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01" v="91423"/>
          <pc:sldLayoutMkLst>
            <pc:docMk/>
            <pc:sldMasterMk cId="1145051703" sldId="2147483935"/>
            <pc:sldLayoutMk cId="3772135278" sldId="2147483939"/>
          </pc:sldLayoutMkLst>
          <pc:spChg chg="add del mod modVis">
            <ac:chgData name="Yudi Zhu" userId="571e1a55-055f-4c28-8b35-fca6dd1c1369" providerId="ADAL" clId="{75A88773-6EE1-484E-AADE-FE631E01463B}" dt="2025-11-21T06:02:24.632" v="70108" actId="478"/>
            <ac:spMkLst>
              <pc:docMk/>
              <pc:sldMasterMk cId="1145051703" sldId="2147483935"/>
              <pc:sldLayoutMk cId="3772135278" sldId="2147483939"/>
              <ac:spMk id="4" creationId="{A816B9F6-42C6-B2D4-49DF-9067398424F4}"/>
            </ac:spMkLst>
          </pc:spChg>
          <pc:spChg chg="mod">
            <ac:chgData name="Yudi Zhu" userId="571e1a55-055f-4c28-8b35-fca6dd1c1369" providerId="ADAL" clId="{75A88773-6EE1-484E-AADE-FE631E01463B}" dt="2025-11-21T06:01:54.383" v="56625" actId="948"/>
            <ac:spMkLst>
              <pc:docMk/>
              <pc:sldMasterMk cId="1145051703" sldId="2147483935"/>
              <pc:sldLayoutMk cId="3772135278" sldId="2147483939"/>
              <ac:spMk id="2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01" v="91423"/>
            <ac:graphicFrameMkLst>
              <pc:docMk/>
              <pc:sldMasterMk cId="1145051703" sldId="2147483935"/>
              <pc:sldLayoutMk cId="3772135278" sldId="2147483939"/>
              <ac:graphicFrameMk id="3" creationId="{AE36173E-B310-4716-9B29-7C07860DEF5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12" v="91427"/>
          <pc:sldLayoutMkLst>
            <pc:docMk/>
            <pc:sldMasterMk cId="1145051703" sldId="2147483935"/>
            <pc:sldLayoutMk cId="1540818109" sldId="2147483940"/>
          </pc:sldLayoutMkLst>
          <pc:spChg chg="add del mod modVis">
            <ac:chgData name="Yudi Zhu" userId="571e1a55-055f-4c28-8b35-fca6dd1c1369" providerId="ADAL" clId="{75A88773-6EE1-484E-AADE-FE631E01463B}" dt="2025-11-21T06:02:24.639" v="70112" actId="478"/>
            <ac:spMkLst>
              <pc:docMk/>
              <pc:sldMasterMk cId="1145051703" sldId="2147483935"/>
              <pc:sldLayoutMk cId="1540818109" sldId="2147483940"/>
              <ac:spMk id="4" creationId="{F9E514A8-7569-32F6-8BF3-F1A0B68161C2}"/>
            </ac:spMkLst>
          </pc:spChg>
          <pc:spChg chg="mod">
            <ac:chgData name="Yudi Zhu" userId="571e1a55-055f-4c28-8b35-fca6dd1c1369" providerId="ADAL" clId="{75A88773-6EE1-484E-AADE-FE631E01463B}" dt="2025-11-21T06:01:54.452" v="56669" actId="948"/>
            <ac:spMkLst>
              <pc:docMk/>
              <pc:sldMasterMk cId="1145051703" sldId="2147483935"/>
              <pc:sldLayoutMk cId="1540818109" sldId="2147483940"/>
              <ac:spMk id="2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12" v="91427"/>
            <ac:graphicFrameMkLst>
              <pc:docMk/>
              <pc:sldMasterMk cId="1145051703" sldId="2147483935"/>
              <pc:sldLayoutMk cId="1540818109" sldId="2147483940"/>
              <ac:graphicFrameMk id="3" creationId="{740D9BE4-1868-4C0C-A22A-94A6A325677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18" v="91429"/>
          <pc:sldLayoutMkLst>
            <pc:docMk/>
            <pc:sldMasterMk cId="1145051703" sldId="2147483935"/>
            <pc:sldLayoutMk cId="2542373645" sldId="2147483941"/>
          </pc:sldLayoutMkLst>
          <pc:spChg chg="add del mod modVis">
            <ac:chgData name="Yudi Zhu" userId="571e1a55-055f-4c28-8b35-fca6dd1c1369" providerId="ADAL" clId="{75A88773-6EE1-484E-AADE-FE631E01463B}" dt="2025-11-21T06:02:24.643" v="70114" actId="478"/>
            <ac:spMkLst>
              <pc:docMk/>
              <pc:sldMasterMk cId="1145051703" sldId="2147483935"/>
              <pc:sldLayoutMk cId="2542373645" sldId="2147483941"/>
              <ac:spMk id="4" creationId="{FB898A20-8C5F-CDD8-28D2-474E0A4B9640}"/>
            </ac:spMkLst>
          </pc:spChg>
          <pc:spChg chg="mod">
            <ac:chgData name="Yudi Zhu" userId="571e1a55-055f-4c28-8b35-fca6dd1c1369" providerId="ADAL" clId="{75A88773-6EE1-484E-AADE-FE631E01463B}" dt="2025-11-21T06:01:54.488" v="56691" actId="948"/>
            <ac:spMkLst>
              <pc:docMk/>
              <pc:sldMasterMk cId="1145051703" sldId="2147483935"/>
              <pc:sldLayoutMk cId="2542373645" sldId="2147483941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18" v="91429"/>
            <ac:graphicFrameMkLst>
              <pc:docMk/>
              <pc:sldMasterMk cId="1145051703" sldId="2147483935"/>
              <pc:sldLayoutMk cId="2542373645" sldId="2147483941"/>
              <ac:graphicFrameMk id="3" creationId="{33460BF9-A20F-4BA2-B465-4A56FB77CED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23" v="91431"/>
          <pc:sldLayoutMkLst>
            <pc:docMk/>
            <pc:sldMasterMk cId="1145051703" sldId="2147483935"/>
            <pc:sldLayoutMk cId="3221566415" sldId="2147483942"/>
          </pc:sldLayoutMkLst>
          <pc:spChg chg="add del mod modVis">
            <ac:chgData name="Yudi Zhu" userId="571e1a55-055f-4c28-8b35-fca6dd1c1369" providerId="ADAL" clId="{75A88773-6EE1-484E-AADE-FE631E01463B}" dt="2025-11-21T06:02:24.647" v="70116" actId="478"/>
            <ac:spMkLst>
              <pc:docMk/>
              <pc:sldMasterMk cId="1145051703" sldId="2147483935"/>
              <pc:sldLayoutMk cId="3221566415" sldId="2147483942"/>
              <ac:spMk id="4" creationId="{1903885B-9265-DEEE-5320-0F6F9FFC00FD}"/>
            </ac:spMkLst>
          </pc:spChg>
          <pc:spChg chg="mod">
            <ac:chgData name="Yudi Zhu" userId="571e1a55-055f-4c28-8b35-fca6dd1c1369" providerId="ADAL" clId="{75A88773-6EE1-484E-AADE-FE631E01463B}" dt="2025-11-21T06:01:54.519" v="56713" actId="948"/>
            <ac:spMkLst>
              <pc:docMk/>
              <pc:sldMasterMk cId="1145051703" sldId="2147483935"/>
              <pc:sldLayoutMk cId="3221566415" sldId="2147483942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23" v="91431"/>
            <ac:graphicFrameMkLst>
              <pc:docMk/>
              <pc:sldMasterMk cId="1145051703" sldId="2147483935"/>
              <pc:sldLayoutMk cId="3221566415" sldId="2147483942"/>
              <ac:graphicFrameMk id="3" creationId="{21B8B3E8-71F9-4C0F-A77C-14E2A550B00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28" v="91433"/>
          <pc:sldLayoutMkLst>
            <pc:docMk/>
            <pc:sldMasterMk cId="1145051703" sldId="2147483935"/>
            <pc:sldLayoutMk cId="1938047420" sldId="2147483943"/>
          </pc:sldLayoutMkLst>
          <pc:spChg chg="add del mod modVis">
            <ac:chgData name="Yudi Zhu" userId="571e1a55-055f-4c28-8b35-fca6dd1c1369" providerId="ADAL" clId="{75A88773-6EE1-484E-AADE-FE631E01463B}" dt="2025-11-21T06:02:24.650" v="70118" actId="478"/>
            <ac:spMkLst>
              <pc:docMk/>
              <pc:sldMasterMk cId="1145051703" sldId="2147483935"/>
              <pc:sldLayoutMk cId="1938047420" sldId="2147483943"/>
              <ac:spMk id="4" creationId="{4BF2DF01-4891-3687-09A0-4AF1A21E64A5}"/>
            </ac:spMkLst>
          </pc:spChg>
          <pc:spChg chg="mod">
            <ac:chgData name="Yudi Zhu" userId="571e1a55-055f-4c28-8b35-fca6dd1c1369" providerId="ADAL" clId="{75A88773-6EE1-484E-AADE-FE631E01463B}" dt="2025-11-21T06:01:54.552" v="56735" actId="948"/>
            <ac:spMkLst>
              <pc:docMk/>
              <pc:sldMasterMk cId="1145051703" sldId="2147483935"/>
              <pc:sldLayoutMk cId="1938047420" sldId="2147483943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28" v="91433"/>
            <ac:graphicFrameMkLst>
              <pc:docMk/>
              <pc:sldMasterMk cId="1145051703" sldId="2147483935"/>
              <pc:sldLayoutMk cId="1938047420" sldId="2147483943"/>
              <ac:graphicFrameMk id="3" creationId="{BE3A7B4D-95CD-4AE1-AE8D-43D3327B7DD8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34" v="91435"/>
          <pc:sldLayoutMkLst>
            <pc:docMk/>
            <pc:sldMasterMk cId="1145051703" sldId="2147483935"/>
            <pc:sldLayoutMk cId="4278914079" sldId="2147483944"/>
          </pc:sldLayoutMkLst>
          <pc:spChg chg="add del mod modVis">
            <ac:chgData name="Yudi Zhu" userId="571e1a55-055f-4c28-8b35-fca6dd1c1369" providerId="ADAL" clId="{75A88773-6EE1-484E-AADE-FE631E01463B}" dt="2025-11-21T06:02:24.654" v="70120" actId="478"/>
            <ac:spMkLst>
              <pc:docMk/>
              <pc:sldMasterMk cId="1145051703" sldId="2147483935"/>
              <pc:sldLayoutMk cId="4278914079" sldId="2147483944"/>
              <ac:spMk id="4" creationId="{3655547B-8DC3-6EA4-D289-5FA977D481EB}"/>
            </ac:spMkLst>
          </pc:spChg>
          <pc:spChg chg="mod">
            <ac:chgData name="Yudi Zhu" userId="571e1a55-055f-4c28-8b35-fca6dd1c1369" providerId="ADAL" clId="{75A88773-6EE1-484E-AADE-FE631E01463B}" dt="2025-11-21T06:01:54.591" v="56757" actId="948"/>
            <ac:spMkLst>
              <pc:docMk/>
              <pc:sldMasterMk cId="1145051703" sldId="2147483935"/>
              <pc:sldLayoutMk cId="4278914079" sldId="2147483944"/>
              <ac:spMk id="17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34" v="91435"/>
            <ac:graphicFrameMkLst>
              <pc:docMk/>
              <pc:sldMasterMk cId="1145051703" sldId="2147483935"/>
              <pc:sldLayoutMk cId="4278914079" sldId="2147483944"/>
              <ac:graphicFrameMk id="3" creationId="{1FF3201F-7543-4E9D-BD53-2057C237D0A1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44" v="91439"/>
          <pc:sldLayoutMkLst>
            <pc:docMk/>
            <pc:sldMasterMk cId="1145051703" sldId="2147483935"/>
            <pc:sldLayoutMk cId="3537485729" sldId="2147483945"/>
          </pc:sldLayoutMkLst>
          <pc:spChg chg="mod">
            <ac:chgData name="Yudi Zhu" userId="571e1a55-055f-4c28-8b35-fca6dd1c1369" providerId="ADAL" clId="{75A88773-6EE1-484E-AADE-FE631E01463B}" dt="2025-11-21T06:01:54.662" v="56801" actId="948"/>
            <ac:spMkLst>
              <pc:docMk/>
              <pc:sldMasterMk cId="1145051703" sldId="2147483935"/>
              <pc:sldLayoutMk cId="3537485729" sldId="2147483945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662" v="70124" actId="478"/>
            <ac:spMkLst>
              <pc:docMk/>
              <pc:sldMasterMk cId="1145051703" sldId="2147483935"/>
              <pc:sldLayoutMk cId="3537485729" sldId="2147483945"/>
              <ac:spMk id="5" creationId="{66241E3B-852A-13DD-3796-6A7AFBBC4103}"/>
            </ac:spMkLst>
          </pc:spChg>
          <pc:graphicFrameChg chg="mod">
            <ac:chgData name="Yudi Zhu" userId="571e1a55-055f-4c28-8b35-fca6dd1c1369" providerId="ADAL" clId="{75A88773-6EE1-484E-AADE-FE631E01463B}" dt="2025-11-21T06:05:08.244" v="91439"/>
            <ac:graphicFrameMkLst>
              <pc:docMk/>
              <pc:sldMasterMk cId="1145051703" sldId="2147483935"/>
              <pc:sldLayoutMk cId="3537485729" sldId="2147483945"/>
              <ac:graphicFrameMk id="4" creationId="{7CC96504-3966-4B1D-97BC-EDBCCA68DEE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39" v="91437"/>
          <pc:sldLayoutMkLst>
            <pc:docMk/>
            <pc:sldMasterMk cId="1145051703" sldId="2147483935"/>
            <pc:sldLayoutMk cId="86483830" sldId="2147483946"/>
          </pc:sldLayoutMkLst>
          <pc:spChg chg="add del mod modVis">
            <ac:chgData name="Yudi Zhu" userId="571e1a55-055f-4c28-8b35-fca6dd1c1369" providerId="ADAL" clId="{75A88773-6EE1-484E-AADE-FE631E01463B}" dt="2025-11-21T06:02:24.658" v="70122" actId="478"/>
            <ac:spMkLst>
              <pc:docMk/>
              <pc:sldMasterMk cId="1145051703" sldId="2147483935"/>
              <pc:sldLayoutMk cId="86483830" sldId="2147483946"/>
              <ac:spMk id="4" creationId="{5DC89967-6259-BC1A-A6DA-01330282541B}"/>
            </ac:spMkLst>
          </pc:spChg>
          <pc:spChg chg="mod">
            <ac:chgData name="Yudi Zhu" userId="571e1a55-055f-4c28-8b35-fca6dd1c1369" providerId="ADAL" clId="{75A88773-6EE1-484E-AADE-FE631E01463B}" dt="2025-11-21T06:01:54.628" v="56779" actId="948"/>
            <ac:spMkLst>
              <pc:docMk/>
              <pc:sldMasterMk cId="1145051703" sldId="2147483935"/>
              <pc:sldLayoutMk cId="86483830" sldId="2147483946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39" v="91437"/>
            <ac:graphicFrameMkLst>
              <pc:docMk/>
              <pc:sldMasterMk cId="1145051703" sldId="2147483935"/>
              <pc:sldLayoutMk cId="86483830" sldId="2147483946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52" v="91441"/>
          <pc:sldLayoutMkLst>
            <pc:docMk/>
            <pc:sldMasterMk cId="1145051703" sldId="2147483935"/>
            <pc:sldLayoutMk cId="2382501512" sldId="2147483947"/>
          </pc:sldLayoutMkLst>
          <pc:spChg chg="add del mod modVis">
            <ac:chgData name="Yudi Zhu" userId="571e1a55-055f-4c28-8b35-fca6dd1c1369" providerId="ADAL" clId="{75A88773-6EE1-484E-AADE-FE631E01463B}" dt="2025-11-21T06:02:24.665" v="70126" actId="478"/>
            <ac:spMkLst>
              <pc:docMk/>
              <pc:sldMasterMk cId="1145051703" sldId="2147483935"/>
              <pc:sldLayoutMk cId="2382501512" sldId="2147483947"/>
              <ac:spMk id="4" creationId="{F4143B45-F5F2-2EC1-8F23-8B9A4447D210}"/>
            </ac:spMkLst>
          </pc:spChg>
          <pc:spChg chg="mod">
            <ac:chgData name="Yudi Zhu" userId="571e1a55-055f-4c28-8b35-fca6dd1c1369" providerId="ADAL" clId="{75A88773-6EE1-484E-AADE-FE631E01463B}" dt="2025-11-21T06:01:54.696" v="56823" actId="948"/>
            <ac:spMkLst>
              <pc:docMk/>
              <pc:sldMasterMk cId="1145051703" sldId="2147483935"/>
              <pc:sldLayoutMk cId="2382501512" sldId="2147483947"/>
              <ac:spMk id="1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52" v="91441"/>
            <ac:graphicFrameMkLst>
              <pc:docMk/>
              <pc:sldMasterMk cId="1145051703" sldId="2147483935"/>
              <pc:sldLayoutMk cId="2382501512" sldId="2147483947"/>
              <ac:graphicFrameMk id="3" creationId="{97663192-C1D4-47D8-9B83-FA528821B9F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57" v="91443"/>
          <pc:sldLayoutMkLst>
            <pc:docMk/>
            <pc:sldMasterMk cId="1145051703" sldId="2147483935"/>
            <pc:sldLayoutMk cId="1078051009" sldId="2147483948"/>
          </pc:sldLayoutMkLst>
          <pc:spChg chg="add del mod modVis">
            <ac:chgData name="Yudi Zhu" userId="571e1a55-055f-4c28-8b35-fca6dd1c1369" providerId="ADAL" clId="{75A88773-6EE1-484E-AADE-FE631E01463B}" dt="2025-11-21T06:02:24.669" v="70128" actId="478"/>
            <ac:spMkLst>
              <pc:docMk/>
              <pc:sldMasterMk cId="1145051703" sldId="2147483935"/>
              <pc:sldLayoutMk cId="1078051009" sldId="2147483948"/>
              <ac:spMk id="4" creationId="{82063913-8E61-C241-E706-D1D3C0B34578}"/>
            </ac:spMkLst>
          </pc:spChg>
          <pc:spChg chg="mod">
            <ac:chgData name="Yudi Zhu" userId="571e1a55-055f-4c28-8b35-fca6dd1c1369" providerId="ADAL" clId="{75A88773-6EE1-484E-AADE-FE631E01463B}" dt="2025-11-21T06:01:54.731" v="56845" actId="948"/>
            <ac:spMkLst>
              <pc:docMk/>
              <pc:sldMasterMk cId="1145051703" sldId="2147483935"/>
              <pc:sldLayoutMk cId="1078051009" sldId="2147483948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57" v="91443"/>
            <ac:graphicFrameMkLst>
              <pc:docMk/>
              <pc:sldMasterMk cId="1145051703" sldId="2147483935"/>
              <pc:sldLayoutMk cId="1078051009" sldId="2147483948"/>
              <ac:graphicFrameMk id="3" creationId="{056CA221-254A-4377-A964-767461649C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69" v="91447"/>
          <pc:sldLayoutMkLst>
            <pc:docMk/>
            <pc:sldMasterMk cId="1145051703" sldId="2147483935"/>
            <pc:sldLayoutMk cId="771334007" sldId="2147483949"/>
          </pc:sldLayoutMkLst>
          <pc:spChg chg="add del mod modVis">
            <ac:chgData name="Yudi Zhu" userId="571e1a55-055f-4c28-8b35-fca6dd1c1369" providerId="ADAL" clId="{75A88773-6EE1-484E-AADE-FE631E01463B}" dt="2025-11-21T06:02:24.676" v="70132" actId="478"/>
            <ac:spMkLst>
              <pc:docMk/>
              <pc:sldMasterMk cId="1145051703" sldId="2147483935"/>
              <pc:sldLayoutMk cId="771334007" sldId="2147483949"/>
              <ac:spMk id="4" creationId="{D481E1B1-DC39-619E-D574-197D72FDDBF8}"/>
            </ac:spMkLst>
          </pc:spChg>
          <pc:spChg chg="mod">
            <ac:chgData name="Yudi Zhu" userId="571e1a55-055f-4c28-8b35-fca6dd1c1369" providerId="ADAL" clId="{75A88773-6EE1-484E-AADE-FE631E01463B}" dt="2025-11-21T06:01:54.802" v="56889" actId="948"/>
            <ac:spMkLst>
              <pc:docMk/>
              <pc:sldMasterMk cId="1145051703" sldId="2147483935"/>
              <pc:sldLayoutMk cId="771334007" sldId="2147483949"/>
              <ac:spMk id="16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69" v="91447"/>
            <ac:graphicFrameMkLst>
              <pc:docMk/>
              <pc:sldMasterMk cId="1145051703" sldId="2147483935"/>
              <pc:sldLayoutMk cId="771334007" sldId="2147483949"/>
              <ac:graphicFrameMk id="3" creationId="{E2189FA9-37D4-48A4-87E0-F2517B31D7D9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63" v="91445"/>
          <pc:sldLayoutMkLst>
            <pc:docMk/>
            <pc:sldMasterMk cId="1145051703" sldId="2147483935"/>
            <pc:sldLayoutMk cId="94789694" sldId="2147483950"/>
          </pc:sldLayoutMkLst>
          <pc:spChg chg="add del mod modVis">
            <ac:chgData name="Yudi Zhu" userId="571e1a55-055f-4c28-8b35-fca6dd1c1369" providerId="ADAL" clId="{75A88773-6EE1-484E-AADE-FE631E01463B}" dt="2025-11-21T06:02:24.672" v="70130" actId="478"/>
            <ac:spMkLst>
              <pc:docMk/>
              <pc:sldMasterMk cId="1145051703" sldId="2147483935"/>
              <pc:sldLayoutMk cId="94789694" sldId="2147483950"/>
              <ac:spMk id="4" creationId="{F11F4183-6190-0CB8-E485-2C5B776254AA}"/>
            </ac:spMkLst>
          </pc:spChg>
          <pc:spChg chg="mod">
            <ac:chgData name="Yudi Zhu" userId="571e1a55-055f-4c28-8b35-fca6dd1c1369" providerId="ADAL" clId="{75A88773-6EE1-484E-AADE-FE631E01463B}" dt="2025-11-21T06:01:54.767" v="56867" actId="948"/>
            <ac:spMkLst>
              <pc:docMk/>
              <pc:sldMasterMk cId="1145051703" sldId="2147483935"/>
              <pc:sldLayoutMk cId="94789694" sldId="2147483950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63" v="91445"/>
            <ac:graphicFrameMkLst>
              <pc:docMk/>
              <pc:sldMasterMk cId="1145051703" sldId="2147483935"/>
              <pc:sldLayoutMk cId="94789694" sldId="2147483950"/>
              <ac:graphicFrameMk id="3" creationId="{C456CDC6-32B5-4797-86DC-72C5A4B6B5F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275" v="91449"/>
          <pc:sldLayoutMkLst>
            <pc:docMk/>
            <pc:sldMasterMk cId="1145051703" sldId="2147483935"/>
            <pc:sldLayoutMk cId="924020745" sldId="2147483951"/>
          </pc:sldLayoutMkLst>
          <pc:spChg chg="add del mod modVis">
            <ac:chgData name="Yudi Zhu" userId="571e1a55-055f-4c28-8b35-fca6dd1c1369" providerId="ADAL" clId="{75A88773-6EE1-484E-AADE-FE631E01463B}" dt="2025-11-21T06:02:24.679" v="70134" actId="478"/>
            <ac:spMkLst>
              <pc:docMk/>
              <pc:sldMasterMk cId="1145051703" sldId="2147483935"/>
              <pc:sldLayoutMk cId="924020745" sldId="2147483951"/>
              <ac:spMk id="4" creationId="{DB80C724-50C5-F8BA-655F-FB8D0933C2C1}"/>
            </ac:spMkLst>
          </pc:spChg>
          <pc:spChg chg="mod">
            <ac:chgData name="Yudi Zhu" userId="571e1a55-055f-4c28-8b35-fca6dd1c1369" providerId="ADAL" clId="{75A88773-6EE1-484E-AADE-FE631E01463B}" dt="2025-11-21T06:01:54.839" v="56911" actId="948"/>
            <ac:spMkLst>
              <pc:docMk/>
              <pc:sldMasterMk cId="1145051703" sldId="2147483935"/>
              <pc:sldLayoutMk cId="924020745" sldId="2147483951"/>
              <ac:spMk id="11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275" v="91449"/>
            <ac:graphicFrameMkLst>
              <pc:docMk/>
              <pc:sldMasterMk cId="1145051703" sldId="2147483935"/>
              <pc:sldLayoutMk cId="924020745" sldId="2147483951"/>
              <ac:graphicFrameMk id="3" creationId="{4099332F-3EDF-4319-AC87-D52E33391833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125" v="91395"/>
          <pc:sldLayoutMkLst>
            <pc:docMk/>
            <pc:sldMasterMk cId="1145051703" sldId="2147483935"/>
            <pc:sldLayoutMk cId="3313920692" sldId="2147483952"/>
          </pc:sldLayoutMkLst>
          <pc:graphicFrameChg chg="mod">
            <ac:chgData name="Yudi Zhu" userId="571e1a55-055f-4c28-8b35-fca6dd1c1369" providerId="ADAL" clId="{75A88773-6EE1-484E-AADE-FE631E01463B}" dt="2025-11-21T06:05:08.125" v="91395"/>
            <ac:graphicFrameMkLst>
              <pc:docMk/>
              <pc:sldMasterMk cId="1145051703" sldId="2147483935"/>
              <pc:sldLayoutMk cId="3313920692" sldId="2147483952"/>
              <ac:graphicFrameMk id="4" creationId="{0E9A2C5A-D5FE-2E65-8281-816B518D96E3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381" v="91481"/>
          <pc:sldLayoutMkLst>
            <pc:docMk/>
            <pc:sldMasterMk cId="1145051703" sldId="2147483935"/>
            <pc:sldLayoutMk cId="1531905991" sldId="2147483953"/>
          </pc:sldLayoutMkLst>
          <pc:spChg chg="add del mod modVis">
            <ac:chgData name="Yudi Zhu" userId="571e1a55-055f-4c28-8b35-fca6dd1c1369" providerId="ADAL" clId="{75A88773-6EE1-484E-AADE-FE631E01463B}" dt="2025-11-21T06:02:24.752" v="70154" actId="478"/>
            <ac:spMkLst>
              <pc:docMk/>
              <pc:sldMasterMk cId="1145051703" sldId="2147483935"/>
              <pc:sldLayoutMk cId="1531905991" sldId="2147483953"/>
              <ac:spMk id="4" creationId="{F717F73B-BF38-04ED-48AB-0C36E3265DE6}"/>
            </ac:spMkLst>
          </pc:spChg>
          <pc:spChg chg="mod">
            <ac:chgData name="Yudi Zhu" userId="571e1a55-055f-4c28-8b35-fca6dd1c1369" providerId="ADAL" clId="{75A88773-6EE1-484E-AADE-FE631E01463B}" dt="2025-11-21T06:01:55.348" v="57163" actId="948"/>
            <ac:spMkLst>
              <pc:docMk/>
              <pc:sldMasterMk cId="1145051703" sldId="2147483935"/>
              <pc:sldLayoutMk cId="1531905991" sldId="2147483953"/>
              <ac:spMk id="9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381" v="91481"/>
            <ac:graphicFrameMkLst>
              <pc:docMk/>
              <pc:sldMasterMk cId="1145051703" sldId="2147483935"/>
              <pc:sldLayoutMk cId="1531905991" sldId="2147483953"/>
              <ac:graphicFrameMk id="3" creationId="{AB9DA2CB-7FF8-4CFB-A652-684E594036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377" v="91479"/>
          <pc:sldLayoutMkLst>
            <pc:docMk/>
            <pc:sldMasterMk cId="1145051703" sldId="2147483935"/>
            <pc:sldLayoutMk cId="966004114" sldId="2147483954"/>
          </pc:sldLayoutMkLst>
          <pc:spChg chg="add del mod modVis">
            <ac:chgData name="Yudi Zhu" userId="571e1a55-055f-4c28-8b35-fca6dd1c1369" providerId="ADAL" clId="{75A88773-6EE1-484E-AADE-FE631E01463B}" dt="2025-11-21T06:02:24.749" v="70152" actId="478"/>
            <ac:spMkLst>
              <pc:docMk/>
              <pc:sldMasterMk cId="1145051703" sldId="2147483935"/>
              <pc:sldLayoutMk cId="966004114" sldId="2147483954"/>
              <ac:spMk id="4" creationId="{BD86BCDC-41B9-1448-1277-A5F9614A3906}"/>
            </ac:spMkLst>
          </pc:spChg>
          <pc:spChg chg="mod">
            <ac:chgData name="Yudi Zhu" userId="571e1a55-055f-4c28-8b35-fca6dd1c1369" providerId="ADAL" clId="{75A88773-6EE1-484E-AADE-FE631E01463B}" dt="2025-11-21T06:01:55.305" v="57141" actId="948"/>
            <ac:spMkLst>
              <pc:docMk/>
              <pc:sldMasterMk cId="1145051703" sldId="2147483935"/>
              <pc:sldLayoutMk cId="966004114" sldId="2147483954"/>
              <ac:spMk id="2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377" v="91479"/>
            <ac:graphicFrameMkLst>
              <pc:docMk/>
              <pc:sldMasterMk cId="1145051703" sldId="2147483935"/>
              <pc:sldLayoutMk cId="966004114" sldId="2147483954"/>
              <ac:graphicFrameMk id="3" creationId="{A79C6112-A96D-4B61-8290-08899155E927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387" v="91483"/>
          <pc:sldLayoutMkLst>
            <pc:docMk/>
            <pc:sldMasterMk cId="1145051703" sldId="2147483935"/>
            <pc:sldLayoutMk cId="1110528122" sldId="2147483955"/>
          </pc:sldLayoutMkLst>
          <pc:spChg chg="mod">
            <ac:chgData name="Yudi Zhu" userId="571e1a55-055f-4c28-8b35-fca6dd1c1369" providerId="ADAL" clId="{75A88773-6EE1-484E-AADE-FE631E01463B}" dt="2025-11-21T06:01:55.386" v="57185" actId="948"/>
            <ac:spMkLst>
              <pc:docMk/>
              <pc:sldMasterMk cId="1145051703" sldId="2147483935"/>
              <pc:sldLayoutMk cId="1110528122" sldId="2147483955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757" v="70156" actId="478"/>
            <ac:spMkLst>
              <pc:docMk/>
              <pc:sldMasterMk cId="1145051703" sldId="2147483935"/>
              <pc:sldLayoutMk cId="1110528122" sldId="2147483955"/>
              <ac:spMk id="5" creationId="{DBFBDA79-A25A-6486-EC56-EC02C65DD453}"/>
            </ac:spMkLst>
          </pc:spChg>
          <pc:graphicFrameChg chg="mod">
            <ac:chgData name="Yudi Zhu" userId="571e1a55-055f-4c28-8b35-fca6dd1c1369" providerId="ADAL" clId="{75A88773-6EE1-484E-AADE-FE631E01463B}" dt="2025-11-21T06:05:08.387" v="91483"/>
            <ac:graphicFrameMkLst>
              <pc:docMk/>
              <pc:sldMasterMk cId="1145051703" sldId="2147483935"/>
              <pc:sldLayoutMk cId="1110528122" sldId="2147483955"/>
              <ac:graphicFrameMk id="4" creationId="{A5E46131-D60C-4AB8-9741-E3D3445EE01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397" v="91487"/>
          <pc:sldLayoutMkLst>
            <pc:docMk/>
            <pc:sldMasterMk cId="1145051703" sldId="2147483935"/>
            <pc:sldLayoutMk cId="2872884392" sldId="2147483956"/>
          </pc:sldLayoutMkLst>
          <pc:spChg chg="mod">
            <ac:chgData name="Yudi Zhu" userId="571e1a55-055f-4c28-8b35-fca6dd1c1369" providerId="ADAL" clId="{75A88773-6EE1-484E-AADE-FE631E01463B}" dt="2025-11-21T06:01:55.466" v="57229" actId="948"/>
            <ac:spMkLst>
              <pc:docMk/>
              <pc:sldMasterMk cId="1145051703" sldId="2147483935"/>
              <pc:sldLayoutMk cId="2872884392" sldId="2147483956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765" v="70160" actId="478"/>
            <ac:spMkLst>
              <pc:docMk/>
              <pc:sldMasterMk cId="1145051703" sldId="2147483935"/>
              <pc:sldLayoutMk cId="2872884392" sldId="2147483956"/>
              <ac:spMk id="5" creationId="{4CAB720C-F4A5-6F6F-C265-F1B1E2C54D18}"/>
            </ac:spMkLst>
          </pc:spChg>
          <pc:graphicFrameChg chg="mod">
            <ac:chgData name="Yudi Zhu" userId="571e1a55-055f-4c28-8b35-fca6dd1c1369" providerId="ADAL" clId="{75A88773-6EE1-484E-AADE-FE631E01463B}" dt="2025-11-21T06:05:08.397" v="91487"/>
            <ac:graphicFrameMkLst>
              <pc:docMk/>
              <pc:sldMasterMk cId="1145051703" sldId="2147483935"/>
              <pc:sldLayoutMk cId="2872884392" sldId="2147483956"/>
              <ac:graphicFrameMk id="4" creationId="{9CB55A6B-96AD-443A-8BE6-D7196A4B8F3F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392" v="91485"/>
          <pc:sldLayoutMkLst>
            <pc:docMk/>
            <pc:sldMasterMk cId="1145051703" sldId="2147483935"/>
            <pc:sldLayoutMk cId="2482328390" sldId="2147483957"/>
          </pc:sldLayoutMkLst>
          <pc:spChg chg="add del mod modVis">
            <ac:chgData name="Yudi Zhu" userId="571e1a55-055f-4c28-8b35-fca6dd1c1369" providerId="ADAL" clId="{75A88773-6EE1-484E-AADE-FE631E01463B}" dt="2025-11-21T06:02:24.761" v="70158" actId="478"/>
            <ac:spMkLst>
              <pc:docMk/>
              <pc:sldMasterMk cId="1145051703" sldId="2147483935"/>
              <pc:sldLayoutMk cId="2482328390" sldId="2147483957"/>
              <ac:spMk id="4" creationId="{E2D84F25-B29B-AC3E-149A-CC4BD511D3A9}"/>
            </ac:spMkLst>
          </pc:spChg>
          <pc:spChg chg="mod">
            <ac:chgData name="Yudi Zhu" userId="571e1a55-055f-4c28-8b35-fca6dd1c1369" providerId="ADAL" clId="{75A88773-6EE1-484E-AADE-FE631E01463B}" dt="2025-11-21T06:01:55.428" v="57207" actId="948"/>
            <ac:spMkLst>
              <pc:docMk/>
              <pc:sldMasterMk cId="1145051703" sldId="2147483935"/>
              <pc:sldLayoutMk cId="2482328390" sldId="2147483957"/>
              <ac:spMk id="24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392" v="91485"/>
            <ac:graphicFrameMkLst>
              <pc:docMk/>
              <pc:sldMasterMk cId="1145051703" sldId="2147483935"/>
              <pc:sldLayoutMk cId="2482328390" sldId="2147483957"/>
              <ac:graphicFrameMk id="3" creationId="{6CEEDCB5-AEBF-499C-B756-7B17B4A9535D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02" v="91489"/>
          <pc:sldLayoutMkLst>
            <pc:docMk/>
            <pc:sldMasterMk cId="1145051703" sldId="2147483935"/>
            <pc:sldLayoutMk cId="4225779700" sldId="2147483958"/>
          </pc:sldLayoutMkLst>
          <pc:spChg chg="add del mod modVis">
            <ac:chgData name="Yudi Zhu" userId="571e1a55-055f-4c28-8b35-fca6dd1c1369" providerId="ADAL" clId="{75A88773-6EE1-484E-AADE-FE631E01463B}" dt="2025-11-21T06:02:24.769" v="70162" actId="478"/>
            <ac:spMkLst>
              <pc:docMk/>
              <pc:sldMasterMk cId="1145051703" sldId="2147483935"/>
              <pc:sldLayoutMk cId="4225779700" sldId="2147483958"/>
              <ac:spMk id="4" creationId="{BE722115-03A9-2553-1083-E56C4C795C2F}"/>
            </ac:spMkLst>
          </pc:spChg>
          <pc:spChg chg="mod">
            <ac:chgData name="Yudi Zhu" userId="571e1a55-055f-4c28-8b35-fca6dd1c1369" providerId="ADAL" clId="{75A88773-6EE1-484E-AADE-FE631E01463B}" dt="2025-11-21T06:01:55.500" v="57251" actId="948"/>
            <ac:spMkLst>
              <pc:docMk/>
              <pc:sldMasterMk cId="1145051703" sldId="2147483935"/>
              <pc:sldLayoutMk cId="4225779700" sldId="2147483958"/>
              <ac:spMk id="13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02" v="91489"/>
            <ac:graphicFrameMkLst>
              <pc:docMk/>
              <pc:sldMasterMk cId="1145051703" sldId="2147483935"/>
              <pc:sldLayoutMk cId="4225779700" sldId="2147483958"/>
              <ac:graphicFrameMk id="3" creationId="{1D69369B-8A66-4FA2-A3BA-152FECEA3416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07" v="91491"/>
          <pc:sldLayoutMkLst>
            <pc:docMk/>
            <pc:sldMasterMk cId="1145051703" sldId="2147483935"/>
            <pc:sldLayoutMk cId="1030365955" sldId="2147483959"/>
          </pc:sldLayoutMkLst>
          <pc:spChg chg="add del mod modVis">
            <ac:chgData name="Yudi Zhu" userId="571e1a55-055f-4c28-8b35-fca6dd1c1369" providerId="ADAL" clId="{75A88773-6EE1-484E-AADE-FE631E01463B}" dt="2025-11-21T06:02:24.772" v="70164" actId="478"/>
            <ac:spMkLst>
              <pc:docMk/>
              <pc:sldMasterMk cId="1145051703" sldId="2147483935"/>
              <pc:sldLayoutMk cId="1030365955" sldId="2147483959"/>
              <ac:spMk id="4" creationId="{00488E96-B3D0-6A7A-5B3D-8949A510CEE1}"/>
            </ac:spMkLst>
          </pc:spChg>
          <pc:spChg chg="mod">
            <ac:chgData name="Yudi Zhu" userId="571e1a55-055f-4c28-8b35-fca6dd1c1369" providerId="ADAL" clId="{75A88773-6EE1-484E-AADE-FE631E01463B}" dt="2025-11-21T06:01:55.539" v="57273" actId="948"/>
            <ac:spMkLst>
              <pc:docMk/>
              <pc:sldMasterMk cId="1145051703" sldId="2147483935"/>
              <pc:sldLayoutMk cId="1030365955" sldId="2147483959"/>
              <ac:spMk id="1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07" v="91491"/>
            <ac:graphicFrameMkLst>
              <pc:docMk/>
              <pc:sldMasterMk cId="1145051703" sldId="2147483935"/>
              <pc:sldLayoutMk cId="1030365955" sldId="2147483959"/>
              <ac:graphicFrameMk id="3" creationId="{AB9C19B9-9588-464B-841B-4E0F598DE58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12" v="91493"/>
          <pc:sldLayoutMkLst>
            <pc:docMk/>
            <pc:sldMasterMk cId="1145051703" sldId="2147483935"/>
            <pc:sldLayoutMk cId="4246972657" sldId="2147483960"/>
          </pc:sldLayoutMkLst>
          <pc:spChg chg="add del mod modVis">
            <ac:chgData name="Yudi Zhu" userId="571e1a55-055f-4c28-8b35-fca6dd1c1369" providerId="ADAL" clId="{75A88773-6EE1-484E-AADE-FE631E01463B}" dt="2025-11-21T06:02:24.775" v="70166" actId="478"/>
            <ac:spMkLst>
              <pc:docMk/>
              <pc:sldMasterMk cId="1145051703" sldId="2147483935"/>
              <pc:sldLayoutMk cId="4246972657" sldId="2147483960"/>
              <ac:spMk id="4" creationId="{09C1AFD5-C373-1884-6045-71B6DB18E2B1}"/>
            </ac:spMkLst>
          </pc:spChg>
          <pc:spChg chg="mod">
            <ac:chgData name="Yudi Zhu" userId="571e1a55-055f-4c28-8b35-fca6dd1c1369" providerId="ADAL" clId="{75A88773-6EE1-484E-AADE-FE631E01463B}" dt="2025-11-21T06:01:55.575" v="57295" actId="948"/>
            <ac:spMkLst>
              <pc:docMk/>
              <pc:sldMasterMk cId="1145051703" sldId="2147483935"/>
              <pc:sldLayoutMk cId="4246972657" sldId="2147483960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12" v="91493"/>
            <ac:graphicFrameMkLst>
              <pc:docMk/>
              <pc:sldMasterMk cId="1145051703" sldId="2147483935"/>
              <pc:sldLayoutMk cId="4246972657" sldId="2147483960"/>
              <ac:graphicFrameMk id="3" creationId="{00000000-0000-0000-0000-0000000000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18" v="91495"/>
          <pc:sldLayoutMkLst>
            <pc:docMk/>
            <pc:sldMasterMk cId="1145051703" sldId="2147483935"/>
            <pc:sldLayoutMk cId="1897259400" sldId="2147483961"/>
          </pc:sldLayoutMkLst>
          <pc:spChg chg="add del mod modVis">
            <ac:chgData name="Yudi Zhu" userId="571e1a55-055f-4c28-8b35-fca6dd1c1369" providerId="ADAL" clId="{75A88773-6EE1-484E-AADE-FE631E01463B}" dt="2025-11-21T06:02:24.779" v="70168" actId="478"/>
            <ac:spMkLst>
              <pc:docMk/>
              <pc:sldMasterMk cId="1145051703" sldId="2147483935"/>
              <pc:sldLayoutMk cId="1897259400" sldId="2147483961"/>
              <ac:spMk id="4" creationId="{463C37C0-9A9C-1052-B58E-C28E3292980F}"/>
            </ac:spMkLst>
          </pc:spChg>
          <pc:spChg chg="mod">
            <ac:chgData name="Yudi Zhu" userId="571e1a55-055f-4c28-8b35-fca6dd1c1369" providerId="ADAL" clId="{75A88773-6EE1-484E-AADE-FE631E01463B}" dt="2025-11-21T06:01:55.613" v="57317" actId="948"/>
            <ac:spMkLst>
              <pc:docMk/>
              <pc:sldMasterMk cId="1145051703" sldId="2147483935"/>
              <pc:sldLayoutMk cId="1897259400" sldId="2147483961"/>
              <ac:spMk id="5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18" v="91495"/>
            <ac:graphicFrameMkLst>
              <pc:docMk/>
              <pc:sldMasterMk cId="1145051703" sldId="2147483935"/>
              <pc:sldLayoutMk cId="1897259400" sldId="2147483961"/>
              <ac:graphicFrameMk id="3" creationId="{CB93EF4C-1394-476A-823F-13E6F1417F9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23" v="91497"/>
          <pc:sldLayoutMkLst>
            <pc:docMk/>
            <pc:sldMasterMk cId="1145051703" sldId="2147483935"/>
            <pc:sldLayoutMk cId="2367887538" sldId="2147483962"/>
          </pc:sldLayoutMkLst>
          <pc:spChg chg="add del mod modVis">
            <ac:chgData name="Yudi Zhu" userId="571e1a55-055f-4c28-8b35-fca6dd1c1369" providerId="ADAL" clId="{75A88773-6EE1-484E-AADE-FE631E01463B}" dt="2025-11-21T06:02:24.783" v="70170" actId="478"/>
            <ac:spMkLst>
              <pc:docMk/>
              <pc:sldMasterMk cId="1145051703" sldId="2147483935"/>
              <pc:sldLayoutMk cId="2367887538" sldId="2147483962"/>
              <ac:spMk id="4" creationId="{52378176-6C28-3863-3A25-4BBDEAF002D6}"/>
            </ac:spMkLst>
          </pc:spChg>
          <pc:spChg chg="mod">
            <ac:chgData name="Yudi Zhu" userId="571e1a55-055f-4c28-8b35-fca6dd1c1369" providerId="ADAL" clId="{75A88773-6EE1-484E-AADE-FE631E01463B}" dt="2025-11-21T06:01:55.649" v="57339" actId="948"/>
            <ac:spMkLst>
              <pc:docMk/>
              <pc:sldMasterMk cId="1145051703" sldId="2147483935"/>
              <pc:sldLayoutMk cId="2367887538" sldId="2147483962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23" v="91497"/>
            <ac:graphicFrameMkLst>
              <pc:docMk/>
              <pc:sldMasterMk cId="1145051703" sldId="2147483935"/>
              <pc:sldLayoutMk cId="2367887538" sldId="2147483962"/>
              <ac:graphicFrameMk id="3" creationId="{D769B887-2B13-4C8F-946E-E594927AC085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28" v="91499"/>
          <pc:sldLayoutMkLst>
            <pc:docMk/>
            <pc:sldMasterMk cId="1145051703" sldId="2147483935"/>
            <pc:sldLayoutMk cId="4128827676" sldId="2147483963"/>
          </pc:sldLayoutMkLst>
          <pc:spChg chg="add del mod modVis">
            <ac:chgData name="Yudi Zhu" userId="571e1a55-055f-4c28-8b35-fca6dd1c1369" providerId="ADAL" clId="{75A88773-6EE1-484E-AADE-FE631E01463B}" dt="2025-11-21T06:02:24.786" v="70172" actId="478"/>
            <ac:spMkLst>
              <pc:docMk/>
              <pc:sldMasterMk cId="1145051703" sldId="2147483935"/>
              <pc:sldLayoutMk cId="4128827676" sldId="2147483963"/>
              <ac:spMk id="4" creationId="{17D67F8C-E263-2FE7-6637-33D5DA364D15}"/>
            </ac:spMkLst>
          </pc:spChg>
          <pc:spChg chg="mod">
            <ac:chgData name="Yudi Zhu" userId="571e1a55-055f-4c28-8b35-fca6dd1c1369" providerId="ADAL" clId="{75A88773-6EE1-484E-AADE-FE631E01463B}" dt="2025-11-21T06:01:55.684" v="57361" actId="948"/>
            <ac:spMkLst>
              <pc:docMk/>
              <pc:sldMasterMk cId="1145051703" sldId="2147483935"/>
              <pc:sldLayoutMk cId="4128827676" sldId="2147483963"/>
              <ac:spMk id="20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28" v="91499"/>
            <ac:graphicFrameMkLst>
              <pc:docMk/>
              <pc:sldMasterMk cId="1145051703" sldId="2147483935"/>
              <pc:sldLayoutMk cId="4128827676" sldId="2147483963"/>
              <ac:graphicFrameMk id="3" creationId="{455A7C36-70AD-47B9-A14E-627B49FA2300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33" v="91501"/>
          <pc:sldLayoutMkLst>
            <pc:docMk/>
            <pc:sldMasterMk cId="1145051703" sldId="2147483935"/>
            <pc:sldLayoutMk cId="2785912567" sldId="2147483964"/>
          </pc:sldLayoutMkLst>
          <pc:spChg chg="mod">
            <ac:chgData name="Yudi Zhu" userId="571e1a55-055f-4c28-8b35-fca6dd1c1369" providerId="ADAL" clId="{75A88773-6EE1-484E-AADE-FE631E01463B}" dt="2025-11-21T06:01:55.718" v="57383" actId="948"/>
            <ac:spMkLst>
              <pc:docMk/>
              <pc:sldMasterMk cId="1145051703" sldId="2147483935"/>
              <pc:sldLayoutMk cId="2785912567" sldId="2147483964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790" v="70174" actId="478"/>
            <ac:spMkLst>
              <pc:docMk/>
              <pc:sldMasterMk cId="1145051703" sldId="2147483935"/>
              <pc:sldLayoutMk cId="2785912567" sldId="2147483964"/>
              <ac:spMk id="5" creationId="{C775EB15-EE53-743A-FE9D-27674B2CB816}"/>
            </ac:spMkLst>
          </pc:spChg>
          <pc:graphicFrameChg chg="mod">
            <ac:chgData name="Yudi Zhu" userId="571e1a55-055f-4c28-8b35-fca6dd1c1369" providerId="ADAL" clId="{75A88773-6EE1-484E-AADE-FE631E01463B}" dt="2025-11-21T06:05:08.433" v="91501"/>
            <ac:graphicFrameMkLst>
              <pc:docMk/>
              <pc:sldMasterMk cId="1145051703" sldId="2147483935"/>
              <pc:sldLayoutMk cId="2785912567" sldId="2147483964"/>
              <ac:graphicFrameMk id="4" creationId="{039D2536-1DC7-4B54-9D7A-41732CF834E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38" v="91503"/>
          <pc:sldLayoutMkLst>
            <pc:docMk/>
            <pc:sldMasterMk cId="1145051703" sldId="2147483935"/>
            <pc:sldLayoutMk cId="3120414260" sldId="2147483965"/>
          </pc:sldLayoutMkLst>
          <pc:spChg chg="mod">
            <ac:chgData name="Yudi Zhu" userId="571e1a55-055f-4c28-8b35-fca6dd1c1369" providerId="ADAL" clId="{75A88773-6EE1-484E-AADE-FE631E01463B}" dt="2025-11-21T06:01:55.754" v="57405" actId="948"/>
            <ac:spMkLst>
              <pc:docMk/>
              <pc:sldMasterMk cId="1145051703" sldId="2147483935"/>
              <pc:sldLayoutMk cId="3120414260" sldId="2147483965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794" v="70176" actId="478"/>
            <ac:spMkLst>
              <pc:docMk/>
              <pc:sldMasterMk cId="1145051703" sldId="2147483935"/>
              <pc:sldLayoutMk cId="3120414260" sldId="2147483965"/>
              <ac:spMk id="5" creationId="{94A15F3C-143A-B9AD-31D5-0A2FFB2BE3FF}"/>
            </ac:spMkLst>
          </pc:spChg>
          <pc:graphicFrameChg chg="mod">
            <ac:chgData name="Yudi Zhu" userId="571e1a55-055f-4c28-8b35-fca6dd1c1369" providerId="ADAL" clId="{75A88773-6EE1-484E-AADE-FE631E01463B}" dt="2025-11-21T06:05:08.438" v="91503"/>
            <ac:graphicFrameMkLst>
              <pc:docMk/>
              <pc:sldMasterMk cId="1145051703" sldId="2147483935"/>
              <pc:sldLayoutMk cId="3120414260" sldId="2147483965"/>
              <ac:graphicFrameMk id="4" creationId="{039D2536-1DC7-4B54-9D7A-41732CF834EB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42" v="91505"/>
          <pc:sldLayoutMkLst>
            <pc:docMk/>
            <pc:sldMasterMk cId="1145051703" sldId="2147483935"/>
            <pc:sldLayoutMk cId="438249828" sldId="2147483966"/>
          </pc:sldLayoutMkLst>
          <pc:spChg chg="mod">
            <ac:chgData name="Yudi Zhu" userId="571e1a55-055f-4c28-8b35-fca6dd1c1369" providerId="ADAL" clId="{75A88773-6EE1-484E-AADE-FE631E01463B}" dt="2025-11-21T06:01:55.787" v="57427" actId="948"/>
            <ac:spMkLst>
              <pc:docMk/>
              <pc:sldMasterMk cId="1145051703" sldId="2147483935"/>
              <pc:sldLayoutMk cId="438249828" sldId="2147483966"/>
              <ac:spMk id="3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798" v="70178" actId="478"/>
            <ac:spMkLst>
              <pc:docMk/>
              <pc:sldMasterMk cId="1145051703" sldId="2147483935"/>
              <pc:sldLayoutMk cId="438249828" sldId="2147483966"/>
              <ac:spMk id="5" creationId="{0B1EDB0E-BF2D-AB45-352C-F340EB22CBC5}"/>
            </ac:spMkLst>
          </pc:spChg>
          <pc:graphicFrameChg chg="mod">
            <ac:chgData name="Yudi Zhu" userId="571e1a55-055f-4c28-8b35-fca6dd1c1369" providerId="ADAL" clId="{75A88773-6EE1-484E-AADE-FE631E01463B}" dt="2025-11-21T06:05:08.442" v="91505"/>
            <ac:graphicFrameMkLst>
              <pc:docMk/>
              <pc:sldMasterMk cId="1145051703" sldId="2147483935"/>
              <pc:sldLayoutMk cId="438249828" sldId="2147483966"/>
              <ac:graphicFrameMk id="4" creationId="{8B473B82-53D5-4DFB-9CCC-3DDD34E832E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53" v="91509"/>
          <pc:sldLayoutMkLst>
            <pc:docMk/>
            <pc:sldMasterMk cId="1145051703" sldId="2147483935"/>
            <pc:sldLayoutMk cId="2400598393" sldId="2147483967"/>
          </pc:sldLayoutMkLst>
          <pc:spChg chg="mod">
            <ac:chgData name="Yudi Zhu" userId="571e1a55-055f-4c28-8b35-fca6dd1c1369" providerId="ADAL" clId="{75A88773-6EE1-484E-AADE-FE631E01463B}" dt="2025-11-21T06:01:55.862" v="57471" actId="948"/>
            <ac:spMkLst>
              <pc:docMk/>
              <pc:sldMasterMk cId="1145051703" sldId="2147483935"/>
              <pc:sldLayoutMk cId="2400598393" sldId="2147483967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806" v="70182" actId="478"/>
            <ac:spMkLst>
              <pc:docMk/>
              <pc:sldMasterMk cId="1145051703" sldId="2147483935"/>
              <pc:sldLayoutMk cId="2400598393" sldId="2147483967"/>
              <ac:spMk id="5" creationId="{366FC886-28FF-BDF4-3B26-9C225CCFBC3D}"/>
            </ac:spMkLst>
          </pc:spChg>
          <pc:graphicFrameChg chg="mod">
            <ac:chgData name="Yudi Zhu" userId="571e1a55-055f-4c28-8b35-fca6dd1c1369" providerId="ADAL" clId="{75A88773-6EE1-484E-AADE-FE631E01463B}" dt="2025-11-21T06:05:08.453" v="91509"/>
            <ac:graphicFrameMkLst>
              <pc:docMk/>
              <pc:sldMasterMk cId="1145051703" sldId="2147483935"/>
              <pc:sldLayoutMk cId="2400598393" sldId="2147483967"/>
              <ac:graphicFrameMk id="4" creationId="{897521DA-F255-4067-808C-8D586F745C2A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48" v="91507"/>
          <pc:sldLayoutMkLst>
            <pc:docMk/>
            <pc:sldMasterMk cId="1145051703" sldId="2147483935"/>
            <pc:sldLayoutMk cId="1850386106" sldId="2147483968"/>
          </pc:sldLayoutMkLst>
          <pc:spChg chg="mod">
            <ac:chgData name="Yudi Zhu" userId="571e1a55-055f-4c28-8b35-fca6dd1c1369" providerId="ADAL" clId="{75A88773-6EE1-484E-AADE-FE631E01463B}" dt="2025-11-21T06:01:55.823" v="57449" actId="948"/>
            <ac:spMkLst>
              <pc:docMk/>
              <pc:sldMasterMk cId="1145051703" sldId="2147483935"/>
              <pc:sldLayoutMk cId="1850386106" sldId="2147483968"/>
              <ac:spMk id="2" creationId="{00000000-0000-0000-0000-000000000000}"/>
            </ac:spMkLst>
          </pc:spChg>
          <pc:spChg chg="add del mod modVis">
            <ac:chgData name="Yudi Zhu" userId="571e1a55-055f-4c28-8b35-fca6dd1c1369" providerId="ADAL" clId="{75A88773-6EE1-484E-AADE-FE631E01463B}" dt="2025-11-21T06:02:24.802" v="70180" actId="478"/>
            <ac:spMkLst>
              <pc:docMk/>
              <pc:sldMasterMk cId="1145051703" sldId="2147483935"/>
              <pc:sldLayoutMk cId="1850386106" sldId="2147483968"/>
              <ac:spMk id="5" creationId="{07A4C22A-8FA6-0B89-E7E3-51780C0D20F9}"/>
            </ac:spMkLst>
          </pc:spChg>
          <pc:graphicFrameChg chg="mod">
            <ac:chgData name="Yudi Zhu" userId="571e1a55-055f-4c28-8b35-fca6dd1c1369" providerId="ADAL" clId="{75A88773-6EE1-484E-AADE-FE631E01463B}" dt="2025-11-21T06:05:08.448" v="91507"/>
            <ac:graphicFrameMkLst>
              <pc:docMk/>
              <pc:sldMasterMk cId="1145051703" sldId="2147483935"/>
              <pc:sldLayoutMk cId="1850386106" sldId="2147483968"/>
              <ac:graphicFrameMk id="4" creationId="{D7F540FA-7567-4B2F-82E1-9079310B7365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458" v="91511"/>
          <pc:sldLayoutMkLst>
            <pc:docMk/>
            <pc:sldMasterMk cId="1145051703" sldId="2147483935"/>
            <pc:sldLayoutMk cId="2169965917" sldId="2147483969"/>
          </pc:sldLayoutMkLst>
          <pc:graphicFrameChg chg="mod">
            <ac:chgData name="Yudi Zhu" userId="571e1a55-055f-4c28-8b35-fca6dd1c1369" providerId="ADAL" clId="{75A88773-6EE1-484E-AADE-FE631E01463B}" dt="2025-11-21T06:05:08.458" v="91511"/>
            <ac:graphicFrameMkLst>
              <pc:docMk/>
              <pc:sldMasterMk cId="1145051703" sldId="2147483935"/>
              <pc:sldLayoutMk cId="2169965917" sldId="2147483969"/>
              <ac:graphicFrameMk id="2" creationId="{90FE13CB-8AEE-4F29-95FA-616822F7CDB7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463" v="91513"/>
          <pc:sldLayoutMkLst>
            <pc:docMk/>
            <pc:sldMasterMk cId="1145051703" sldId="2147483935"/>
            <pc:sldLayoutMk cId="181504890" sldId="2147483970"/>
          </pc:sldLayoutMkLst>
          <pc:graphicFrameChg chg="mod">
            <ac:chgData name="Yudi Zhu" userId="571e1a55-055f-4c28-8b35-fca6dd1c1369" providerId="ADAL" clId="{75A88773-6EE1-484E-AADE-FE631E01463B}" dt="2025-11-21T06:05:08.463" v="91513"/>
            <ac:graphicFrameMkLst>
              <pc:docMk/>
              <pc:sldMasterMk cId="1145051703" sldId="2147483935"/>
              <pc:sldLayoutMk cId="181504890" sldId="2147483970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468" v="91515"/>
          <pc:sldLayoutMkLst>
            <pc:docMk/>
            <pc:sldMasterMk cId="1145051703" sldId="2147483935"/>
            <pc:sldLayoutMk cId="2066265101" sldId="2147483971"/>
          </pc:sldLayoutMkLst>
          <pc:graphicFrameChg chg="mod">
            <ac:chgData name="Yudi Zhu" userId="571e1a55-055f-4c28-8b35-fca6dd1c1369" providerId="ADAL" clId="{75A88773-6EE1-484E-AADE-FE631E01463B}" dt="2025-11-21T06:05:08.468" v="91515"/>
            <ac:graphicFrameMkLst>
              <pc:docMk/>
              <pc:sldMasterMk cId="1145051703" sldId="2147483935"/>
              <pc:sldLayoutMk cId="2066265101" sldId="2147483971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473" v="91517"/>
          <pc:sldLayoutMkLst>
            <pc:docMk/>
            <pc:sldMasterMk cId="1145051703" sldId="2147483935"/>
            <pc:sldLayoutMk cId="3984497302" sldId="2147483972"/>
          </pc:sldLayoutMkLst>
          <pc:graphicFrameChg chg="mod">
            <ac:chgData name="Yudi Zhu" userId="571e1a55-055f-4c28-8b35-fca6dd1c1369" providerId="ADAL" clId="{75A88773-6EE1-484E-AADE-FE631E01463B}" dt="2025-11-21T06:05:08.473" v="91517"/>
            <ac:graphicFrameMkLst>
              <pc:docMk/>
              <pc:sldMasterMk cId="1145051703" sldId="2147483935"/>
              <pc:sldLayoutMk cId="3984497302" sldId="2147483972"/>
              <ac:graphicFrameMk id="2" creationId="{00000000-0000-0000-0000-000000000000}"/>
            </ac:graphicFrameMkLst>
          </pc:graphicFrameChg>
        </pc:sldLayoutChg>
        <pc:sldLayoutChg chg="modSp mod">
          <pc:chgData name="Yudi Zhu" userId="571e1a55-055f-4c28-8b35-fca6dd1c1369" providerId="ADAL" clId="{75A88773-6EE1-484E-AADE-FE631E01463B}" dt="2025-11-21T06:05:08.484" v="91521"/>
          <pc:sldLayoutMkLst>
            <pc:docMk/>
            <pc:sldMasterMk cId="1145051703" sldId="2147483935"/>
            <pc:sldLayoutMk cId="812546299" sldId="2147483973"/>
          </pc:sldLayoutMkLst>
          <pc:spChg chg="mod">
            <ac:chgData name="Yudi Zhu" userId="571e1a55-055f-4c28-8b35-fca6dd1c1369" providerId="ADAL" clId="{75A88773-6EE1-484E-AADE-FE631E01463B}" dt="2025-11-21T06:01:55.947" v="57514" actId="948"/>
            <ac:spMkLst>
              <pc:docMk/>
              <pc:sldMasterMk cId="1145051703" sldId="2147483935"/>
              <pc:sldLayoutMk cId="812546299" sldId="2147483973"/>
              <ac:spMk id="2" creationId="{87906723-E6E7-4EE0-BA2A-AF7D64B86A6A}"/>
            </ac:spMkLst>
          </pc:spChg>
          <pc:graphicFrameChg chg="mod">
            <ac:chgData name="Yudi Zhu" userId="571e1a55-055f-4c28-8b35-fca6dd1c1369" providerId="ADAL" clId="{75A88773-6EE1-484E-AADE-FE631E01463B}" dt="2025-11-21T06:05:08.484" v="91521"/>
            <ac:graphicFrameMkLst>
              <pc:docMk/>
              <pc:sldMasterMk cId="1145051703" sldId="2147483935"/>
              <pc:sldLayoutMk cId="812546299" sldId="2147483973"/>
              <ac:graphicFrameMk id="3" creationId="{D8CD941A-B4B4-2707-C20F-21A96E2CAC52}"/>
            </ac:graphicFrameMkLst>
          </pc:graphicFrameChg>
        </pc:sldLayoutChg>
        <pc:sldLayoutChg chg="addSp delSp modSp mod">
          <pc:chgData name="Yudi Zhu" userId="571e1a55-055f-4c28-8b35-fca6dd1c1369" providerId="ADAL" clId="{75A88773-6EE1-484E-AADE-FE631E01463B}" dt="2025-11-21T06:05:08.478" v="91519"/>
          <pc:sldLayoutMkLst>
            <pc:docMk/>
            <pc:sldMasterMk cId="1145051703" sldId="2147483935"/>
            <pc:sldLayoutMk cId="3953685269" sldId="2147483974"/>
          </pc:sldLayoutMkLst>
          <pc:spChg chg="add del mod modVis">
            <ac:chgData name="Yudi Zhu" userId="571e1a55-055f-4c28-8b35-fca6dd1c1369" providerId="ADAL" clId="{75A88773-6EE1-484E-AADE-FE631E01463B}" dt="2025-11-21T06:02:24.821" v="70188" actId="478"/>
            <ac:spMkLst>
              <pc:docMk/>
              <pc:sldMasterMk cId="1145051703" sldId="2147483935"/>
              <pc:sldLayoutMk cId="3953685269" sldId="2147483974"/>
              <ac:spMk id="4" creationId="{56772C31-57D4-7F36-06B4-65575C678D4F}"/>
            </ac:spMkLst>
          </pc:spChg>
          <pc:spChg chg="mod">
            <ac:chgData name="Yudi Zhu" userId="571e1a55-055f-4c28-8b35-fca6dd1c1369" providerId="ADAL" clId="{75A88773-6EE1-484E-AADE-FE631E01463B}" dt="2025-11-21T06:01:55.906" v="57493" actId="948"/>
            <ac:spMkLst>
              <pc:docMk/>
              <pc:sldMasterMk cId="1145051703" sldId="2147483935"/>
              <pc:sldLayoutMk cId="3953685269" sldId="2147483974"/>
              <ac:spMk id="8" creationId="{00000000-0000-0000-0000-000000000000}"/>
            </ac:spMkLst>
          </pc:spChg>
          <pc:graphicFrameChg chg="mod">
            <ac:chgData name="Yudi Zhu" userId="571e1a55-055f-4c28-8b35-fca6dd1c1369" providerId="ADAL" clId="{75A88773-6EE1-484E-AADE-FE631E01463B}" dt="2025-11-21T06:05:08.478" v="91519"/>
            <ac:graphicFrameMkLst>
              <pc:docMk/>
              <pc:sldMasterMk cId="1145051703" sldId="2147483935"/>
              <pc:sldLayoutMk cId="3953685269" sldId="2147483974"/>
              <ac:graphicFrameMk id="3" creationId="{6CEEDCB5-AEBF-499C-B756-7B17B4A9535D}"/>
            </ac:graphicFrameMkLst>
          </pc:graphicFrame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1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2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3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4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5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6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7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8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9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0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1.xlsb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2.xlsb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3.xlsb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4.xlsb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5.xlsb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6.xlsb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7.xlsb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8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9.xlsb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0.xlsb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1.xlsb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2.xlsb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3.xlsb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4.xlsb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5.xlsb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6.xlsb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7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807909604519778E-3"/>
          <c:y val="0.12187812187812187"/>
          <c:w val="0.98163841807909602"/>
          <c:h val="0.7942057942057941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459-420D-8136-0631E2FF2E6A}"/>
              </c:ext>
            </c:extLst>
          </c:dPt>
          <c:dPt>
            <c:idx val="4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459-420D-8136-0631E2FF2E6A}"/>
              </c:ext>
            </c:extLst>
          </c:dPt>
          <c:dLbls>
            <c:dLbl>
              <c:idx val="0"/>
              <c:layout>
                <c:manualLayout>
                  <c:x val="0"/>
                  <c:y val="-0.4355644355644355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59-420D-8136-0631E2FF2E6A}"/>
                </c:ext>
              </c:extLst>
            </c:dLbl>
            <c:dLbl>
              <c:idx val="4"/>
              <c:layout>
                <c:manualLayout>
                  <c:x val="0"/>
                  <c:y val="-6.1438561438561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59-420D-8136-0631E2FF2E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10.53514870115214</c:v>
                </c:pt>
                <c:pt idx="1">
                  <c:v>489.128930160555</c:v>
                </c:pt>
                <c:pt idx="2">
                  <c:v>311.80939095882263</c:v>
                </c:pt>
                <c:pt idx="3">
                  <c:v>40.527763384801688</c:v>
                </c:pt>
                <c:pt idx="4">
                  <c:v>40.527763384801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59-420D-8136-0631E2FF2E6A}"/>
            </c:ext>
          </c:extLst>
        </c:ser>
        <c:ser>
          <c:idx val="1"/>
          <c:order val="1"/>
          <c:spPr>
            <a:solidFill>
              <a:srgbClr val="2A276E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9.99000999000999E-4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59-420D-8136-0631E2FF2E6A}"/>
                </c:ext>
              </c:extLst>
            </c:dLbl>
            <c:dLbl>
              <c:idx val="2"/>
              <c:layout>
                <c:manualLayout>
                  <c:x val="0"/>
                  <c:y val="9.99000999000999E-4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459-420D-8136-0631E2FF2E6A}"/>
                </c:ext>
              </c:extLst>
            </c:dLbl>
            <c:dLbl>
              <c:idx val="3"/>
              <c:layout>
                <c:manualLayout>
                  <c:x val="0"/>
                  <c:y val="9.99000999000999E-4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459-420D-8136-0631E2FF2E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221.40621854059714</c:v>
                </c:pt>
                <c:pt idx="2">
                  <c:v>177.31953920173237</c:v>
                </c:pt>
                <c:pt idx="3">
                  <c:v>271.28162757402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59-420D-8136-0631E2FF2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30559"/>
        <c:axId val="1"/>
      </c:barChart>
      <c:catAx>
        <c:axId val="21276305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10.535148701152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76305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2121212121212122"/>
          <c:w val="0.933968253968254"/>
          <c:h val="0.7575757575757575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BF2-4677-9F14-C4A697C2CA45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71825631.20359999</c:v>
                </c:pt>
                <c:pt idx="1">
                  <c:v>27706479.457399935</c:v>
                </c:pt>
                <c:pt idx="2">
                  <c:v>3609111.4378999621</c:v>
                </c:pt>
                <c:pt idx="3">
                  <c:v>3609111.4379000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F2-4677-9F14-C4A697C2CA45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44119151.74620005</c:v>
                </c:pt>
                <c:pt idx="2">
                  <c:v>24097368.0195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F2-4677-9F14-C4A697C2CA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685009616"/>
        <c:axId val="1"/>
      </c:barChart>
      <c:catAx>
        <c:axId val="68500961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71825631.20359999"/>
          <c:min val="-6.3329935073852539E-8"/>
        </c:scaling>
        <c:delete val="1"/>
        <c:axPos val="l"/>
        <c:numFmt formatCode="General" sourceLinked="1"/>
        <c:majorTickMark val="out"/>
        <c:minorTickMark val="none"/>
        <c:tickLblPos val="nextTo"/>
        <c:crossAx val="685009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49191071062871E-2"/>
          <c:y val="4.2448979591836737E-2"/>
          <c:w val="0.97870161785787424"/>
          <c:h val="0.915102040816326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1EF-41EC-8637-F8A1D851F459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70597143.035023</c:v>
                </c:pt>
                <c:pt idx="1">
                  <c:v>170597143.035023</c:v>
                </c:pt>
                <c:pt idx="2">
                  <c:v>229279440.57712901</c:v>
                </c:pt>
                <c:pt idx="3">
                  <c:v>166690287.90603405</c:v>
                </c:pt>
                <c:pt idx="4">
                  <c:v>166690287.90603405</c:v>
                </c:pt>
                <c:pt idx="5">
                  <c:v>182043541.36843979</c:v>
                </c:pt>
                <c:pt idx="6">
                  <c:v>146422437.0775398</c:v>
                </c:pt>
                <c:pt idx="7">
                  <c:v>146469710.49504891</c:v>
                </c:pt>
                <c:pt idx="8">
                  <c:v>148373154.52543783</c:v>
                </c:pt>
                <c:pt idx="9">
                  <c:v>145027249.70290869</c:v>
                </c:pt>
                <c:pt idx="10">
                  <c:v>146170010.50558972</c:v>
                </c:pt>
                <c:pt idx="11">
                  <c:v>97943867.249823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EF-41EC-8637-F8A1D851F459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1EF-41EC-8637-F8A1D851F459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1EF-41EC-8637-F8A1D851F459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1EF-41EC-8637-F8A1D851F459}"/>
              </c:ext>
            </c:extLst>
          </c:dPt>
          <c:dPt>
            <c:idx val="1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1EF-41EC-8637-F8A1D851F459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36743637.914705962</c:v>
                </c:pt>
                <c:pt idx="2">
                  <c:v>42450572.032399893</c:v>
                </c:pt>
                <c:pt idx="3">
                  <c:v>2440947.9997949004</c:v>
                </c:pt>
                <c:pt idx="4">
                  <c:v>2170351.7279016376</c:v>
                </c:pt>
                <c:pt idx="5">
                  <c:v>4348.9268959164619</c:v>
                </c:pt>
                <c:pt idx="6">
                  <c:v>35621104.290899992</c:v>
                </c:pt>
                <c:pt idx="7">
                  <c:v>1495199.1829889715</c:v>
                </c:pt>
                <c:pt idx="8">
                  <c:v>5113980.0630709529</c:v>
                </c:pt>
                <c:pt idx="9">
                  <c:v>19694541.183099985</c:v>
                </c:pt>
                <c:pt idx="10">
                  <c:v>1387840.9768639505</c:v>
                </c:pt>
                <c:pt idx="11">
                  <c:v>72653275.785199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1EF-41EC-8637-F8A1D851F459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31EF-41EC-8637-F8A1D851F459}"/>
              </c:ext>
            </c:extLst>
          </c:dPt>
          <c:dPt>
            <c:idx val="6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1EF-41EC-8637-F8A1D851F459}"/>
              </c:ext>
            </c:extLst>
          </c:dPt>
          <c:dPt>
            <c:idx val="9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31EF-41EC-8637-F8A1D851F459}"/>
              </c:ext>
            </c:extLst>
          </c:dPt>
          <c:dPt>
            <c:idx val="11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31EF-41EC-8637-F8A1D851F45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1">
                  <c:v>64389231.659799933</c:v>
                </c:pt>
                <c:pt idx="2">
                  <c:v>11237848.797399998</c:v>
                </c:pt>
                <c:pt idx="3">
                  <c:v>71386053.468700051</c:v>
                </c:pt>
                <c:pt idx="4">
                  <c:v>14513200.634000003</c:v>
                </c:pt>
                <c:pt idx="5">
                  <c:v>1325949.9725999832</c:v>
                </c:pt>
                <c:pt idx="6">
                  <c:v>47273.417509108782</c:v>
                </c:pt>
                <c:pt idx="7">
                  <c:v>408244.84740003943</c:v>
                </c:pt>
                <c:pt idx="8">
                  <c:v>11234656.297499985</c:v>
                </c:pt>
                <c:pt idx="9">
                  <c:v>1142760.8026809692</c:v>
                </c:pt>
                <c:pt idx="10">
                  <c:v>7279611.7237999737</c:v>
                </c:pt>
                <c:pt idx="11">
                  <c:v>56893595.956429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1EF-41EC-8637-F8A1D851F4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956986047"/>
        <c:axId val="1"/>
      </c:barChart>
      <c:catAx>
        <c:axId val="956986047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2967861.406928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69860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6.7096774193548384E-2"/>
          <c:w val="0.97465269315135272"/>
          <c:h val="0.865806451612903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53824901.15039998</c:v>
                </c:pt>
                <c:pt idx="1">
                  <c:v>189680231.96760008</c:v>
                </c:pt>
                <c:pt idx="2">
                  <c:v>202761954.4989</c:v>
                </c:pt>
                <c:pt idx="3">
                  <c:v>341841044.36199993</c:v>
                </c:pt>
                <c:pt idx="4">
                  <c:v>297774437.33550006</c:v>
                </c:pt>
                <c:pt idx="5">
                  <c:v>190436411.01280004</c:v>
                </c:pt>
                <c:pt idx="6">
                  <c:v>303552302.53200001</c:v>
                </c:pt>
                <c:pt idx="7">
                  <c:v>265248963.42729998</c:v>
                </c:pt>
                <c:pt idx="8">
                  <c:v>270518250.5571</c:v>
                </c:pt>
                <c:pt idx="9">
                  <c:v>303523408.593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53-4666-8725-B94454B679A4}"/>
            </c:ext>
          </c:extLst>
        </c:ser>
        <c:ser>
          <c:idx val="1"/>
          <c:order val="1"/>
          <c:spPr>
            <a:solidFill>
              <a:srgbClr val="703E97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52692031.57589406</c:v>
                </c:pt>
                <c:pt idx="1">
                  <c:v>220892955.2026</c:v>
                </c:pt>
                <c:pt idx="2">
                  <c:v>276588955.96739495</c:v>
                </c:pt>
                <c:pt idx="3">
                  <c:v>325157492.00009829</c:v>
                </c:pt>
                <c:pt idx="4">
                  <c:v>299104736.23499596</c:v>
                </c:pt>
                <c:pt idx="5">
                  <c:v>226010241.88619092</c:v>
                </c:pt>
                <c:pt idx="6">
                  <c:v>301648858.50161099</c:v>
                </c:pt>
                <c:pt idx="7">
                  <c:v>248900327.06672904</c:v>
                </c:pt>
                <c:pt idx="8">
                  <c:v>289070030.93751901</c:v>
                </c:pt>
                <c:pt idx="9">
                  <c:v>294855955.89333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53-4666-8725-B94454B67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63130271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753-4666-8725-B94454B679A4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A753-4666-8725-B94454B679A4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A753-4666-8725-B94454B679A4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A753-4666-8725-B94454B679A4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A753-4666-8725-B94454B679A4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A753-4666-8725-B94454B679A4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A753-4666-8725-B94454B679A4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A753-4666-8725-B94454B679A4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A753-4666-8725-B94454B679A4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A753-4666-8725-B94454B679A4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77.71544282428215</c:v>
                </c:pt>
                <c:pt idx="1">
                  <c:v>89.134485066075655</c:v>
                </c:pt>
                <c:pt idx="2">
                  <c:v>100.46165745852062</c:v>
                </c:pt>
                <c:pt idx="3">
                  <c:v>98.924618316378954</c:v>
                </c:pt>
                <c:pt idx="4">
                  <c:v>99.229656598051434</c:v>
                </c:pt>
                <c:pt idx="5">
                  <c:v>101.43931034744138</c:v>
                </c:pt>
                <c:pt idx="6">
                  <c:v>101.12249663409887</c:v>
                </c:pt>
                <c:pt idx="7">
                  <c:v>100.26169431943489</c:v>
                </c:pt>
                <c:pt idx="8">
                  <c:v>100.97101123870078</c:v>
                </c:pt>
                <c:pt idx="9">
                  <c:v>100.55902003352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A753-4666-8725-B94454B67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5631302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3824901.15039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563130271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1.4393103474413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23087852237745E-2"/>
          <c:y val="0.18818818818818819"/>
          <c:w val="0.96495382429552445"/>
          <c:h val="0.694694694694694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CA-44E5-BCB8-C0A6F3AE0851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CA-44E5-BCB8-C0A6F3AE0851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CA-44E5-BCB8-C0A6F3AE0851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CA-44E5-BCB8-C0A6F3AE0851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CA-44E5-BCB8-C0A6F3AE0851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CA-44E5-BCB8-C0A6F3AE08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.71036095336431</c:v>
                </c:pt>
                <c:pt idx="1">
                  <c:v>1.8475262029982642</c:v>
                </c:pt>
                <c:pt idx="2">
                  <c:v>1.2561168688071687</c:v>
                </c:pt>
                <c:pt idx="3">
                  <c:v>0.79946313624716425</c:v>
                </c:pt>
                <c:pt idx="4">
                  <c:v>0.78490606420913445</c:v>
                </c:pt>
                <c:pt idx="5">
                  <c:v>1.0335301878253831</c:v>
                </c:pt>
                <c:pt idx="6">
                  <c:v>0.81813347675908643</c:v>
                </c:pt>
                <c:pt idx="7">
                  <c:v>0.77621663236793459</c:v>
                </c:pt>
                <c:pt idx="8">
                  <c:v>1.1117905259070957</c:v>
                </c:pt>
                <c:pt idx="9">
                  <c:v>1.032435910838021</c:v>
                </c:pt>
                <c:pt idx="10">
                  <c:v>1.0602213017722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BCA-44E5-BCB8-C0A6F3AE0851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7.50750750750750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BCA-44E5-BCB8-C0A6F3AE0851}"/>
                </c:ext>
              </c:extLst>
            </c:dLbl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BCA-44E5-BCB8-C0A6F3AE0851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BCA-44E5-BCB8-C0A6F3AE0851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BCA-44E5-BCB8-C0A6F3AE0851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BCA-44E5-BCB8-C0A6F3AE0851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BCA-44E5-BCB8-C0A6F3AE0851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BCA-44E5-BCB8-C0A6F3AE08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.1546012085466082</c:v>
                </c:pt>
                <c:pt idx="1">
                  <c:v>3.0407870829600649</c:v>
                </c:pt>
                <c:pt idx="2">
                  <c:v>2.3831287925115787</c:v>
                </c:pt>
                <c:pt idx="3">
                  <c:v>1.7497434419494944</c:v>
                </c:pt>
                <c:pt idx="4">
                  <c:v>1.7883462439238804</c:v>
                </c:pt>
                <c:pt idx="5">
                  <c:v>1.7488330454867504</c:v>
                </c:pt>
                <c:pt idx="6">
                  <c:v>1.0658259264923293</c:v>
                </c:pt>
                <c:pt idx="7">
                  <c:v>1.2875813804049778</c:v>
                </c:pt>
                <c:pt idx="8">
                  <c:v>1.1355638723759582</c:v>
                </c:pt>
                <c:pt idx="9">
                  <c:v>0.88963542672143781</c:v>
                </c:pt>
                <c:pt idx="10">
                  <c:v>0.83508805647794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0BCA-44E5-BCB8-C0A6F3AE0851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BCA-44E5-BCB8-C0A6F3AE0851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BCA-44E5-BCB8-C0A6F3AE0851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BCA-44E5-BCB8-C0A6F3AE0851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BCA-44E5-BCB8-C0A6F3AE0851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BCA-44E5-BCB8-C0A6F3AE0851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BCA-44E5-BCB8-C0A6F3AE0851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0BCA-44E5-BCB8-C0A6F3AE0851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BCA-44E5-BCB8-C0A6F3AE0851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0BCA-44E5-BCB8-C0A6F3AE0851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0BCA-44E5-BCB8-C0A6F3AE08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0.91659641037231476</c:v>
                </c:pt>
                <c:pt idx="1">
                  <c:v>4.3426033679940117</c:v>
                </c:pt>
                <c:pt idx="2">
                  <c:v>3.4239112130275982</c:v>
                </c:pt>
                <c:pt idx="3">
                  <c:v>2.2188630149243909</c:v>
                </c:pt>
                <c:pt idx="4">
                  <c:v>3.0009749683427716</c:v>
                </c:pt>
                <c:pt idx="5">
                  <c:v>2.9657751231829459</c:v>
                </c:pt>
                <c:pt idx="6">
                  <c:v>1.6270232446530448</c:v>
                </c:pt>
                <c:pt idx="7">
                  <c:v>1.8666630712108201</c:v>
                </c:pt>
                <c:pt idx="8">
                  <c:v>1.4914239477821507</c:v>
                </c:pt>
                <c:pt idx="9">
                  <c:v>0.98689312102632654</c:v>
                </c:pt>
                <c:pt idx="10">
                  <c:v>0.90039325201764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0BCA-44E5-BCB8-C0A6F3AE08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875279"/>
        <c:axId val="1"/>
      </c:lineChart>
      <c:catAx>
        <c:axId val="414875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F2F2F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342603367994011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487527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7.8668683812405452E-2"/>
          <c:w val="0.93426042983565105"/>
          <c:h val="0.8426626323751891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32B-42C8-A22B-B7A8A15E1AEF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32B-42C8-A22B-B7A8A15E1AEF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95895437.470037937</c:v>
                </c:pt>
                <c:pt idx="1">
                  <c:v>23242161.684838295</c:v>
                </c:pt>
                <c:pt idx="2">
                  <c:v>23242161.684838295</c:v>
                </c:pt>
                <c:pt idx="3">
                  <c:v>80135757.641267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2B-42C8-A22B-B7A8A15E1AEF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32B-42C8-A22B-B7A8A15E1AEF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72653275.785199642</c:v>
                </c:pt>
                <c:pt idx="2">
                  <c:v>56893595.956429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2B-42C8-A22B-B7A8A15E1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118495"/>
        <c:axId val="1"/>
      </c:barChart>
      <c:catAx>
        <c:axId val="891184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895437.47003793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118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3231552162849872"/>
          <c:w val="0.933968253968254"/>
          <c:h val="0.735368956743002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C039-469E-B1D7-C48617CC6C9E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72653275.7852</c:v>
                </c:pt>
                <c:pt idx="1">
                  <c:v>14502438.315499946</c:v>
                </c:pt>
                <c:pt idx="2">
                  <c:v>611916.8748999536</c:v>
                </c:pt>
                <c:pt idx="3">
                  <c:v>611916.87490000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39-469E-B1D7-C48617CC6C9E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58150837.469700053</c:v>
                </c:pt>
                <c:pt idx="2">
                  <c:v>13890521.440599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39-469E-B1D7-C48617CC6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1542367023"/>
        <c:axId val="1"/>
      </c:barChart>
      <c:catAx>
        <c:axId val="154236702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72653275.7852"/>
          <c:min val="-5.9604644775390625E-8"/>
        </c:scaling>
        <c:delete val="1"/>
        <c:axPos val="l"/>
        <c:numFmt formatCode="General" sourceLinked="1"/>
        <c:majorTickMark val="out"/>
        <c:minorTickMark val="none"/>
        <c:tickLblPos val="nextTo"/>
        <c:crossAx val="1542367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49191071062871E-2"/>
          <c:y val="4.2448979591836737E-2"/>
          <c:w val="0.97870161785787424"/>
          <c:h val="0.915102040816326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543-4D4A-88D0-44B993F32EDD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22329622.60000002</c:v>
                </c:pt>
                <c:pt idx="1">
                  <c:v>122329622.60000002</c:v>
                </c:pt>
                <c:pt idx="2">
                  <c:v>185925669.54999995</c:v>
                </c:pt>
                <c:pt idx="3">
                  <c:v>140314179.14999986</c:v>
                </c:pt>
                <c:pt idx="4">
                  <c:v>147078125.84999973</c:v>
                </c:pt>
                <c:pt idx="5">
                  <c:v>188675040.79999989</c:v>
                </c:pt>
                <c:pt idx="6">
                  <c:v>150979259.04999995</c:v>
                </c:pt>
                <c:pt idx="7">
                  <c:v>155540208.03999999</c:v>
                </c:pt>
                <c:pt idx="8">
                  <c:v>172198860.89000005</c:v>
                </c:pt>
                <c:pt idx="9">
                  <c:v>143409402.28999999</c:v>
                </c:pt>
                <c:pt idx="10">
                  <c:v>144772563.33999991</c:v>
                </c:pt>
                <c:pt idx="11">
                  <c:v>122329622.59999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43-4D4A-88D0-44B993F32EDD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543-4D4A-88D0-44B993F32EDD}"/>
              </c:ext>
            </c:extLst>
          </c:dPt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543-4D4A-88D0-44B993F32EDD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1543-4D4A-88D0-44B993F32EDD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1543-4D4A-88D0-44B993F32EDD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1543-4D4A-88D0-44B993F32EDD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20188235.849999934</c:v>
                </c:pt>
                <c:pt idx="2">
                  <c:v>33838808.49999994</c:v>
                </c:pt>
                <c:pt idx="3">
                  <c:v>48729207.599999964</c:v>
                </c:pt>
                <c:pt idx="4">
                  <c:v>5852025.6000002325</c:v>
                </c:pt>
                <c:pt idx="5">
                  <c:v>2150186.25</c:v>
                </c:pt>
                <c:pt idx="6">
                  <c:v>49417516</c:v>
                </c:pt>
                <c:pt idx="7">
                  <c:v>2783431.0500001013</c:v>
                </c:pt>
                <c:pt idx="8">
                  <c:v>12082421.550000012</c:v>
                </c:pt>
                <c:pt idx="9">
                  <c:v>29326889.450000018</c:v>
                </c:pt>
                <c:pt idx="10">
                  <c:v>2552441.1799999774</c:v>
                </c:pt>
                <c:pt idx="11">
                  <c:v>49869524.720000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543-4D4A-88D0-44B993F32EDD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1543-4D4A-88D0-44B993F32EDD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1543-4D4A-88D0-44B993F32EDD}"/>
              </c:ext>
            </c:extLst>
          </c:dPt>
          <c:dPt>
            <c:idx val="6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1543-4D4A-88D0-44B993F32EDD}"/>
              </c:ext>
            </c:extLst>
          </c:dPt>
          <c:dPt>
            <c:idx val="8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1543-4D4A-88D0-44B993F32EDD}"/>
              </c:ext>
            </c:extLst>
          </c:dPt>
          <c:dPt>
            <c:idx val="9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1543-4D4A-88D0-44B993F32EDD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1">
                  <c:v>77246619.599999934</c:v>
                </c:pt>
                <c:pt idx="2">
                  <c:v>3117717.1999998987</c:v>
                </c:pt>
                <c:pt idx="3">
                  <c:v>6763946.6999998987</c:v>
                </c:pt>
                <c:pt idx="4">
                  <c:v>35744889.349999934</c:v>
                </c:pt>
                <c:pt idx="5">
                  <c:v>9571548.0000000596</c:v>
                </c:pt>
                <c:pt idx="6">
                  <c:v>4560948.9900000095</c:v>
                </c:pt>
                <c:pt idx="7">
                  <c:v>25957643.349999994</c:v>
                </c:pt>
                <c:pt idx="8">
                  <c:v>537430.84999996424</c:v>
                </c:pt>
                <c:pt idx="9">
                  <c:v>1363161.0499999225</c:v>
                </c:pt>
                <c:pt idx="10">
                  <c:v>45776552.120000035</c:v>
                </c:pt>
                <c:pt idx="11">
                  <c:v>20902409.320000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543-4D4A-88D0-44B993F32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769972895"/>
        <c:axId val="1"/>
      </c:barChart>
      <c:catAx>
        <c:axId val="76997289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2882195.249999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9972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6.7096774193548384E-2"/>
          <c:w val="0.97465269315135272"/>
          <c:h val="0.865806451612903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40942083.29999998</c:v>
                </c:pt>
                <c:pt idx="1">
                  <c:v>113393306.69999994</c:v>
                </c:pt>
                <c:pt idx="2">
                  <c:v>106301450.99999996</c:v>
                </c:pt>
                <c:pt idx="3">
                  <c:v>195406932.50000012</c:v>
                </c:pt>
                <c:pt idx="4">
                  <c:v>177644677.30000001</c:v>
                </c:pt>
                <c:pt idx="5">
                  <c:v>87595320.500000015</c:v>
                </c:pt>
                <c:pt idx="6">
                  <c:v>160531157.40000004</c:v>
                </c:pt>
                <c:pt idx="7">
                  <c:v>146403390.79999998</c:v>
                </c:pt>
                <c:pt idx="8">
                  <c:v>160455767.69999996</c:v>
                </c:pt>
                <c:pt idx="9">
                  <c:v>170902116.5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B-4DBE-9525-F528BF0C48B4}"/>
            </c:ext>
          </c:extLst>
        </c:ser>
        <c:ser>
          <c:idx val="1"/>
          <c:order val="1"/>
          <c:spPr>
            <a:solidFill>
              <a:srgbClr val="703E97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43507227.85000011</c:v>
                </c:pt>
                <c:pt idx="1">
                  <c:v>144114398</c:v>
                </c:pt>
                <c:pt idx="2">
                  <c:v>148266711.90000004</c:v>
                </c:pt>
                <c:pt idx="3">
                  <c:v>153810017.54999995</c:v>
                </c:pt>
                <c:pt idx="4">
                  <c:v>165922943.04999995</c:v>
                </c:pt>
                <c:pt idx="5">
                  <c:v>132451887.51000001</c:v>
                </c:pt>
                <c:pt idx="6">
                  <c:v>131790082.99999996</c:v>
                </c:pt>
                <c:pt idx="7">
                  <c:v>157948381.5</c:v>
                </c:pt>
                <c:pt idx="8">
                  <c:v>188419496.10000002</c:v>
                </c:pt>
                <c:pt idx="9">
                  <c:v>12257312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9B-4DBE-9525-F528BF0C4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40953231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519B-4DBE-9525-F528BF0C48B4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519B-4DBE-9525-F528BF0C48B4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519B-4DBE-9525-F528BF0C48B4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519B-4DBE-9525-F528BF0C48B4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519B-4DBE-9525-F528BF0C48B4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519B-4DBE-9525-F528BF0C48B4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519B-4DBE-9525-F528BF0C48B4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519B-4DBE-9525-F528BF0C48B4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519B-4DBE-9525-F528BF0C48B4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519B-4DBE-9525-F528BF0C48B4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59.560881139770615</c:v>
                </c:pt>
                <c:pt idx="1">
                  <c:v>81.172141978253904</c:v>
                </c:pt>
                <c:pt idx="2">
                  <c:v>94.627328722497921</c:v>
                </c:pt>
                <c:pt idx="3">
                  <c:v>89.887043993109245</c:v>
                </c:pt>
                <c:pt idx="4">
                  <c:v>90.635932118876397</c:v>
                </c:pt>
                <c:pt idx="5">
                  <c:v>96.395183929796417</c:v>
                </c:pt>
                <c:pt idx="6">
                  <c:v>94.273358760685042</c:v>
                </c:pt>
                <c:pt idx="7">
                  <c:v>95.895952019302229</c:v>
                </c:pt>
                <c:pt idx="8">
                  <c:v>98.383858318746917</c:v>
                </c:pt>
                <c:pt idx="9">
                  <c:v>95.462104777723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519B-4DBE-9525-F528BF0C4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440953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942083.29999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440953231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23087852237745E-2"/>
          <c:y val="0.18818818818818819"/>
          <c:w val="0.96495382429552445"/>
          <c:h val="0.694694694694694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79-4658-BFEA-C4B6BD7C94C8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79-4658-BFEA-C4B6BD7C94C8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679-4658-BFEA-C4B6BD7C94C8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79-4658-BFEA-C4B6BD7C94C8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79-4658-BFEA-C4B6BD7C94C8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679-4658-BFEA-C4B6BD7C94C8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79-4658-BFEA-C4B6BD7C94C8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679-4658-BFEA-C4B6BD7C94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.701243386398493</c:v>
                </c:pt>
                <c:pt idx="1">
                  <c:v>3.2958293105307934</c:v>
                </c:pt>
                <c:pt idx="2">
                  <c:v>2.0436337595833094</c:v>
                </c:pt>
                <c:pt idx="3">
                  <c:v>1.0717571085166051</c:v>
                </c:pt>
                <c:pt idx="4">
                  <c:v>1.1124329700888278</c:v>
                </c:pt>
                <c:pt idx="5">
                  <c:v>1.5914713208099209</c:v>
                </c:pt>
                <c:pt idx="6">
                  <c:v>1.0353897933438847</c:v>
                </c:pt>
                <c:pt idx="7">
                  <c:v>1.3312515627205723</c:v>
                </c:pt>
                <c:pt idx="8">
                  <c:v>1.4248243378304957</c:v>
                </c:pt>
                <c:pt idx="9">
                  <c:v>1.2259808600017275</c:v>
                </c:pt>
                <c:pt idx="10">
                  <c:v>1.8861500113430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679-4658-BFEA-C4B6BD7C94C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7.50750750750750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679-4658-BFEA-C4B6BD7C94C8}"/>
                </c:ext>
              </c:extLst>
            </c:dLbl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679-4658-BFEA-C4B6BD7C94C8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679-4658-BFEA-C4B6BD7C94C8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679-4658-BFEA-C4B6BD7C94C8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679-4658-BFEA-C4B6BD7C94C8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679-4658-BFEA-C4B6BD7C94C8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679-4658-BFEA-C4B6BD7C94C8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679-4658-BFEA-C4B6BD7C94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.8738373053410127</c:v>
                </c:pt>
                <c:pt idx="1">
                  <c:v>4.7000887053635934</c:v>
                </c:pt>
                <c:pt idx="2">
                  <c:v>4.2438077843352762</c:v>
                </c:pt>
                <c:pt idx="3">
                  <c:v>3.1571436651247158</c:v>
                </c:pt>
                <c:pt idx="4">
                  <c:v>3.0586750062616299</c:v>
                </c:pt>
                <c:pt idx="5">
                  <c:v>3.0961837526582996</c:v>
                </c:pt>
                <c:pt idx="6">
                  <c:v>2.1491609668126053</c:v>
                </c:pt>
                <c:pt idx="7">
                  <c:v>2.9229798386812069</c:v>
                </c:pt>
                <c:pt idx="8">
                  <c:v>2.5228501062693933</c:v>
                </c:pt>
                <c:pt idx="9">
                  <c:v>1.7317961662869417</c:v>
                </c:pt>
                <c:pt idx="10">
                  <c:v>2.0732672720975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A679-4658-BFEA-C4B6BD7C94C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679-4658-BFEA-C4B6BD7C94C8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679-4658-BFEA-C4B6BD7C94C8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679-4658-BFEA-C4B6BD7C94C8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679-4658-BFEA-C4B6BD7C94C8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679-4658-BFEA-C4B6BD7C94C8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679-4658-BFEA-C4B6BD7C94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1.709144834990135</c:v>
                </c:pt>
                <c:pt idx="1">
                  <c:v>4.0745082186593597</c:v>
                </c:pt>
                <c:pt idx="2">
                  <c:v>3.5859720897927723</c:v>
                </c:pt>
                <c:pt idx="3">
                  <c:v>2.7902053534550735</c:v>
                </c:pt>
                <c:pt idx="4">
                  <c:v>3.4917860139056258</c:v>
                </c:pt>
                <c:pt idx="5">
                  <c:v>3.1789952426706907</c:v>
                </c:pt>
                <c:pt idx="6">
                  <c:v>2.1829502491888575</c:v>
                </c:pt>
                <c:pt idx="7">
                  <c:v>2.6447822942139871</c:v>
                </c:pt>
                <c:pt idx="8">
                  <c:v>2.7849734361504961</c:v>
                </c:pt>
                <c:pt idx="9">
                  <c:v>1.9974176861405433</c:v>
                </c:pt>
                <c:pt idx="10">
                  <c:v>2.705988455188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A679-4658-BFEA-C4B6BD7C9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9625743"/>
        <c:axId val="1"/>
      </c:lineChart>
      <c:catAx>
        <c:axId val="6996257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F2F2F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70008870536359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996257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7.8668683812405452E-2"/>
          <c:w val="0.93426042983565105"/>
          <c:h val="0.8426626323751891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F7F-45B2-8EFB-FC4310EEA1A3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F7F-45B2-8EFB-FC4310EEA1A3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2640310.652606487</c:v>
                </c:pt>
                <c:pt idx="1">
                  <c:v>22640310.652606487</c:v>
                </c:pt>
                <c:pt idx="2">
                  <c:v>43542719.972606659</c:v>
                </c:pt>
                <c:pt idx="3">
                  <c:v>93412244.692606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7F-45B2-8EFB-FC4310EEA1A3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F7F-45B2-8EFB-FC4310EEA1A3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20902409.320000172</c:v>
                </c:pt>
                <c:pt idx="2">
                  <c:v>49869524.7200000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7F-45B2-8EFB-FC4310EEA1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62119199"/>
        <c:axId val="1"/>
      </c:barChart>
      <c:catAx>
        <c:axId val="562119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3412244.69260668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2119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2513966480447E-2"/>
          <c:y val="0.18711656441717792"/>
          <c:w val="0.97094972067039109"/>
          <c:h val="0.621165644171779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867-49CF-A95F-75007B1FE841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867-49CF-A95F-75007B1FE841}"/>
              </c:ext>
            </c:extLst>
          </c:dPt>
          <c:dLbls>
            <c:dLbl>
              <c:idx val="0"/>
              <c:layout>
                <c:manualLayout>
                  <c:x val="0"/>
                  <c:y val="-0.360429447852760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867-49CF-A95F-75007B1FE841}"/>
                </c:ext>
              </c:extLst>
            </c:dLbl>
            <c:dLbl>
              <c:idx val="4"/>
              <c:layout>
                <c:manualLayout>
                  <c:x val="0"/>
                  <c:y val="-7.208588957055214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867-49CF-A95F-75007B1FE8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51.84072065416785</c:v>
                </c:pt>
                <c:pt idx="1">
                  <c:v>191.22259376166767</c:v>
                </c:pt>
                <c:pt idx="2">
                  <c:v>116.90169927634878</c:v>
                </c:pt>
                <c:pt idx="3">
                  <c:v>116.90169927634878</c:v>
                </c:pt>
                <c:pt idx="4">
                  <c:v>-10.938041606499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67-49CF-A95F-75007B1FE841}"/>
            </c:ext>
          </c:extLst>
        </c:ser>
        <c:ser>
          <c:idx val="1"/>
          <c:order val="1"/>
          <c:spPr>
            <a:solidFill>
              <a:srgbClr val="2A276E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2.3006134969325155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867-49CF-A95F-75007B1FE841}"/>
                </c:ext>
              </c:extLst>
            </c:dLbl>
            <c:dLbl>
              <c:idx val="2"/>
              <c:layout>
                <c:manualLayout>
                  <c:x val="0"/>
                  <c:y val="2.3006134969325155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867-49CF-A95F-75007B1FE8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60.61812689250019</c:v>
                </c:pt>
                <c:pt idx="2">
                  <c:v>74.320894485318888</c:v>
                </c:pt>
                <c:pt idx="3">
                  <c:v>-10.938041606499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867-49CF-A95F-75007B1FE8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24799"/>
        <c:axId val="1"/>
      </c:barChart>
      <c:catAx>
        <c:axId val="21276247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51.84072065416785"/>
          <c:min val="-10.938041606499212"/>
        </c:scaling>
        <c:delete val="1"/>
        <c:axPos val="l"/>
        <c:numFmt formatCode="General" sourceLinked="1"/>
        <c:majorTickMark val="out"/>
        <c:minorTickMark val="none"/>
        <c:tickLblPos val="nextTo"/>
        <c:crossAx val="21276247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23636363636363636"/>
          <c:w val="0.933968253968254"/>
          <c:h val="0.5272727272727272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B2E-4A1A-B089-2244C3122A18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-20902409.320000101</c:v>
                </c:pt>
                <c:pt idx="1">
                  <c:v>-17373420.120000098</c:v>
                </c:pt>
                <c:pt idx="2">
                  <c:v>-9384870.7200000733</c:v>
                </c:pt>
                <c:pt idx="3">
                  <c:v>-9384870.7200000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2E-4A1A-B089-2244C3122A18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-3528989.200000003</c:v>
                </c:pt>
                <c:pt idx="2">
                  <c:v>-7988549.4000000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2E-4A1A-B089-2244C3122A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81958511"/>
        <c:axId val="1"/>
      </c:barChart>
      <c:catAx>
        <c:axId val="481958511"/>
        <c:scaling>
          <c:orientation val="minMax"/>
        </c:scaling>
        <c:delete val="1"/>
        <c:axPos val="t"/>
        <c:majorTickMark val="out"/>
        <c:minorTickMark val="none"/>
        <c:tickLblPos val="nextTo"/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20902409.320000101"/>
        </c:scaling>
        <c:delete val="1"/>
        <c:axPos val="l"/>
        <c:numFmt formatCode="General" sourceLinked="1"/>
        <c:majorTickMark val="out"/>
        <c:minorTickMark val="none"/>
        <c:tickLblPos val="nextTo"/>
        <c:crossAx val="481958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49191071062871E-2"/>
          <c:y val="4.2448979591836737E-2"/>
          <c:w val="0.97870161785787424"/>
          <c:h val="0.915102040816326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45F-4269-99C0-038B93021B46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54100120.709999993</c:v>
                </c:pt>
                <c:pt idx="1">
                  <c:v>54100120.709999993</c:v>
                </c:pt>
                <c:pt idx="2">
                  <c:v>69418726.860276014</c:v>
                </c:pt>
                <c:pt idx="3">
                  <c:v>59644051.359714001</c:v>
                </c:pt>
                <c:pt idx="4">
                  <c:v>59644051.359714016</c:v>
                </c:pt>
                <c:pt idx="5">
                  <c:v>68510390.49096401</c:v>
                </c:pt>
                <c:pt idx="6">
                  <c:v>61904648.808147959</c:v>
                </c:pt>
                <c:pt idx="7">
                  <c:v>62815663.156760976</c:v>
                </c:pt>
                <c:pt idx="8">
                  <c:v>64064492.553979993</c:v>
                </c:pt>
                <c:pt idx="9">
                  <c:v>64184449.567400001</c:v>
                </c:pt>
                <c:pt idx="10">
                  <c:v>70007186.804514974</c:v>
                </c:pt>
                <c:pt idx="11">
                  <c:v>41778675.072800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5F-4269-99C0-038B93021B46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45F-4269-99C0-038B93021B46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45F-4269-99C0-038B93021B46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45F-4269-99C0-038B93021B46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45F-4269-99C0-038B93021B46}"/>
              </c:ext>
            </c:extLst>
          </c:dPt>
          <c:dPt>
            <c:idx val="1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45F-4269-99C0-038B93021B46}"/>
              </c:ext>
            </c:extLst>
          </c:dPt>
          <c:dPt>
            <c:idx val="1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45F-4269-99C0-038B93021B46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11438069.601315029</c:v>
                </c:pt>
                <c:pt idx="2">
                  <c:v>20871256.904300004</c:v>
                </c:pt>
                <c:pt idx="3">
                  <c:v>1033626.2236779854</c:v>
                </c:pt>
                <c:pt idx="4">
                  <c:v>4308621.2316109762</c:v>
                </c:pt>
                <c:pt idx="5">
                  <c:v>1221371.0728610009</c:v>
                </c:pt>
                <c:pt idx="6">
                  <c:v>9164311.9909000024</c:v>
                </c:pt>
                <c:pt idx="7">
                  <c:v>1884199.1052189842</c:v>
                </c:pt>
                <c:pt idx="8">
                  <c:v>820543.36079999059</c:v>
                </c:pt>
                <c:pt idx="9">
                  <c:v>1506024.3424149677</c:v>
                </c:pt>
                <c:pt idx="10">
                  <c:v>10802628.815000013</c:v>
                </c:pt>
                <c:pt idx="11">
                  <c:v>12321445.637199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45F-4269-99C0-038B93021B46}"/>
            </c:ext>
          </c:extLst>
        </c:ser>
        <c:ser>
          <c:idx val="2"/>
          <c:order val="2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45F-4269-99C0-038B93021B46}"/>
              </c:ext>
            </c:extLst>
          </c:dPt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B45F-4269-99C0-038B93021B46}"/>
              </c:ext>
            </c:extLst>
          </c:dPt>
          <c:dPt>
            <c:idx val="4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45F-4269-99C0-038B93021B46}"/>
              </c:ext>
            </c:extLst>
          </c:dPt>
          <c:dPt>
            <c:idx val="7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45F-4269-99C0-038B93021B46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45F-4269-99C0-038B93021B46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1">
                  <c:v>24751793.453261025</c:v>
                </c:pt>
                <c:pt idx="2">
                  <c:v>6535682.0047160238</c:v>
                </c:pt>
                <c:pt idx="3">
                  <c:v>15276731.281600036</c:v>
                </c:pt>
                <c:pt idx="4">
                  <c:v>5779088.9725000188</c:v>
                </c:pt>
                <c:pt idx="5">
                  <c:v>2558570.3080839664</c:v>
                </c:pt>
                <c:pt idx="6">
                  <c:v>911014.34861302376</c:v>
                </c:pt>
                <c:pt idx="7">
                  <c:v>185173.6528000012</c:v>
                </c:pt>
                <c:pt idx="8">
                  <c:v>119957.01342000067</c:v>
                </c:pt>
                <c:pt idx="9">
                  <c:v>15119341.709700018</c:v>
                </c:pt>
                <c:pt idx="10">
                  <c:v>1448238.4183010161</c:v>
                </c:pt>
                <c:pt idx="11">
                  <c:v>29676750.150015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45F-4269-99C0-038B93021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770006495"/>
        <c:axId val="1"/>
      </c:barChart>
      <c:catAx>
        <c:axId val="77000649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0006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6.7096774193548384E-2"/>
          <c:w val="0.97465269315135272"/>
          <c:h val="0.865806451612903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01192314.41600004</c:v>
                </c:pt>
                <c:pt idx="1">
                  <c:v>43564605.362999991</c:v>
                </c:pt>
                <c:pt idx="2">
                  <c:v>47832076.433199994</c:v>
                </c:pt>
                <c:pt idx="3">
                  <c:v>85575114.783999994</c:v>
                </c:pt>
                <c:pt idx="4">
                  <c:v>73092419.025899976</c:v>
                </c:pt>
                <c:pt idx="5">
                  <c:v>48810793.827900015</c:v>
                </c:pt>
                <c:pt idx="6">
                  <c:v>73608343.766800001</c:v>
                </c:pt>
                <c:pt idx="7">
                  <c:v>62439827.800000004</c:v>
                </c:pt>
                <c:pt idx="8">
                  <c:v>84120565.04549998</c:v>
                </c:pt>
                <c:pt idx="9">
                  <c:v>54560017.703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B3-4179-A85D-CE3E9E93B7A6}"/>
            </c:ext>
          </c:extLst>
        </c:ser>
        <c:ser>
          <c:idx val="1"/>
          <c:order val="1"/>
          <c:spPr>
            <a:solidFill>
              <a:srgbClr val="703E97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65002451.361423984</c:v>
                </c:pt>
                <c:pt idx="1">
                  <c:v>57900180.262583993</c:v>
                </c:pt>
                <c:pt idx="2">
                  <c:v>64142433.938478008</c:v>
                </c:pt>
                <c:pt idx="3">
                  <c:v>75487404.579889014</c:v>
                </c:pt>
                <c:pt idx="4">
                  <c:v>71755219.790677011</c:v>
                </c:pt>
                <c:pt idx="5">
                  <c:v>57064091.470187001</c:v>
                </c:pt>
                <c:pt idx="6">
                  <c:v>71538971.008781016</c:v>
                </c:pt>
                <c:pt idx="7">
                  <c:v>63140414.147380002</c:v>
                </c:pt>
                <c:pt idx="8">
                  <c:v>67495198.993385002</c:v>
                </c:pt>
                <c:pt idx="9">
                  <c:v>63914408.099698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B3-4179-A85D-CE3E9E93B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19231951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9B3-4179-A85D-CE3E9E93B7A6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79B3-4179-A85D-CE3E9E93B7A6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79B3-4179-A85D-CE3E9E93B7A6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79B3-4179-A85D-CE3E9E93B7A6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79B3-4179-A85D-CE3E9E93B7A6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79B3-4179-A85D-CE3E9E93B7A6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79B3-4179-A85D-CE3E9E93B7A6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79B3-4179-A85D-CE3E9E93B7A6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79B3-4179-A85D-CE3E9E93B7A6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79B3-4179-A85D-CE3E9E93B7A6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64.236549718785881</c:v>
                </c:pt>
                <c:pt idx="1">
                  <c:v>84.902767903353535</c:v>
                </c:pt>
                <c:pt idx="2">
                  <c:v>97.121366869992059</c:v>
                </c:pt>
                <c:pt idx="3">
                  <c:v>94.380424995214938</c:v>
                </c:pt>
                <c:pt idx="4">
                  <c:v>95.169103308063683</c:v>
                </c:pt>
                <c:pt idx="5">
                  <c:v>97.821481054016601</c:v>
                </c:pt>
                <c:pt idx="6">
                  <c:v>97.723143504701838</c:v>
                </c:pt>
                <c:pt idx="7">
                  <c:v>98.119000673621642</c:v>
                </c:pt>
                <c:pt idx="8">
                  <c:v>95.693624313038711</c:v>
                </c:pt>
                <c:pt idx="9">
                  <c:v>97.428066778336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9B3-4179-A85D-CE3E9E93B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519231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192314.416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519231951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23087852237745E-2"/>
          <c:y val="0.18818818818818819"/>
          <c:w val="0.96495382429552445"/>
          <c:h val="0.694694694694694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48-4636-82C7-E2EBFB4D2389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48-4636-82C7-E2EBFB4D2389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48-4636-82C7-E2EBFB4D2389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48-4636-82C7-E2EBFB4D2389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48-4636-82C7-E2EBFB4D2389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48-4636-82C7-E2EBFB4D2389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48-4636-82C7-E2EBFB4D23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.9189918123998697</c:v>
                </c:pt>
                <c:pt idx="1">
                  <c:v>2.8547629737563556</c:v>
                </c:pt>
                <c:pt idx="2">
                  <c:v>1.8022829090174943</c:v>
                </c:pt>
                <c:pt idx="3">
                  <c:v>1.3093230420824238</c:v>
                </c:pt>
                <c:pt idx="4">
                  <c:v>1.2200198792598431</c:v>
                </c:pt>
                <c:pt idx="5">
                  <c:v>1.3547862636004382</c:v>
                </c:pt>
                <c:pt idx="6">
                  <c:v>1.156936501289088</c:v>
                </c:pt>
                <c:pt idx="7">
                  <c:v>1.0894889890975636</c:v>
                </c:pt>
                <c:pt idx="8">
                  <c:v>1.1773405446257701</c:v>
                </c:pt>
                <c:pt idx="9">
                  <c:v>2.5976840361141935</c:v>
                </c:pt>
                <c:pt idx="10">
                  <c:v>1.596456101754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748-4636-82C7-E2EBFB4D2389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7.50750750750750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748-4636-82C7-E2EBFB4D2389}"/>
                </c:ext>
              </c:extLst>
            </c:dLbl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48-4636-82C7-E2EBFB4D2389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748-4636-82C7-E2EBFB4D2389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748-4636-82C7-E2EBFB4D2389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748-4636-82C7-E2EBFB4D2389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748-4636-82C7-E2EBFB4D2389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748-4636-82C7-E2EBFB4D2389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748-4636-82C7-E2EBFB4D2389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748-4636-82C7-E2EBFB4D2389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748-4636-82C7-E2EBFB4D23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.4008378201585472</c:v>
                </c:pt>
                <c:pt idx="1">
                  <c:v>2.9059172106406961</c:v>
                </c:pt>
                <c:pt idx="2">
                  <c:v>2.5286713214876047</c:v>
                </c:pt>
                <c:pt idx="3">
                  <c:v>2.2375513476268982</c:v>
                </c:pt>
                <c:pt idx="4">
                  <c:v>2.4118601729084839</c:v>
                </c:pt>
                <c:pt idx="5">
                  <c:v>2.1143480559636827</c:v>
                </c:pt>
                <c:pt idx="6">
                  <c:v>1.4988007098349814</c:v>
                </c:pt>
                <c:pt idx="7">
                  <c:v>1.6399078748327294</c:v>
                </c:pt>
                <c:pt idx="8">
                  <c:v>1.5669182791627307</c:v>
                </c:pt>
                <c:pt idx="9">
                  <c:v>1.2755839652685457</c:v>
                </c:pt>
                <c:pt idx="10">
                  <c:v>1.324284122752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1748-4636-82C7-E2EBFB4D2389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748-4636-82C7-E2EBFB4D2389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1748-4636-82C7-E2EBFB4D2389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748-4636-82C7-E2EBFB4D2389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1748-4636-82C7-E2EBFB4D2389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1748-4636-82C7-E2EBFB4D2389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1748-4636-82C7-E2EBFB4D2389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1748-4636-82C7-E2EBFB4D2389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1748-4636-82C7-E2EBFB4D2389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1748-4636-82C7-E2EBFB4D23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1.7127260904544808</c:v>
                </c:pt>
                <c:pt idx="1">
                  <c:v>4.1689558848188648</c:v>
                </c:pt>
                <c:pt idx="2">
                  <c:v>3.9474513870770562</c:v>
                </c:pt>
                <c:pt idx="3">
                  <c:v>2.9162557848960646</c:v>
                </c:pt>
                <c:pt idx="4">
                  <c:v>4.0819915691055702</c:v>
                </c:pt>
                <c:pt idx="5">
                  <c:v>3.6692085612899943</c:v>
                </c:pt>
                <c:pt idx="6">
                  <c:v>2.4187930244237825</c:v>
                </c:pt>
                <c:pt idx="7">
                  <c:v>3.0685816146944784</c:v>
                </c:pt>
                <c:pt idx="8">
                  <c:v>2.9134307582854699</c:v>
                </c:pt>
                <c:pt idx="9">
                  <c:v>2.2257377522476034</c:v>
                </c:pt>
                <c:pt idx="10">
                  <c:v>2.7113780649017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C-1748-4636-82C7-E2EBFB4D2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9635343"/>
        <c:axId val="1"/>
      </c:lineChart>
      <c:catAx>
        <c:axId val="699635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F2F2F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16895588481886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996353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7.8668683812405452E-2"/>
          <c:w val="0.93426042983565105"/>
          <c:h val="0.8426626323751891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296-4E4B-82FA-C2888EE08699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296-4E4B-82FA-C2888EE08699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1815192.723105431</c:v>
                </c:pt>
                <c:pt idx="1">
                  <c:v>9493747.0859055519</c:v>
                </c:pt>
                <c:pt idx="2">
                  <c:v>9493747.0859055519</c:v>
                </c:pt>
                <c:pt idx="3">
                  <c:v>39170497.235921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96-4E4B-82FA-C2888EE08699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296-4E4B-82FA-C2888EE08699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12321445.637199879</c:v>
                </c:pt>
                <c:pt idx="2">
                  <c:v>29676750.15001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96-4E4B-82FA-C2888EE086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99637263"/>
        <c:axId val="1"/>
      </c:barChart>
      <c:catAx>
        <c:axId val="699637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170497.2359215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99637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22127659574468084"/>
          <c:w val="0.933968253968254"/>
          <c:h val="0.5574468085106383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BBB-425E-B5FD-BCBD71C55D33}"/>
              </c:ext>
            </c:extLst>
          </c:dPt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BBB-425E-B5FD-BCBD71C55D33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2321445.6372</c:v>
                </c:pt>
                <c:pt idx="1">
                  <c:v>1890996.9367000069</c:v>
                </c:pt>
                <c:pt idx="2">
                  <c:v>1890996.9367000051</c:v>
                </c:pt>
                <c:pt idx="3">
                  <c:v>-2088896.9503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BB-425E-B5FD-BCBD71C55D33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0430448.700499993</c:v>
                </c:pt>
                <c:pt idx="2">
                  <c:v>-2088896.9503999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BB-425E-B5FD-BCBD71C55D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14890639"/>
        <c:axId val="1"/>
      </c:barChart>
      <c:catAx>
        <c:axId val="41489063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321445.6372"/>
          <c:min val="-2088896.9503999967"/>
        </c:scaling>
        <c:delete val="1"/>
        <c:axPos val="l"/>
        <c:numFmt formatCode="General" sourceLinked="1"/>
        <c:majorTickMark val="out"/>
        <c:minorTickMark val="none"/>
        <c:tickLblPos val="nextTo"/>
        <c:crossAx val="414890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59A-4F77-9E16-8F1089FF1D22}"/>
              </c:ext>
            </c:extLst>
          </c:dPt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59A-4F77-9E16-8F1089FF1D22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59A-4F77-9E16-8F1089FF1D22}"/>
              </c:ext>
            </c:extLst>
          </c:dPt>
          <c:dPt>
            <c:idx val="4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59A-4F77-9E16-8F1089FF1D22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59A-4F77-9E16-8F1089FF1D22}"/>
              </c:ext>
            </c:extLst>
          </c:dPt>
          <c:dPt>
            <c:idx val="1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59A-4F77-9E16-8F1089FF1D22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24312073.01431382</c:v>
                </c:pt>
                <c:pt idx="1">
                  <c:v>74414376.117150843</c:v>
                </c:pt>
                <c:pt idx="2">
                  <c:v>120488252.12035501</c:v>
                </c:pt>
                <c:pt idx="3">
                  <c:v>22753113.575841844</c:v>
                </c:pt>
                <c:pt idx="4">
                  <c:v>27928408.725107275</c:v>
                </c:pt>
                <c:pt idx="5">
                  <c:v>940110.48593920469</c:v>
                </c:pt>
                <c:pt idx="6">
                  <c:v>-11047029.676235788</c:v>
                </c:pt>
                <c:pt idx="7">
                  <c:v>-34431668.538920887</c:v>
                </c:pt>
                <c:pt idx="8">
                  <c:v>-7914387.903316319</c:v>
                </c:pt>
                <c:pt idx="9">
                  <c:v>-10565873.328827083</c:v>
                </c:pt>
                <c:pt idx="10">
                  <c:v>521902131.21895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59A-4F77-9E16-8F1089FF1D22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359A-4F77-9E16-8F1089FF1D22}"/>
              </c:ext>
            </c:extLst>
          </c:dPt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59A-4F77-9E16-8F1089FF1D22}"/>
              </c:ext>
            </c:extLst>
          </c:dPt>
          <c:dPt>
            <c:idx val="1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359A-4F77-9E16-8F1089FF1D22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101923739.55791593</c:v>
                </c:pt>
                <c:pt idx="1">
                  <c:v>151821436.4550789</c:v>
                </c:pt>
                <c:pt idx="2">
                  <c:v>36263249.53940025</c:v>
                </c:pt>
                <c:pt idx="3">
                  <c:v>-22923196.296266854</c:v>
                </c:pt>
                <c:pt idx="4">
                  <c:v>-2713414.8839079738</c:v>
                </c:pt>
                <c:pt idx="5">
                  <c:v>36966058.504108027</c:v>
                </c:pt>
                <c:pt idx="6">
                  <c:v>-56108518.315503962</c:v>
                </c:pt>
                <c:pt idx="7">
                  <c:v>-45589683.81090986</c:v>
                </c:pt>
                <c:pt idx="8">
                  <c:v>-47346733.178806484</c:v>
                </c:pt>
                <c:pt idx="9">
                  <c:v>-52923805.371590316</c:v>
                </c:pt>
                <c:pt idx="10">
                  <c:v>-574147909.00507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9A-4F77-9E16-8F1089FF1D22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359A-4F77-9E16-8F1089FF1D22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1">
                  <c:v>46073876.003204167</c:v>
                </c:pt>
                <c:pt idx="2">
                  <c:v>-59186445.835667104</c:v>
                </c:pt>
                <c:pt idx="3">
                  <c:v>-25466528.459749818</c:v>
                </c:pt>
                <c:pt idx="4">
                  <c:v>-26988298.23916807</c:v>
                </c:pt>
                <c:pt idx="5">
                  <c:v>-104121606.49584776</c:v>
                </c:pt>
                <c:pt idx="6">
                  <c:v>-68974322.673594952</c:v>
                </c:pt>
                <c:pt idx="7">
                  <c:v>-20829452.543201923</c:v>
                </c:pt>
                <c:pt idx="8">
                  <c:v>-55575290.79710108</c:v>
                </c:pt>
                <c:pt idx="9">
                  <c:v>-41679904.457287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59A-4F77-9E16-8F1089FF1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1706637359"/>
        <c:axId val="1"/>
      </c:barChart>
      <c:catAx>
        <c:axId val="170663735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21902131.21896052"/>
          <c:min val="-574147909.00507498"/>
        </c:scaling>
        <c:delete val="1"/>
        <c:axPos val="l"/>
        <c:numFmt formatCode="General" sourceLinked="1"/>
        <c:majorTickMark val="out"/>
        <c:minorTickMark val="none"/>
        <c:tickLblPos val="nextTo"/>
        <c:crossAx val="17066373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5.1741293532338306E-2"/>
          <c:w val="0.97465269315135272"/>
          <c:h val="0.896517412935323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028943481.4046006</c:v>
                </c:pt>
                <c:pt idx="1">
                  <c:v>384222910.47360015</c:v>
                </c:pt>
                <c:pt idx="2">
                  <c:v>477939424.47609991</c:v>
                </c:pt>
                <c:pt idx="3">
                  <c:v>745551410.38859999</c:v>
                </c:pt>
                <c:pt idx="4">
                  <c:v>622947040.92350018</c:v>
                </c:pt>
                <c:pt idx="5">
                  <c:v>441574449.76569998</c:v>
                </c:pt>
                <c:pt idx="6">
                  <c:v>700849050.57549989</c:v>
                </c:pt>
                <c:pt idx="7">
                  <c:v>628414671.96599996</c:v>
                </c:pt>
                <c:pt idx="8">
                  <c:v>651160990.69810021</c:v>
                </c:pt>
                <c:pt idx="9">
                  <c:v>702822392.76230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57-450C-82BA-9DCA1008EB71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802707668.83237088</c:v>
                </c:pt>
                <c:pt idx="1">
                  <c:v>489970470.92547488</c:v>
                </c:pt>
                <c:pt idx="2">
                  <c:v>621350872.89272177</c:v>
                </c:pt>
                <c:pt idx="3">
                  <c:v>725341628.97624111</c:v>
                </c:pt>
                <c:pt idx="4">
                  <c:v>619293515.553653</c:v>
                </c:pt>
                <c:pt idx="5">
                  <c:v>509670108.24337894</c:v>
                </c:pt>
                <c:pt idx="6">
                  <c:v>713714854.93359089</c:v>
                </c:pt>
                <c:pt idx="7">
                  <c:v>603654440.69829202</c:v>
                </c:pt>
                <c:pt idx="8">
                  <c:v>659389548.31639481</c:v>
                </c:pt>
                <c:pt idx="9">
                  <c:v>691578491.847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57-450C-82BA-9DCA1008E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82933024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6857-450C-82BA-9DCA1008EB71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6857-450C-82BA-9DCA1008EB71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6857-450C-82BA-9DCA1008EB71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6857-450C-82BA-9DCA1008EB71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6857-450C-82BA-9DCA1008EB71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6857-450C-82BA-9DCA1008EB71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6857-450C-82BA-9DCA1008EB71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6857-450C-82BA-9DCA1008EB71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6857-450C-82BA-9DCA1008EB71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6857-450C-82BA-9DCA1008EB71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78.012804720488887</c:v>
                </c:pt>
                <c:pt idx="1">
                  <c:v>91.473880725381775</c:v>
                </c:pt>
                <c:pt idx="2">
                  <c:v>101.21215830959997</c:v>
                </c:pt>
                <c:pt idx="3">
                  <c:v>100.10291117314716</c:v>
                </c:pt>
                <c:pt idx="4">
                  <c:v>99.971158753985478</c:v>
                </c:pt>
                <c:pt idx="5">
                  <c:v>101.81443678132717</c:v>
                </c:pt>
                <c:pt idx="6">
                  <c:v>101.81782934063702</c:v>
                </c:pt>
                <c:pt idx="7">
                  <c:v>101.09853401050768</c:v>
                </c:pt>
                <c:pt idx="8">
                  <c:v>101.11746058089297</c:v>
                </c:pt>
                <c:pt idx="9">
                  <c:v>100.81833165943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857-450C-82BA-9DCA1008E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782933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28943481.404600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1782933024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1.8178293406370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5.8035714285714288E-2"/>
          <c:w val="0.93426042983565105"/>
          <c:h val="0.883928571428571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041-47DD-8445-AE27592DCCC9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041-47DD-8445-AE27592DCCC9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690022980.16998482</c:v>
                </c:pt>
                <c:pt idx="1">
                  <c:v>115875071.16490936</c:v>
                </c:pt>
                <c:pt idx="2">
                  <c:v>115875071.16490936</c:v>
                </c:pt>
                <c:pt idx="3">
                  <c:v>637777202.38386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41-47DD-8445-AE27592DCCC9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041-47DD-8445-AE27592DCCC9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574147909.00507545</c:v>
                </c:pt>
                <c:pt idx="2">
                  <c:v>521902131.21895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41-47DD-8445-AE27592DC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07836096"/>
        <c:axId val="1"/>
      </c:barChart>
      <c:catAx>
        <c:axId val="1107836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0022980.169984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7836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0833333333333334"/>
          <c:w val="0.933968253968254"/>
          <c:h val="0.7833333333333333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9C5-4DCB-9FA9-3BD58B1AE948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574147909.00507605</c:v>
                </c:pt>
                <c:pt idx="1">
                  <c:v>430028757.25887597</c:v>
                </c:pt>
                <c:pt idx="2">
                  <c:v>405931389.23937595</c:v>
                </c:pt>
                <c:pt idx="3">
                  <c:v>405931389.23937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C5-4DCB-9FA9-3BD58B1AE948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44119151.74620008</c:v>
                </c:pt>
                <c:pt idx="2">
                  <c:v>24097368.019500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C5-4DCB-9FA9-3BD58B1AE9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719331024"/>
        <c:axId val="1"/>
      </c:barChart>
      <c:catAx>
        <c:axId val="71933102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4147909.005076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331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68558708959377E-2"/>
          <c:y val="0.18100890207715134"/>
          <c:w val="0.97106288258208129"/>
          <c:h val="0.694362017804154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FBA-4FBB-A9E4-159E59830B87}"/>
              </c:ext>
            </c:extLst>
          </c:dPt>
          <c:dPt>
            <c:idx val="4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FBA-4FBB-A9E4-159E59830B87}"/>
              </c:ext>
            </c:extLst>
          </c:dPt>
          <c:dLbls>
            <c:dLbl>
              <c:idx val="0"/>
              <c:layout>
                <c:manualLayout>
                  <c:x val="0"/>
                  <c:y val="-8.902077151335312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FBA-4FBB-A9E4-159E59830B87}"/>
                </c:ext>
              </c:extLst>
            </c:dLbl>
            <c:dLbl>
              <c:idx val="4"/>
              <c:layout>
                <c:manualLayout>
                  <c:x val="0"/>
                  <c:y val="-0.404302670623145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FBA-4FBB-A9E4-159E59830B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.6834313120002662</c:v>
                </c:pt>
                <c:pt idx="1">
                  <c:v>5.6834313120002662</c:v>
                </c:pt>
                <c:pt idx="2">
                  <c:v>41.017809600000589</c:v>
                </c:pt>
                <c:pt idx="3">
                  <c:v>41.017809600000589</c:v>
                </c:pt>
                <c:pt idx="4">
                  <c:v>61.9187658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BA-4FBB-A9E4-159E59830B87}"/>
            </c:ext>
          </c:extLst>
        </c:ser>
        <c:ser>
          <c:idx val="1"/>
          <c:order val="1"/>
          <c:spPr>
            <a:solidFill>
              <a:srgbClr val="2A276E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48367952522255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FBA-4FBB-A9E4-159E59830B87}"/>
                </c:ext>
              </c:extLst>
            </c:dLbl>
            <c:dLbl>
              <c:idx val="3"/>
              <c:layout>
                <c:manualLayout>
                  <c:x val="0"/>
                  <c:y val="2.225519287833828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FBA-4FBB-A9E4-159E59830B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40.929301899999999</c:v>
                </c:pt>
                <c:pt idx="2">
                  <c:v>5.5949236119996755</c:v>
                </c:pt>
                <c:pt idx="3">
                  <c:v>20.9009562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FBA-4FBB-A9E4-159E59830B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27679"/>
        <c:axId val="1"/>
      </c:barChart>
      <c:catAx>
        <c:axId val="2127627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1.9187658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7627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1D2-404B-9087-EAEEDC95A4EB}"/>
              </c:ext>
            </c:extLst>
          </c:dPt>
          <c:dPt>
            <c:idx val="2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1D2-404B-9087-EAEEDC95A4EB}"/>
              </c:ext>
            </c:extLst>
          </c:dPt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1D2-404B-9087-EAEEDC95A4EB}"/>
              </c:ext>
            </c:extLst>
          </c:dPt>
          <c:dPt>
            <c:idx val="4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1D2-404B-9087-EAEEDC95A4EB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1D2-404B-9087-EAEEDC95A4EB}"/>
              </c:ext>
            </c:extLst>
          </c:dPt>
          <c:dPt>
            <c:idx val="1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1D2-404B-9087-EAEEDC95A4EB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68306587.086913779</c:v>
                </c:pt>
                <c:pt idx="1">
                  <c:v>74414376.117150843</c:v>
                </c:pt>
                <c:pt idx="2">
                  <c:v>4101346.5389549136</c:v>
                </c:pt>
                <c:pt idx="3">
                  <c:v>25674106.192533165</c:v>
                </c:pt>
                <c:pt idx="4">
                  <c:v>37899663.843392022</c:v>
                </c:pt>
                <c:pt idx="5">
                  <c:v>940110.48593920469</c:v>
                </c:pt>
                <c:pt idx="6">
                  <c:v>-8626417.9632357955</c:v>
                </c:pt>
                <c:pt idx="7">
                  <c:v>-5471697.3439209163</c:v>
                </c:pt>
                <c:pt idx="8">
                  <c:v>-7914387.903316319</c:v>
                </c:pt>
                <c:pt idx="9">
                  <c:v>-6530653.9465270936</c:v>
                </c:pt>
                <c:pt idx="10">
                  <c:v>82543698.740659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1D2-404B-9087-EAEEDC95A4EB}"/>
            </c:ext>
          </c:extLst>
        </c:ser>
        <c:ser>
          <c:idx val="1"/>
          <c:order val="1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01D2-404B-9087-EAEEDC95A4EB}"/>
              </c:ext>
            </c:extLst>
          </c:dPt>
          <c:dPt>
            <c:idx val="2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1D2-404B-9087-EAEEDC95A4EB}"/>
              </c:ext>
            </c:extLst>
          </c:dPt>
          <c:dPt>
            <c:idx val="3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01D2-404B-9087-EAEEDC95A4EB}"/>
              </c:ext>
            </c:extLst>
          </c:dPt>
          <c:dPt>
            <c:idx val="4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01D2-404B-9087-EAEEDC95A4EB}"/>
              </c:ext>
            </c:extLst>
          </c:dPt>
          <c:dPt>
            <c:idx val="6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01D2-404B-9087-EAEEDC95A4EB}"/>
              </c:ext>
            </c:extLst>
          </c:dPt>
          <c:dPt>
            <c:idx val="7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01D2-404B-9087-EAEEDC95A4EB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01D2-404B-9087-EAEEDC95A4EB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56005485.927400038</c:v>
                </c:pt>
                <c:pt idx="1">
                  <c:v>41023752.597879052</c:v>
                </c:pt>
                <c:pt idx="2">
                  <c:v>39715643.522200078</c:v>
                </c:pt>
                <c:pt idx="3">
                  <c:v>3866594.6079999506</c:v>
                </c:pt>
                <c:pt idx="4">
                  <c:v>16984393.44689998</c:v>
                </c:pt>
                <c:pt idx="5">
                  <c:v>37833171.606600001</c:v>
                </c:pt>
                <c:pt idx="6">
                  <c:v>-2420611.7129999921</c:v>
                </c:pt>
                <c:pt idx="7">
                  <c:v>-28959971.19499997</c:v>
                </c:pt>
                <c:pt idx="8">
                  <c:v>-39451205.753899992</c:v>
                </c:pt>
                <c:pt idx="9">
                  <c:v>-4035219.3822999895</c:v>
                </c:pt>
                <c:pt idx="10">
                  <c:v>439358432.4782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1D2-404B-9087-EAEEDC95A4EB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01D2-404B-9087-EAEEDC95A4EB}"/>
              </c:ext>
            </c:extLst>
          </c:dPt>
          <c:dPt>
            <c:idx val="1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01D2-404B-9087-EAEEDC95A4EB}"/>
              </c:ext>
            </c:extLst>
          </c:dPt>
          <c:dPt>
            <c:idx val="4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01D2-404B-9087-EAEEDC95A4EB}"/>
              </c:ext>
            </c:extLst>
          </c:dPt>
          <c:dPt>
            <c:idx val="6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01D2-404B-9087-EAEEDC95A4EB}"/>
              </c:ext>
            </c:extLst>
          </c:dPt>
          <c:dPt>
            <c:idx val="7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01D2-404B-9087-EAEEDC95A4EB}"/>
              </c:ext>
            </c:extLst>
          </c:dPt>
          <c:dPt>
            <c:idx val="8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01D2-404B-9087-EAEEDC95A4EB}"/>
              </c:ext>
            </c:extLst>
          </c:dPt>
          <c:dPt>
            <c:idx val="9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01D2-404B-9087-EAEEDC95A4EB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0">
                  <c:v>7846820.9790159762</c:v>
                </c:pt>
                <c:pt idx="1">
                  <c:v>33592902.834099919</c:v>
                </c:pt>
                <c:pt idx="2">
                  <c:v>76671262.059200019</c:v>
                </c:pt>
                <c:pt idx="3">
                  <c:v>2854486.7099000216</c:v>
                </c:pt>
                <c:pt idx="4">
                  <c:v>-2713414.8839079738</c:v>
                </c:pt>
                <c:pt idx="5">
                  <c:v>-13297200.223660752</c:v>
                </c:pt>
                <c:pt idx="6">
                  <c:v>-52073622.82510002</c:v>
                </c:pt>
                <c:pt idx="7">
                  <c:v>-40800576.086599968</c:v>
                </c:pt>
                <c:pt idx="8">
                  <c:v>-7895527.4249064922</c:v>
                </c:pt>
                <c:pt idx="9">
                  <c:v>-45664639.696099989</c:v>
                </c:pt>
                <c:pt idx="10">
                  <c:v>-144119151.746200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01D2-404B-9087-EAEEDC95A4EB}"/>
            </c:ext>
          </c:extLst>
        </c:ser>
        <c:ser>
          <c:idx val="3"/>
          <c:order val="3"/>
          <c:spPr>
            <a:solidFill>
              <a:srgbClr val="D9EEF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01D2-404B-9087-EAEEDC95A4EB}"/>
              </c:ext>
            </c:extLst>
          </c:dPt>
          <c:dPt>
            <c:idx val="2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01D2-404B-9087-EAEEDC95A4EB}"/>
              </c:ext>
            </c:extLst>
          </c:dPt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01D2-404B-9087-EAEEDC95A4EB}"/>
              </c:ext>
            </c:extLst>
          </c:dPt>
          <c:dPt>
            <c:idx val="6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01D2-404B-9087-EAEEDC95A4EB}"/>
              </c:ext>
            </c:extLst>
          </c:dPt>
          <c:dPt>
            <c:idx val="7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01D2-404B-9087-EAEEDC95A4EB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01D2-404B-9087-EAEEDC95A4EB}"/>
              </c:ext>
            </c:extLst>
          </c:dPt>
          <c:dPt>
            <c:idx val="9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01D2-404B-9087-EAEEDC95A4EB}"/>
              </c:ext>
            </c:extLst>
          </c:dPt>
          <c:val>
            <c:numRef>
              <c:f>Sheet1!$A$4:$K$4</c:f>
              <c:numCache>
                <c:formatCode>General</c:formatCode>
                <c:ptCount val="11"/>
                <c:pt idx="0">
                  <c:v>98791371.516000003</c:v>
                </c:pt>
                <c:pt idx="1">
                  <c:v>77204781.023099929</c:v>
                </c:pt>
                <c:pt idx="2">
                  <c:v>45134673.683100015</c:v>
                </c:pt>
                <c:pt idx="3">
                  <c:v>-22923196.296266854</c:v>
                </c:pt>
                <c:pt idx="4">
                  <c:v>-4590076.4221000224</c:v>
                </c:pt>
                <c:pt idx="5">
                  <c:v>-34115812.055700004</c:v>
                </c:pt>
                <c:pt idx="6">
                  <c:v>-4034895.4904039428</c:v>
                </c:pt>
                <c:pt idx="7">
                  <c:v>-4789107.7243098915</c:v>
                </c:pt>
                <c:pt idx="8">
                  <c:v>-8193.1613999903202</c:v>
                </c:pt>
                <c:pt idx="9">
                  <c:v>-7259165.6754903272</c:v>
                </c:pt>
                <c:pt idx="10">
                  <c:v>-24097368.019500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01D2-404B-9087-EAEEDC95A4EB}"/>
            </c:ext>
          </c:extLst>
        </c:ser>
        <c:ser>
          <c:idx val="4"/>
          <c:order val="4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01D2-404B-9087-EAEEDC95A4EB}"/>
              </c:ext>
            </c:extLst>
          </c:dPt>
          <c:dPt>
            <c:idx val="1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01D2-404B-9087-EAEEDC95A4EB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01D2-404B-9087-EAEEDC95A4EB}"/>
              </c:ext>
            </c:extLst>
          </c:dPt>
          <c:dPt>
            <c:idx val="7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01D2-404B-9087-EAEEDC95A4EB}"/>
              </c:ext>
            </c:extLst>
          </c:dPt>
          <c:dPt>
            <c:idx val="8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01D2-404B-9087-EAEEDC95A4EB}"/>
              </c:ext>
            </c:extLst>
          </c:dPt>
          <c:dPt>
            <c:idx val="9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01D2-404B-9087-EAEEDC95A4EB}"/>
              </c:ext>
            </c:extLst>
          </c:dPt>
          <c:val>
            <c:numRef>
              <c:f>Sheet1!$A$5:$K$5</c:f>
              <c:numCache>
                <c:formatCode>General</c:formatCode>
                <c:ptCount val="11"/>
                <c:pt idx="0">
                  <c:v>-4714452.9371000528</c:v>
                </c:pt>
                <c:pt idx="1">
                  <c:v>12889200.319804162</c:v>
                </c:pt>
                <c:pt idx="2">
                  <c:v>-59186445.835667104</c:v>
                </c:pt>
                <c:pt idx="3">
                  <c:v>-32187609.77764979</c:v>
                </c:pt>
                <c:pt idx="4">
                  <c:v>-39382615.263968028</c:v>
                </c:pt>
                <c:pt idx="5">
                  <c:v>-56708594.216487005</c:v>
                </c:pt>
                <c:pt idx="6">
                  <c:v>-24117222.589900032</c:v>
                </c:pt>
                <c:pt idx="7">
                  <c:v>-6813692.7458999753</c:v>
                </c:pt>
                <c:pt idx="8">
                  <c:v>-9741498.8062999845</c:v>
                </c:pt>
                <c:pt idx="9">
                  <c:v>-606319.47020000964</c:v>
                </c:pt>
                <c:pt idx="10">
                  <c:v>-405931389.2393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01D2-404B-9087-EAEEDC95A4EB}"/>
            </c:ext>
          </c:extLst>
        </c:ser>
        <c:ser>
          <c:idx val="5"/>
          <c:order val="5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01D2-404B-9087-EAEEDC95A4EB}"/>
              </c:ext>
            </c:extLst>
          </c:dPt>
          <c:dPt>
            <c:idx val="2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01D2-404B-9087-EAEEDC95A4EB}"/>
              </c:ext>
            </c:extLst>
          </c:dPt>
          <c:dPt>
            <c:idx val="3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01D2-404B-9087-EAEEDC95A4EB}"/>
              </c:ext>
            </c:extLst>
          </c:dPt>
          <c:dPt>
            <c:idx val="4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01D2-404B-9087-EAEEDC95A4EB}"/>
              </c:ext>
            </c:extLst>
          </c:dPt>
          <c:dPt>
            <c:idx val="5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01D2-404B-9087-EAEEDC95A4EB}"/>
              </c:ext>
            </c:extLst>
          </c:dPt>
          <c:val>
            <c:numRef>
              <c:f>Sheet1!$A$6:$K$6</c:f>
              <c:numCache>
                <c:formatCode>General</c:formatCode>
                <c:ptCount val="11"/>
                <c:pt idx="1">
                  <c:v>33184675.683400005</c:v>
                </c:pt>
                <c:pt idx="2">
                  <c:v>-8871424.1436997652</c:v>
                </c:pt>
                <c:pt idx="3">
                  <c:v>-2920992.6166913211</c:v>
                </c:pt>
                <c:pt idx="4">
                  <c:v>-9971255.118284747</c:v>
                </c:pt>
                <c:pt idx="5">
                  <c:v>-867113.10249197483</c:v>
                </c:pt>
                <c:pt idx="6">
                  <c:v>-47277711.796694919</c:v>
                </c:pt>
                <c:pt idx="7">
                  <c:v>-42975730.992301911</c:v>
                </c:pt>
                <c:pt idx="8">
                  <c:v>-45825598.829401106</c:v>
                </c:pt>
                <c:pt idx="9">
                  <c:v>-45108804.369387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01D2-404B-9087-EAEEDC95A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1706583599"/>
        <c:axId val="1"/>
      </c:barChart>
      <c:catAx>
        <c:axId val="170658359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21902131.21896029"/>
          <c:min val="-574147909.00507498"/>
        </c:scaling>
        <c:delete val="1"/>
        <c:axPos val="l"/>
        <c:numFmt formatCode="General" sourceLinked="1"/>
        <c:majorTickMark val="out"/>
        <c:minorTickMark val="none"/>
        <c:tickLblPos val="nextTo"/>
        <c:crossAx val="17065835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CF0-447F-AC4A-4B13402CA5B2}"/>
              </c:ext>
            </c:extLst>
          </c:dPt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CF0-447F-AC4A-4B13402CA5B2}"/>
              </c:ext>
            </c:extLst>
          </c:dPt>
          <c:dPt>
            <c:idx val="4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CF0-447F-AC4A-4B13402CA5B2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CF0-447F-AC4A-4B13402CA5B2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65461441.123196892</c:v>
                </c:pt>
                <c:pt idx="1">
                  <c:v>40062633.337105989</c:v>
                </c:pt>
                <c:pt idx="2">
                  <c:v>69920146.339506</c:v>
                </c:pt>
                <c:pt idx="3">
                  <c:v>24767963.019313619</c:v>
                </c:pt>
                <c:pt idx="4">
                  <c:v>12776697.23291266</c:v>
                </c:pt>
                <c:pt idx="5">
                  <c:v>11446398.33341676</c:v>
                </c:pt>
                <c:pt idx="6">
                  <c:v>6160563.6120358147</c:v>
                </c:pt>
                <c:pt idx="7">
                  <c:v>4455681.1980168149</c:v>
                </c:pt>
                <c:pt idx="8">
                  <c:v>16253683.106787682</c:v>
                </c:pt>
                <c:pt idx="9">
                  <c:v>1378364.9613637663</c:v>
                </c:pt>
                <c:pt idx="10">
                  <c:v>293177185.95372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F0-447F-AC4A-4B13402CA5B2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DCF0-447F-AC4A-4B13402CA5B2}"/>
              </c:ext>
            </c:extLst>
          </c:dPt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DCF0-447F-AC4A-4B13402CA5B2}"/>
              </c:ext>
            </c:extLst>
          </c:dPt>
          <c:dPt>
            <c:idx val="1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DCF0-447F-AC4A-4B13402CA5B2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35671428.451309033</c:v>
                </c:pt>
                <c:pt idx="1">
                  <c:v>61070236.237399936</c:v>
                </c:pt>
                <c:pt idx="2">
                  <c:v>21581067.746706069</c:v>
                </c:pt>
                <c:pt idx="3">
                  <c:v>-3906855.1289889812</c:v>
                </c:pt>
                <c:pt idx="4">
                  <c:v>21325781.140799038</c:v>
                </c:pt>
                <c:pt idx="5">
                  <c:v>21374366.18610717</c:v>
                </c:pt>
                <c:pt idx="6">
                  <c:v>-24127432.539974123</c:v>
                </c:pt>
                <c:pt idx="7">
                  <c:v>-22223988.509585142</c:v>
                </c:pt>
                <c:pt idx="8">
                  <c:v>-5875352.1490142047</c:v>
                </c:pt>
                <c:pt idx="9">
                  <c:v>-24427132.52943325</c:v>
                </c:pt>
                <c:pt idx="10">
                  <c:v>-308936865.78249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F0-447F-AC4A-4B13402CA5B2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DCF0-447F-AC4A-4B13402CA5B2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1">
                  <c:v>29857513.002400011</c:v>
                </c:pt>
                <c:pt idx="2">
                  <c:v>-25487922.87569505</c:v>
                </c:pt>
                <c:pt idx="3">
                  <c:v>-11991265.786400959</c:v>
                </c:pt>
                <c:pt idx="4">
                  <c:v>-9879382.8073822781</c:v>
                </c:pt>
                <c:pt idx="5">
                  <c:v>-45501798.726081289</c:v>
                </c:pt>
                <c:pt idx="6">
                  <c:v>-28384552.121620923</c:v>
                </c:pt>
                <c:pt idx="7">
                  <c:v>-10331033.34703102</c:v>
                </c:pt>
                <c:pt idx="8">
                  <c:v>-40680815.63622091</c:v>
                </c:pt>
                <c:pt idx="9">
                  <c:v>-17138044.790133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CF0-447F-AC4A-4B13402CA5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1706658479"/>
        <c:axId val="1"/>
      </c:barChart>
      <c:catAx>
        <c:axId val="170665847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3177185.95372295"/>
          <c:min val="-308936865.78249145"/>
        </c:scaling>
        <c:delete val="1"/>
        <c:axPos val="l"/>
        <c:numFmt formatCode="General" sourceLinked="1"/>
        <c:majorTickMark val="out"/>
        <c:minorTickMark val="none"/>
        <c:tickLblPos val="nextTo"/>
        <c:crossAx val="1706658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5.1741293532338306E-2"/>
          <c:w val="0.97465269315135272"/>
          <c:h val="0.896517412935323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53824901.15039998</c:v>
                </c:pt>
                <c:pt idx="1">
                  <c:v>189680231.96760008</c:v>
                </c:pt>
                <c:pt idx="2">
                  <c:v>202761954.4989</c:v>
                </c:pt>
                <c:pt idx="3">
                  <c:v>341841044.36199993</c:v>
                </c:pt>
                <c:pt idx="4">
                  <c:v>297774437.33550006</c:v>
                </c:pt>
                <c:pt idx="5">
                  <c:v>190436411.01280004</c:v>
                </c:pt>
                <c:pt idx="6">
                  <c:v>303552302.53200001</c:v>
                </c:pt>
                <c:pt idx="7">
                  <c:v>265248963.42729998</c:v>
                </c:pt>
                <c:pt idx="8">
                  <c:v>270518250.5571</c:v>
                </c:pt>
                <c:pt idx="9">
                  <c:v>303523408.593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9B-4B79-9C08-FD718CBD87A1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52692031.57589406</c:v>
                </c:pt>
                <c:pt idx="1">
                  <c:v>220892955.2026</c:v>
                </c:pt>
                <c:pt idx="2">
                  <c:v>276588955.96739495</c:v>
                </c:pt>
                <c:pt idx="3">
                  <c:v>325157492.00009829</c:v>
                </c:pt>
                <c:pt idx="4">
                  <c:v>299104736.23499596</c:v>
                </c:pt>
                <c:pt idx="5">
                  <c:v>226010241.88619092</c:v>
                </c:pt>
                <c:pt idx="6">
                  <c:v>301648858.50161099</c:v>
                </c:pt>
                <c:pt idx="7">
                  <c:v>248900327.06672904</c:v>
                </c:pt>
                <c:pt idx="8">
                  <c:v>289070030.93751901</c:v>
                </c:pt>
                <c:pt idx="9">
                  <c:v>294855955.89333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9B-4B79-9C08-FD718CBD8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29950111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3F9B-4B79-9C08-FD718CBD87A1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3F9B-4B79-9C08-FD718CBD87A1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3F9B-4B79-9C08-FD718CBD87A1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3F9B-4B79-9C08-FD718CBD87A1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3F9B-4B79-9C08-FD718CBD87A1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3F9B-4B79-9C08-FD718CBD87A1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3F9B-4B79-9C08-FD718CBD87A1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3F9B-4B79-9C08-FD718CBD87A1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3F9B-4B79-9C08-FD718CBD87A1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3F9B-4B79-9C08-FD718CBD87A1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77.71544282428215</c:v>
                </c:pt>
                <c:pt idx="1">
                  <c:v>89.134485066075655</c:v>
                </c:pt>
                <c:pt idx="2">
                  <c:v>100.46165745852062</c:v>
                </c:pt>
                <c:pt idx="3">
                  <c:v>98.924618316378954</c:v>
                </c:pt>
                <c:pt idx="4">
                  <c:v>99.229656598051434</c:v>
                </c:pt>
                <c:pt idx="5">
                  <c:v>101.43931034744138</c:v>
                </c:pt>
                <c:pt idx="6">
                  <c:v>101.12249663409887</c:v>
                </c:pt>
                <c:pt idx="7">
                  <c:v>100.26169431943489</c:v>
                </c:pt>
                <c:pt idx="8">
                  <c:v>100.97101123870078</c:v>
                </c:pt>
                <c:pt idx="9">
                  <c:v>100.55902003352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F9B-4B79-9C08-FD718CBD8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2029950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3824901.15039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029950111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1.4393103474413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5.8035714285714288E-2"/>
          <c:w val="0.93426042983565105"/>
          <c:h val="0.883928571428571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C85-435E-AA79-137EDD23289C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C85-435E-AA79-137EDD23289C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371286794.688519</c:v>
                </c:pt>
                <c:pt idx="1">
                  <c:v>62349928.90602684</c:v>
                </c:pt>
                <c:pt idx="2">
                  <c:v>62349928.90602684</c:v>
                </c:pt>
                <c:pt idx="3">
                  <c:v>355527114.85974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85-435E-AA79-137EDD23289C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C85-435E-AA79-137EDD23289C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308936865.78249216</c:v>
                </c:pt>
                <c:pt idx="2">
                  <c:v>293177185.953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85-435E-AA79-137EDD232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33569984"/>
        <c:axId val="1"/>
      </c:barChart>
      <c:catAx>
        <c:axId val="533569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1286794.6885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33569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111111111111111"/>
          <c:w val="0.933968253968254"/>
          <c:h val="0.7777777777777777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30B-4644-A6E7-15972DA2A1B3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308936865.78249198</c:v>
                </c:pt>
                <c:pt idx="1">
                  <c:v>250786028.31279212</c:v>
                </c:pt>
                <c:pt idx="2">
                  <c:v>236895506.87219214</c:v>
                </c:pt>
                <c:pt idx="3">
                  <c:v>236895506.87219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0B-4644-A6E7-15972DA2A1B3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58150837.46969986</c:v>
                </c:pt>
                <c:pt idx="2">
                  <c:v>13890521.44059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0B-4644-A6E7-15972DA2A1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549714960"/>
        <c:axId val="1"/>
      </c:barChart>
      <c:catAx>
        <c:axId val="54971496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08936865.78249198"/>
          <c:min val="-2.6822090148925781E-7"/>
        </c:scaling>
        <c:delete val="1"/>
        <c:axPos val="l"/>
        <c:numFmt formatCode="General" sourceLinked="1"/>
        <c:majorTickMark val="out"/>
        <c:minorTickMark val="none"/>
        <c:tickLblPos val="nextTo"/>
        <c:crossAx val="549714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FE2-4C60-9C9F-90C835980B99}"/>
              </c:ext>
            </c:extLst>
          </c:dPt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FE2-4C60-9C9F-90C835980B99}"/>
              </c:ext>
            </c:extLst>
          </c:dPt>
          <c:dPt>
            <c:idx val="2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FE2-4C60-9C9F-90C835980B99}"/>
              </c:ext>
            </c:extLst>
          </c:dPt>
          <c:dPt>
            <c:idx val="4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FE2-4C60-9C9F-90C835980B99}"/>
              </c:ext>
            </c:extLst>
          </c:dPt>
          <c:dPt>
            <c:idx val="5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1FE2-4C60-9C9F-90C835980B99}"/>
              </c:ext>
            </c:extLst>
          </c:dPt>
          <c:dPt>
            <c:idx val="1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1FE2-4C60-9C9F-90C835980B99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31858440.72209689</c:v>
                </c:pt>
                <c:pt idx="1">
                  <c:v>40062633.337105989</c:v>
                </c:pt>
                <c:pt idx="2">
                  <c:v>9357526.8588059619</c:v>
                </c:pt>
                <c:pt idx="3">
                  <c:v>25294168.176511012</c:v>
                </c:pt>
                <c:pt idx="4">
                  <c:v>7447387.4316126853</c:v>
                </c:pt>
                <c:pt idx="5">
                  <c:v>2918624.2835167646</c:v>
                </c:pt>
                <c:pt idx="6">
                  <c:v>6160563.6120358147</c:v>
                </c:pt>
                <c:pt idx="7">
                  <c:v>4455681.1980168149</c:v>
                </c:pt>
                <c:pt idx="8">
                  <c:v>16253683.106787682</c:v>
                </c:pt>
                <c:pt idx="9">
                  <c:v>1378364.9613637663</c:v>
                </c:pt>
                <c:pt idx="10">
                  <c:v>37082504.818222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FE2-4C60-9C9F-90C835980B99}"/>
            </c:ext>
          </c:extLst>
        </c:ser>
        <c:ser>
          <c:idx val="1"/>
          <c:order val="1"/>
          <c:spPr>
            <a:solidFill>
              <a:srgbClr val="D9EEF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1FE2-4C60-9C9F-90C835980B99}"/>
              </c:ext>
            </c:extLst>
          </c:dPt>
          <c:dPt>
            <c:idx val="1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1FE2-4C60-9C9F-90C835980B99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1FE2-4C60-9C9F-90C835980B99}"/>
              </c:ext>
            </c:extLst>
          </c:dPt>
          <c:dPt>
            <c:idx val="7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1FE2-4C60-9C9F-90C835980B99}"/>
              </c:ext>
            </c:extLst>
          </c:dPt>
          <c:dPt>
            <c:idx val="8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1FE2-4C60-9C9F-90C835980B99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1FE2-4C60-9C9F-90C835980B99}"/>
              </c:ext>
            </c:extLst>
          </c:dPt>
          <c:dPt>
            <c:idx val="1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1FE2-4C60-9C9F-90C835980B99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33603000.401100002</c:v>
                </c:pt>
                <c:pt idx="1">
                  <c:v>22415793.828100011</c:v>
                </c:pt>
                <c:pt idx="2">
                  <c:v>21996109.091200002</c:v>
                </c:pt>
                <c:pt idx="3">
                  <c:v>5434067.9453999624</c:v>
                </c:pt>
                <c:pt idx="4">
                  <c:v>5329309.8012999743</c:v>
                </c:pt>
                <c:pt idx="5">
                  <c:v>8527774.0498999953</c:v>
                </c:pt>
                <c:pt idx="6">
                  <c:v>4188602.1323000155</c:v>
                </c:pt>
                <c:pt idx="7">
                  <c:v>18858955.388100006</c:v>
                </c:pt>
                <c:pt idx="8">
                  <c:v>-4991752.1828123182</c:v>
                </c:pt>
                <c:pt idx="9">
                  <c:v>8006830.3219999783</c:v>
                </c:pt>
                <c:pt idx="10">
                  <c:v>256094681.1355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FE2-4C60-9C9F-90C835980B99}"/>
            </c:ext>
          </c:extLst>
        </c:ser>
        <c:ser>
          <c:idx val="2"/>
          <c:order val="2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1FE2-4C60-9C9F-90C835980B99}"/>
              </c:ext>
            </c:extLst>
          </c:dPt>
          <c:dPt>
            <c:idx val="1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1FE2-4C60-9C9F-90C835980B99}"/>
              </c:ext>
            </c:extLst>
          </c:dPt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1FE2-4C60-9C9F-90C835980B99}"/>
              </c:ext>
            </c:extLst>
          </c:dPt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1FE2-4C60-9C9F-90C835980B99}"/>
              </c:ext>
            </c:extLst>
          </c:dPt>
          <c:dPt>
            <c:idx val="8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1FE2-4C60-9C9F-90C835980B99}"/>
              </c:ext>
            </c:extLst>
          </c:dPt>
          <c:dPt>
            <c:idx val="1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1FE2-4C60-9C9F-90C835980B99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0">
                  <c:v>49631468.79240004</c:v>
                </c:pt>
                <c:pt idx="1">
                  <c:v>14006984.001600012</c:v>
                </c:pt>
                <c:pt idx="2">
                  <c:v>38566510.389500037</c:v>
                </c:pt>
                <c:pt idx="3">
                  <c:v>1645597.4014000446</c:v>
                </c:pt>
                <c:pt idx="4">
                  <c:v>24409834.159799993</c:v>
                </c:pt>
                <c:pt idx="5">
                  <c:v>22341373.9815</c:v>
                </c:pt>
                <c:pt idx="6">
                  <c:v>-23344434.50776419</c:v>
                </c:pt>
                <c:pt idx="7">
                  <c:v>-18473912.669783171</c:v>
                </c:pt>
                <c:pt idx="8">
                  <c:v>-883599.96620188653</c:v>
                </c:pt>
                <c:pt idx="9">
                  <c:v>-23698188.30813624</c:v>
                </c:pt>
                <c:pt idx="10">
                  <c:v>-58150837.4696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1FE2-4C60-9C9F-90C835980B99}"/>
            </c:ext>
          </c:extLst>
        </c:ser>
        <c:ser>
          <c:idx val="3"/>
          <c:order val="3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1FE2-4C60-9C9F-90C835980B99}"/>
              </c:ext>
            </c:extLst>
          </c:dPt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1FE2-4C60-9C9F-90C835980B99}"/>
              </c:ext>
            </c:extLst>
          </c:dPt>
          <c:dPt>
            <c:idx val="5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1FE2-4C60-9C9F-90C835980B99}"/>
              </c:ext>
            </c:extLst>
          </c:dPt>
          <c:dPt>
            <c:idx val="6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1FE2-4C60-9C9F-90C835980B99}"/>
              </c:ext>
            </c:extLst>
          </c:dPt>
          <c:dPt>
            <c:idx val="7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1FE2-4C60-9C9F-90C835980B99}"/>
              </c:ext>
            </c:extLst>
          </c:dPt>
          <c:dPt>
            <c:idx val="9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1FE2-4C60-9C9F-90C835980B99}"/>
              </c:ext>
            </c:extLst>
          </c:dPt>
          <c:dPt>
            <c:idx val="10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1FE2-4C60-9C9F-90C835980B99}"/>
              </c:ext>
            </c:extLst>
          </c:dPt>
          <c:val>
            <c:numRef>
              <c:f>Sheet1!$A$4:$K$4</c:f>
              <c:numCache>
                <c:formatCode>General</c:formatCode>
                <c:ptCount val="11"/>
                <c:pt idx="0">
                  <c:v>-8724255.8962000757</c:v>
                </c:pt>
                <c:pt idx="1">
                  <c:v>24647458.407699913</c:v>
                </c:pt>
                <c:pt idx="2">
                  <c:v>27019869.838299975</c:v>
                </c:pt>
                <c:pt idx="3">
                  <c:v>-3906855.1289889812</c:v>
                </c:pt>
                <c:pt idx="4">
                  <c:v>7324632.1460999921</c:v>
                </c:pt>
                <c:pt idx="5">
                  <c:v>-15494004.451083232</c:v>
                </c:pt>
                <c:pt idx="6">
                  <c:v>-782998.0322099328</c:v>
                </c:pt>
                <c:pt idx="7">
                  <c:v>-3750075.8398019709</c:v>
                </c:pt>
                <c:pt idx="8">
                  <c:v>-8233288.4279999807</c:v>
                </c:pt>
                <c:pt idx="9">
                  <c:v>-728944.22129701078</c:v>
                </c:pt>
                <c:pt idx="10">
                  <c:v>-13890521.44059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1FE2-4C60-9C9F-90C835980B99}"/>
            </c:ext>
          </c:extLst>
        </c:ser>
        <c:ser>
          <c:idx val="4"/>
          <c:order val="4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1FE2-4C60-9C9F-90C835980B99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1FE2-4C60-9C9F-90C835980B99}"/>
              </c:ext>
            </c:extLst>
          </c:dPt>
          <c:dPt>
            <c:idx val="7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1FE2-4C60-9C9F-90C835980B99}"/>
              </c:ext>
            </c:extLst>
          </c:dPt>
          <c:dPt>
            <c:idx val="8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1FE2-4C60-9C9F-90C835980B99}"/>
              </c:ext>
            </c:extLst>
          </c:dPt>
          <c:dPt>
            <c:idx val="9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1FE2-4C60-9C9F-90C835980B99}"/>
              </c:ext>
            </c:extLst>
          </c:dPt>
          <c:val>
            <c:numRef>
              <c:f>Sheet1!$A$5:$K$5</c:f>
              <c:numCache>
                <c:formatCode>General</c:formatCode>
                <c:ptCount val="11"/>
                <c:pt idx="0">
                  <c:v>-5235784.4448909238</c:v>
                </c:pt>
                <c:pt idx="1">
                  <c:v>9094514.0998000056</c:v>
                </c:pt>
                <c:pt idx="2">
                  <c:v>-25487922.87569505</c:v>
                </c:pt>
                <c:pt idx="3">
                  <c:v>-19070931.133200966</c:v>
                </c:pt>
                <c:pt idx="4">
                  <c:v>-17204014.95348227</c:v>
                </c:pt>
                <c:pt idx="5">
                  <c:v>-30007794.274998058</c:v>
                </c:pt>
                <c:pt idx="6">
                  <c:v>-5287565.5559999868</c:v>
                </c:pt>
                <c:pt idx="7">
                  <c:v>-4927762.1452000104</c:v>
                </c:pt>
                <c:pt idx="8">
                  <c:v>-7872966.5868999958</c:v>
                </c:pt>
                <c:pt idx="9">
                  <c:v>-598899.94990000874</c:v>
                </c:pt>
                <c:pt idx="10">
                  <c:v>-236895506.87219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1FE2-4C60-9C9F-90C835980B99}"/>
            </c:ext>
          </c:extLst>
        </c:ser>
        <c:ser>
          <c:idx val="5"/>
          <c:order val="5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1FE2-4C60-9C9F-90C835980B99}"/>
              </c:ext>
            </c:extLst>
          </c:dPt>
          <c:dPt>
            <c:idx val="2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1FE2-4C60-9C9F-90C835980B99}"/>
              </c:ext>
            </c:extLst>
          </c:dPt>
          <c:dPt>
            <c:idx val="3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1FE2-4C60-9C9F-90C835980B99}"/>
              </c:ext>
            </c:extLst>
          </c:dPt>
          <c:dPt>
            <c:idx val="4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1FE2-4C60-9C9F-90C835980B99}"/>
              </c:ext>
            </c:extLst>
          </c:dPt>
          <c:dPt>
            <c:idx val="5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1FE2-4C60-9C9F-90C835980B99}"/>
              </c:ext>
            </c:extLst>
          </c:dPt>
          <c:val>
            <c:numRef>
              <c:f>Sheet1!$A$6:$K$6</c:f>
              <c:numCache>
                <c:formatCode>General</c:formatCode>
                <c:ptCount val="11"/>
                <c:pt idx="1">
                  <c:v>20762998.902600005</c:v>
                </c:pt>
                <c:pt idx="2">
                  <c:v>-5438802.0915939063</c:v>
                </c:pt>
                <c:pt idx="3">
                  <c:v>-526205.15719739348</c:v>
                </c:pt>
                <c:pt idx="4">
                  <c:v>-3084053.0190009549</c:v>
                </c:pt>
                <c:pt idx="5">
                  <c:v>-967007.79539283365</c:v>
                </c:pt>
                <c:pt idx="6">
                  <c:v>-27285588.697920956</c:v>
                </c:pt>
                <c:pt idx="7">
                  <c:v>-24262226.589931015</c:v>
                </c:pt>
                <c:pt idx="8">
                  <c:v>-24574560.621320933</c:v>
                </c:pt>
                <c:pt idx="9">
                  <c:v>-24545975.1622330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1FE2-4C60-9C9F-90C835980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1706648879"/>
        <c:axId val="1"/>
      </c:barChart>
      <c:catAx>
        <c:axId val="170664887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3177185.95372295"/>
          <c:min val="-308936865.78249145"/>
        </c:scaling>
        <c:delete val="1"/>
        <c:axPos val="l"/>
        <c:numFmt formatCode="General" sourceLinked="1"/>
        <c:majorTickMark val="out"/>
        <c:minorTickMark val="none"/>
        <c:tickLblPos val="nextTo"/>
        <c:crossAx val="17066488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CA1-46BE-A009-119A6486D664}"/>
              </c:ext>
            </c:extLst>
          </c:dPt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CA1-46BE-A009-119A6486D664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CA1-46BE-A009-119A6486D664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CA1-46BE-A009-119A6486D664}"/>
              </c:ext>
            </c:extLst>
          </c:dPt>
          <c:dPt>
            <c:idx val="1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DCA1-46BE-A009-119A6486D664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52317142.09999989</c:v>
                </c:pt>
                <c:pt idx="1">
                  <c:v>29548404.349999949</c:v>
                </c:pt>
                <c:pt idx="2">
                  <c:v>66713764.14999982</c:v>
                </c:pt>
                <c:pt idx="3">
                  <c:v>24748503.249999709</c:v>
                </c:pt>
                <c:pt idx="4">
                  <c:v>42417565.149999931</c:v>
                </c:pt>
                <c:pt idx="5">
                  <c:v>78067152.449999988</c:v>
                </c:pt>
                <c:pt idx="6">
                  <c:v>25923670.68999999</c:v>
                </c:pt>
                <c:pt idx="7">
                  <c:v>14292287.740000084</c:v>
                </c:pt>
                <c:pt idx="8">
                  <c:v>50406669.140000045</c:v>
                </c:pt>
                <c:pt idx="9">
                  <c:v>22442940.740000069</c:v>
                </c:pt>
                <c:pt idx="10">
                  <c:v>403476195.90000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A1-46BE-A009-119A6486D664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DCA1-46BE-A009-119A6486D664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DCA1-46BE-A009-119A6486D664}"/>
              </c:ext>
            </c:extLst>
          </c:dPt>
          <c:dPt>
            <c:idx val="5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DCA1-46BE-A009-119A6486D664}"/>
              </c:ext>
            </c:extLst>
          </c:dPt>
          <c:dPt>
            <c:idx val="8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DCA1-46BE-A009-119A6486D664}"/>
              </c:ext>
            </c:extLst>
          </c:dPt>
          <c:dPt>
            <c:idx val="9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DCA1-46BE-A009-119A6486D664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45117713.349999979</c:v>
                </c:pt>
                <c:pt idx="1">
                  <c:v>67886451.09999992</c:v>
                </c:pt>
                <c:pt idx="2">
                  <c:v>44473567.199999921</c:v>
                </c:pt>
                <c:pt idx="3">
                  <c:v>40734962.350000225</c:v>
                </c:pt>
                <c:pt idx="4">
                  <c:v>23927853.049999975</c:v>
                </c:pt>
                <c:pt idx="5">
                  <c:v>41820716.399999976</c:v>
                </c:pt>
                <c:pt idx="6">
                  <c:v>7286914.75</c:v>
                </c:pt>
                <c:pt idx="7">
                  <c:v>47659372.100000009</c:v>
                </c:pt>
                <c:pt idx="8">
                  <c:v>46306477.799999982</c:v>
                </c:pt>
                <c:pt idx="9">
                  <c:v>32866012.399999991</c:v>
                </c:pt>
                <c:pt idx="10">
                  <c:v>-332704261.85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CA1-46BE-A009-119A6486D664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DCA1-46BE-A009-119A6486D664}"/>
              </c:ext>
            </c:extLst>
          </c:dPt>
          <c:dPt>
            <c:idx val="4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DCA1-46BE-A009-119A6486D664}"/>
              </c:ext>
            </c:extLst>
          </c:dPt>
          <c:dPt>
            <c:idx val="6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DCA1-46BE-A009-119A6486D664}"/>
              </c:ext>
            </c:extLst>
          </c:dPt>
          <c:dPt>
            <c:idx val="7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DCA1-46BE-A009-119A6486D664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1">
                  <c:v>37165359.799999893</c:v>
                </c:pt>
                <c:pt idx="2">
                  <c:v>-19725063.950000189</c:v>
                </c:pt>
                <c:pt idx="3">
                  <c:v>861952.59999994189</c:v>
                </c:pt>
                <c:pt idx="4">
                  <c:v>35649587.300000034</c:v>
                </c:pt>
                <c:pt idx="5">
                  <c:v>-8610130.9599999487</c:v>
                </c:pt>
                <c:pt idx="6">
                  <c:v>36027989.150000073</c:v>
                </c:pt>
                <c:pt idx="7">
                  <c:v>36114381.399999991</c:v>
                </c:pt>
                <c:pt idx="8">
                  <c:v>-23863537.060000002</c:v>
                </c:pt>
                <c:pt idx="9">
                  <c:v>15462980.9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CA1-46BE-A009-119A6486D6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1221432032"/>
        <c:axId val="1"/>
      </c:barChart>
      <c:catAx>
        <c:axId val="1221432032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03476195.89999974"/>
          <c:min val="-332704261.86000013"/>
        </c:scaling>
        <c:delete val="1"/>
        <c:axPos val="l"/>
        <c:numFmt formatCode="General" sourceLinked="1"/>
        <c:majorTickMark val="out"/>
        <c:minorTickMark val="none"/>
        <c:tickLblPos val="nextTo"/>
        <c:crossAx val="1221432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5.1741293532338306E-2"/>
          <c:w val="0.97465269315135272"/>
          <c:h val="0.896517412935323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40942083.29999998</c:v>
                </c:pt>
                <c:pt idx="1">
                  <c:v>113393306.69999994</c:v>
                </c:pt>
                <c:pt idx="2">
                  <c:v>106301450.99999996</c:v>
                </c:pt>
                <c:pt idx="3">
                  <c:v>195406932.50000012</c:v>
                </c:pt>
                <c:pt idx="4">
                  <c:v>177644677.30000001</c:v>
                </c:pt>
                <c:pt idx="5">
                  <c:v>87595320.500000015</c:v>
                </c:pt>
                <c:pt idx="6">
                  <c:v>160531157.40000004</c:v>
                </c:pt>
                <c:pt idx="7">
                  <c:v>146403390.79999998</c:v>
                </c:pt>
                <c:pt idx="8">
                  <c:v>160455767.69999996</c:v>
                </c:pt>
                <c:pt idx="9">
                  <c:v>170902116.5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B-4E5C-8EF2-78A4C7EAF00F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43507227.85000011</c:v>
                </c:pt>
                <c:pt idx="1">
                  <c:v>144114398</c:v>
                </c:pt>
                <c:pt idx="2">
                  <c:v>148266711.90000004</c:v>
                </c:pt>
                <c:pt idx="3">
                  <c:v>153810017.54999995</c:v>
                </c:pt>
                <c:pt idx="4">
                  <c:v>165922943.04999995</c:v>
                </c:pt>
                <c:pt idx="5">
                  <c:v>132451887.51000001</c:v>
                </c:pt>
                <c:pt idx="6">
                  <c:v>131790082.99999996</c:v>
                </c:pt>
                <c:pt idx="7">
                  <c:v>157948381.5</c:v>
                </c:pt>
                <c:pt idx="8">
                  <c:v>188419496.10000002</c:v>
                </c:pt>
                <c:pt idx="9">
                  <c:v>12257312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B-4E5C-8EF2-78A4C7EAF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06585039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E54B-4E5C-8EF2-78A4C7EAF00F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E54B-4E5C-8EF2-78A4C7EAF00F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E54B-4E5C-8EF2-78A4C7EAF00F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E54B-4E5C-8EF2-78A4C7EAF00F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54B-4E5C-8EF2-78A4C7EAF00F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E54B-4E5C-8EF2-78A4C7EAF00F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E54B-4E5C-8EF2-78A4C7EAF00F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E54B-4E5C-8EF2-78A4C7EAF00F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54B-4E5C-8EF2-78A4C7EAF00F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E54B-4E5C-8EF2-78A4C7EAF00F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59.560881139770615</c:v>
                </c:pt>
                <c:pt idx="1">
                  <c:v>81.172141978253904</c:v>
                </c:pt>
                <c:pt idx="2">
                  <c:v>94.627328722497921</c:v>
                </c:pt>
                <c:pt idx="3">
                  <c:v>89.887043993109245</c:v>
                </c:pt>
                <c:pt idx="4">
                  <c:v>90.635932118876397</c:v>
                </c:pt>
                <c:pt idx="5">
                  <c:v>96.395183929796417</c:v>
                </c:pt>
                <c:pt idx="6">
                  <c:v>94.273358760685042</c:v>
                </c:pt>
                <c:pt idx="7">
                  <c:v>95.895952019302229</c:v>
                </c:pt>
                <c:pt idx="8">
                  <c:v>98.383858318746917</c:v>
                </c:pt>
                <c:pt idx="9">
                  <c:v>95.462104777723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54B-4E5C-8EF2-78A4C7EAF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7065850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942083.29999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1706585039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5.8035714285714288E-2"/>
          <c:w val="0.93426042983565105"/>
          <c:h val="0.883928571428571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3D6-43B1-AEBC-40BE30A71EE2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3D6-43B1-AEBC-40BE30A71EE2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414134207.31477976</c:v>
                </c:pt>
                <c:pt idx="1">
                  <c:v>81429945.454780102</c:v>
                </c:pt>
                <c:pt idx="2">
                  <c:v>81429945.454780102</c:v>
                </c:pt>
                <c:pt idx="3">
                  <c:v>484906141.35477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6-43B1-AEBC-40BE30A71EE2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3D6-43B1-AEBC-40BE30A71EE2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332704261.85999966</c:v>
                </c:pt>
                <c:pt idx="2">
                  <c:v>403476195.9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D6-43B1-AEBC-40BE30A71E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209362720"/>
        <c:axId val="1"/>
      </c:barChart>
      <c:catAx>
        <c:axId val="1209362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4906141.35478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09362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2410501193317422"/>
          <c:w val="0.933968253968254"/>
          <c:h val="0.75178997613365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48A-446C-9F3F-0DC77155F09B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332704261.86000001</c:v>
                </c:pt>
                <c:pt idx="1">
                  <c:v>332704261.86000001</c:v>
                </c:pt>
                <c:pt idx="2">
                  <c:v>336233251.06000006</c:v>
                </c:pt>
                <c:pt idx="3">
                  <c:v>344221800.45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8A-446C-9F3F-0DC77155F09B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3528989.2000000477</c:v>
                </c:pt>
                <c:pt idx="2">
                  <c:v>7988549.4000000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8A-446C-9F3F-0DC77155F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566110640"/>
        <c:axId val="1"/>
      </c:barChart>
      <c:catAx>
        <c:axId val="56611064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4221800.460000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6110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45454545454545E-2"/>
          <c:y val="0.18711656441717792"/>
          <c:w val="0.97090909090909094"/>
          <c:h val="0.621165644171779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764-4F3E-B747-97310F89E91B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764-4F3E-B747-97310F89E91B}"/>
              </c:ext>
            </c:extLst>
          </c:dPt>
          <c:dLbls>
            <c:dLbl>
              <c:idx val="0"/>
              <c:layout>
                <c:manualLayout>
                  <c:x val="0"/>
                  <c:y val="-0.2515337423312883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764-4F3E-B747-97310F89E91B}"/>
                </c:ext>
              </c:extLst>
            </c:dLbl>
            <c:dLbl>
              <c:idx val="4"/>
              <c:layout>
                <c:manualLayout>
                  <c:x val="0"/>
                  <c:y val="-0.1809815950920245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764-4F3E-B747-97310F89E9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5.06246446128216</c:v>
                </c:pt>
                <c:pt idx="1">
                  <c:v>44.901804981082179</c:v>
                </c:pt>
                <c:pt idx="2">
                  <c:v>10.447130422589353</c:v>
                </c:pt>
                <c:pt idx="3">
                  <c:v>10.447130422589353</c:v>
                </c:pt>
                <c:pt idx="4">
                  <c:v>-70.733796364900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64-4F3E-B747-97310F89E91B}"/>
            </c:ext>
          </c:extLst>
        </c:ser>
        <c:ser>
          <c:idx val="1"/>
          <c:order val="1"/>
          <c:spPr>
            <a:solidFill>
              <a:srgbClr val="2A276E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2.3006134969325155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764-4F3E-B747-97310F89E91B}"/>
                </c:ext>
              </c:extLst>
            </c:dLbl>
            <c:dLbl>
              <c:idx val="2"/>
              <c:layout>
                <c:manualLayout>
                  <c:x val="0"/>
                  <c:y val="2.3006134969325155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764-4F3E-B747-97310F89E9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70.160659480199982</c:v>
                </c:pt>
                <c:pt idx="2">
                  <c:v>34.45467455849284</c:v>
                </c:pt>
                <c:pt idx="3">
                  <c:v>-70.733796364900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764-4F3E-B747-97310F89E9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26239"/>
        <c:axId val="1"/>
      </c:barChart>
      <c:catAx>
        <c:axId val="2127626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15.06246446128216"/>
          <c:min val="-70.733796364900627"/>
        </c:scaling>
        <c:delete val="1"/>
        <c:axPos val="l"/>
        <c:numFmt formatCode="General" sourceLinked="1"/>
        <c:majorTickMark val="out"/>
        <c:minorTickMark val="none"/>
        <c:tickLblPos val="nextTo"/>
        <c:crossAx val="2127626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B9E-42E5-B7DA-03DBDE40FD8C}"/>
              </c:ext>
            </c:extLst>
          </c:dPt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B9E-42E5-B7DA-03DBDE40FD8C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B9E-42E5-B7DA-03DBDE40FD8C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B9E-42E5-B7DA-03DBDE40FD8C}"/>
              </c:ext>
            </c:extLst>
          </c:dPt>
          <c:dPt>
            <c:idx val="7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B9E-42E5-B7DA-03DBDE40FD8C}"/>
              </c:ext>
            </c:extLst>
          </c:dPt>
          <c:dPt>
            <c:idx val="1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B9E-42E5-B7DA-03DBDE40FD8C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4670112.899999857</c:v>
                </c:pt>
                <c:pt idx="1">
                  <c:v>29548404.349999949</c:v>
                </c:pt>
                <c:pt idx="2">
                  <c:v>22722952.34999986</c:v>
                </c:pt>
                <c:pt idx="3">
                  <c:v>24748503.249999709</c:v>
                </c:pt>
                <c:pt idx="4">
                  <c:v>28390669.399999969</c:v>
                </c:pt>
                <c:pt idx="5">
                  <c:v>35623898.749999955</c:v>
                </c:pt>
                <c:pt idx="6">
                  <c:v>4221518.0399999768</c:v>
                </c:pt>
                <c:pt idx="7">
                  <c:v>14292287.740000084</c:v>
                </c:pt>
                <c:pt idx="8">
                  <c:v>25371266.140000045</c:v>
                </c:pt>
                <c:pt idx="9">
                  <c:v>22442940.740000069</c:v>
                </c:pt>
                <c:pt idx="10">
                  <c:v>32572040.900000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B9E-42E5-B7DA-03DBDE40FD8C}"/>
            </c:ext>
          </c:extLst>
        </c:ser>
        <c:ser>
          <c:idx val="1"/>
          <c:order val="1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B9E-42E5-B7DA-03DBDE40FD8C}"/>
              </c:ext>
            </c:extLst>
          </c:dPt>
          <c:dPt>
            <c:idx val="2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B9E-42E5-B7DA-03DBDE40FD8C}"/>
              </c:ext>
            </c:extLst>
          </c:dPt>
          <c:dPt>
            <c:idx val="3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B9E-42E5-B7DA-03DBDE40FD8C}"/>
              </c:ext>
            </c:extLst>
          </c:dPt>
          <c:dPt>
            <c:idx val="4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BB9E-42E5-B7DA-03DBDE40FD8C}"/>
              </c:ext>
            </c:extLst>
          </c:dPt>
          <c:dPt>
            <c:idx val="5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B9E-42E5-B7DA-03DBDE40FD8C}"/>
              </c:ext>
            </c:extLst>
          </c:dPt>
          <c:dPt>
            <c:idx val="8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B9E-42E5-B7DA-03DBDE40FD8C}"/>
              </c:ext>
            </c:extLst>
          </c:dPt>
          <c:dPt>
            <c:idx val="9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B9E-42E5-B7DA-03DBDE40FD8C}"/>
              </c:ext>
            </c:extLst>
          </c:dPt>
          <c:dPt>
            <c:idx val="1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BB9E-42E5-B7DA-03DBDE40FD8C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37647029.200000033</c:v>
                </c:pt>
                <c:pt idx="1">
                  <c:v>38919541.499999985</c:v>
                </c:pt>
                <c:pt idx="2">
                  <c:v>14280816.999999963</c:v>
                </c:pt>
                <c:pt idx="3">
                  <c:v>3474185.600000225</c:v>
                </c:pt>
                <c:pt idx="4">
                  <c:v>36174.249999940395</c:v>
                </c:pt>
                <c:pt idx="5">
                  <c:v>24631231.100000031</c:v>
                </c:pt>
                <c:pt idx="6">
                  <c:v>28989067.400000013</c:v>
                </c:pt>
                <c:pt idx="7">
                  <c:v>36482114.500000007</c:v>
                </c:pt>
                <c:pt idx="8">
                  <c:v>16935547.399999991</c:v>
                </c:pt>
                <c:pt idx="9">
                  <c:v>2587660.599999994</c:v>
                </c:pt>
                <c:pt idx="10">
                  <c:v>370904155.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B9E-42E5-B7DA-03DBDE40FD8C}"/>
            </c:ext>
          </c:extLst>
        </c:ser>
        <c:ser>
          <c:idx val="2"/>
          <c:order val="2"/>
          <c:spPr>
            <a:solidFill>
              <a:srgbClr val="D9EEF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BB9E-42E5-B7DA-03DBDE40FD8C}"/>
              </c:ext>
            </c:extLst>
          </c:dPt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BB9E-42E5-B7DA-03DBDE40FD8C}"/>
              </c:ext>
            </c:extLst>
          </c:dPt>
          <c:dPt>
            <c:idx val="4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BB9E-42E5-B7DA-03DBDE40FD8C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BB9E-42E5-B7DA-03DBDE40FD8C}"/>
              </c:ext>
            </c:extLst>
          </c:dPt>
          <c:dPt>
            <c:idx val="6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BB9E-42E5-B7DA-03DBDE40FD8C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BB9E-42E5-B7DA-03DBDE40FD8C}"/>
              </c:ext>
            </c:extLst>
          </c:dPt>
          <c:dPt>
            <c:idx val="9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BB9E-42E5-B7DA-03DBDE40FD8C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0">
                  <c:v>44258794.900000006</c:v>
                </c:pt>
                <c:pt idx="1">
                  <c:v>7841880.6999999881</c:v>
                </c:pt>
                <c:pt idx="2">
                  <c:v>29709994.799999997</c:v>
                </c:pt>
                <c:pt idx="3">
                  <c:v>37260776.75</c:v>
                </c:pt>
                <c:pt idx="4">
                  <c:v>36296754.250000015</c:v>
                </c:pt>
                <c:pt idx="5">
                  <c:v>17812022.600000001</c:v>
                </c:pt>
                <c:pt idx="6">
                  <c:v>1602893.6500000581</c:v>
                </c:pt>
                <c:pt idx="7">
                  <c:v>10775319.000000007</c:v>
                </c:pt>
                <c:pt idx="8">
                  <c:v>8099855.6000000089</c:v>
                </c:pt>
                <c:pt idx="9">
                  <c:v>30278351.799999997</c:v>
                </c:pt>
                <c:pt idx="10">
                  <c:v>7988549.4000000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B9E-42E5-B7DA-03DBDE40FD8C}"/>
            </c:ext>
          </c:extLst>
        </c:ser>
        <c:ser>
          <c:idx val="3"/>
          <c:order val="3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B9E-42E5-B7DA-03DBDE40FD8C}"/>
              </c:ext>
            </c:extLst>
          </c:dPt>
          <c:dPt>
            <c:idx val="3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BB9E-42E5-B7DA-03DBDE40FD8C}"/>
              </c:ext>
            </c:extLst>
          </c:dPt>
          <c:dPt>
            <c:idx val="4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BB9E-42E5-B7DA-03DBDE40FD8C}"/>
              </c:ext>
            </c:extLst>
          </c:dPt>
          <c:dPt>
            <c:idx val="5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BB9E-42E5-B7DA-03DBDE40FD8C}"/>
              </c:ext>
            </c:extLst>
          </c:dPt>
          <c:dPt>
            <c:idx val="6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BB9E-42E5-B7DA-03DBDE40FD8C}"/>
              </c:ext>
            </c:extLst>
          </c:dPt>
          <c:dPt>
            <c:idx val="8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BB9E-42E5-B7DA-03DBDE40FD8C}"/>
              </c:ext>
            </c:extLst>
          </c:dPt>
          <c:dPt>
            <c:idx val="9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BB9E-42E5-B7DA-03DBDE40FD8C}"/>
              </c:ext>
            </c:extLst>
          </c:dPt>
          <c:val>
            <c:numRef>
              <c:f>Sheet1!$A$4:$K$4</c:f>
              <c:numCache>
                <c:formatCode>General</c:formatCode>
                <c:ptCount val="11"/>
                <c:pt idx="0">
                  <c:v>20102968.399999931</c:v>
                </c:pt>
                <c:pt idx="1">
                  <c:v>21125028.899999946</c:v>
                </c:pt>
                <c:pt idx="2">
                  <c:v>2398917.9999998882</c:v>
                </c:pt>
                <c:pt idx="3">
                  <c:v>17195289.649999976</c:v>
                </c:pt>
                <c:pt idx="4">
                  <c:v>1621820.2999999821</c:v>
                </c:pt>
                <c:pt idx="5">
                  <c:v>3480297.2999999672</c:v>
                </c:pt>
                <c:pt idx="6">
                  <c:v>34425095.500000015</c:v>
                </c:pt>
                <c:pt idx="7">
                  <c:v>401938.59999999404</c:v>
                </c:pt>
                <c:pt idx="8">
                  <c:v>3637558.299999997</c:v>
                </c:pt>
                <c:pt idx="9">
                  <c:v>8833233.8999999985</c:v>
                </c:pt>
                <c:pt idx="10">
                  <c:v>3528989.2000000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BB9E-42E5-B7DA-03DBDE40FD8C}"/>
            </c:ext>
          </c:extLst>
        </c:ser>
        <c:ser>
          <c:idx val="4"/>
          <c:order val="4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BB9E-42E5-B7DA-03DBDE40FD8C}"/>
              </c:ext>
            </c:extLst>
          </c:dPt>
          <c:dPt>
            <c:idx val="1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BB9E-42E5-B7DA-03DBDE40FD8C}"/>
              </c:ext>
            </c:extLst>
          </c:dPt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BB9E-42E5-B7DA-03DBDE40FD8C}"/>
              </c:ext>
            </c:extLst>
          </c:dPt>
          <c:dPt>
            <c:idx val="6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BB9E-42E5-B7DA-03DBDE40FD8C}"/>
              </c:ext>
            </c:extLst>
          </c:dPt>
          <c:dPt>
            <c:idx val="7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BB9E-42E5-B7DA-03DBDE40FD8C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BB9E-42E5-B7DA-03DBDE40FD8C}"/>
              </c:ext>
            </c:extLst>
          </c:dPt>
          <c:dPt>
            <c:idx val="10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BB9E-42E5-B7DA-03DBDE40FD8C}"/>
              </c:ext>
            </c:extLst>
          </c:dPt>
          <c:val>
            <c:numRef>
              <c:f>Sheet1!$A$5:$K$5</c:f>
              <c:numCache>
                <c:formatCode>General</c:formatCode>
                <c:ptCount val="11"/>
                <c:pt idx="0">
                  <c:v>-19244049.949999958</c:v>
                </c:pt>
                <c:pt idx="1">
                  <c:v>344200.29999987781</c:v>
                </c:pt>
                <c:pt idx="2">
                  <c:v>42074649.200000033</c:v>
                </c:pt>
                <c:pt idx="3">
                  <c:v>8661551.6999999583</c:v>
                </c:pt>
                <c:pt idx="4">
                  <c:v>35685761.549999975</c:v>
                </c:pt>
                <c:pt idx="5">
                  <c:v>38340419.100000009</c:v>
                </c:pt>
                <c:pt idx="6">
                  <c:v>13787846.450000018</c:v>
                </c:pt>
                <c:pt idx="7">
                  <c:v>412388.49999999255</c:v>
                </c:pt>
                <c:pt idx="8">
                  <c:v>42668919.499999985</c:v>
                </c:pt>
                <c:pt idx="9">
                  <c:v>30008281.900000013</c:v>
                </c:pt>
                <c:pt idx="10">
                  <c:v>-344221800.45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BB9E-42E5-B7DA-03DBDE40FD8C}"/>
            </c:ext>
          </c:extLst>
        </c:ser>
        <c:ser>
          <c:idx val="5"/>
          <c:order val="5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BB9E-42E5-B7DA-03DBDE40FD8C}"/>
              </c:ext>
            </c:extLst>
          </c:dPt>
          <c:dPt>
            <c:idx val="4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BB9E-42E5-B7DA-03DBDE40FD8C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BB9E-42E5-B7DA-03DBDE40FD8C}"/>
              </c:ext>
            </c:extLst>
          </c:dPt>
          <c:dPt>
            <c:idx val="7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BB9E-42E5-B7DA-03DBDE40FD8C}"/>
              </c:ext>
            </c:extLst>
          </c:dPt>
          <c:val>
            <c:numRef>
              <c:f>Sheet1!$A$6:$K$6</c:f>
              <c:numCache>
                <c:formatCode>General</c:formatCode>
                <c:ptCount val="11"/>
                <c:pt idx="1">
                  <c:v>36821159.500000015</c:v>
                </c:pt>
                <c:pt idx="2">
                  <c:v>-19725063.950000189</c:v>
                </c:pt>
                <c:pt idx="3">
                  <c:v>-246385.50000029057</c:v>
                </c:pt>
                <c:pt idx="4">
                  <c:v>13990721.50000003</c:v>
                </c:pt>
                <c:pt idx="5">
                  <c:v>-8610130.9599999487</c:v>
                </c:pt>
                <c:pt idx="6">
                  <c:v>7914306.200000003</c:v>
                </c:pt>
                <c:pt idx="7">
                  <c:v>35701992.899999999</c:v>
                </c:pt>
                <c:pt idx="8">
                  <c:v>-23863537.060000002</c:v>
                </c:pt>
                <c:pt idx="9">
                  <c:v>-935594.15999993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BB9E-42E5-B7DA-03DBDE40FD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716604960"/>
        <c:axId val="1"/>
      </c:barChart>
      <c:catAx>
        <c:axId val="71660496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14993734.49999988"/>
          <c:min val="-344221800.46000028"/>
        </c:scaling>
        <c:delete val="1"/>
        <c:axPos val="l"/>
        <c:numFmt formatCode="General" sourceLinked="1"/>
        <c:majorTickMark val="out"/>
        <c:minorTickMark val="none"/>
        <c:tickLblPos val="nextTo"/>
        <c:crossAx val="716604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DD9-4F12-A428-9CC5D102F7D5}"/>
              </c:ext>
            </c:extLst>
          </c:dPt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DD9-4F12-A428-9CC5D102F7D5}"/>
              </c:ext>
            </c:extLst>
          </c:dPt>
          <c:dPt>
            <c:idx val="10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DD9-4F12-A428-9CC5D102F7D5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7743363.612200029</c:v>
                </c:pt>
                <c:pt idx="1">
                  <c:v>7512138.1865900308</c:v>
                </c:pt>
                <c:pt idx="2">
                  <c:v>21854288.154992051</c:v>
                </c:pt>
                <c:pt idx="3">
                  <c:v>4158038.9092270359</c:v>
                </c:pt>
                <c:pt idx="4">
                  <c:v>7246263.5805850103</c:v>
                </c:pt>
                <c:pt idx="5">
                  <c:v>923282.71666099131</c:v>
                </c:pt>
                <c:pt idx="6">
                  <c:v>87746.714179998264</c:v>
                </c:pt>
                <c:pt idx="7">
                  <c:v>1814140.6643969808</c:v>
                </c:pt>
                <c:pt idx="8">
                  <c:v>10084328.857400008</c:v>
                </c:pt>
                <c:pt idx="9">
                  <c:v>7196798.4987179525</c:v>
                </c:pt>
                <c:pt idx="10">
                  <c:v>105603789.5797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DD9-4F12-A428-9CC5D102F7D5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DDD9-4F12-A428-9CC5D102F7D5}"/>
              </c:ext>
            </c:extLst>
          </c:dPt>
          <c:dPt>
            <c:idx val="8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DDD9-4F12-A428-9CC5D102F7D5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18446499.442376025</c:v>
                </c:pt>
                <c:pt idx="1">
                  <c:v>28677724.867986023</c:v>
                </c:pt>
                <c:pt idx="2">
                  <c:v>6365737.3322009891</c:v>
                </c:pt>
                <c:pt idx="3">
                  <c:v>1385891.7404870018</c:v>
                </c:pt>
                <c:pt idx="4">
                  <c:v>8385377.2732400075</c:v>
                </c:pt>
                <c:pt idx="5">
                  <c:v>16045557.372386999</c:v>
                </c:pt>
                <c:pt idx="6">
                  <c:v>8627795.7325810064</c:v>
                </c:pt>
                <c:pt idx="7">
                  <c:v>8970774.5403830018</c:v>
                </c:pt>
                <c:pt idx="8">
                  <c:v>9038237.7861019745</c:v>
                </c:pt>
                <c:pt idx="9">
                  <c:v>19512896.410797011</c:v>
                </c:pt>
                <c:pt idx="10">
                  <c:v>-88248485.066951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DD9-4F12-A428-9CC5D102F7D5}"/>
            </c:ext>
          </c:extLst>
        </c:ser>
        <c:ser>
          <c:idx val="2"/>
          <c:order val="2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DDD9-4F12-A428-9CC5D102F7D5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DDD9-4F12-A428-9CC5D102F7D5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1">
                  <c:v>14342149.968402021</c:v>
                </c:pt>
                <c:pt idx="2">
                  <c:v>-821806.68248695135</c:v>
                </c:pt>
                <c:pt idx="3">
                  <c:v>11473601.944597982</c:v>
                </c:pt>
                <c:pt idx="4">
                  <c:v>9722576.5084629729</c:v>
                </c:pt>
                <c:pt idx="5">
                  <c:v>7792259.7301000096</c:v>
                </c:pt>
                <c:pt idx="6">
                  <c:v>10697168.49059999</c:v>
                </c:pt>
                <c:pt idx="7">
                  <c:v>8270188.1930030026</c:v>
                </c:pt>
                <c:pt idx="8">
                  <c:v>7587128.2660130039</c:v>
                </c:pt>
                <c:pt idx="9">
                  <c:v>10158506.014098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DD9-4F12-A428-9CC5D102F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716701440"/>
        <c:axId val="1"/>
      </c:barChart>
      <c:catAx>
        <c:axId val="71670144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0000000"/>
          <c:min val="-88248485.066950977"/>
        </c:scaling>
        <c:delete val="1"/>
        <c:axPos val="l"/>
        <c:numFmt formatCode="General" sourceLinked="1"/>
        <c:majorTickMark val="out"/>
        <c:minorTickMark val="none"/>
        <c:tickLblPos val="nextTo"/>
        <c:crossAx val="71670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5.1741293532338306E-2"/>
          <c:w val="0.97465269315135272"/>
          <c:h val="0.896517412935323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01192314.41600004</c:v>
                </c:pt>
                <c:pt idx="1">
                  <c:v>43564605.362999991</c:v>
                </c:pt>
                <c:pt idx="2">
                  <c:v>47832076.433199994</c:v>
                </c:pt>
                <c:pt idx="3">
                  <c:v>85575114.783999994</c:v>
                </c:pt>
                <c:pt idx="4">
                  <c:v>73092419.025899976</c:v>
                </c:pt>
                <c:pt idx="5">
                  <c:v>48810793.827900015</c:v>
                </c:pt>
                <c:pt idx="6">
                  <c:v>73608343.766800001</c:v>
                </c:pt>
                <c:pt idx="7">
                  <c:v>62439827.800000004</c:v>
                </c:pt>
                <c:pt idx="8">
                  <c:v>84120565.04549998</c:v>
                </c:pt>
                <c:pt idx="9">
                  <c:v>54560017.703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A5-47EC-BBC3-B4DA22F1CA98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65002451.361423984</c:v>
                </c:pt>
                <c:pt idx="1">
                  <c:v>57900180.262583993</c:v>
                </c:pt>
                <c:pt idx="2">
                  <c:v>64142433.938478008</c:v>
                </c:pt>
                <c:pt idx="3">
                  <c:v>75487404.579889014</c:v>
                </c:pt>
                <c:pt idx="4">
                  <c:v>71755219.790677011</c:v>
                </c:pt>
                <c:pt idx="5">
                  <c:v>57064091.470187001</c:v>
                </c:pt>
                <c:pt idx="6">
                  <c:v>71538971.008781016</c:v>
                </c:pt>
                <c:pt idx="7">
                  <c:v>63140414.147380002</c:v>
                </c:pt>
                <c:pt idx="8">
                  <c:v>67495198.993385002</c:v>
                </c:pt>
                <c:pt idx="9">
                  <c:v>63914408.099698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A5-47EC-BBC3-B4DA22F1C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41699376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F3A5-47EC-BBC3-B4DA22F1CA98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F3A5-47EC-BBC3-B4DA22F1CA9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F3A5-47EC-BBC3-B4DA22F1CA98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F3A5-47EC-BBC3-B4DA22F1CA98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F3A5-47EC-BBC3-B4DA22F1CA98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F3A5-47EC-BBC3-B4DA22F1CA98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F3A5-47EC-BBC3-B4DA22F1CA98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F3A5-47EC-BBC3-B4DA22F1CA98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F3A5-47EC-BBC3-B4DA22F1CA98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F3A5-47EC-BBC3-B4DA22F1CA98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64.236549718785881</c:v>
                </c:pt>
                <c:pt idx="1">
                  <c:v>84.902767903353535</c:v>
                </c:pt>
                <c:pt idx="2">
                  <c:v>97.121366869992059</c:v>
                </c:pt>
                <c:pt idx="3">
                  <c:v>94.380424995214938</c:v>
                </c:pt>
                <c:pt idx="4">
                  <c:v>95.169103308063683</c:v>
                </c:pt>
                <c:pt idx="5">
                  <c:v>97.821481054016601</c:v>
                </c:pt>
                <c:pt idx="6">
                  <c:v>97.723143504701838</c:v>
                </c:pt>
                <c:pt idx="7">
                  <c:v>98.119000673621642</c:v>
                </c:pt>
                <c:pt idx="8">
                  <c:v>95.693624313038711</c:v>
                </c:pt>
                <c:pt idx="9">
                  <c:v>97.428066778336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3A5-47EC-BBC3-B4DA22F1C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541699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192314.416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541699376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5.8035714285714288E-2"/>
          <c:w val="0.93426042983565105"/>
          <c:h val="0.883928571428571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A73-4EDD-9120-6FD5BBF563FC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A73-4EDD-9120-6FD5BBF563FC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09561541.23403597</c:v>
                </c:pt>
                <c:pt idx="1">
                  <c:v>21313056.167084932</c:v>
                </c:pt>
                <c:pt idx="2">
                  <c:v>21313056.167084932</c:v>
                </c:pt>
                <c:pt idx="3">
                  <c:v>126916845.74685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73-4EDD-9120-6FD5BBF563FC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A73-4EDD-9120-6FD5BBF563FC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88248485.066951036</c:v>
                </c:pt>
                <c:pt idx="2">
                  <c:v>105603789.5797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73-4EDD-9120-6FD5BBF56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41768976"/>
        <c:axId val="1"/>
      </c:barChart>
      <c:catAx>
        <c:axId val="541768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6916845.746852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1768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0.12410501193317422"/>
          <c:w val="0.933968253968254"/>
          <c:h val="0.75178997613365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47B-432D-A75D-0375F8FBC426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88248485.066951007</c:v>
                </c:pt>
                <c:pt idx="1">
                  <c:v>77818036.366451055</c:v>
                </c:pt>
                <c:pt idx="2">
                  <c:v>73838142.479351074</c:v>
                </c:pt>
                <c:pt idx="3">
                  <c:v>73838142.479351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7B-432D-A75D-0375F8FBC426}"/>
            </c:ext>
          </c:extLst>
        </c:ser>
        <c:ser>
          <c:idx val="1"/>
          <c:order val="1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0430448.700499952</c:v>
                </c:pt>
                <c:pt idx="2">
                  <c:v>3979893.8870999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7B-432D-A75D-0375F8FBC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2030101791"/>
        <c:axId val="1"/>
      </c:barChart>
      <c:catAx>
        <c:axId val="2030101791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8248485.066951007"/>
          <c:min val="-1.4901161193847656E-8"/>
        </c:scaling>
        <c:delete val="1"/>
        <c:axPos val="l"/>
        <c:numFmt formatCode="General" sourceLinked="1"/>
        <c:majorTickMark val="out"/>
        <c:minorTickMark val="none"/>
        <c:tickLblPos val="nextTo"/>
        <c:crossAx val="2030101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94202898550725E-2"/>
          <c:y val="6.3492063492063489E-2"/>
          <c:w val="0.97681159420289854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6FF-4ACA-B43A-5F317AA88A87}"/>
              </c:ext>
            </c:extLst>
          </c:dPt>
          <c:dPt>
            <c:idx val="2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6FF-4ACA-B43A-5F317AA88A87}"/>
              </c:ext>
            </c:extLst>
          </c:dPt>
          <c:dPt>
            <c:idx val="6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6FF-4ACA-B43A-5F317AA88A87}"/>
              </c:ext>
            </c:extLst>
          </c:dPt>
          <c:dPt>
            <c:idx val="8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6FF-4ACA-B43A-5F317AA88A87}"/>
              </c:ext>
            </c:extLst>
          </c:dPt>
          <c:dPt>
            <c:idx val="10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76FF-4ACA-B43A-5F317AA88A87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9302988.7898000311</c:v>
                </c:pt>
                <c:pt idx="1">
                  <c:v>7512138.1865900308</c:v>
                </c:pt>
                <c:pt idx="2">
                  <c:v>9033929.2478920221</c:v>
                </c:pt>
                <c:pt idx="3">
                  <c:v>862179.99202703312</c:v>
                </c:pt>
                <c:pt idx="4">
                  <c:v>6176622.2408460081</c:v>
                </c:pt>
                <c:pt idx="5">
                  <c:v>234612.53536099941</c:v>
                </c:pt>
                <c:pt idx="6">
                  <c:v>7111469.3918610103</c:v>
                </c:pt>
                <c:pt idx="7">
                  <c:v>1012481.4918969851</c:v>
                </c:pt>
                <c:pt idx="8">
                  <c:v>6672268.7790000048</c:v>
                </c:pt>
                <c:pt idx="9">
                  <c:v>6588626.9837179631</c:v>
                </c:pt>
                <c:pt idx="10">
                  <c:v>19485440.354066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6FF-4ACA-B43A-5F317AA88A87}"/>
            </c:ext>
          </c:extLst>
        </c:ser>
        <c:ser>
          <c:idx val="1"/>
          <c:order val="1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76FF-4ACA-B43A-5F317AA88A87}"/>
              </c:ext>
            </c:extLst>
          </c:dPt>
          <c:dPt>
            <c:idx val="2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76FF-4ACA-B43A-5F317AA88A87}"/>
              </c:ext>
            </c:extLst>
          </c:dPt>
          <c:dPt>
            <c:idx val="5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76FF-4ACA-B43A-5F317AA88A87}"/>
              </c:ext>
            </c:extLst>
          </c:dPt>
          <c:dPt>
            <c:idx val="6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76FF-4ACA-B43A-5F317AA88A87}"/>
              </c:ext>
            </c:extLst>
          </c:dPt>
          <c:dPt>
            <c:idx val="8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76FF-4ACA-B43A-5F317AA88A87}"/>
              </c:ext>
            </c:extLst>
          </c:dPt>
          <c:dPt>
            <c:idx val="1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76FF-4ACA-B43A-5F317AA88A87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8440374.8223999981</c:v>
                </c:pt>
                <c:pt idx="1">
                  <c:v>9040308.3690860048</c:v>
                </c:pt>
                <c:pt idx="2">
                  <c:v>3502479.2558000125</c:v>
                </c:pt>
                <c:pt idx="3">
                  <c:v>4681750.6576870047</c:v>
                </c:pt>
                <c:pt idx="4">
                  <c:v>7341114.8488790095</c:v>
                </c:pt>
                <c:pt idx="5">
                  <c:v>688670.18129999191</c:v>
                </c:pt>
                <c:pt idx="6">
                  <c:v>1604073.0548999943</c:v>
                </c:pt>
                <c:pt idx="7">
                  <c:v>8665935.5045830011</c:v>
                </c:pt>
                <c:pt idx="8">
                  <c:v>3412060.0784000028</c:v>
                </c:pt>
                <c:pt idx="9">
                  <c:v>7020750.0191970021</c:v>
                </c:pt>
                <c:pt idx="10">
                  <c:v>86118349.2256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6FF-4ACA-B43A-5F317AA88A87}"/>
            </c:ext>
          </c:extLst>
        </c:ser>
        <c:ser>
          <c:idx val="2"/>
          <c:order val="2"/>
          <c:spPr>
            <a:solidFill>
              <a:srgbClr val="D9EEF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76FF-4ACA-B43A-5F317AA88A87}"/>
              </c:ext>
            </c:extLst>
          </c:dPt>
          <c:dPt>
            <c:idx val="3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76FF-4ACA-B43A-5F317AA88A87}"/>
              </c:ext>
            </c:extLst>
          </c:dPt>
          <c:dPt>
            <c:idx val="5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76FF-4ACA-B43A-5F317AA88A87}"/>
              </c:ext>
            </c:extLst>
          </c:dPt>
          <c:dPt>
            <c:idx val="6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76FF-4ACA-B43A-5F317AA88A87}"/>
              </c:ext>
            </c:extLst>
          </c:dPt>
          <c:dPt>
            <c:idx val="8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76FF-4ACA-B43A-5F317AA88A87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76FF-4ACA-B43A-5F317AA88A87}"/>
              </c:ext>
            </c:extLst>
          </c:dPt>
          <c:dPt>
            <c:idx val="1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76FF-4ACA-B43A-5F317AA88A87}"/>
              </c:ext>
            </c:extLst>
          </c:dPt>
          <c:val>
            <c:numRef>
              <c:f>Sheet1!$A$3:$K$3</c:f>
              <c:numCache>
                <c:formatCode>General</c:formatCode>
                <c:ptCount val="11"/>
                <c:pt idx="0">
                  <c:v>11377019.315400012</c:v>
                </c:pt>
                <c:pt idx="1">
                  <c:v>4514440.0305000208</c:v>
                </c:pt>
                <c:pt idx="2">
                  <c:v>9317879.6513000168</c:v>
                </c:pt>
                <c:pt idx="3">
                  <c:v>2040397.3861979805</c:v>
                </c:pt>
                <c:pt idx="4">
                  <c:v>2113903.7641000003</c:v>
                </c:pt>
                <c:pt idx="5">
                  <c:v>9305081.6432869956</c:v>
                </c:pt>
                <c:pt idx="6">
                  <c:v>1336348.1606999952</c:v>
                </c:pt>
                <c:pt idx="7">
                  <c:v>1106498.2082999963</c:v>
                </c:pt>
                <c:pt idx="8">
                  <c:v>1168500.9754019771</c:v>
                </c:pt>
                <c:pt idx="9">
                  <c:v>13100317.906600013</c:v>
                </c:pt>
                <c:pt idx="10">
                  <c:v>-10430448.700499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6FF-4ACA-B43A-5F317AA88A87}"/>
            </c:ext>
          </c:extLst>
        </c:ser>
        <c:ser>
          <c:idx val="3"/>
          <c:order val="3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76FF-4ACA-B43A-5F317AA88A87}"/>
              </c:ext>
            </c:extLst>
          </c:dPt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76FF-4ACA-B43A-5F317AA88A87}"/>
              </c:ext>
            </c:extLst>
          </c:dPt>
          <c:dPt>
            <c:idx val="4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76FF-4ACA-B43A-5F317AA88A87}"/>
              </c:ext>
            </c:extLst>
          </c:dPt>
          <c:dPt>
            <c:idx val="5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76FF-4ACA-B43A-5F317AA88A87}"/>
              </c:ext>
            </c:extLst>
          </c:dPt>
          <c:dPt>
            <c:idx val="7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76FF-4ACA-B43A-5F317AA88A87}"/>
              </c:ext>
            </c:extLst>
          </c:dPt>
          <c:dPt>
            <c:idx val="9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76FF-4ACA-B43A-5F317AA88A87}"/>
              </c:ext>
            </c:extLst>
          </c:dPt>
          <c:dPt>
            <c:idx val="10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76FF-4ACA-B43A-5F317AA88A87}"/>
              </c:ext>
            </c:extLst>
          </c:dPt>
          <c:val>
            <c:numRef>
              <c:f>Sheet1!$A$4:$K$4</c:f>
              <c:numCache>
                <c:formatCode>General</c:formatCode>
                <c:ptCount val="11"/>
                <c:pt idx="0">
                  <c:v>8846029.5682610124</c:v>
                </c:pt>
                <c:pt idx="1">
                  <c:v>15122976.468399998</c:v>
                </c:pt>
                <c:pt idx="2">
                  <c:v>8550023.6860999987</c:v>
                </c:pt>
                <c:pt idx="3">
                  <c:v>9433204.5584000014</c:v>
                </c:pt>
                <c:pt idx="4">
                  <c:v>723090.76056297123</c:v>
                </c:pt>
                <c:pt idx="5">
                  <c:v>4657135.571800001</c:v>
                </c:pt>
                <c:pt idx="6">
                  <c:v>9360820.3298999947</c:v>
                </c:pt>
                <c:pt idx="7">
                  <c:v>554407.00200300105</c:v>
                </c:pt>
                <c:pt idx="8">
                  <c:v>7869736.8106999975</c:v>
                </c:pt>
                <c:pt idx="9">
                  <c:v>1358039.0126980171</c:v>
                </c:pt>
                <c:pt idx="10">
                  <c:v>-3979893.8870999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76FF-4ACA-B43A-5F317AA88A87}"/>
            </c:ext>
          </c:extLst>
        </c:ser>
        <c:ser>
          <c:idx val="4"/>
          <c:order val="4"/>
          <c:spPr>
            <a:solidFill>
              <a:srgbClr val="EBD0DA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76FF-4ACA-B43A-5F317AA88A87}"/>
              </c:ext>
            </c:extLst>
          </c:dPt>
          <c:dPt>
            <c:idx val="3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76FF-4ACA-B43A-5F317AA88A87}"/>
              </c:ext>
            </c:extLst>
          </c:dPt>
          <c:dPt>
            <c:idx val="4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76FF-4ACA-B43A-5F317AA88A87}"/>
              </c:ext>
            </c:extLst>
          </c:dPt>
          <c:dPt>
            <c:idx val="5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76FF-4ACA-B43A-5F317AA88A87}"/>
              </c:ext>
            </c:extLst>
          </c:dPt>
          <c:dPt>
            <c:idx val="6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76FF-4ACA-B43A-5F317AA88A87}"/>
              </c:ext>
            </c:extLst>
          </c:dPt>
          <c:dPt>
            <c:idx val="7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76FF-4ACA-B43A-5F317AA88A87}"/>
              </c:ext>
            </c:extLst>
          </c:dPt>
          <c:dPt>
            <c:idx val="8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76FF-4ACA-B43A-5F317AA88A87}"/>
              </c:ext>
            </c:extLst>
          </c:dPt>
          <c:dPt>
            <c:idx val="9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76FF-4ACA-B43A-5F317AA88A87}"/>
              </c:ext>
            </c:extLst>
          </c:dPt>
          <c:val>
            <c:numRef>
              <c:f>Sheet1!$A$5:$K$5</c:f>
              <c:numCache>
                <c:formatCode>General</c:formatCode>
                <c:ptCount val="11"/>
                <c:pt idx="0">
                  <c:v>-1776549.4412849993</c:v>
                </c:pt>
                <c:pt idx="1">
                  <c:v>5874624.801902011</c:v>
                </c:pt>
                <c:pt idx="2">
                  <c:v>-821806.68248695135</c:v>
                </c:pt>
                <c:pt idx="3">
                  <c:v>3129934.7307000048</c:v>
                </c:pt>
                <c:pt idx="4">
                  <c:v>8999485.7479000017</c:v>
                </c:pt>
                <c:pt idx="5">
                  <c:v>2083340.1573000029</c:v>
                </c:pt>
                <c:pt idx="6">
                  <c:v>211497.46069999412</c:v>
                </c:pt>
                <c:pt idx="7">
                  <c:v>7715781.1910000015</c:v>
                </c:pt>
                <c:pt idx="8">
                  <c:v>19914884.271000013</c:v>
                </c:pt>
                <c:pt idx="9">
                  <c:v>8800467.0014000013</c:v>
                </c:pt>
                <c:pt idx="10">
                  <c:v>-73838142.479351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76FF-4ACA-B43A-5F317AA88A87}"/>
            </c:ext>
          </c:extLst>
        </c:ser>
        <c:ser>
          <c:idx val="5"/>
          <c:order val="5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76FF-4ACA-B43A-5F317AA88A87}"/>
              </c:ext>
            </c:extLst>
          </c:dPt>
          <c:dPt>
            <c:idx val="2"/>
            <c:invertIfNegative val="0"/>
            <c:bubble3D val="0"/>
            <c:spPr>
              <a:pattFill prst="pct75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76FF-4ACA-B43A-5F317AA88A87}"/>
              </c:ext>
            </c:extLst>
          </c:dPt>
          <c:dPt>
            <c:idx val="5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76FF-4ACA-B43A-5F317AA88A87}"/>
              </c:ext>
            </c:extLst>
          </c:dPt>
          <c:dPt>
            <c:idx val="6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76FF-4ACA-B43A-5F317AA88A87}"/>
              </c:ext>
            </c:extLst>
          </c:dPt>
          <c:dPt>
            <c:idx val="8"/>
            <c:invertIfNegative val="0"/>
            <c:bubble3D val="0"/>
            <c:spPr>
              <a:solidFill>
                <a:srgbClr val="EBD0DA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76FF-4ACA-B43A-5F317AA88A87}"/>
              </c:ext>
            </c:extLst>
          </c:dPt>
          <c:dPt>
            <c:idx val="9"/>
            <c:invertIfNegative val="0"/>
            <c:bubble3D val="0"/>
            <c:spPr>
              <a:solidFill>
                <a:srgbClr val="D9EEF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76FF-4ACA-B43A-5F317AA88A87}"/>
              </c:ext>
            </c:extLst>
          </c:dPt>
          <c:val>
            <c:numRef>
              <c:f>Sheet1!$A$6:$K$6</c:f>
              <c:numCache>
                <c:formatCode>General</c:formatCode>
                <c:ptCount val="11"/>
                <c:pt idx="1">
                  <c:v>8467525.1665000096</c:v>
                </c:pt>
                <c:pt idx="2">
                  <c:v>-2184286.3538990133</c:v>
                </c:pt>
                <c:pt idx="3">
                  <c:v>165924.18649999797</c:v>
                </c:pt>
                <c:pt idx="4">
                  <c:v>1069641.3397390023</c:v>
                </c:pt>
                <c:pt idx="5">
                  <c:v>8480929.9114000015</c:v>
                </c:pt>
                <c:pt idx="6">
                  <c:v>-123750.74651999399</c:v>
                </c:pt>
                <c:pt idx="7">
                  <c:v>801659.17249999568</c:v>
                </c:pt>
                <c:pt idx="8">
                  <c:v>-2243427.1475870032</c:v>
                </c:pt>
                <c:pt idx="9">
                  <c:v>608171.515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76FF-4ACA-B43A-5F317AA88A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632045168"/>
        <c:axId val="1"/>
      </c:barChart>
      <c:catAx>
        <c:axId val="63204516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0000000"/>
          <c:min val="-88248485.066951036"/>
        </c:scaling>
        <c:delete val="1"/>
        <c:axPos val="l"/>
        <c:numFmt formatCode="General" sourceLinked="1"/>
        <c:majorTickMark val="out"/>
        <c:minorTickMark val="none"/>
        <c:tickLblPos val="nextTo"/>
        <c:crossAx val="632045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32730560578659E-3"/>
          <c:y val="2.7310924369747899E-2"/>
          <c:w val="0.98553345388788427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69E-492A-8E4A-1EFE9E33093F}"/>
              </c:ext>
            </c:extLst>
          </c:dPt>
          <c:dPt>
            <c:idx val="15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69E-492A-8E4A-1EFE9E33093F}"/>
              </c:ext>
            </c:extLst>
          </c:dPt>
          <c:val>
            <c:numRef>
              <c:f>Sheet1!$A$1:$P$1</c:f>
              <c:numCache>
                <c:formatCode>General</c:formatCode>
                <c:ptCount val="16"/>
                <c:pt idx="0">
                  <c:v>12663528030.797234</c:v>
                </c:pt>
                <c:pt idx="1">
                  <c:v>12663528030.797234</c:v>
                </c:pt>
                <c:pt idx="2">
                  <c:v>13020797486.5019</c:v>
                </c:pt>
                <c:pt idx="3">
                  <c:v>13092452311.66456</c:v>
                </c:pt>
                <c:pt idx="4">
                  <c:v>13076237351.346096</c:v>
                </c:pt>
                <c:pt idx="5">
                  <c:v>13076237351.346098</c:v>
                </c:pt>
                <c:pt idx="6">
                  <c:v>13094447661.243706</c:v>
                </c:pt>
                <c:pt idx="7">
                  <c:v>13104019436.527075</c:v>
                </c:pt>
                <c:pt idx="8">
                  <c:v>13114940461.219002</c:v>
                </c:pt>
                <c:pt idx="9">
                  <c:v>13122661123.131004</c:v>
                </c:pt>
                <c:pt idx="10">
                  <c:v>13140694563.691994</c:v>
                </c:pt>
                <c:pt idx="11">
                  <c:v>13232880294.809275</c:v>
                </c:pt>
                <c:pt idx="12">
                  <c:v>13280946365.107674</c:v>
                </c:pt>
                <c:pt idx="13">
                  <c:v>13380112646.285286</c:v>
                </c:pt>
                <c:pt idx="14">
                  <c:v>13375453526.385437</c:v>
                </c:pt>
                <c:pt idx="15">
                  <c:v>13375453526.385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9E-492A-8E4A-1EFE9E33093F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69E-492A-8E4A-1EFE9E33093F}"/>
              </c:ext>
            </c:extLst>
          </c:dPt>
          <c:dPt>
            <c:idx val="4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69E-492A-8E4A-1EFE9E33093F}"/>
              </c:ext>
            </c:extLst>
          </c:dPt>
          <c:dPt>
            <c:idx val="14"/>
            <c:invertIfNegative val="0"/>
            <c:bubble3D val="0"/>
            <c:spPr>
              <a:solidFill>
                <a:srgbClr val="C413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69E-492A-8E4A-1EFE9E33093F}"/>
              </c:ext>
            </c:extLst>
          </c:dPt>
          <c:val>
            <c:numRef>
              <c:f>Sheet1!$A$2:$P$2</c:f>
              <c:numCache>
                <c:formatCode>General</c:formatCode>
                <c:ptCount val="16"/>
                <c:pt idx="1">
                  <c:v>357269455.70466614</c:v>
                </c:pt>
                <c:pt idx="2">
                  <c:v>116620278.23138809</c:v>
                </c:pt>
                <c:pt idx="3">
                  <c:v>44965453.068729401</c:v>
                </c:pt>
                <c:pt idx="4">
                  <c:v>16214960.318458557</c:v>
                </c:pt>
                <c:pt idx="5">
                  <c:v>18210309.897611618</c:v>
                </c:pt>
                <c:pt idx="6">
                  <c:v>9571775.283367157</c:v>
                </c:pt>
                <c:pt idx="7">
                  <c:v>10921024.691925049</c:v>
                </c:pt>
                <c:pt idx="8">
                  <c:v>7720661.9120006561</c:v>
                </c:pt>
                <c:pt idx="9">
                  <c:v>18033440.561000824</c:v>
                </c:pt>
                <c:pt idx="10">
                  <c:v>92185731.117269516</c:v>
                </c:pt>
                <c:pt idx="11">
                  <c:v>48066070.298410416</c:v>
                </c:pt>
                <c:pt idx="12">
                  <c:v>99166281.177600861</c:v>
                </c:pt>
                <c:pt idx="13">
                  <c:v>26991870.107999802</c:v>
                </c:pt>
                <c:pt idx="14">
                  <c:v>31650990.007839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69E-492A-8E4A-1EFE9E3309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8242432"/>
        <c:axId val="1"/>
      </c:barChart>
      <c:catAx>
        <c:axId val="808242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407104516.393286"/>
          <c:min val="125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808242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804588083</c:v>
                </c:pt>
                <c:pt idx="1">
                  <c:v>9278477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E9-4C9F-9F6A-F6A602D1AC57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483076300</c:v>
                </c:pt>
                <c:pt idx="1">
                  <c:v>1490796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E9-4C9F-9F6A-F6A602D1AC57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930539704</c:v>
                </c:pt>
                <c:pt idx="1">
                  <c:v>869359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E9-4C9F-9F6A-F6A602D1AC57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496199088</c:v>
                </c:pt>
                <c:pt idx="1">
                  <c:v>52449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E9-4C9F-9F6A-F6A602D1AC57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524225412</c:v>
                </c:pt>
                <c:pt idx="1">
                  <c:v>715577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E9-4C9F-9F6A-F6A602D1AC57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1616296</c:v>
                </c:pt>
                <c:pt idx="1">
                  <c:v>28608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0E9-4C9F-9F6A-F6A602D1AC57}"/>
            </c:ext>
          </c:extLst>
        </c:ser>
        <c:ser>
          <c:idx val="6"/>
          <c:order val="6"/>
          <c:spPr>
            <a:solidFill>
              <a:srgbClr val="005FFF"/>
            </a:solidFill>
            <a:ln>
              <a:noFill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285784297</c:v>
                </c:pt>
                <c:pt idx="1">
                  <c:v>344771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0E9-4C9F-9F6A-F6A602D1AC57}"/>
            </c:ext>
          </c:extLst>
        </c:ser>
        <c:ser>
          <c:idx val="7"/>
          <c:order val="7"/>
          <c:spPr>
            <a:solidFill>
              <a:srgbClr val="5395FF"/>
            </a:solidFill>
            <a:ln>
              <a:noFill/>
            </a:ln>
          </c:spPr>
          <c:invertIfNegative val="0"/>
          <c:val>
            <c:numRef>
              <c:f>Sheet1!$A$8:$B$8</c:f>
              <c:numCache>
                <c:formatCode>General</c:formatCode>
                <c:ptCount val="2"/>
                <c:pt idx="0">
                  <c:v>137498850</c:v>
                </c:pt>
                <c:pt idx="1">
                  <c:v>123365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E9-4C9F-9F6A-F6A602D1A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8231872"/>
        <c:axId val="1"/>
      </c:barChart>
      <c:catAx>
        <c:axId val="808231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08231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95952964</c:v>
                </c:pt>
                <c:pt idx="1">
                  <c:v>1084347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E8-482A-A4A9-A7363CF763BD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590329671</c:v>
                </c:pt>
                <c:pt idx="1">
                  <c:v>4677682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E8-482A-A4A9-A7363CF763BD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529006592</c:v>
                </c:pt>
                <c:pt idx="1">
                  <c:v>2499281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E8-482A-A4A9-A7363CF763BD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376437804</c:v>
                </c:pt>
                <c:pt idx="1">
                  <c:v>1441156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E8-482A-A4A9-A7363CF763BD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3371801000</c:v>
                </c:pt>
                <c:pt idx="1">
                  <c:v>3672984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E8-482A-A4A9-A7363CF76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51679"/>
        <c:axId val="1"/>
      </c:barChart>
      <c:catAx>
        <c:axId val="2127651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7651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804588083</c:v>
                </c:pt>
                <c:pt idx="1">
                  <c:v>9278477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0E-4052-8809-700CAC777A38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506803520</c:v>
                </c:pt>
                <c:pt idx="1">
                  <c:v>1484326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0E-4052-8809-700CAC777A38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483076300</c:v>
                </c:pt>
                <c:pt idx="1">
                  <c:v>1508830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0E-4052-8809-700CAC777A38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712460181</c:v>
                </c:pt>
                <c:pt idx="1">
                  <c:v>951878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0E-4052-8809-700CAC777A38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616296</c:v>
                </c:pt>
                <c:pt idx="1">
                  <c:v>28608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0E-4052-8809-700CAC777A38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154983650</c:v>
                </c:pt>
                <c:pt idx="1">
                  <c:v>123332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0E-4052-8809-700CAC777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9130608"/>
        <c:axId val="1"/>
      </c:barChart>
      <c:catAx>
        <c:axId val="739130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9130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45454545454545E-2"/>
          <c:y val="0.1240768094534712"/>
          <c:w val="0.97090909090909094"/>
          <c:h val="0.6912850812407680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6D-48F0-AAFF-8B345FD6AD79}"/>
              </c:ext>
            </c:extLst>
          </c:dPt>
          <c:dPt>
            <c:idx val="4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6D-48F0-AAFF-8B345FD6AD79}"/>
              </c:ext>
            </c:extLst>
          </c:dPt>
          <c:dLbls>
            <c:dLbl>
              <c:idx val="0"/>
              <c:layout>
                <c:manualLayout>
                  <c:x val="0"/>
                  <c:y val="-0.216395864106351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6D-48F0-AAFF-8B345FD6AD79}"/>
                </c:ext>
              </c:extLst>
            </c:dLbl>
            <c:dLbl>
              <c:idx val="4"/>
              <c:layout>
                <c:manualLayout>
                  <c:x val="0"/>
                  <c:y val="-0.4062038404726735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6D-48F0-AAFF-8B345FD6AD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-45.234857410228301</c:v>
                </c:pt>
                <c:pt idx="1">
                  <c:v>-45.234857410228301</c:v>
                </c:pt>
                <c:pt idx="2">
                  <c:v>-56.6797338226283</c:v>
                </c:pt>
                <c:pt idx="3">
                  <c:v>-70.176971900746238</c:v>
                </c:pt>
                <c:pt idx="4">
                  <c:v>-100.03230153710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6D-48F0-AAFF-8B345FD6AD79}"/>
            </c:ext>
          </c:extLst>
        </c:ser>
        <c:ser>
          <c:idx val="1"/>
          <c:order val="1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-11.444876412400006</c:v>
                </c:pt>
                <c:pt idx="2">
                  <c:v>-13.497238078117952</c:v>
                </c:pt>
                <c:pt idx="3">
                  <c:v>-29.855329636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6D-48F0-AAFF-8B345FD6AD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7638719"/>
        <c:axId val="1"/>
      </c:barChart>
      <c:catAx>
        <c:axId val="2127638719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100.03230153710024"/>
        </c:scaling>
        <c:delete val="1"/>
        <c:axPos val="l"/>
        <c:numFmt formatCode="General" sourceLinked="1"/>
        <c:majorTickMark val="out"/>
        <c:minorTickMark val="none"/>
        <c:tickLblPos val="nextTo"/>
        <c:crossAx val="21276387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08957915</c:v>
                </c:pt>
                <c:pt idx="1">
                  <c:v>3741528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DC-41A3-B9F3-399837518309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795952964</c:v>
                </c:pt>
                <c:pt idx="1">
                  <c:v>1084347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DC-41A3-B9F3-399837518309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590329671</c:v>
                </c:pt>
                <c:pt idx="1">
                  <c:v>4677682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DC-41A3-B9F3-399837518309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092538844</c:v>
                </c:pt>
                <c:pt idx="1">
                  <c:v>2305202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5DC-41A3-B9F3-399837518309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209895352</c:v>
                </c:pt>
                <c:pt idx="1">
                  <c:v>1336646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DC-41A3-B9F3-399837518309}"/>
            </c:ext>
          </c:extLst>
        </c:ser>
        <c:ser>
          <c:idx val="5"/>
          <c:order val="5"/>
          <c:spPr>
            <a:solidFill>
              <a:srgbClr val="BFBFBF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3265853284</c:v>
                </c:pt>
                <c:pt idx="1">
                  <c:v>3597421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5DC-41A3-B9F3-399837518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9117648"/>
        <c:axId val="1"/>
      </c:barChart>
      <c:catAx>
        <c:axId val="739117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911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74294837679615E-2"/>
          <c:y val="2.7310924369747899E-2"/>
          <c:w val="0.9446514103246407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9950931172</c:v>
                </c:pt>
                <c:pt idx="1">
                  <c:v>10738962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C0-4C41-8AA1-98BC8A4335C7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100409587</c:v>
                </c:pt>
                <c:pt idx="1">
                  <c:v>105998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C0-4C41-8AA1-98BC8A4335C7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1570636</c:v>
                </c:pt>
                <c:pt idx="1">
                  <c:v>28093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C0-4C41-8AA1-98BC8A4335C7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703713906</c:v>
                </c:pt>
                <c:pt idx="1">
                  <c:v>989124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C0-4C41-8AA1-98BC8A4335C7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896902730</c:v>
                </c:pt>
                <c:pt idx="1">
                  <c:v>559289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C0-4C41-8AA1-98BC8A433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5976047"/>
        <c:axId val="1"/>
      </c:barChart>
      <c:catAx>
        <c:axId val="325976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754535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59760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59574468085105E-2"/>
          <c:y val="2.7310924369747899E-2"/>
          <c:w val="0.9446808510638298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A27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4445178</c:v>
                </c:pt>
                <c:pt idx="1">
                  <c:v>15656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7F-4044-85C5-3CA2A22B49DB}"/>
            </c:ext>
          </c:extLst>
        </c:ser>
        <c:ser>
          <c:idx val="1"/>
          <c:order val="1"/>
          <c:spPr>
            <a:solidFill>
              <a:srgbClr val="703E97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797319370</c:v>
                </c:pt>
                <c:pt idx="1">
                  <c:v>1987069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7F-4044-85C5-3CA2A22B49DB}"/>
            </c:ext>
          </c:extLst>
        </c:ser>
        <c:ser>
          <c:idx val="2"/>
          <c:order val="2"/>
          <c:spPr>
            <a:solidFill>
              <a:srgbClr val="B78FCA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278645711</c:v>
                </c:pt>
                <c:pt idx="1">
                  <c:v>2411929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7F-4044-85C5-3CA2A22B49DB}"/>
            </c:ext>
          </c:extLst>
        </c:ser>
        <c:ser>
          <c:idx val="3"/>
          <c:order val="3"/>
          <c:spPr>
            <a:solidFill>
              <a:srgbClr val="64646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801538346</c:v>
                </c:pt>
                <c:pt idx="1">
                  <c:v>3182970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7F-4044-85C5-3CA2A22B49D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3028982567</c:v>
                </c:pt>
                <c:pt idx="1">
                  <c:v>3141337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7F-4044-85C5-3CA2A22B4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9134448"/>
        <c:axId val="1"/>
      </c:barChart>
      <c:catAx>
        <c:axId val="739134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7389627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9134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575106335348102E-2"/>
          <c:y val="3.9943938332165384E-2"/>
          <c:w val="0.85918961271546901"/>
          <c:h val="0.85529081990189204"/>
        </c:manualLayout>
      </c:layout>
      <c:bubbleChart>
        <c:varyColors val="0"/>
        <c:ser>
          <c:idx val="0"/>
          <c:order val="0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0">
                  <c:v>5.8714698260805109</c:v>
                </c:pt>
              </c:numCache>
            </c:numRef>
          </c:xVal>
          <c:yVal>
            <c:numRef>
              <c:f>Sheet1!$B$1:$B$11</c:f>
              <c:numCache>
                <c:formatCode>General</c:formatCode>
                <c:ptCount val="11"/>
                <c:pt idx="0">
                  <c:v>-0.15068049180620435</c:v>
                </c:pt>
              </c:numCache>
            </c:numRef>
          </c:yVal>
          <c:bubbleSize>
            <c:numRef>
              <c:f>Sheet1!$C$1:$C$11</c:f>
              <c:numCache>
                <c:formatCode>General</c:formatCode>
                <c:ptCount val="11"/>
                <c:pt idx="0">
                  <c:v>7.587742995671440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E9F9-4358-ACF4-3B9B105FE2D7}"/>
            </c:ext>
          </c:extLst>
        </c:ser>
        <c:ser>
          <c:idx val="1"/>
          <c:order val="1"/>
          <c:spPr>
            <a:solidFill>
              <a:srgbClr val="703E97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1">
                  <c:v>-6.3994107760778078</c:v>
                </c:pt>
                <c:pt idx="2">
                  <c:v>-7.1152634561429728</c:v>
                </c:pt>
              </c:numCache>
            </c:numRef>
          </c:xVal>
          <c:yVal>
            <c:numRef>
              <c:f>Sheet1!$D$1:$D$11</c:f>
              <c:numCache>
                <c:formatCode>General</c:formatCode>
                <c:ptCount val="11"/>
                <c:pt idx="1">
                  <c:v>-0.20392991016274162</c:v>
                </c:pt>
                <c:pt idx="2">
                  <c:v>-1.2741410284035242</c:v>
                </c:pt>
              </c:numCache>
            </c:numRef>
          </c:yVal>
          <c:bubbleSize>
            <c:numRef>
              <c:f>Sheet1!$E$1:$E$11</c:f>
              <c:numCache>
                <c:formatCode>General</c:formatCode>
                <c:ptCount val="11"/>
                <c:pt idx="1">
                  <c:v>4.8013769457163598</c:v>
                </c:pt>
                <c:pt idx="2">
                  <c:v>4.412830176341937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E9F9-4358-ACF4-3B9B105FE2D7}"/>
            </c:ext>
          </c:extLst>
        </c:ser>
        <c:ser>
          <c:idx val="2"/>
          <c:order val="2"/>
          <c:spPr>
            <a:solidFill>
              <a:srgbClr val="2A276E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B78FCA"/>
              </a:solidFill>
              <a:ln w="3175" cmpd="sng" algn="ctr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9F9-4358-ACF4-3B9B105FE2D7}"/>
              </c:ext>
            </c:extLst>
          </c:dPt>
          <c:xVal>
            <c:numRef>
              <c:f>Sheet1!$A$1:$A$11</c:f>
              <c:numCache>
                <c:formatCode>General</c:formatCode>
                <c:ptCount val="11"/>
                <c:pt idx="3">
                  <c:v>0.52058426863594853</c:v>
                </c:pt>
                <c:pt idx="4">
                  <c:v>24.674283327544288</c:v>
                </c:pt>
                <c:pt idx="5">
                  <c:v>65.840976385975395</c:v>
                </c:pt>
                <c:pt idx="6">
                  <c:v>25.535171027988348</c:v>
                </c:pt>
                <c:pt idx="7">
                  <c:v>11.195364015688414</c:v>
                </c:pt>
              </c:numCache>
            </c:numRef>
          </c:xVal>
          <c:yVal>
            <c:numRef>
              <c:f>Sheet1!$F$1:$F$11</c:f>
              <c:numCache>
                <c:formatCode>General</c:formatCode>
                <c:ptCount val="11"/>
                <c:pt idx="3">
                  <c:v>-9.4518012263145046E-2</c:v>
                </c:pt>
                <c:pt idx="4">
                  <c:v>0.19121721756404225</c:v>
                </c:pt>
                <c:pt idx="5">
                  <c:v>0.75321467973645673</c:v>
                </c:pt>
                <c:pt idx="6">
                  <c:v>5.5301094759241214E-2</c:v>
                </c:pt>
                <c:pt idx="7">
                  <c:v>8.0992304802773335E-2</c:v>
                </c:pt>
              </c:numCache>
            </c:numRef>
          </c:yVal>
          <c:bubbleSize>
            <c:numRef>
              <c:f>Sheet1!$G$1:$G$11</c:f>
              <c:numCache>
                <c:formatCode>General</c:formatCode>
                <c:ptCount val="11"/>
                <c:pt idx="3">
                  <c:v>9.6971641165993603</c:v>
                </c:pt>
                <c:pt idx="4">
                  <c:v>4.3215408242261528</c:v>
                </c:pt>
                <c:pt idx="5">
                  <c:v>2.385696533466525</c:v>
                </c:pt>
                <c:pt idx="6">
                  <c:v>0.66301122099647303</c:v>
                </c:pt>
                <c:pt idx="7">
                  <c:v>1.202919352082929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E9F9-4358-ACF4-3B9B105FE2D7}"/>
            </c:ext>
          </c:extLst>
        </c:ser>
        <c:ser>
          <c:idx val="3"/>
          <c:order val="3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1</c:f>
              <c:numCache>
                <c:formatCode>General</c:formatCode>
                <c:ptCount val="11"/>
                <c:pt idx="8">
                  <c:v>4.2879049736060493</c:v>
                </c:pt>
                <c:pt idx="9">
                  <c:v>5.6233163123143193</c:v>
                </c:pt>
                <c:pt idx="10">
                  <c:v>6.1801827829794487</c:v>
                </c:pt>
              </c:numCache>
            </c:numRef>
          </c:xVal>
          <c:yVal>
            <c:numRef>
              <c:f>Sheet1!$H$1:$H$11</c:f>
              <c:numCache>
                <c:formatCode>General</c:formatCode>
                <c:ptCount val="11"/>
                <c:pt idx="8">
                  <c:v>-1.1921793859259733E-2</c:v>
                </c:pt>
                <c:pt idx="9">
                  <c:v>-0.26383918472292212</c:v>
                </c:pt>
                <c:pt idx="10">
                  <c:v>-0.10795657074578885</c:v>
                </c:pt>
              </c:numCache>
            </c:numRef>
          </c:yVal>
          <c:bubbleSize>
            <c:numRef>
              <c:f>Sheet1!$I$1:$I$11</c:f>
              <c:numCache>
                <c:formatCode>General</c:formatCode>
                <c:ptCount val="11"/>
                <c:pt idx="8">
                  <c:v>2.2344361603615104</c:v>
                </c:pt>
                <c:pt idx="9">
                  <c:v>1.6263613457368979</c:v>
                </c:pt>
                <c:pt idx="10">
                  <c:v>0.5928522674975570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E9F9-4358-ACF4-3B9B105FE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4"/>
        <c:showNegBubbles val="0"/>
        <c:axId val="881839440"/>
        <c:axId val="1"/>
      </c:bubbleChart>
      <c:valAx>
        <c:axId val="881839440"/>
        <c:scaling>
          <c:orientation val="minMax"/>
          <c:max val="70"/>
          <c:min val="-1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"/>
          <c:min val="-1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39440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85071574642127"/>
          <c:y val="4.1621029572836803E-2"/>
          <c:w val="0.83921267893660534"/>
          <c:h val="0.85432639649507114"/>
        </c:manualLayout>
      </c:layout>
      <c:bubbleChart>
        <c:varyColors val="0"/>
        <c:ser>
          <c:idx val="0"/>
          <c:order val="0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0">
                  <c:v>3.2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0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5.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E3A7-4C83-88BB-325AD147D086}"/>
            </c:ext>
          </c:extLst>
        </c:ser>
        <c:ser>
          <c:idx val="1"/>
          <c:order val="1"/>
          <c:spPr>
            <a:solidFill>
              <a:srgbClr val="2A276E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3A7-4C83-88BB-325AD147D086}"/>
              </c:ext>
            </c:extLst>
          </c:dPt>
          <c:dPt>
            <c:idx val="2"/>
            <c:invertIfNegative val="0"/>
            <c:bubble3D val="0"/>
            <c:spPr>
              <a:solidFill>
                <a:srgbClr val="B78FCA"/>
              </a:solidFill>
              <a:ln w="3175" cmpd="sng" algn="ctr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3A7-4C83-88BB-325AD147D086}"/>
              </c:ext>
            </c:extLst>
          </c:dPt>
          <c:xVal>
            <c:numRef>
              <c:f>Sheet1!$A$1:$A$10</c:f>
              <c:numCache>
                <c:formatCode>General</c:formatCode>
                <c:ptCount val="10"/>
                <c:pt idx="1">
                  <c:v>3.5000000000000004</c:v>
                </c:pt>
                <c:pt idx="2">
                  <c:v>3.1</c:v>
                </c:pt>
                <c:pt idx="3">
                  <c:v>22.5</c:v>
                </c:pt>
                <c:pt idx="4">
                  <c:v>62.2</c:v>
                </c:pt>
                <c:pt idx="5">
                  <c:v>18.600000000000001</c:v>
                </c:pt>
                <c:pt idx="6">
                  <c:v>10.6</c:v>
                </c:pt>
              </c:numCache>
            </c:numRef>
          </c:xVal>
          <c:yVal>
            <c:numRef>
              <c:f>Sheet1!$D$1:$D$10</c:f>
              <c:numCache>
                <c:formatCode>General</c:formatCode>
                <c:ptCount val="10"/>
                <c:pt idx="1">
                  <c:v>0</c:v>
                </c:pt>
                <c:pt idx="2">
                  <c:v>-0.1</c:v>
                </c:pt>
                <c:pt idx="3">
                  <c:v>0.2</c:v>
                </c:pt>
                <c:pt idx="4">
                  <c:v>1.0999999999999999</c:v>
                </c:pt>
                <c:pt idx="5">
                  <c:v>0.1</c:v>
                </c:pt>
                <c:pt idx="6">
                  <c:v>0</c:v>
                </c:pt>
              </c:numCache>
            </c:numRef>
          </c:yVal>
          <c:bubbleSize>
            <c:numRef>
              <c:f>Sheet1!$E$1:$E$10</c:f>
              <c:numCache>
                <c:formatCode>General</c:formatCode>
                <c:ptCount val="10"/>
                <c:pt idx="1">
                  <c:v>1.7000000000000002</c:v>
                </c:pt>
                <c:pt idx="2">
                  <c:v>0.6</c:v>
                </c:pt>
                <c:pt idx="3">
                  <c:v>4.3</c:v>
                </c:pt>
                <c:pt idx="4">
                  <c:v>3.3000000000000003</c:v>
                </c:pt>
                <c:pt idx="5">
                  <c:v>1.5</c:v>
                </c:pt>
                <c:pt idx="6">
                  <c:v>0.8999999999999999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E3A7-4C83-88BB-325AD147D086}"/>
            </c:ext>
          </c:extLst>
        </c:ser>
        <c:ser>
          <c:idx val="2"/>
          <c:order val="2"/>
          <c:spPr>
            <a:solidFill>
              <a:srgbClr val="808080"/>
            </a:solidFill>
            <a:ln>
              <a:noFill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7">
                  <c:v>-8.1</c:v>
                </c:pt>
              </c:numCache>
            </c:numRef>
          </c:xVal>
          <c:yVal>
            <c:numRef>
              <c:f>Sheet1!$F$1:$F$10</c:f>
              <c:numCache>
                <c:formatCode>General</c:formatCode>
                <c:ptCount val="10"/>
                <c:pt idx="7">
                  <c:v>0.1</c:v>
                </c:pt>
              </c:numCache>
            </c:numRef>
          </c:yVal>
          <c:bubbleSize>
            <c:numRef>
              <c:f>Sheet1!$G$1:$G$10</c:f>
              <c:numCache>
                <c:formatCode>General</c:formatCode>
                <c:ptCount val="10"/>
                <c:pt idx="7">
                  <c:v>3.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E3A7-4C83-88BB-325AD147D086}"/>
            </c:ext>
          </c:extLst>
        </c:ser>
        <c:ser>
          <c:idx val="3"/>
          <c:order val="3"/>
          <c:spPr>
            <a:solidFill>
              <a:srgbClr val="703E97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8">
                  <c:v>-2.2999999999999998</c:v>
                </c:pt>
                <c:pt idx="9">
                  <c:v>-1.7000000000000002</c:v>
                </c:pt>
              </c:numCache>
            </c:numRef>
          </c:xVal>
          <c:yVal>
            <c:numRef>
              <c:f>Sheet1!$H$1:$H$10</c:f>
              <c:numCache>
                <c:formatCode>General</c:formatCode>
                <c:ptCount val="10"/>
                <c:pt idx="8">
                  <c:v>-0.4</c:v>
                </c:pt>
                <c:pt idx="9">
                  <c:v>-0.3</c:v>
                </c:pt>
              </c:numCache>
            </c:numRef>
          </c:yVal>
          <c:bubbleSize>
            <c:numRef>
              <c:f>Sheet1!$I$1:$I$10</c:f>
              <c:numCache>
                <c:formatCode>General</c:formatCode>
                <c:ptCount val="10"/>
                <c:pt idx="8">
                  <c:v>3.2</c:v>
                </c:pt>
                <c:pt idx="9">
                  <c:v>1.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E3A7-4C83-88BB-325AD147D0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4"/>
        <c:showNegBubbles val="0"/>
        <c:axId val="2138467583"/>
        <c:axId val="1"/>
      </c:bubbleChart>
      <c:valAx>
        <c:axId val="2138467583"/>
        <c:scaling>
          <c:orientation val="minMax"/>
          <c:max val="70"/>
          <c:min val="-1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.5"/>
          <c:min val="-1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67583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204592901878917E-2"/>
          <c:y val="4.1621029572836803E-2"/>
          <c:w val="0.85673277661795411"/>
          <c:h val="0.85432639649507114"/>
        </c:manualLayout>
      </c:layout>
      <c:bubbleChart>
        <c:varyColors val="0"/>
        <c:ser>
          <c:idx val="0"/>
          <c:order val="0"/>
          <c:spPr>
            <a:solidFill>
              <a:srgbClr val="B78FCA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7</c:f>
              <c:numCache>
                <c:formatCode>General</c:formatCode>
                <c:ptCount val="7"/>
                <c:pt idx="0">
                  <c:v>5.5</c:v>
                </c:pt>
                <c:pt idx="1">
                  <c:v>0.5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-0.70000000000000007</c:v>
                </c:pt>
                <c:pt idx="1">
                  <c:v>-0.1</c:v>
                </c:pt>
              </c:numCache>
            </c:numRef>
          </c:yVal>
          <c:bubbleSize>
            <c:numRef>
              <c:f>Sheet1!$C$1:$C$7</c:f>
              <c:numCache>
                <c:formatCode>General</c:formatCode>
                <c:ptCount val="7"/>
                <c:pt idx="0">
                  <c:v>16</c:v>
                </c:pt>
                <c:pt idx="1">
                  <c:v>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68C-4028-8025-8C0DE30D05E3}"/>
            </c:ext>
          </c:extLst>
        </c:ser>
        <c:ser>
          <c:idx val="1"/>
          <c:order val="1"/>
          <c:spPr>
            <a:solidFill>
              <a:srgbClr val="703E97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7</c:f>
              <c:numCache>
                <c:formatCode>General</c:formatCode>
                <c:ptCount val="7"/>
                <c:pt idx="2">
                  <c:v>-4.9000000000000004</c:v>
                </c:pt>
                <c:pt idx="3">
                  <c:v>-19</c:v>
                </c:pt>
                <c:pt idx="4">
                  <c:v>-25.900000000000002</c:v>
                </c:pt>
                <c:pt idx="5">
                  <c:v>-33.1</c:v>
                </c:pt>
              </c:numCache>
            </c:numRef>
          </c:xVal>
          <c:yVal>
            <c:numRef>
              <c:f>Sheet1!$D$1:$D$7</c:f>
              <c:numCache>
                <c:formatCode>General</c:formatCode>
                <c:ptCount val="7"/>
                <c:pt idx="2">
                  <c:v>-0.4</c:v>
                </c:pt>
                <c:pt idx="3">
                  <c:v>-7.0000000000000009</c:v>
                </c:pt>
                <c:pt idx="4">
                  <c:v>-0.1</c:v>
                </c:pt>
                <c:pt idx="5">
                  <c:v>-0.2</c:v>
                </c:pt>
              </c:numCache>
            </c:numRef>
          </c:yVal>
          <c:bubbleSize>
            <c:numRef>
              <c:f>Sheet1!$E$1:$E$7</c:f>
              <c:numCache>
                <c:formatCode>General</c:formatCode>
                <c:ptCount val="7"/>
                <c:pt idx="2">
                  <c:v>5.5</c:v>
                </c:pt>
                <c:pt idx="3">
                  <c:v>8.3000000000000007</c:v>
                </c:pt>
                <c:pt idx="4">
                  <c:v>0</c:v>
                </c:pt>
                <c:pt idx="5">
                  <c:v>0.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68C-4028-8025-8C0DE30D05E3}"/>
            </c:ext>
          </c:extLst>
        </c:ser>
        <c:ser>
          <c:idx val="2"/>
          <c:order val="2"/>
          <c:spPr>
            <a:solidFill>
              <a:srgbClr val="703E97"/>
            </a:solidFill>
            <a:ln w="3175" cmpd="sng" algn="ctr">
              <a:solidFill>
                <a:srgbClr val="808080"/>
              </a:solidFill>
              <a:prstDash val="solid"/>
            </a:ln>
          </c:spPr>
          <c:invertIfNegative val="0"/>
          <c:xVal>
            <c:numRef>
              <c:f>Sheet1!$A$1:$A$7</c:f>
              <c:numCache>
                <c:formatCode>General</c:formatCode>
                <c:ptCount val="7"/>
                <c:pt idx="6">
                  <c:v>-3.3000000000000003</c:v>
                </c:pt>
              </c:numCache>
            </c:numRef>
          </c:xVal>
          <c:yVal>
            <c:numRef>
              <c:f>Sheet1!$F$1:$F$7</c:f>
              <c:numCache>
                <c:formatCode>General</c:formatCode>
                <c:ptCount val="7"/>
                <c:pt idx="6">
                  <c:v>-2.1999999999999997</c:v>
                </c:pt>
              </c:numCache>
            </c:numRef>
          </c:yVal>
          <c:bubbleSize>
            <c:numRef>
              <c:f>Sheet1!$G$1:$G$7</c:f>
              <c:numCache>
                <c:formatCode>General</c:formatCode>
                <c:ptCount val="7"/>
                <c:pt idx="6">
                  <c:v>16.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68C-4028-8025-8C0DE30D05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4"/>
        <c:showNegBubbles val="0"/>
        <c:axId val="2138477183"/>
        <c:axId val="1"/>
      </c:bubbleChart>
      <c:valAx>
        <c:axId val="2138477183"/>
        <c:scaling>
          <c:orientation val="minMax"/>
          <c:max val="10"/>
          <c:min val="-35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2"/>
          <c:min val="-8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77183"/>
        <c:crosses val="min"/>
        <c:crossBetween val="midCat"/>
        <c:majorUnit val="2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32449297971919"/>
          <c:y val="3.6069193963930803E-2"/>
          <c:w val="0.81708268330733225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11</c:v>
                </c:pt>
                <c:pt idx="1">
                  <c:v>12.6</c:v>
                </c:pt>
                <c:pt idx="2">
                  <c:v>4</c:v>
                </c:pt>
                <c:pt idx="3">
                  <c:v>6</c:v>
                </c:pt>
                <c:pt idx="4">
                  <c:v>3.5000000000000004</c:v>
                </c:pt>
                <c:pt idx="5">
                  <c:v>12.2</c:v>
                </c:pt>
                <c:pt idx="6">
                  <c:v>16.7</c:v>
                </c:pt>
                <c:pt idx="7">
                  <c:v>7.5</c:v>
                </c:pt>
                <c:pt idx="8">
                  <c:v>3</c:v>
                </c:pt>
                <c:pt idx="9">
                  <c:v>14.499999999999998</c:v>
                </c:pt>
                <c:pt idx="10">
                  <c:v>0.1</c:v>
                </c:pt>
                <c:pt idx="11">
                  <c:v>8.3000000000000007</c:v>
                </c:pt>
                <c:pt idx="12">
                  <c:v>13.100000000000001</c:v>
                </c:pt>
                <c:pt idx="13">
                  <c:v>18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-0.1</c:v>
                </c:pt>
                <c:pt idx="1">
                  <c:v>-1.7999999999999998</c:v>
                </c:pt>
                <c:pt idx="2">
                  <c:v>-0.8</c:v>
                </c:pt>
                <c:pt idx="3">
                  <c:v>-0.1</c:v>
                </c:pt>
                <c:pt idx="4">
                  <c:v>-0.4</c:v>
                </c:pt>
                <c:pt idx="5">
                  <c:v>-0.89999999999999991</c:v>
                </c:pt>
                <c:pt idx="6">
                  <c:v>-2.2999999999999998</c:v>
                </c:pt>
                <c:pt idx="7">
                  <c:v>-0.3</c:v>
                </c:pt>
                <c:pt idx="8">
                  <c:v>-0.3</c:v>
                </c:pt>
                <c:pt idx="9">
                  <c:v>-0.3</c:v>
                </c:pt>
                <c:pt idx="10">
                  <c:v>-0.8</c:v>
                </c:pt>
                <c:pt idx="11">
                  <c:v>-0.5</c:v>
                </c:pt>
                <c:pt idx="12">
                  <c:v>-1.3</c:v>
                </c:pt>
                <c:pt idx="13">
                  <c:v>-3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57E-40C4-A279-8AF3E0C8FF41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4">
                  <c:v>-7.3999999999999995</c:v>
                </c:pt>
                <c:pt idx="15">
                  <c:v>-1</c:v>
                </c:pt>
                <c:pt idx="16">
                  <c:v>-13.5</c:v>
                </c:pt>
                <c:pt idx="17">
                  <c:v>-25.6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4">
                  <c:v>-1.5</c:v>
                </c:pt>
                <c:pt idx="15">
                  <c:v>-0.8</c:v>
                </c:pt>
                <c:pt idx="16">
                  <c:v>-1.2</c:v>
                </c:pt>
                <c:pt idx="17">
                  <c:v>-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57E-40C4-A279-8AF3E0C8FF41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8">
                  <c:v>8</c:v>
                </c:pt>
                <c:pt idx="19">
                  <c:v>8.9</c:v>
                </c:pt>
                <c:pt idx="20">
                  <c:v>15.1</c:v>
                </c:pt>
                <c:pt idx="21">
                  <c:v>20.5</c:v>
                </c:pt>
                <c:pt idx="22">
                  <c:v>28.000000000000004</c:v>
                </c:pt>
                <c:pt idx="23">
                  <c:v>13.4</c:v>
                </c:pt>
                <c:pt idx="24">
                  <c:v>7.0000000000000009</c:v>
                </c:pt>
                <c:pt idx="25">
                  <c:v>18.899999999999999</c:v>
                </c:pt>
                <c:pt idx="26">
                  <c:v>14.499999999999998</c:v>
                </c:pt>
                <c:pt idx="27">
                  <c:v>13.700000000000001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18">
                  <c:v>3</c:v>
                </c:pt>
                <c:pt idx="19">
                  <c:v>1.0999999999999999</c:v>
                </c:pt>
                <c:pt idx="20">
                  <c:v>0</c:v>
                </c:pt>
                <c:pt idx="21">
                  <c:v>0.5</c:v>
                </c:pt>
                <c:pt idx="22">
                  <c:v>1.2</c:v>
                </c:pt>
                <c:pt idx="23">
                  <c:v>0.3</c:v>
                </c:pt>
                <c:pt idx="24">
                  <c:v>1.4000000000000001</c:v>
                </c:pt>
                <c:pt idx="25">
                  <c:v>1.4000000000000001</c:v>
                </c:pt>
                <c:pt idx="26">
                  <c:v>0.1</c:v>
                </c:pt>
                <c:pt idx="27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57E-40C4-A279-8AF3E0C8FF41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8">
                  <c:v>-12.3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8">
                  <c:v>0.700000000000000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57E-40C4-A279-8AF3E0C8F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8445023"/>
        <c:axId val="1"/>
      </c:scatterChart>
      <c:valAx>
        <c:axId val="2138445023"/>
        <c:scaling>
          <c:orientation val="minMax"/>
          <c:max val="30"/>
          <c:min val="-3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4"/>
          <c:min val="-6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45023"/>
        <c:crosses val="min"/>
        <c:crossBetween val="midCat"/>
        <c:majorUnit val="2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32449297971919"/>
          <c:y val="3.6069193963930803E-2"/>
          <c:w val="0.81708268330733225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17.32697357836981</c:v>
                </c:pt>
                <c:pt idx="1">
                  <c:v>14.07301680827684</c:v>
                </c:pt>
                <c:pt idx="2">
                  <c:v>24.298908924525222</c:v>
                </c:pt>
                <c:pt idx="3">
                  <c:v>22.056783093067402</c:v>
                </c:pt>
                <c:pt idx="4">
                  <c:v>20.476568458334633</c:v>
                </c:pt>
                <c:pt idx="5">
                  <c:v>20.915943371904099</c:v>
                </c:pt>
                <c:pt idx="6">
                  <c:v>19.428935629085188</c:v>
                </c:pt>
                <c:pt idx="7">
                  <c:v>13.036488258571556</c:v>
                </c:pt>
                <c:pt idx="8">
                  <c:v>18.378144229963354</c:v>
                </c:pt>
                <c:pt idx="9">
                  <c:v>14.295136359285433</c:v>
                </c:pt>
                <c:pt idx="10">
                  <c:v>44.426182352152232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0.3297811619672103</c:v>
                </c:pt>
                <c:pt idx="1">
                  <c:v>3.8304402582057806</c:v>
                </c:pt>
                <c:pt idx="2">
                  <c:v>1.2012378120386538</c:v>
                </c:pt>
                <c:pt idx="3">
                  <c:v>0.13431528297449952</c:v>
                </c:pt>
                <c:pt idx="4">
                  <c:v>0.17758529193418471</c:v>
                </c:pt>
                <c:pt idx="5">
                  <c:v>0.88309840499974501</c:v>
                </c:pt>
                <c:pt idx="6">
                  <c:v>0.74404896693326261</c:v>
                </c:pt>
                <c:pt idx="7">
                  <c:v>0.68479222589426136</c:v>
                </c:pt>
                <c:pt idx="8">
                  <c:v>0.97450654478399157</c:v>
                </c:pt>
                <c:pt idx="9">
                  <c:v>0.23466389769592444</c:v>
                </c:pt>
                <c:pt idx="10">
                  <c:v>4.656678272507491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899-4F8C-ABF7-062BE6061B0A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1">
                  <c:v>-7.7312287121389378</c:v>
                </c:pt>
                <c:pt idx="12">
                  <c:v>-14.033438358795625</c:v>
                </c:pt>
                <c:pt idx="13">
                  <c:v>-8.7277613185359986</c:v>
                </c:pt>
                <c:pt idx="14">
                  <c:v>-2.0856087272090984</c:v>
                </c:pt>
                <c:pt idx="15">
                  <c:v>-15.832444390252187</c:v>
                </c:pt>
                <c:pt idx="16">
                  <c:v>-9.2789998246427867</c:v>
                </c:pt>
                <c:pt idx="17">
                  <c:v>-3.955274169991474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1">
                  <c:v>-1.7233880477018682</c:v>
                </c:pt>
                <c:pt idx="12">
                  <c:v>-2.0289627759672455</c:v>
                </c:pt>
                <c:pt idx="13">
                  <c:v>-0.77036391201547461</c:v>
                </c:pt>
                <c:pt idx="14">
                  <c:v>-0.82520981470902277</c:v>
                </c:pt>
                <c:pt idx="15">
                  <c:v>-1.4843138122540838</c:v>
                </c:pt>
                <c:pt idx="16">
                  <c:v>-0.40557365042499133</c:v>
                </c:pt>
                <c:pt idx="17">
                  <c:v>-1.57646709936947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899-4F8C-ABF7-062BE6061B0A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8">
                  <c:v>4.9528029341115998</c:v>
                </c:pt>
                <c:pt idx="19">
                  <c:v>3.9959124067408647</c:v>
                </c:pt>
                <c:pt idx="20">
                  <c:v>10.363452553999664</c:v>
                </c:pt>
                <c:pt idx="21">
                  <c:v>30.589667445797719</c:v>
                </c:pt>
                <c:pt idx="22">
                  <c:v>10.0695937178366</c:v>
                </c:pt>
                <c:pt idx="23">
                  <c:v>0.42075301649382446</c:v>
                </c:pt>
                <c:pt idx="24">
                  <c:v>11.654795679099617</c:v>
                </c:pt>
                <c:pt idx="25">
                  <c:v>37.575664120331773</c:v>
                </c:pt>
                <c:pt idx="26">
                  <c:v>18.286068179628746</c:v>
                </c:pt>
                <c:pt idx="27">
                  <c:v>27.670089315118453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18">
                  <c:v>-3.6201068820755286E-2</c:v>
                </c:pt>
                <c:pt idx="19">
                  <c:v>-0.23790622746894044</c:v>
                </c:pt>
                <c:pt idx="20">
                  <c:v>-0.82116804444631741</c:v>
                </c:pt>
                <c:pt idx="21">
                  <c:v>-0.46190164806965972</c:v>
                </c:pt>
                <c:pt idx="22">
                  <c:v>-0.65436142709888601</c:v>
                </c:pt>
                <c:pt idx="23">
                  <c:v>-0.33613733036781424</c:v>
                </c:pt>
                <c:pt idx="24">
                  <c:v>-1.1140675777726441</c:v>
                </c:pt>
                <c:pt idx="25">
                  <c:v>-2.0256081994928128E-2</c:v>
                </c:pt>
                <c:pt idx="26">
                  <c:v>-6.8442700292810008E-3</c:v>
                </c:pt>
                <c:pt idx="27">
                  <c:v>-0.320551474777189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899-4F8C-ABF7-062BE6061B0A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8">
                  <c:v>-18.601089769965807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8">
                  <c:v>9.47024411542971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899-4F8C-ABF7-062BE6061B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8437823"/>
        <c:axId val="1"/>
      </c:scatterChart>
      <c:valAx>
        <c:axId val="2138437823"/>
        <c:scaling>
          <c:orientation val="minMax"/>
          <c:max val="50"/>
          <c:min val="-2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4"/>
          <c:min val="-4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37823"/>
        <c:crosses val="min"/>
        <c:crossBetween val="midCat"/>
        <c:majorUnit val="2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3006134969325"/>
          <c:y val="3.6069193963930803E-2"/>
          <c:w val="0.80329754601226999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-9.7023848069446643</c:v>
                </c:pt>
                <c:pt idx="1">
                  <c:v>-25.198296035960045</c:v>
                </c:pt>
                <c:pt idx="2">
                  <c:v>-3.2157116075441583</c:v>
                </c:pt>
                <c:pt idx="3">
                  <c:v>-2.1295315650743829</c:v>
                </c:pt>
                <c:pt idx="4">
                  <c:v>-43.824620306536197</c:v>
                </c:pt>
                <c:pt idx="5">
                  <c:v>-6.7272562258191897</c:v>
                </c:pt>
                <c:pt idx="6">
                  <c:v>-20.310429540989784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-1.5232709107352971</c:v>
                </c:pt>
                <c:pt idx="1">
                  <c:v>-2.6281351400692459</c:v>
                </c:pt>
                <c:pt idx="2">
                  <c:v>-1.3364516068013643</c:v>
                </c:pt>
                <c:pt idx="3">
                  <c:v>-1.4097121690554908</c:v>
                </c:pt>
                <c:pt idx="4">
                  <c:v>-8.3324099064605974</c:v>
                </c:pt>
                <c:pt idx="5">
                  <c:v>-1.1720577382567821</c:v>
                </c:pt>
                <c:pt idx="6">
                  <c:v>-0.498289703962651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DBA-4303-8A64-19EEDB8B5432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7">
                  <c:v>4.9855748572767755</c:v>
                </c:pt>
                <c:pt idx="8">
                  <c:v>2.8120868520610465</c:v>
                </c:pt>
                <c:pt idx="9">
                  <c:v>20.42797858718286</c:v>
                </c:pt>
                <c:pt idx="10">
                  <c:v>32.851009060262726</c:v>
                </c:pt>
                <c:pt idx="11">
                  <c:v>15.138671417312421</c:v>
                </c:pt>
                <c:pt idx="12">
                  <c:v>14.491776710665594</c:v>
                </c:pt>
                <c:pt idx="13">
                  <c:v>2.2428941494056831</c:v>
                </c:pt>
                <c:pt idx="14">
                  <c:v>20.959078675750153</c:v>
                </c:pt>
                <c:pt idx="15">
                  <c:v>21.831490233102425</c:v>
                </c:pt>
                <c:pt idx="16">
                  <c:v>15.183616675019751</c:v>
                </c:pt>
                <c:pt idx="17">
                  <c:v>24.966090276052256</c:v>
                </c:pt>
                <c:pt idx="18">
                  <c:v>11.109706614324889</c:v>
                </c:pt>
                <c:pt idx="19">
                  <c:v>56.417874429150253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7">
                  <c:v>1.6822887862081692</c:v>
                </c:pt>
                <c:pt idx="8">
                  <c:v>0.51296438911741515</c:v>
                </c:pt>
                <c:pt idx="9">
                  <c:v>2.664973965380224</c:v>
                </c:pt>
                <c:pt idx="10">
                  <c:v>0.85206461822502078</c:v>
                </c:pt>
                <c:pt idx="11">
                  <c:v>0.42565558907139422</c:v>
                </c:pt>
                <c:pt idx="12">
                  <c:v>4.3077254370310625E-2</c:v>
                </c:pt>
                <c:pt idx="13">
                  <c:v>5.8318260969264513E-2</c:v>
                </c:pt>
                <c:pt idx="14">
                  <c:v>6.2260028028255752</c:v>
                </c:pt>
                <c:pt idx="15">
                  <c:v>2.8815045976737617</c:v>
                </c:pt>
                <c:pt idx="16">
                  <c:v>0.70120575400893781</c:v>
                </c:pt>
                <c:pt idx="17">
                  <c:v>0.88804463134428002</c:v>
                </c:pt>
                <c:pt idx="18">
                  <c:v>4.8147537345460902</c:v>
                </c:pt>
                <c:pt idx="19">
                  <c:v>2.333531845825118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DBA-4303-8A64-19EEDB8B5432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0">
                  <c:v>-7.1979672751856683</c:v>
                </c:pt>
                <c:pt idx="21">
                  <c:v>-2.6713245191437252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0">
                  <c:v>0.16225275125379413</c:v>
                </c:pt>
                <c:pt idx="21">
                  <c:v>1.48876373106972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DBA-4303-8A64-19EEDB8B5432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2">
                  <c:v>25.491465255483959</c:v>
                </c:pt>
                <c:pt idx="23">
                  <c:v>8.2214883070224509</c:v>
                </c:pt>
                <c:pt idx="24">
                  <c:v>5.738400766975249</c:v>
                </c:pt>
                <c:pt idx="25">
                  <c:v>11.83600553431603</c:v>
                </c:pt>
                <c:pt idx="26">
                  <c:v>48.154221643342311</c:v>
                </c:pt>
                <c:pt idx="27">
                  <c:v>6.5501791998409553</c:v>
                </c:pt>
                <c:pt idx="28">
                  <c:v>10.692272911096889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2">
                  <c:v>-2.3499869762954706</c:v>
                </c:pt>
                <c:pt idx="23">
                  <c:v>-0.26200729061035682</c:v>
                </c:pt>
                <c:pt idx="24">
                  <c:v>-3.9975958310694781</c:v>
                </c:pt>
                <c:pt idx="25">
                  <c:v>-5.7206998456964753</c:v>
                </c:pt>
                <c:pt idx="26">
                  <c:v>-2.4198902810907752</c:v>
                </c:pt>
                <c:pt idx="27">
                  <c:v>-0.82419027857224547</c:v>
                </c:pt>
                <c:pt idx="28">
                  <c:v>-2.62701079381361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DBA-4303-8A64-19EEDB8B5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8447903"/>
        <c:axId val="1"/>
      </c:scatterChart>
      <c:valAx>
        <c:axId val="2138447903"/>
        <c:scaling>
          <c:orientation val="minMax"/>
          <c:max val="60"/>
          <c:min val="-6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20"/>
      </c:valAx>
      <c:valAx>
        <c:axId val="1"/>
        <c:scaling>
          <c:orientation val="minMax"/>
          <c:max val="8"/>
          <c:min val="-1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47903"/>
        <c:crosses val="min"/>
        <c:crossBetween val="midCat"/>
        <c:majorUnit val="2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60076045627375"/>
          <c:y val="3.6069193963930803E-2"/>
          <c:w val="0.79657794676806082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7.1</c:v>
                </c:pt>
                <c:pt idx="1">
                  <c:v>0</c:v>
                </c:pt>
                <c:pt idx="2">
                  <c:v>7.3999999999999995</c:v>
                </c:pt>
                <c:pt idx="3">
                  <c:v>1.3</c:v>
                </c:pt>
                <c:pt idx="4">
                  <c:v>13.4</c:v>
                </c:pt>
                <c:pt idx="5">
                  <c:v>11.899999999999999</c:v>
                </c:pt>
                <c:pt idx="6">
                  <c:v>23.7</c:v>
                </c:pt>
                <c:pt idx="7">
                  <c:v>11.899999999999999</c:v>
                </c:pt>
                <c:pt idx="8">
                  <c:v>10.100000000000001</c:v>
                </c:pt>
                <c:pt idx="9">
                  <c:v>18.8</c:v>
                </c:pt>
                <c:pt idx="10">
                  <c:v>5.4</c:v>
                </c:pt>
                <c:pt idx="11">
                  <c:v>16</c:v>
                </c:pt>
                <c:pt idx="12">
                  <c:v>6.3</c:v>
                </c:pt>
                <c:pt idx="13">
                  <c:v>19.100000000000001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0.1</c:v>
                </c:pt>
                <c:pt idx="1">
                  <c:v>0</c:v>
                </c:pt>
                <c:pt idx="2">
                  <c:v>0.5</c:v>
                </c:pt>
                <c:pt idx="3">
                  <c:v>0.1</c:v>
                </c:pt>
                <c:pt idx="4">
                  <c:v>0.1</c:v>
                </c:pt>
                <c:pt idx="5">
                  <c:v>0.4</c:v>
                </c:pt>
                <c:pt idx="6">
                  <c:v>0.3</c:v>
                </c:pt>
                <c:pt idx="7">
                  <c:v>0</c:v>
                </c:pt>
                <c:pt idx="8">
                  <c:v>0.1</c:v>
                </c:pt>
                <c:pt idx="9">
                  <c:v>0.4</c:v>
                </c:pt>
                <c:pt idx="10">
                  <c:v>0.2</c:v>
                </c:pt>
                <c:pt idx="11">
                  <c:v>0</c:v>
                </c:pt>
                <c:pt idx="12">
                  <c:v>0.1</c:v>
                </c:pt>
                <c:pt idx="13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5FA-4260-81D8-62F2E2749638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4">
                  <c:v>10.199999999999999</c:v>
                </c:pt>
                <c:pt idx="15">
                  <c:v>13.100000000000001</c:v>
                </c:pt>
                <c:pt idx="16">
                  <c:v>5.0999999999999996</c:v>
                </c:pt>
                <c:pt idx="17">
                  <c:v>3.4000000000000004</c:v>
                </c:pt>
                <c:pt idx="18">
                  <c:v>0.3</c:v>
                </c:pt>
                <c:pt idx="19">
                  <c:v>15.8</c:v>
                </c:pt>
                <c:pt idx="20">
                  <c:v>5.5</c:v>
                </c:pt>
                <c:pt idx="21">
                  <c:v>8.7999999999999989</c:v>
                </c:pt>
                <c:pt idx="22">
                  <c:v>7.6</c:v>
                </c:pt>
                <c:pt idx="23">
                  <c:v>15.7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4">
                  <c:v>0</c:v>
                </c:pt>
                <c:pt idx="15">
                  <c:v>-0.1</c:v>
                </c:pt>
                <c:pt idx="16">
                  <c:v>-0.3</c:v>
                </c:pt>
                <c:pt idx="17">
                  <c:v>0</c:v>
                </c:pt>
                <c:pt idx="18">
                  <c:v>-0.3</c:v>
                </c:pt>
                <c:pt idx="19">
                  <c:v>-0.70000000000000007</c:v>
                </c:pt>
                <c:pt idx="20">
                  <c:v>0</c:v>
                </c:pt>
                <c:pt idx="21">
                  <c:v>-0.3</c:v>
                </c:pt>
                <c:pt idx="22">
                  <c:v>0</c:v>
                </c:pt>
                <c:pt idx="23">
                  <c:v>-0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5FA-4260-81D8-62F2E2749638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4">
                  <c:v>-1.0999999999999999</c:v>
                </c:pt>
                <c:pt idx="25">
                  <c:v>-23.5</c:v>
                </c:pt>
                <c:pt idx="26">
                  <c:v>-5.8999999999999995</c:v>
                </c:pt>
                <c:pt idx="27">
                  <c:v>-6.6000000000000005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4">
                  <c:v>-0.1</c:v>
                </c:pt>
                <c:pt idx="25">
                  <c:v>-2.1999999999999997</c:v>
                </c:pt>
                <c:pt idx="26">
                  <c:v>-1</c:v>
                </c:pt>
                <c:pt idx="27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5FA-4260-81D8-62F2E2749638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8">
                  <c:v>-8.7999999999999989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8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25FA-4260-81D8-62F2E27496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74480"/>
        <c:axId val="1"/>
      </c:scatterChart>
      <c:valAx>
        <c:axId val="881874480"/>
        <c:scaling>
          <c:orientation val="minMax"/>
          <c:max val="30"/>
          <c:min val="-3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"/>
          <c:min val="-2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74480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49191071062871E-2"/>
          <c:y val="4.2448979591836737E-2"/>
          <c:w val="0.97870161785787424"/>
          <c:h val="0.915102040816326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6A7-4415-8889-5ABCEDB1B4BF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362900245.16439992</c:v>
                </c:pt>
                <c:pt idx="1">
                  <c:v>362900245.16439992</c:v>
                </c:pt>
                <c:pt idx="2">
                  <c:v>469373996.5640291</c:v>
                </c:pt>
                <c:pt idx="3">
                  <c:v>339977048.86813235</c:v>
                </c:pt>
                <c:pt idx="4">
                  <c:v>339977048.86813229</c:v>
                </c:pt>
                <c:pt idx="5">
                  <c:v>355068833.57513827</c:v>
                </c:pt>
                <c:pt idx="6">
                  <c:v>295744697.17265958</c:v>
                </c:pt>
                <c:pt idx="7">
                  <c:v>277197267.63625944</c:v>
                </c:pt>
                <c:pt idx="8">
                  <c:v>282878892.81456876</c:v>
                </c:pt>
                <c:pt idx="9">
                  <c:v>288471554.04117686</c:v>
                </c:pt>
                <c:pt idx="10">
                  <c:v>299410566.46398145</c:v>
                </c:pt>
                <c:pt idx="11">
                  <c:v>191074613.9607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A7-4415-8889-5ABCEDB1B4BF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6A7-4415-8889-5ABCEDB1B4BF}"/>
              </c:ext>
            </c:extLst>
          </c:dPt>
          <c:dPt>
            <c:idx val="7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6A7-4415-8889-5ABCEDB1B4BF}"/>
              </c:ext>
            </c:extLst>
          </c:dPt>
          <c:dPt>
            <c:idx val="9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46A7-4415-8889-5ABCEDB1B4BF}"/>
              </c:ext>
            </c:extLst>
          </c:dPt>
          <c:dPt>
            <c:idx val="1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46A7-4415-8889-5ABCEDB1B4BF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80956754.355329394</c:v>
                </c:pt>
                <c:pt idx="2">
                  <c:v>119762061.17259991</c:v>
                </c:pt>
                <c:pt idx="3">
                  <c:v>2898897.3314216137</c:v>
                </c:pt>
                <c:pt idx="4">
                  <c:v>2418729.5328191519</c:v>
                </c:pt>
                <c:pt idx="5">
                  <c:v>5117996.705352962</c:v>
                </c:pt>
                <c:pt idx="6">
                  <c:v>863556.8699388504</c:v>
                </c:pt>
                <c:pt idx="7">
                  <c:v>18547429.53640008</c:v>
                </c:pt>
                <c:pt idx="8">
                  <c:v>7371649.7676079273</c:v>
                </c:pt>
                <c:pt idx="9">
                  <c:v>19167570.041099966</c:v>
                </c:pt>
                <c:pt idx="10">
                  <c:v>7078032.3466022611</c:v>
                </c:pt>
                <c:pt idx="11">
                  <c:v>171825631.20360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A7-4415-8889-5ABCEDB1B4BF}"/>
            </c:ext>
          </c:extLst>
        </c:ser>
        <c:ser>
          <c:idx val="2"/>
          <c:order val="2"/>
          <c:spPr>
            <a:solidFill>
              <a:srgbClr val="FBF0B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46A7-4415-8889-5ABCEDB1B4BF}"/>
              </c:ext>
            </c:extLst>
          </c:dPt>
          <c:dPt>
            <c:idx val="7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46A7-4415-8889-5ABCEDB1B4BF}"/>
              </c:ext>
            </c:extLst>
          </c:dPt>
          <c:dPt>
            <c:idx val="9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46A7-4415-8889-5ABCEDB1B4BF}"/>
              </c:ext>
            </c:extLst>
          </c:dPt>
          <c:dPt>
            <c:idx val="11"/>
            <c:invertIfNegative val="0"/>
            <c:bubble3D val="0"/>
            <c:spPr>
              <a:solidFill>
                <a:srgbClr val="808080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46A7-4415-8889-5ABCEDB1B4BF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1">
                  <c:v>145279058.21689993</c:v>
                </c:pt>
                <c:pt idx="2">
                  <c:v>14014500.72072494</c:v>
                </c:pt>
                <c:pt idx="3">
                  <c:v>140512551.08520007</c:v>
                </c:pt>
                <c:pt idx="4">
                  <c:v>17791051.879540026</c:v>
                </c:pt>
                <c:pt idx="5">
                  <c:v>8771522.0751999021</c:v>
                </c:pt>
                <c:pt idx="6">
                  <c:v>67232101.607739925</c:v>
                </c:pt>
                <c:pt idx="7">
                  <c:v>5681625.1783094406</c:v>
                </c:pt>
                <c:pt idx="8">
                  <c:v>17388581.500099957</c:v>
                </c:pt>
                <c:pt idx="9">
                  <c:v>10939012.422804892</c:v>
                </c:pt>
                <c:pt idx="10">
                  <c:v>4165868.5676999688</c:v>
                </c:pt>
                <c:pt idx="11">
                  <c:v>119579853.4174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6A7-4415-8889-5ABCEDB1B4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100"/>
        <c:axId val="684928976"/>
        <c:axId val="1"/>
      </c:barChart>
      <c:catAx>
        <c:axId val="68492897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3150558.457353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4928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60076045627375"/>
          <c:y val="3.6069193963930803E-2"/>
          <c:w val="0.79657794676806082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15.6</c:v>
                </c:pt>
                <c:pt idx="1">
                  <c:v>21</c:v>
                </c:pt>
                <c:pt idx="2">
                  <c:v>22.8</c:v>
                </c:pt>
                <c:pt idx="3">
                  <c:v>18.399999999999999</c:v>
                </c:pt>
                <c:pt idx="4">
                  <c:v>13.100000000000001</c:v>
                </c:pt>
                <c:pt idx="5">
                  <c:v>13.700000000000001</c:v>
                </c:pt>
                <c:pt idx="6">
                  <c:v>10.7</c:v>
                </c:pt>
                <c:pt idx="7">
                  <c:v>18.2</c:v>
                </c:pt>
                <c:pt idx="8">
                  <c:v>4.9000000000000004</c:v>
                </c:pt>
                <c:pt idx="9">
                  <c:v>7.5</c:v>
                </c:pt>
                <c:pt idx="10">
                  <c:v>15.299999999999999</c:v>
                </c:pt>
                <c:pt idx="11">
                  <c:v>1.9</c:v>
                </c:pt>
                <c:pt idx="12">
                  <c:v>4.8</c:v>
                </c:pt>
                <c:pt idx="13">
                  <c:v>46.400000000000006</c:v>
                </c:pt>
                <c:pt idx="14">
                  <c:v>29.7</c:v>
                </c:pt>
                <c:pt idx="15">
                  <c:v>32.4</c:v>
                </c:pt>
                <c:pt idx="16">
                  <c:v>23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0.2</c:v>
                </c:pt>
                <c:pt idx="1">
                  <c:v>0.8</c:v>
                </c:pt>
                <c:pt idx="2">
                  <c:v>0.3</c:v>
                </c:pt>
                <c:pt idx="3">
                  <c:v>0</c:v>
                </c:pt>
                <c:pt idx="4">
                  <c:v>0.2</c:v>
                </c:pt>
                <c:pt idx="5">
                  <c:v>0.6</c:v>
                </c:pt>
                <c:pt idx="6">
                  <c:v>0</c:v>
                </c:pt>
                <c:pt idx="7">
                  <c:v>0.2</c:v>
                </c:pt>
                <c:pt idx="8">
                  <c:v>0.1</c:v>
                </c:pt>
                <c:pt idx="9">
                  <c:v>0.1</c:v>
                </c:pt>
                <c:pt idx="10">
                  <c:v>0.3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B69-4062-A0F1-63F6D49D42F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7">
                  <c:v>-0.3</c:v>
                </c:pt>
                <c:pt idx="18">
                  <c:v>-27.1</c:v>
                </c:pt>
                <c:pt idx="19">
                  <c:v>-3.8</c:v>
                </c:pt>
                <c:pt idx="20">
                  <c:v>-22.6</c:v>
                </c:pt>
                <c:pt idx="21">
                  <c:v>-2.7</c:v>
                </c:pt>
                <c:pt idx="22">
                  <c:v>-24.3</c:v>
                </c:pt>
                <c:pt idx="23">
                  <c:v>-5.5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7">
                  <c:v>-0.1</c:v>
                </c:pt>
                <c:pt idx="18">
                  <c:v>-0.2</c:v>
                </c:pt>
                <c:pt idx="19">
                  <c:v>-0.3</c:v>
                </c:pt>
                <c:pt idx="20">
                  <c:v>-0.1</c:v>
                </c:pt>
                <c:pt idx="21">
                  <c:v>-0.8</c:v>
                </c:pt>
                <c:pt idx="22">
                  <c:v>-0.1</c:v>
                </c:pt>
                <c:pt idx="23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B69-4062-A0F1-63F6D49D42FB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4">
                  <c:v>4.5999999999999996</c:v>
                </c:pt>
                <c:pt idx="25">
                  <c:v>0.5</c:v>
                </c:pt>
                <c:pt idx="26">
                  <c:v>24.4</c:v>
                </c:pt>
                <c:pt idx="27">
                  <c:v>23.599999999999998</c:v>
                </c:pt>
                <c:pt idx="28">
                  <c:v>12.5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4">
                  <c:v>-0.2</c:v>
                </c:pt>
                <c:pt idx="25">
                  <c:v>0</c:v>
                </c:pt>
                <c:pt idx="26">
                  <c:v>-0.6</c:v>
                </c:pt>
                <c:pt idx="27">
                  <c:v>0</c:v>
                </c:pt>
                <c:pt idx="28">
                  <c:v>-0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B69-4062-A0F1-63F6D49D4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75440"/>
        <c:axId val="1"/>
      </c:scatterChart>
      <c:valAx>
        <c:axId val="881875440"/>
        <c:scaling>
          <c:orientation val="minMax"/>
          <c:max val="50"/>
          <c:min val="-3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"/>
          <c:min val="-1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75440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60076045627375"/>
          <c:y val="3.6069193963930803E-2"/>
          <c:w val="0.79657794676806082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-12.9</c:v>
                </c:pt>
                <c:pt idx="1">
                  <c:v>-21.2</c:v>
                </c:pt>
                <c:pt idx="2">
                  <c:v>-3.4000000000000004</c:v>
                </c:pt>
                <c:pt idx="3">
                  <c:v>-3</c:v>
                </c:pt>
                <c:pt idx="4">
                  <c:v>-35.299999999999997</c:v>
                </c:pt>
                <c:pt idx="5">
                  <c:v>-12.2</c:v>
                </c:pt>
                <c:pt idx="6">
                  <c:v>-22.3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-0.5</c:v>
                </c:pt>
                <c:pt idx="1">
                  <c:v>-0.4</c:v>
                </c:pt>
                <c:pt idx="2">
                  <c:v>-0.1</c:v>
                </c:pt>
                <c:pt idx="3">
                  <c:v>-0.1</c:v>
                </c:pt>
                <c:pt idx="4">
                  <c:v>-2</c:v>
                </c:pt>
                <c:pt idx="5">
                  <c:v>-2.2999999999999998</c:v>
                </c:pt>
                <c:pt idx="6">
                  <c:v>-0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24E-4CE0-8FBD-AA63D3DA7BC3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7">
                  <c:v>9.1</c:v>
                </c:pt>
                <c:pt idx="8">
                  <c:v>7.1</c:v>
                </c:pt>
                <c:pt idx="9">
                  <c:v>8.9</c:v>
                </c:pt>
                <c:pt idx="10">
                  <c:v>28.599999999999998</c:v>
                </c:pt>
                <c:pt idx="11">
                  <c:v>13.200000000000001</c:v>
                </c:pt>
                <c:pt idx="12">
                  <c:v>22.2</c:v>
                </c:pt>
                <c:pt idx="13">
                  <c:v>25.7</c:v>
                </c:pt>
                <c:pt idx="14">
                  <c:v>13.200000000000001</c:v>
                </c:pt>
                <c:pt idx="15">
                  <c:v>64.8</c:v>
                </c:pt>
                <c:pt idx="16">
                  <c:v>15</c:v>
                </c:pt>
                <c:pt idx="17">
                  <c:v>16.2</c:v>
                </c:pt>
                <c:pt idx="18">
                  <c:v>13.5</c:v>
                </c:pt>
                <c:pt idx="19">
                  <c:v>9.6</c:v>
                </c:pt>
                <c:pt idx="20">
                  <c:v>11.799999999999999</c:v>
                </c:pt>
                <c:pt idx="21">
                  <c:v>4.9000000000000004</c:v>
                </c:pt>
                <c:pt idx="22">
                  <c:v>28.799999999999997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7">
                  <c:v>0.6</c:v>
                </c:pt>
                <c:pt idx="8">
                  <c:v>0.3</c:v>
                </c:pt>
                <c:pt idx="9">
                  <c:v>1</c:v>
                </c:pt>
                <c:pt idx="10">
                  <c:v>0</c:v>
                </c:pt>
                <c:pt idx="11">
                  <c:v>0.1</c:v>
                </c:pt>
                <c:pt idx="12">
                  <c:v>0</c:v>
                </c:pt>
                <c:pt idx="13">
                  <c:v>0.6</c:v>
                </c:pt>
                <c:pt idx="14">
                  <c:v>0</c:v>
                </c:pt>
                <c:pt idx="15">
                  <c:v>0.4</c:v>
                </c:pt>
                <c:pt idx="16">
                  <c:v>0</c:v>
                </c:pt>
                <c:pt idx="17">
                  <c:v>0</c:v>
                </c:pt>
                <c:pt idx="18">
                  <c:v>0.1</c:v>
                </c:pt>
                <c:pt idx="19">
                  <c:v>0.3</c:v>
                </c:pt>
                <c:pt idx="20">
                  <c:v>0.1</c:v>
                </c:pt>
                <c:pt idx="21">
                  <c:v>0.2</c:v>
                </c:pt>
                <c:pt idx="22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24E-4CE0-8FBD-AA63D3DA7BC3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3">
                  <c:v>-13.100000000000001</c:v>
                </c:pt>
                <c:pt idx="24">
                  <c:v>-2.1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3">
                  <c:v>0.2</c:v>
                </c:pt>
                <c:pt idx="24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24E-4CE0-8FBD-AA63D3DA7BC3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5">
                  <c:v>23.400000000000002</c:v>
                </c:pt>
                <c:pt idx="26">
                  <c:v>5.0999999999999996</c:v>
                </c:pt>
                <c:pt idx="27">
                  <c:v>13.200000000000001</c:v>
                </c:pt>
                <c:pt idx="28">
                  <c:v>12.2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5">
                  <c:v>0</c:v>
                </c:pt>
                <c:pt idx="26">
                  <c:v>-1.4000000000000001</c:v>
                </c:pt>
                <c:pt idx="27">
                  <c:v>-0.70000000000000007</c:v>
                </c:pt>
                <c:pt idx="28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24E-4CE0-8FBD-AA63D3DA7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8469983"/>
        <c:axId val="1"/>
      </c:scatterChart>
      <c:valAx>
        <c:axId val="2138469983"/>
        <c:scaling>
          <c:orientation val="minMax"/>
          <c:max val="80"/>
          <c:min val="-4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20"/>
      </c:valAx>
      <c:valAx>
        <c:axId val="1"/>
        <c:scaling>
          <c:orientation val="minMax"/>
          <c:max val="1"/>
          <c:min val="-2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38469983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60076045627375"/>
          <c:y val="3.6069193963930803E-2"/>
          <c:w val="0.79657794676806082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-5.8000000000000007</c:v>
                </c:pt>
                <c:pt idx="1">
                  <c:v>-16.5</c:v>
                </c:pt>
                <c:pt idx="2">
                  <c:v>-23.599999999999998</c:v>
                </c:pt>
                <c:pt idx="3">
                  <c:v>-10.4</c:v>
                </c:pt>
                <c:pt idx="4">
                  <c:v>-4.7</c:v>
                </c:pt>
                <c:pt idx="5">
                  <c:v>-7.7</c:v>
                </c:pt>
                <c:pt idx="6">
                  <c:v>-4</c:v>
                </c:pt>
                <c:pt idx="7">
                  <c:v>-24</c:v>
                </c:pt>
                <c:pt idx="8">
                  <c:v>-15.7</c:v>
                </c:pt>
                <c:pt idx="9">
                  <c:v>-6.8000000000000007</c:v>
                </c:pt>
                <c:pt idx="10">
                  <c:v>-22.2</c:v>
                </c:pt>
                <c:pt idx="11">
                  <c:v>-9.7000000000000011</c:v>
                </c:pt>
                <c:pt idx="12">
                  <c:v>-18.3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-0.3</c:v>
                </c:pt>
                <c:pt idx="1">
                  <c:v>-0.2</c:v>
                </c:pt>
                <c:pt idx="2">
                  <c:v>-0.8</c:v>
                </c:pt>
                <c:pt idx="3">
                  <c:v>-0.2</c:v>
                </c:pt>
                <c:pt idx="4">
                  <c:v>-0.2</c:v>
                </c:pt>
                <c:pt idx="5">
                  <c:v>-0.2</c:v>
                </c:pt>
                <c:pt idx="6">
                  <c:v>-0.3</c:v>
                </c:pt>
                <c:pt idx="7">
                  <c:v>-1</c:v>
                </c:pt>
                <c:pt idx="8">
                  <c:v>-0.8</c:v>
                </c:pt>
                <c:pt idx="9">
                  <c:v>-0.70000000000000007</c:v>
                </c:pt>
                <c:pt idx="10">
                  <c:v>-0.4</c:v>
                </c:pt>
                <c:pt idx="11">
                  <c:v>-0.5</c:v>
                </c:pt>
                <c:pt idx="12">
                  <c:v>-0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F9F-4FF9-9FF4-277CE8ACBF87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3">
                  <c:v>13.8</c:v>
                </c:pt>
                <c:pt idx="14">
                  <c:v>10.8</c:v>
                </c:pt>
                <c:pt idx="15">
                  <c:v>9.4</c:v>
                </c:pt>
                <c:pt idx="16">
                  <c:v>33</c:v>
                </c:pt>
                <c:pt idx="17">
                  <c:v>10.299999999999999</c:v>
                </c:pt>
                <c:pt idx="18">
                  <c:v>3.9</c:v>
                </c:pt>
                <c:pt idx="19">
                  <c:v>16.100000000000001</c:v>
                </c:pt>
                <c:pt idx="20">
                  <c:v>4.3999999999999995</c:v>
                </c:pt>
                <c:pt idx="21">
                  <c:v>10.100000000000001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3">
                  <c:v>0.8</c:v>
                </c:pt>
                <c:pt idx="14">
                  <c:v>0.2</c:v>
                </c:pt>
                <c:pt idx="15">
                  <c:v>0.5</c:v>
                </c:pt>
                <c:pt idx="16">
                  <c:v>3</c:v>
                </c:pt>
                <c:pt idx="17">
                  <c:v>0.2</c:v>
                </c:pt>
                <c:pt idx="18">
                  <c:v>0</c:v>
                </c:pt>
                <c:pt idx="19">
                  <c:v>0.4</c:v>
                </c:pt>
                <c:pt idx="20">
                  <c:v>0.70000000000000007</c:v>
                </c:pt>
                <c:pt idx="21">
                  <c:v>1.09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F9F-4FF9-9FF4-277CE8ACBF87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2">
                  <c:v>7.0000000000000009</c:v>
                </c:pt>
                <c:pt idx="23">
                  <c:v>7.3</c:v>
                </c:pt>
                <c:pt idx="24">
                  <c:v>14.799999999999999</c:v>
                </c:pt>
                <c:pt idx="25">
                  <c:v>34.699999999999996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2">
                  <c:v>-0.1</c:v>
                </c:pt>
                <c:pt idx="23">
                  <c:v>-0.4</c:v>
                </c:pt>
                <c:pt idx="24">
                  <c:v>-0.6</c:v>
                </c:pt>
                <c:pt idx="25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F9F-4FF9-9FF4-277CE8ACBF87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6">
                  <c:v>-1.3</c:v>
                </c:pt>
                <c:pt idx="27">
                  <c:v>-3.6999999999999997</c:v>
                </c:pt>
                <c:pt idx="28">
                  <c:v>-1.0999999999999999</c:v>
                </c:pt>
              </c:numCache>
            </c:numRef>
          </c:xVal>
          <c:yVal>
            <c:numRef>
              <c:f>Sheet1!$E$1:$E$29</c:f>
              <c:numCache>
                <c:formatCode>General</c:formatCode>
                <c:ptCount val="29"/>
                <c:pt idx="26">
                  <c:v>0.89999999999999991</c:v>
                </c:pt>
                <c:pt idx="27">
                  <c:v>0.4</c:v>
                </c:pt>
                <c:pt idx="28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F9F-4FF9-9FF4-277CE8ACBF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44240"/>
        <c:axId val="1"/>
      </c:scatterChart>
      <c:valAx>
        <c:axId val="881844240"/>
        <c:scaling>
          <c:orientation val="minMax"/>
          <c:max val="40"/>
          <c:min val="-3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3"/>
          <c:min val="-1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44240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34841628959276"/>
          <c:y val="3.6069193963930803E-2"/>
          <c:w val="0.78996983408748112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diamond"/>
            <c:size val="6"/>
            <c:spPr>
              <a:solidFill>
                <a:srgbClr val="808080"/>
              </a:solidFill>
              <a:ln w="9525" cmpd="sng" algn="ctr">
                <a:solidFill>
                  <a:srgbClr val="808080"/>
                </a:solidFill>
                <a:prstDash val="solid"/>
              </a:ln>
            </c:spPr>
          </c:marker>
          <c:xVal>
            <c:numRef>
              <c:f>Sheet1!$A$1:$A$28</c:f>
              <c:numCache>
                <c:formatCode>General</c:formatCode>
                <c:ptCount val="28"/>
                <c:pt idx="0">
                  <c:v>-2.6</c:v>
                </c:pt>
                <c:pt idx="1">
                  <c:v>-0.1</c:v>
                </c:pt>
                <c:pt idx="2">
                  <c:v>-5</c:v>
                </c:pt>
                <c:pt idx="3">
                  <c:v>-10.5</c:v>
                </c:pt>
                <c:pt idx="4">
                  <c:v>-4.7</c:v>
                </c:pt>
                <c:pt idx="5">
                  <c:v>-8.1</c:v>
                </c:pt>
                <c:pt idx="6">
                  <c:v>-0.2</c:v>
                </c:pt>
              </c:numCache>
            </c:numRef>
          </c:xVal>
          <c:yVal>
            <c:numRef>
              <c:f>Sheet1!$B$1:$B$28</c:f>
              <c:numCache>
                <c:formatCode>General</c:formatCode>
                <c:ptCount val="28"/>
                <c:pt idx="0">
                  <c:v>0.1</c:v>
                </c:pt>
                <c:pt idx="1">
                  <c:v>0.4</c:v>
                </c:pt>
                <c:pt idx="2">
                  <c:v>0.3</c:v>
                </c:pt>
                <c:pt idx="3">
                  <c:v>0.2</c:v>
                </c:pt>
                <c:pt idx="4">
                  <c:v>0.4</c:v>
                </c:pt>
                <c:pt idx="5">
                  <c:v>0.5</c:v>
                </c:pt>
                <c:pt idx="6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932-4DD7-AA4D-36F6A1D3C300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8</c:f>
              <c:numCache>
                <c:formatCode>General</c:formatCode>
                <c:ptCount val="28"/>
                <c:pt idx="7">
                  <c:v>20.9</c:v>
                </c:pt>
                <c:pt idx="8">
                  <c:v>13.3</c:v>
                </c:pt>
                <c:pt idx="9">
                  <c:v>23.9</c:v>
                </c:pt>
                <c:pt idx="10">
                  <c:v>40.1</c:v>
                </c:pt>
                <c:pt idx="11">
                  <c:v>17.100000000000001</c:v>
                </c:pt>
                <c:pt idx="12">
                  <c:v>143.70000000000002</c:v>
                </c:pt>
              </c:numCache>
            </c:numRef>
          </c:xVal>
          <c:yVal>
            <c:numRef>
              <c:f>Sheet1!$C$1:$C$28</c:f>
              <c:numCache>
                <c:formatCode>General</c:formatCode>
                <c:ptCount val="28"/>
                <c:pt idx="7">
                  <c:v>1.2</c:v>
                </c:pt>
                <c:pt idx="8">
                  <c:v>1.6</c:v>
                </c:pt>
                <c:pt idx="9">
                  <c:v>0.4</c:v>
                </c:pt>
                <c:pt idx="10">
                  <c:v>2.1</c:v>
                </c:pt>
                <c:pt idx="11">
                  <c:v>0.6</c:v>
                </c:pt>
                <c:pt idx="12">
                  <c:v>1.70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932-4DD7-AA4D-36F6A1D3C300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8</c:f>
              <c:numCache>
                <c:formatCode>General</c:formatCode>
                <c:ptCount val="28"/>
                <c:pt idx="13">
                  <c:v>-59.3</c:v>
                </c:pt>
                <c:pt idx="14">
                  <c:v>-3.5000000000000004</c:v>
                </c:pt>
                <c:pt idx="15">
                  <c:v>-7.9</c:v>
                </c:pt>
                <c:pt idx="16">
                  <c:v>-3.1</c:v>
                </c:pt>
                <c:pt idx="17">
                  <c:v>-19.400000000000002</c:v>
                </c:pt>
                <c:pt idx="18">
                  <c:v>-30.599999999999998</c:v>
                </c:pt>
                <c:pt idx="19">
                  <c:v>-22.3</c:v>
                </c:pt>
                <c:pt idx="20">
                  <c:v>-35.299999999999997</c:v>
                </c:pt>
                <c:pt idx="21">
                  <c:v>-21.5</c:v>
                </c:pt>
                <c:pt idx="22">
                  <c:v>-53.5</c:v>
                </c:pt>
                <c:pt idx="23">
                  <c:v>-14.2</c:v>
                </c:pt>
                <c:pt idx="24">
                  <c:v>-42.199999999999996</c:v>
                </c:pt>
                <c:pt idx="25">
                  <c:v>-39</c:v>
                </c:pt>
              </c:numCache>
            </c:numRef>
          </c:xVal>
          <c:yVal>
            <c:numRef>
              <c:f>Sheet1!$D$1:$D$28</c:f>
              <c:numCache>
                <c:formatCode>General</c:formatCode>
                <c:ptCount val="28"/>
                <c:pt idx="13">
                  <c:v>-1.2</c:v>
                </c:pt>
                <c:pt idx="14">
                  <c:v>0</c:v>
                </c:pt>
                <c:pt idx="15">
                  <c:v>-0.2</c:v>
                </c:pt>
                <c:pt idx="16">
                  <c:v>-0.3</c:v>
                </c:pt>
                <c:pt idx="17">
                  <c:v>0</c:v>
                </c:pt>
                <c:pt idx="18">
                  <c:v>-0.8</c:v>
                </c:pt>
                <c:pt idx="19">
                  <c:v>-0.1</c:v>
                </c:pt>
                <c:pt idx="20">
                  <c:v>-1</c:v>
                </c:pt>
                <c:pt idx="21">
                  <c:v>-1.5</c:v>
                </c:pt>
                <c:pt idx="22">
                  <c:v>-0.4</c:v>
                </c:pt>
                <c:pt idx="23">
                  <c:v>-0.2</c:v>
                </c:pt>
                <c:pt idx="24">
                  <c:v>-0.1</c:v>
                </c:pt>
                <c:pt idx="25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932-4DD7-AA4D-36F6A1D3C300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8</c:f>
              <c:numCache>
                <c:formatCode>General</c:formatCode>
                <c:ptCount val="28"/>
                <c:pt idx="26">
                  <c:v>13.700000000000001</c:v>
                </c:pt>
                <c:pt idx="27">
                  <c:v>103.3</c:v>
                </c:pt>
              </c:numCache>
            </c:numRef>
          </c:xVal>
          <c:yVal>
            <c:numRef>
              <c:f>Sheet1!$E$1:$E$28</c:f>
              <c:numCache>
                <c:formatCode>General</c:formatCode>
                <c:ptCount val="28"/>
                <c:pt idx="26">
                  <c:v>-0.3</c:v>
                </c:pt>
                <c:pt idx="27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932-4DD7-AA4D-36F6A1D3C3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28880"/>
        <c:axId val="1"/>
      </c:scatterChart>
      <c:valAx>
        <c:axId val="881828880"/>
        <c:scaling>
          <c:orientation val="minMax"/>
          <c:max val="150"/>
          <c:min val="-75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25"/>
      </c:valAx>
      <c:valAx>
        <c:axId val="1"/>
        <c:scaling>
          <c:orientation val="minMax"/>
          <c:max val="2.5"/>
          <c:min val="-1.5"/>
        </c:scaling>
        <c:delete val="0"/>
        <c:axPos val="l"/>
        <c:majorGridlines>
          <c:spPr>
            <a:ln>
              <a:noFill/>
            </a:ln>
          </c:spPr>
        </c:majorGridlines>
        <c:numFmt formatCode="#,##0.0&quot;%&quot;;&quot;-&quot;#,##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28880"/>
        <c:crosses val="min"/>
        <c:crossBetween val="midCat"/>
        <c:majorUnit val="0.5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32449297971919"/>
          <c:y val="3.6069193963930803E-2"/>
          <c:w val="0.81708268330733225"/>
          <c:h val="0.8770702981229296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6"/>
            <c:spPr>
              <a:solidFill>
                <a:srgbClr val="703E97"/>
              </a:solidFill>
              <a:ln w="9525" cmpd="sng" algn="ctr">
                <a:solidFill>
                  <a:srgbClr val="703E97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0">
                  <c:v>-14.499999999999998</c:v>
                </c:pt>
                <c:pt idx="1">
                  <c:v>-25.900000000000002</c:v>
                </c:pt>
                <c:pt idx="2">
                  <c:v>-27.700000000000003</c:v>
                </c:pt>
                <c:pt idx="3">
                  <c:v>-10.199999999999999</c:v>
                </c:pt>
                <c:pt idx="4">
                  <c:v>-6.4</c:v>
                </c:pt>
                <c:pt idx="5">
                  <c:v>-12</c:v>
                </c:pt>
                <c:pt idx="6">
                  <c:v>-4.8</c:v>
                </c:pt>
                <c:pt idx="7">
                  <c:v>-2.9000000000000004</c:v>
                </c:pt>
                <c:pt idx="8">
                  <c:v>-0.5</c:v>
                </c:pt>
                <c:pt idx="9">
                  <c:v>-18.399999999999999</c:v>
                </c:pt>
                <c:pt idx="10">
                  <c:v>-14.000000000000002</c:v>
                </c:pt>
                <c:pt idx="11">
                  <c:v>-14.399999999999999</c:v>
                </c:pt>
                <c:pt idx="12">
                  <c:v>-9.6</c:v>
                </c:pt>
                <c:pt idx="13">
                  <c:v>-9.1</c:v>
                </c:pt>
                <c:pt idx="14">
                  <c:v>-9.7000000000000011</c:v>
                </c:pt>
              </c:numCache>
            </c:numRef>
          </c:xVal>
          <c:yVal>
            <c:numRef>
              <c:f>Sheet1!$B$1:$B$29</c:f>
              <c:numCache>
                <c:formatCode>General</c:formatCode>
                <c:ptCount val="29"/>
                <c:pt idx="0">
                  <c:v>-2</c:v>
                </c:pt>
                <c:pt idx="1">
                  <c:v>-0.6</c:v>
                </c:pt>
                <c:pt idx="2">
                  <c:v>-0.89999999999999991</c:v>
                </c:pt>
                <c:pt idx="3">
                  <c:v>-0.89999999999999991</c:v>
                </c:pt>
                <c:pt idx="4">
                  <c:v>-0.89999999999999991</c:v>
                </c:pt>
                <c:pt idx="5">
                  <c:v>0</c:v>
                </c:pt>
                <c:pt idx="6">
                  <c:v>-0.1</c:v>
                </c:pt>
                <c:pt idx="7">
                  <c:v>-0.6</c:v>
                </c:pt>
                <c:pt idx="8">
                  <c:v>-0.6</c:v>
                </c:pt>
                <c:pt idx="9">
                  <c:v>-1.2</c:v>
                </c:pt>
                <c:pt idx="10">
                  <c:v>-0.4</c:v>
                </c:pt>
                <c:pt idx="11">
                  <c:v>-1.2</c:v>
                </c:pt>
                <c:pt idx="12">
                  <c:v>-0.4</c:v>
                </c:pt>
                <c:pt idx="13">
                  <c:v>-1.7000000000000002</c:v>
                </c:pt>
                <c:pt idx="14">
                  <c:v>-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1E8-42FC-A2DF-CC625C39977F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triangle"/>
            <c:size val="6"/>
            <c:spPr>
              <a:solidFill>
                <a:srgbClr val="B78FCA"/>
              </a:solidFill>
              <a:ln w="9525" cmpd="sng" algn="ctr">
                <a:solidFill>
                  <a:srgbClr val="B78FCA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15">
                  <c:v>9</c:v>
                </c:pt>
                <c:pt idx="16">
                  <c:v>19.7</c:v>
                </c:pt>
                <c:pt idx="17">
                  <c:v>11.4</c:v>
                </c:pt>
                <c:pt idx="18">
                  <c:v>3.8</c:v>
                </c:pt>
                <c:pt idx="19">
                  <c:v>27.1</c:v>
                </c:pt>
                <c:pt idx="20">
                  <c:v>23.7</c:v>
                </c:pt>
                <c:pt idx="21">
                  <c:v>11.700000000000001</c:v>
                </c:pt>
              </c:numCache>
            </c:numRef>
          </c:xVal>
          <c:yVal>
            <c:numRef>
              <c:f>Sheet1!$C$1:$C$29</c:f>
              <c:numCache>
                <c:formatCode>General</c:formatCode>
                <c:ptCount val="29"/>
                <c:pt idx="15">
                  <c:v>-0.1</c:v>
                </c:pt>
                <c:pt idx="16">
                  <c:v>-0.2</c:v>
                </c:pt>
                <c:pt idx="17">
                  <c:v>-0.1</c:v>
                </c:pt>
                <c:pt idx="18">
                  <c:v>-0.3</c:v>
                </c:pt>
                <c:pt idx="19">
                  <c:v>-0.6</c:v>
                </c:pt>
                <c:pt idx="20">
                  <c:v>-0.5</c:v>
                </c:pt>
                <c:pt idx="21">
                  <c:v>-0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1E8-42FC-A2DF-CC625C39977F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xVal>
            <c:numRef>
              <c:f>Sheet1!$A$1:$A$29</c:f>
              <c:numCache>
                <c:formatCode>General</c:formatCode>
                <c:ptCount val="29"/>
                <c:pt idx="22">
                  <c:v>1</c:v>
                </c:pt>
                <c:pt idx="23">
                  <c:v>17.299999999999997</c:v>
                </c:pt>
                <c:pt idx="24">
                  <c:v>39</c:v>
                </c:pt>
                <c:pt idx="25">
                  <c:v>2.2999999999999998</c:v>
                </c:pt>
                <c:pt idx="26">
                  <c:v>36.199999999999996</c:v>
                </c:pt>
                <c:pt idx="27">
                  <c:v>16.7</c:v>
                </c:pt>
                <c:pt idx="28">
                  <c:v>15.5</c:v>
                </c:pt>
              </c:numCache>
            </c:numRef>
          </c:xVal>
          <c:yVal>
            <c:numRef>
              <c:f>Sheet1!$D$1:$D$29</c:f>
              <c:numCache>
                <c:formatCode>General</c:formatCode>
                <c:ptCount val="29"/>
                <c:pt idx="22">
                  <c:v>0.3</c:v>
                </c:pt>
                <c:pt idx="23">
                  <c:v>4.7</c:v>
                </c:pt>
                <c:pt idx="24">
                  <c:v>0.2</c:v>
                </c:pt>
                <c:pt idx="25">
                  <c:v>1</c:v>
                </c:pt>
                <c:pt idx="26">
                  <c:v>0.2</c:v>
                </c:pt>
                <c:pt idx="27">
                  <c:v>1.0999999999999999</c:v>
                </c:pt>
                <c:pt idx="28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1E8-42FC-A2DF-CC625C399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25040"/>
        <c:axId val="1"/>
      </c:scatterChart>
      <c:valAx>
        <c:axId val="881825040"/>
        <c:scaling>
          <c:orientation val="minMax"/>
          <c:max val="40"/>
          <c:min val="-3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5"/>
          <c:min val="-2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81825040"/>
        <c:crosses val="min"/>
        <c:crossBetween val="midCat"/>
        <c:majorUnit val="1"/>
      </c:valAx>
      <c:spPr>
        <a:noFill/>
        <a:ln w="9525" cmpd="sng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2D-44FA-9E12-39B93EFDF804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2D-44FA-9E12-39B93EFDF804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5551011009.8779278</c:v>
                </c:pt>
                <c:pt idx="1">
                  <c:v>5551011009.8779278</c:v>
                </c:pt>
                <c:pt idx="2">
                  <c:v>5399417071.5339785</c:v>
                </c:pt>
                <c:pt idx="3">
                  <c:v>5711716910.5238543</c:v>
                </c:pt>
                <c:pt idx="4">
                  <c:v>5826411163.7035532</c:v>
                </c:pt>
                <c:pt idx="5">
                  <c:v>5856972032.3240786</c:v>
                </c:pt>
                <c:pt idx="6">
                  <c:v>5994592800.0329657</c:v>
                </c:pt>
                <c:pt idx="7">
                  <c:v>5856387829.6675549</c:v>
                </c:pt>
                <c:pt idx="8">
                  <c:v>5842543592.2313747</c:v>
                </c:pt>
                <c:pt idx="9">
                  <c:v>5891092266.7591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2D-44FA-9E12-39B93EFDF804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42D-44FA-9E12-39B93EFDF804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42D-44FA-9E12-39B93EFDF804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42D-44FA-9E12-39B93EFDF804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42D-44FA-9E12-39B93EFDF804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5008697.2433137894</c:v>
                </c:pt>
                <c:pt idx="2">
                  <c:v>427413475.95143318</c:v>
                </c:pt>
                <c:pt idx="3">
                  <c:v>80975934.144985199</c:v>
                </c:pt>
                <c:pt idx="4">
                  <c:v>70468858.876041412</c:v>
                </c:pt>
                <c:pt idx="5">
                  <c:v>24189967.895305634</c:v>
                </c:pt>
                <c:pt idx="6">
                  <c:v>1573254.9774999619</c:v>
                </c:pt>
                <c:pt idx="7">
                  <c:v>139257428.8365984</c:v>
                </c:pt>
                <c:pt idx="8">
                  <c:v>16954785.914099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42D-44FA-9E12-39B93EFDF804}"/>
            </c:ext>
          </c:extLst>
        </c:ser>
        <c:ser>
          <c:idx val="2"/>
          <c:order val="2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142D-44FA-9E12-39B93EFDF804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142D-44FA-9E12-39B93EFDF804}"/>
              </c:ext>
            </c:extLst>
          </c:dPt>
          <c:dPt>
            <c:idx val="5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142D-44FA-9E12-39B93EFDF804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142D-44FA-9E12-39B93EFDF804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270810840.36417103</c:v>
                </c:pt>
                <c:pt idx="2">
                  <c:v>393275773.13486099</c:v>
                </c:pt>
                <c:pt idx="3">
                  <c:v>185163112.05574036</c:v>
                </c:pt>
                <c:pt idx="4">
                  <c:v>54750836.515831947</c:v>
                </c:pt>
                <c:pt idx="5">
                  <c:v>139194022.68638611</c:v>
                </c:pt>
                <c:pt idx="6">
                  <c:v>1052458.4711894989</c:v>
                </c:pt>
                <c:pt idx="7">
                  <c:v>3110548.4779186249</c:v>
                </c:pt>
                <c:pt idx="8">
                  <c:v>48548674.527741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42D-44FA-9E12-39B93EFDF8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4084832"/>
        <c:axId val="1"/>
      </c:barChart>
      <c:catAx>
        <c:axId val="784084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20106320.6202726"/>
          <c:min val="53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784084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490-44B2-8B04-2E9AFCF2D8DA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490-44B2-8B04-2E9AFCF2D8DA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2475452995.6418805</c:v>
                </c:pt>
                <c:pt idx="1">
                  <c:v>2475452995.6418805</c:v>
                </c:pt>
                <c:pt idx="2">
                  <c:v>2427635923.1076393</c:v>
                </c:pt>
                <c:pt idx="3">
                  <c:v>2517450373.2580271</c:v>
                </c:pt>
                <c:pt idx="4">
                  <c:v>2561838386.3478308</c:v>
                </c:pt>
                <c:pt idx="5">
                  <c:v>2577648636.3242149</c:v>
                </c:pt>
                <c:pt idx="6">
                  <c:v>2637621991.1848593</c:v>
                </c:pt>
                <c:pt idx="7">
                  <c:v>2577685246.1524649</c:v>
                </c:pt>
                <c:pt idx="8">
                  <c:v>2572584014.4577198</c:v>
                </c:pt>
                <c:pt idx="9">
                  <c:v>2596928891.2060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90-44B2-8B04-2E9AFCF2D8DA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490-44B2-8B04-2E9AFCF2D8DA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490-44B2-8B04-2E9AFCF2D8DA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490-44B2-8B04-2E9AFCF2D8DA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490-44B2-8B04-2E9AFCF2D8DA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569679.27688074112</c:v>
                </c:pt>
                <c:pt idx="2">
                  <c:v>167195529.51809978</c:v>
                </c:pt>
                <c:pt idx="3">
                  <c:v>64767467.495054722</c:v>
                </c:pt>
                <c:pt idx="4">
                  <c:v>31358138.497003555</c:v>
                </c:pt>
                <c:pt idx="5">
                  <c:v>11807102.927091599</c:v>
                </c:pt>
                <c:pt idx="6">
                  <c:v>3062908.5904998779</c:v>
                </c:pt>
                <c:pt idx="7">
                  <c:v>60814949.981208801</c:v>
                </c:pt>
                <c:pt idx="8">
                  <c:v>8284432.8710999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490-44B2-8B04-2E9AFCF2D8DA}"/>
            </c:ext>
          </c:extLst>
        </c:ser>
        <c:ser>
          <c:idx val="2"/>
          <c:order val="2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A490-44B2-8B04-2E9AFCF2D8DA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490-44B2-8B04-2E9AFCF2D8DA}"/>
              </c:ext>
            </c:extLst>
          </c:dPt>
          <c:dPt>
            <c:idx val="5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A490-44B2-8B04-2E9AFCF2D8DA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490-44B2-8B04-2E9AFCF2D8DA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118808777.70697784</c:v>
                </c:pt>
                <c:pt idx="2">
                  <c:v>154581917.64544296</c:v>
                </c:pt>
                <c:pt idx="3">
                  <c:v>75746151.586807251</c:v>
                </c:pt>
                <c:pt idx="4">
                  <c:v>27617352.903476238</c:v>
                </c:pt>
                <c:pt idx="5">
                  <c:v>63036263.451144218</c:v>
                </c:pt>
                <c:pt idx="6">
                  <c:v>878204.94881439209</c:v>
                </c:pt>
                <c:pt idx="7">
                  <c:v>3183201.1763548851</c:v>
                </c:pt>
                <c:pt idx="8">
                  <c:v>24344876.748313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490-44B2-8B04-2E9AFCF2D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8264512"/>
        <c:axId val="1"/>
      </c:barChart>
      <c:catAx>
        <c:axId val="808264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49413370.2711821"/>
          <c:min val="24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808264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5B6-4421-B039-141A3470663D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5B6-4421-B039-141A3470663D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587662359.68864095</c:v>
                </c:pt>
                <c:pt idx="1">
                  <c:v>587546947.41271079</c:v>
                </c:pt>
                <c:pt idx="2">
                  <c:v>592318113.34269893</c:v>
                </c:pt>
                <c:pt idx="3">
                  <c:v>574124569.37330067</c:v>
                </c:pt>
                <c:pt idx="4">
                  <c:v>576827017.66108572</c:v>
                </c:pt>
                <c:pt idx="7">
                  <c:v>575242806.92516053</c:v>
                </c:pt>
                <c:pt idx="8">
                  <c:v>582354177.80146682</c:v>
                </c:pt>
                <c:pt idx="9">
                  <c:v>589911291.25561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B6-4421-B039-141A3470663D}"/>
            </c:ext>
          </c:extLst>
        </c:ser>
        <c:ser>
          <c:idx val="1"/>
          <c:order val="1"/>
          <c:spPr>
            <a:solidFill>
              <a:srgbClr val="5395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5B6-4421-B039-141A3470663D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5B6-4421-B039-141A3470663D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5B6-4421-B039-141A3470663D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115412.27593016624</c:v>
                </c:pt>
                <c:pt idx="2">
                  <c:v>4208767.9535079002</c:v>
                </c:pt>
                <c:pt idx="3">
                  <c:v>23038789.653306365</c:v>
                </c:pt>
                <c:pt idx="4">
                  <c:v>11449441.00573504</c:v>
                </c:pt>
                <c:pt idx="7">
                  <c:v>31740074.474795222</c:v>
                </c:pt>
                <c:pt idx="8">
                  <c:v>2218142.792552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5B6-4421-B039-141A3470663D}"/>
            </c:ext>
          </c:extLst>
        </c:ser>
        <c:ser>
          <c:idx val="2"/>
          <c:order val="2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5B6-4421-B039-141A3470663D}"/>
              </c:ext>
            </c:extLst>
          </c:dPt>
          <c:dPt>
            <c:idx val="3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5B6-4421-B039-141A3470663D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5B6-4421-B039-141A3470663D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4771165.9299881458</c:v>
                </c:pt>
                <c:pt idx="2">
                  <c:v>636477.73040008545</c:v>
                </c:pt>
                <c:pt idx="3">
                  <c:v>14151889.293520093</c:v>
                </c:pt>
                <c:pt idx="4">
                  <c:v>30155863.738870144</c:v>
                </c:pt>
                <c:pt idx="7">
                  <c:v>7111370.8763062954</c:v>
                </c:pt>
                <c:pt idx="8">
                  <c:v>5338970.6615999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5B6-4421-B039-141A34706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12751327"/>
        <c:axId val="1"/>
      </c:barChart>
      <c:catAx>
        <c:axId val="21127513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18432322.40569091"/>
          <c:min val="57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21127513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44508670520228E-3"/>
          <c:y val="2.8477546549835708E-2"/>
          <c:w val="0.98497109826589591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A61-4F5F-A3CC-D7E2F9FCC0EE}"/>
              </c:ext>
            </c:extLst>
          </c:dPt>
          <c:dPt>
            <c:idx val="9"/>
            <c:invertIfNegative val="0"/>
            <c:bubble3D val="0"/>
            <c:spPr>
              <a:solidFill>
                <a:srgbClr val="2A27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A61-4F5F-A3CC-D7E2F9FCC0EE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300632761.813066</c:v>
                </c:pt>
                <c:pt idx="1">
                  <c:v>1300632761.813066</c:v>
                </c:pt>
                <c:pt idx="2">
                  <c:v>1300632761.8130655</c:v>
                </c:pt>
                <c:pt idx="3">
                  <c:v>1188120089.0993812</c:v>
                </c:pt>
                <c:pt idx="4">
                  <c:v>1122976201.8613145</c:v>
                </c:pt>
                <c:pt idx="5">
                  <c:v>1282643763.8984694</c:v>
                </c:pt>
                <c:pt idx="6">
                  <c:v>1300433027.6402066</c:v>
                </c:pt>
                <c:pt idx="7">
                  <c:v>1303964237.8951616</c:v>
                </c:pt>
                <c:pt idx="8">
                  <c:v>1318732031.5368092</c:v>
                </c:pt>
                <c:pt idx="9">
                  <c:v>1324120601.9111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61-4F5F-A3CC-D7E2F9FCC0EE}"/>
            </c:ext>
          </c:extLst>
        </c:ser>
        <c:ser>
          <c:idx val="1"/>
          <c:order val="1"/>
          <c:spPr>
            <a:solidFill>
              <a:srgbClr val="CF80B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A61-4F5F-A3CC-D7E2F9FCC0EE}"/>
              </c:ext>
            </c:extLst>
          </c:dPt>
          <c:dPt>
            <c:idx val="2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A61-4F5F-A3CC-D7E2F9FCC0EE}"/>
              </c:ext>
            </c:extLst>
          </c:dPt>
          <c:dPt>
            <c:idx val="3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A61-4F5F-A3CC-D7E2F9FCC0EE}"/>
              </c:ext>
            </c:extLst>
          </c:dPt>
          <c:dPt>
            <c:idx val="5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A61-4F5F-A3CC-D7E2F9FCC0EE}"/>
              </c:ext>
            </c:extLst>
          </c:dPt>
          <c:dPt>
            <c:idx val="7"/>
            <c:invertIfNegative val="0"/>
            <c:bubble3D val="0"/>
            <c:spPr>
              <a:solidFill>
                <a:srgbClr val="703E9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A61-4F5F-A3CC-D7E2F9FCC0EE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0</c:v>
                </c:pt>
                <c:pt idx="2">
                  <c:v>0</c:v>
                </c:pt>
                <c:pt idx="3">
                  <c:v>112512672.71368456</c:v>
                </c:pt>
                <c:pt idx="4">
                  <c:v>151559879.56797981</c:v>
                </c:pt>
                <c:pt idx="5">
                  <c:v>3863821.6603748798</c:v>
                </c:pt>
                <c:pt idx="6">
                  <c:v>26189541.585600138</c:v>
                </c:pt>
                <c:pt idx="7">
                  <c:v>22854116.577950001</c:v>
                </c:pt>
                <c:pt idx="8">
                  <c:v>8164834.4643399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A61-4F5F-A3CC-D7E2F9FCC0EE}"/>
            </c:ext>
          </c:extLst>
        </c:ser>
        <c:ser>
          <c:idx val="2"/>
          <c:order val="2"/>
          <c:spPr>
            <a:solidFill>
              <a:srgbClr val="703E97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CF80B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1A61-4F5F-A3CC-D7E2F9FCC0EE}"/>
              </c:ext>
            </c:extLst>
          </c:dPt>
          <c:dPt>
            <c:idx val="4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1A61-4F5F-A3CC-D7E2F9FCC0EE}"/>
              </c:ext>
            </c:extLst>
          </c:dPt>
          <c:dPt>
            <c:idx val="6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1A61-4F5F-A3CC-D7E2F9FCC0EE}"/>
              </c:ext>
            </c:extLst>
          </c:dPt>
          <c:dPt>
            <c:idx val="7"/>
            <c:invertIfNegative val="0"/>
            <c:bubble3D val="0"/>
            <c:spPr>
              <a:solidFill>
                <a:srgbClr val="B78FC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1A61-4F5F-A3CC-D7E2F9FCC0EE}"/>
              </c:ext>
            </c:extLst>
          </c:dPt>
          <c:dPt>
            <c:idx val="8"/>
            <c:invertIfNegative val="0"/>
            <c:bubble3D val="0"/>
            <c:spPr>
              <a:solidFill>
                <a:srgbClr val="539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1A61-4F5F-A3CC-D7E2F9FCC0EE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1">
                  <c:v>0</c:v>
                </c:pt>
                <c:pt idx="2">
                  <c:v>0</c:v>
                </c:pt>
                <c:pt idx="3">
                  <c:v>86415992.329913139</c:v>
                </c:pt>
                <c:pt idx="4">
                  <c:v>159667562.03715539</c:v>
                </c:pt>
                <c:pt idx="5">
                  <c:v>40114983.666962385</c:v>
                </c:pt>
                <c:pt idx="6">
                  <c:v>26385326.832904816</c:v>
                </c:pt>
                <c:pt idx="7">
                  <c:v>22932628.105988264</c:v>
                </c:pt>
                <c:pt idx="8">
                  <c:v>5388570.374327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A61-4F5F-A3CC-D7E2F9FCC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8267392"/>
        <c:axId val="1"/>
      </c:barChart>
      <c:catAx>
        <c:axId val="808267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34203643.4664497"/>
          <c:min val="110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808267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6.7096774193548384E-2"/>
          <c:w val="0.97465269315135272"/>
          <c:h val="0.865806451612903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A276E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028943481.4046006</c:v>
                </c:pt>
                <c:pt idx="1">
                  <c:v>384222910.47360015</c:v>
                </c:pt>
                <c:pt idx="2">
                  <c:v>477939424.47609991</c:v>
                </c:pt>
                <c:pt idx="3">
                  <c:v>745551410.38859999</c:v>
                </c:pt>
                <c:pt idx="4">
                  <c:v>622947040.92350018</c:v>
                </c:pt>
                <c:pt idx="5">
                  <c:v>441574449.76569998</c:v>
                </c:pt>
                <c:pt idx="6">
                  <c:v>700849050.57549989</c:v>
                </c:pt>
                <c:pt idx="7">
                  <c:v>628414671.96599996</c:v>
                </c:pt>
                <c:pt idx="8">
                  <c:v>651160990.69810021</c:v>
                </c:pt>
                <c:pt idx="9">
                  <c:v>702822392.76230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C-4F38-BC96-38F245C6EDC6}"/>
            </c:ext>
          </c:extLst>
        </c:ser>
        <c:ser>
          <c:idx val="1"/>
          <c:order val="1"/>
          <c:spPr>
            <a:solidFill>
              <a:srgbClr val="703E97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802707668.83237088</c:v>
                </c:pt>
                <c:pt idx="1">
                  <c:v>489970470.92547488</c:v>
                </c:pt>
                <c:pt idx="2">
                  <c:v>621350872.89272177</c:v>
                </c:pt>
                <c:pt idx="3">
                  <c:v>725341628.97624111</c:v>
                </c:pt>
                <c:pt idx="4">
                  <c:v>619293515.553653</c:v>
                </c:pt>
                <c:pt idx="5">
                  <c:v>509670108.24337894</c:v>
                </c:pt>
                <c:pt idx="6">
                  <c:v>713714854.93359089</c:v>
                </c:pt>
                <c:pt idx="7">
                  <c:v>603654440.69829202</c:v>
                </c:pt>
                <c:pt idx="8">
                  <c:v>659389548.31639481</c:v>
                </c:pt>
                <c:pt idx="9">
                  <c:v>691578491.847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EC-4F38-BC96-38F245C6E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40780784"/>
        <c:axId val="1"/>
      </c:barChart>
      <c:lineChart>
        <c:grouping val="standard"/>
        <c:varyColors val="0"/>
        <c:ser>
          <c:idx val="2"/>
          <c:order val="2"/>
          <c:spPr>
            <a:ln w="9525" cmpd="sng" algn="ctr">
              <a:solidFill>
                <a:srgbClr val="2A276E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2A276E"/>
              </a:solidFill>
              <a:ln w="9525" cmpd="sng" algn="ctr">
                <a:solidFill>
                  <a:srgbClr val="2A276E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EC-4F38-BC96-38F245C6EDC6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A5EC-4F38-BC96-38F245C6EDC6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A5EC-4F38-BC96-38F245C6EDC6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A5EC-4F38-BC96-38F245C6EDC6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A5EC-4F38-BC96-38F245C6EDC6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A5EC-4F38-BC96-38F245C6EDC6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A5EC-4F38-BC96-38F245C6EDC6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A5EC-4F38-BC96-38F245C6EDC6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A5EC-4F38-BC96-38F245C6EDC6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A5EC-4F38-BC96-38F245C6EDC6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78.012804720488887</c:v>
                </c:pt>
                <c:pt idx="1">
                  <c:v>91.473880725381775</c:v>
                </c:pt>
                <c:pt idx="2">
                  <c:v>101.21215830959997</c:v>
                </c:pt>
                <c:pt idx="3">
                  <c:v>100.10291117314716</c:v>
                </c:pt>
                <c:pt idx="4">
                  <c:v>99.971158753985478</c:v>
                </c:pt>
                <c:pt idx="5">
                  <c:v>101.81443678132717</c:v>
                </c:pt>
                <c:pt idx="6">
                  <c:v>101.81782934063702</c:v>
                </c:pt>
                <c:pt idx="7">
                  <c:v>101.09853401050768</c:v>
                </c:pt>
                <c:pt idx="8">
                  <c:v>101.11746058089297</c:v>
                </c:pt>
                <c:pt idx="9">
                  <c:v>100.81833165943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A5EC-4F38-BC96-38F245C6E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740780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28943481.404600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740780784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1.8178293406370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2F2F2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23087852237745E-2"/>
          <c:y val="0.18818818818818819"/>
          <c:w val="0.96495382429552445"/>
          <c:h val="0.694694694694694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668-4980-BBEE-74319844EB73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668-4980-BBEE-74319844EB73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668-4980-BBEE-74319844EB73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668-4980-BBEE-74319844EB73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668-4980-BBEE-74319844EB73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668-4980-BBEE-74319844E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.6322738790024978</c:v>
                </c:pt>
                <c:pt idx="1">
                  <c:v>1.8241574049920921</c:v>
                </c:pt>
                <c:pt idx="2">
                  <c:v>1.130885860692975</c:v>
                </c:pt>
                <c:pt idx="3">
                  <c:v>0.73946773010428712</c:v>
                </c:pt>
                <c:pt idx="4">
                  <c:v>0.72749837647342774</c:v>
                </c:pt>
                <c:pt idx="5">
                  <c:v>0.97481897385439997</c:v>
                </c:pt>
                <c:pt idx="6">
                  <c:v>0.80523868741687854</c:v>
                </c:pt>
                <c:pt idx="7">
                  <c:v>0.67489484606580441</c:v>
                </c:pt>
                <c:pt idx="8">
                  <c:v>0.89188688397369098</c:v>
                </c:pt>
                <c:pt idx="9">
                  <c:v>0.89341090318332905</c:v>
                </c:pt>
                <c:pt idx="10">
                  <c:v>0.83197961141894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668-4980-BBEE-74319844EB73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7.50750750750750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668-4980-BBEE-74319844EB73}"/>
                </c:ext>
              </c:extLst>
            </c:dLbl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668-4980-BBEE-74319844EB73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668-4980-BBEE-74319844EB73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668-4980-BBEE-74319844EB73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668-4980-BBEE-74319844EB73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668-4980-BBEE-74319844EB73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668-4980-BBEE-74319844E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.1520527989121581</c:v>
                </c:pt>
                <c:pt idx="1">
                  <c:v>2.9440089777606961</c:v>
                </c:pt>
                <c:pt idx="2">
                  <c:v>2.16982894557156</c:v>
                </c:pt>
                <c:pt idx="3">
                  <c:v>1.6817973653761911</c:v>
                </c:pt>
                <c:pt idx="4">
                  <c:v>1.6454903391644979</c:v>
                </c:pt>
                <c:pt idx="5">
                  <c:v>1.7360456513317726</c:v>
                </c:pt>
                <c:pt idx="6">
                  <c:v>1.0715511649778622</c:v>
                </c:pt>
                <c:pt idx="7">
                  <c:v>1.1710578371893714</c:v>
                </c:pt>
                <c:pt idx="8">
                  <c:v>1.0423464911043663</c:v>
                </c:pt>
                <c:pt idx="9">
                  <c:v>0.89003816216370635</c:v>
                </c:pt>
                <c:pt idx="10">
                  <c:v>0.8431123494318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7668-4980-BBEE-74319844EB73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668-4980-BBEE-74319844EB73}"/>
                </c:ext>
              </c:extLst>
            </c:dLbl>
            <c:dLbl>
              <c:idx val="2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668-4980-BBEE-74319844EB73}"/>
                </c:ext>
              </c:extLst>
            </c:dLbl>
            <c:dLbl>
              <c:idx val="3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668-4980-BBEE-74319844EB73}"/>
                </c:ext>
              </c:extLst>
            </c:dLbl>
            <c:dLbl>
              <c:idx val="4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668-4980-BBEE-74319844EB73}"/>
                </c:ext>
              </c:extLst>
            </c:dLbl>
            <c:dLbl>
              <c:idx val="5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668-4980-BBEE-74319844EB73}"/>
                </c:ext>
              </c:extLst>
            </c:dLbl>
            <c:dLbl>
              <c:idx val="6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668-4980-BBEE-74319844EB73}"/>
                </c:ext>
              </c:extLst>
            </c:dLbl>
            <c:dLbl>
              <c:idx val="7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668-4980-BBEE-74319844EB73}"/>
                </c:ext>
              </c:extLst>
            </c:dLbl>
            <c:dLbl>
              <c:idx val="8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668-4980-BBEE-74319844EB73}"/>
                </c:ext>
              </c:extLst>
            </c:dLbl>
            <c:dLbl>
              <c:idx val="9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668-4980-BBEE-74319844EB73}"/>
                </c:ext>
              </c:extLst>
            </c:dLbl>
            <c:dLbl>
              <c:idx val="10"/>
              <c:layout>
                <c:manualLayout>
                  <c:x val="0"/>
                  <c:y val="-7.207207207207207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668-4980-BBEE-74319844E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0.94870884430633617</c:v>
                </c:pt>
                <c:pt idx="1">
                  <c:v>4.4866737620064088</c:v>
                </c:pt>
                <c:pt idx="2">
                  <c:v>3.3068228810763554</c:v>
                </c:pt>
                <c:pt idx="3">
                  <c:v>2.1745753348790506</c:v>
                </c:pt>
                <c:pt idx="4">
                  <c:v>2.6467712748507326</c:v>
                </c:pt>
                <c:pt idx="5">
                  <c:v>2.86155011653902</c:v>
                </c:pt>
                <c:pt idx="6">
                  <c:v>1.5056680160704572</c:v>
                </c:pt>
                <c:pt idx="7">
                  <c:v>1.6886834458596742</c:v>
                </c:pt>
                <c:pt idx="8">
                  <c:v>1.3844638342245836</c:v>
                </c:pt>
                <c:pt idx="9">
                  <c:v>0.82547877627813948</c:v>
                </c:pt>
                <c:pt idx="10">
                  <c:v>0.76556981541732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7668-4980-BBEE-74319844E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425487"/>
        <c:axId val="1"/>
      </c:lineChart>
      <c:catAx>
        <c:axId val="51425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F2F2F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486673762006408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42548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86978508217446E-2"/>
          <c:y val="7.8668683812405452E-2"/>
          <c:w val="0.93426042983565105"/>
          <c:h val="0.8426626323751891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983-4F78-B0BA-47FBF9B81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983-4F78-B0BA-47FBF9B810D4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26793546.39906597</c:v>
                </c:pt>
                <c:pt idx="1">
                  <c:v>54967915.195465088</c:v>
                </c:pt>
                <c:pt idx="2">
                  <c:v>54967915.195465088</c:v>
                </c:pt>
                <c:pt idx="3">
                  <c:v>174547768.61294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83-4F78-B0BA-47FBF9B810D4}"/>
            </c:ext>
          </c:extLst>
        </c:ser>
        <c:ser>
          <c:idx val="1"/>
          <c:order val="1"/>
          <c:spPr>
            <a:solidFill>
              <a:srgbClr val="808080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BF0BF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983-4F78-B0BA-47FBF9B810D4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171825631.20360088</c:v>
                </c:pt>
                <c:pt idx="2">
                  <c:v>119579853.41748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83-4F78-B0BA-47FBF9B81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84895856"/>
        <c:axId val="1"/>
      </c:barChart>
      <c:catAx>
        <c:axId val="684895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6793546.399065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4895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17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B68F7B-B8C9-4DA0-A277-54736FA0D6E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D0F5C8-44C7-4D56-970A-BBD2016AE4C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C91E0B-225D-4558-AA2B-C64212812988}" type="datetimeFigureOut">
              <a:rPr lang="zh-CN" altLang="en-US" smtClean="0"/>
              <a:t>2025/11/2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1A3B86-20D4-4B1A-B043-BCED6A3851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EFAA1C-ED3C-43ED-AE73-92125E6FA0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D5564F-378B-409B-913B-405065534E2B}" type="slidenum">
              <a:rPr lang="zh-CN" altLang="en-US" smtClean="0"/>
              <a:t>‹#›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2805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16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BC3326-2740-43F5-8414-1C60ABCCC06B}" type="datetimeFigureOut">
              <a:rPr lang="zh-CN" altLang="en-US" smtClean="0"/>
              <a:t>2025/11/26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FD138C-6EEB-491F-9F54-72693351AA8B}" type="slidenum">
              <a:rPr lang="zh-CN" altLang="en-US" smtClean="0"/>
              <a:t>‹#›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901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渠道购进总毛销售额</a:t>
            </a:r>
            <a:r>
              <a:rPr lang="en-US" altLang="zh-CN" dirty="0"/>
              <a:t>133.75</a:t>
            </a:r>
            <a:r>
              <a:rPr lang="zh-CN" altLang="en-US" dirty="0"/>
              <a:t>亿元，同比增长</a:t>
            </a:r>
            <a:r>
              <a:rPr lang="en-US" altLang="zh-CN" dirty="0"/>
              <a:t>5.6%</a:t>
            </a:r>
            <a:r>
              <a:rPr lang="zh-CN" altLang="en-US" dirty="0"/>
              <a:t>。</a:t>
            </a:r>
            <a:r>
              <a:rPr lang="zh-CN" altLang="en-US" sz="1200" dirty="0"/>
              <a:t>生意增长的最大贡献仍然来自</a:t>
            </a:r>
            <a:r>
              <a:rPr lang="en-US" altLang="zh-CN" sz="1200" dirty="0"/>
              <a:t>CV</a:t>
            </a:r>
            <a:r>
              <a:rPr lang="zh-CN" altLang="en-US" sz="1200" dirty="0"/>
              <a:t>，</a:t>
            </a:r>
            <a:r>
              <a:rPr lang="en-US" altLang="zh-CN" sz="1200" dirty="0"/>
              <a:t>CV YTD</a:t>
            </a:r>
            <a:r>
              <a:rPr lang="zh-CN" altLang="en-US" sz="1200" dirty="0"/>
              <a:t>同比增长</a:t>
            </a:r>
            <a:r>
              <a:rPr lang="en-US" altLang="zh-CN" sz="1200" dirty="0"/>
              <a:t>5.4%</a:t>
            </a:r>
            <a:r>
              <a:rPr lang="zh-CN" altLang="en-US" sz="1200" dirty="0"/>
              <a:t>（立</a:t>
            </a:r>
            <a:r>
              <a:rPr lang="en-US" altLang="zh-CN" sz="1200" dirty="0"/>
              <a:t>+5.9%</a:t>
            </a:r>
            <a:r>
              <a:rPr lang="zh-CN" altLang="en-US" sz="1200" dirty="0"/>
              <a:t>、络</a:t>
            </a:r>
            <a:r>
              <a:rPr lang="en-US" altLang="zh-CN" sz="1200" dirty="0"/>
              <a:t>+4.3%</a:t>
            </a:r>
            <a:r>
              <a:rPr lang="zh-CN" altLang="en-US" sz="1200" dirty="0"/>
              <a:t>），拉动整体生意</a:t>
            </a:r>
            <a:r>
              <a:rPr lang="en-US" altLang="zh-CN" sz="1200" dirty="0"/>
              <a:t>3.7%</a:t>
            </a:r>
            <a:r>
              <a:rPr lang="zh-CN" altLang="en-US" sz="1200" dirty="0"/>
              <a:t>的增长。</a:t>
            </a:r>
            <a:r>
              <a:rPr lang="en-US" altLang="zh-CN" sz="1200" dirty="0"/>
              <a:t>Non-VBP</a:t>
            </a:r>
            <a:r>
              <a:rPr lang="zh-CN" altLang="en-US" sz="1200" dirty="0"/>
              <a:t>产品继续保持</a:t>
            </a:r>
            <a:r>
              <a:rPr lang="en-US" altLang="zh-CN" sz="1200" dirty="0"/>
              <a:t>20%</a:t>
            </a:r>
            <a:r>
              <a:rPr lang="zh-CN" altLang="en-US" sz="1200" dirty="0"/>
              <a:t>以上增长，拉动整体生意</a:t>
            </a:r>
            <a:r>
              <a:rPr lang="en-US" altLang="zh-CN" sz="1200" dirty="0"/>
              <a:t>1.9%</a:t>
            </a:r>
            <a:r>
              <a:rPr lang="zh-CN" altLang="en-US" sz="1200" dirty="0"/>
              <a:t>增长。</a:t>
            </a:r>
            <a:r>
              <a:rPr lang="en-US" altLang="zh-CN" sz="1200" dirty="0"/>
              <a:t>CV</a:t>
            </a:r>
            <a:r>
              <a:rPr lang="zh-CN" altLang="en-US" sz="1200" dirty="0"/>
              <a:t>和</a:t>
            </a:r>
            <a:r>
              <a:rPr lang="en-US" altLang="zh-CN" sz="1200" dirty="0"/>
              <a:t>Non-VBP</a:t>
            </a:r>
            <a:r>
              <a:rPr lang="zh-CN" altLang="en-US" sz="1200" dirty="0"/>
              <a:t>产品增长贡献较</a:t>
            </a:r>
            <a:r>
              <a:rPr lang="en-US" altLang="zh-CN" sz="1200" dirty="0"/>
              <a:t>9</a:t>
            </a:r>
            <a:r>
              <a:rPr lang="zh-CN" altLang="en-US" sz="1200" dirty="0"/>
              <a:t>月</a:t>
            </a:r>
            <a:r>
              <a:rPr lang="en-US" altLang="zh-CN" sz="1200" dirty="0"/>
              <a:t>YTD</a:t>
            </a:r>
            <a:r>
              <a:rPr lang="zh-CN" altLang="en-US" sz="1200" dirty="0"/>
              <a:t>进一步扩大。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7024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从品类分布看，</a:t>
            </a:r>
            <a:r>
              <a:rPr lang="en-US" altLang="zh-CN" dirty="0"/>
              <a:t>CV</a:t>
            </a:r>
            <a:r>
              <a:rPr lang="zh-CN" altLang="en-US" dirty="0"/>
              <a:t>产品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毛销售额</a:t>
            </a:r>
            <a:r>
              <a:rPr lang="en-US" altLang="zh-CN" dirty="0"/>
              <a:t>92.78</a:t>
            </a:r>
            <a:r>
              <a:rPr lang="zh-CN" altLang="en-US" dirty="0"/>
              <a:t>亿元（同比增长</a:t>
            </a:r>
            <a:r>
              <a:rPr lang="en-US" altLang="zh-CN" dirty="0"/>
              <a:t>+5.4%</a:t>
            </a:r>
            <a:r>
              <a:rPr lang="zh-CN" altLang="en-US" dirty="0"/>
              <a:t>），</a:t>
            </a:r>
            <a:r>
              <a:rPr lang="en-US" altLang="zh-CN" dirty="0"/>
              <a:t>ED</a:t>
            </a:r>
            <a:r>
              <a:rPr lang="zh-CN" altLang="en-US" dirty="0"/>
              <a:t>毛销售额</a:t>
            </a:r>
            <a:r>
              <a:rPr lang="en-US" altLang="zh-CN" dirty="0"/>
              <a:t>14.90</a:t>
            </a:r>
            <a:r>
              <a:rPr lang="zh-CN" altLang="en-US" dirty="0"/>
              <a:t>亿元（</a:t>
            </a:r>
            <a:r>
              <a:rPr lang="en-US" altLang="zh-CN" dirty="0"/>
              <a:t>+0.5%</a:t>
            </a:r>
            <a:r>
              <a:rPr lang="zh-CN" altLang="en-US" dirty="0"/>
              <a:t>），</a:t>
            </a:r>
            <a:r>
              <a:rPr lang="en-US" altLang="zh-CN" dirty="0"/>
              <a:t>Pain</a:t>
            </a:r>
            <a:r>
              <a:rPr lang="zh-CN" altLang="en-US" dirty="0"/>
              <a:t>毛销售额</a:t>
            </a:r>
            <a:r>
              <a:rPr lang="en-US" altLang="zh-CN" dirty="0"/>
              <a:t>8.69</a:t>
            </a:r>
            <a:r>
              <a:rPr lang="zh-CN" altLang="en-US" dirty="0"/>
              <a:t>亿元（</a:t>
            </a:r>
            <a:r>
              <a:rPr lang="en-US" altLang="zh-CN" dirty="0"/>
              <a:t>-6.6%</a:t>
            </a:r>
            <a:r>
              <a:rPr lang="zh-CN" altLang="en-US" dirty="0"/>
              <a:t>），</a:t>
            </a:r>
            <a:r>
              <a:rPr lang="en-US" altLang="zh-CN" dirty="0"/>
              <a:t>CNS</a:t>
            </a:r>
            <a:r>
              <a:rPr lang="zh-CN" altLang="en-US" dirty="0"/>
              <a:t>毛销售额</a:t>
            </a:r>
            <a:r>
              <a:rPr lang="en-US" altLang="zh-CN" dirty="0"/>
              <a:t>5.24</a:t>
            </a:r>
            <a:r>
              <a:rPr lang="zh-CN" altLang="en-US" dirty="0"/>
              <a:t>亿元（</a:t>
            </a:r>
            <a:r>
              <a:rPr lang="en-US" altLang="zh-CN" dirty="0"/>
              <a:t>+5.7%</a:t>
            </a:r>
            <a:r>
              <a:rPr lang="zh-CN" altLang="en-US" dirty="0"/>
              <a:t>），</a:t>
            </a:r>
            <a:r>
              <a:rPr lang="en-US" altLang="zh-CN" dirty="0"/>
              <a:t>Non-VBP</a:t>
            </a:r>
            <a:r>
              <a:rPr lang="zh-CN" altLang="en-US" dirty="0"/>
              <a:t>产品毛销售额</a:t>
            </a:r>
            <a:r>
              <a:rPr lang="en-US" altLang="zh-CN" dirty="0"/>
              <a:t>7.16</a:t>
            </a:r>
            <a:r>
              <a:rPr lang="zh-CN" altLang="en-US" dirty="0"/>
              <a:t>亿元（</a:t>
            </a:r>
            <a:r>
              <a:rPr lang="en-US" altLang="zh-CN" dirty="0"/>
              <a:t>+36.5%</a:t>
            </a:r>
            <a:r>
              <a:rPr lang="zh-CN" altLang="en-US" dirty="0"/>
              <a:t>），医疗自诊双属性产品毛销售额</a:t>
            </a:r>
            <a:r>
              <a:rPr lang="en-US" altLang="zh-CN" dirty="0"/>
              <a:t>3.45</a:t>
            </a:r>
            <a:r>
              <a:rPr lang="zh-CN" altLang="en-US" dirty="0"/>
              <a:t>亿元（</a:t>
            </a:r>
            <a:r>
              <a:rPr lang="en-US" altLang="zh-CN" dirty="0"/>
              <a:t>+20.6%</a:t>
            </a:r>
            <a:r>
              <a:rPr lang="zh-CN" altLang="en-US" dirty="0"/>
              <a:t>）。其中</a:t>
            </a:r>
            <a:r>
              <a:rPr lang="en-US" altLang="zh-CN" dirty="0"/>
              <a:t>CV</a:t>
            </a:r>
            <a:r>
              <a:rPr lang="zh-CN" altLang="en-US" dirty="0"/>
              <a:t>占比</a:t>
            </a:r>
            <a:r>
              <a:rPr lang="en-US" altLang="zh-CN" dirty="0"/>
              <a:t>69.4%</a:t>
            </a:r>
            <a:r>
              <a:rPr lang="zh-CN" altLang="en-US" dirty="0"/>
              <a:t>，较去年并未发生显著变化；</a:t>
            </a:r>
            <a:r>
              <a:rPr lang="en-US" altLang="zh-CN" dirty="0"/>
              <a:t>Non-VBP</a:t>
            </a:r>
            <a:r>
              <a:rPr lang="zh-CN" altLang="en-US" dirty="0"/>
              <a:t>生意占比提升，</a:t>
            </a:r>
            <a:r>
              <a:rPr lang="en-US" altLang="zh-CN" dirty="0"/>
              <a:t>4.1%</a:t>
            </a:r>
            <a:r>
              <a:rPr lang="zh-CN" altLang="en-US" dirty="0"/>
              <a:t>提升至</a:t>
            </a:r>
            <a:r>
              <a:rPr lang="en-US" altLang="zh-CN" dirty="0"/>
              <a:t>5.3%</a:t>
            </a:r>
            <a:r>
              <a:rPr lang="zh-CN" altLang="en-US" dirty="0"/>
              <a:t>；同时</a:t>
            </a:r>
            <a:r>
              <a:rPr lang="en-US" altLang="zh-CN" dirty="0"/>
              <a:t>Pain</a:t>
            </a:r>
            <a:r>
              <a:rPr lang="zh-CN" altLang="en-US" dirty="0"/>
              <a:t>产品生意占比显著下降，</a:t>
            </a:r>
            <a:r>
              <a:rPr lang="en-US" altLang="zh-CN" dirty="0"/>
              <a:t>7.3%</a:t>
            </a:r>
            <a:r>
              <a:rPr lang="zh-CN" altLang="en-US" dirty="0"/>
              <a:t>降至</a:t>
            </a:r>
            <a:r>
              <a:rPr lang="en-US" altLang="zh-CN" dirty="0"/>
              <a:t>6.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从渠道分布看，公立二三级医院毛销售额</a:t>
            </a:r>
            <a:r>
              <a:rPr lang="en-US" altLang="zh-CN" dirty="0"/>
              <a:t>36.73</a:t>
            </a:r>
            <a:r>
              <a:rPr lang="zh-CN" altLang="en-US" dirty="0"/>
              <a:t>亿元（</a:t>
            </a:r>
            <a:r>
              <a:rPr lang="en-US" altLang="zh-CN" dirty="0"/>
              <a:t>+8.9%</a:t>
            </a:r>
            <a:r>
              <a:rPr lang="zh-CN" altLang="en-US" dirty="0"/>
              <a:t>），公立一级医院及</a:t>
            </a:r>
            <a:r>
              <a:rPr lang="en-US" altLang="zh-CN" dirty="0"/>
              <a:t>CHC</a:t>
            </a:r>
            <a:r>
              <a:rPr lang="zh-CN" altLang="en-US" dirty="0"/>
              <a:t>毛销售额</a:t>
            </a:r>
            <a:r>
              <a:rPr lang="en-US" altLang="zh-CN" dirty="0"/>
              <a:t>14.41</a:t>
            </a:r>
            <a:r>
              <a:rPr lang="zh-CN" altLang="en-US" dirty="0"/>
              <a:t>亿元（</a:t>
            </a:r>
            <a:r>
              <a:rPr lang="en-US" altLang="zh-CN" dirty="0"/>
              <a:t>+4.7%</a:t>
            </a:r>
            <a:r>
              <a:rPr lang="zh-CN" altLang="en-US" dirty="0"/>
              <a:t>），民营医院毛销售额</a:t>
            </a:r>
            <a:r>
              <a:rPr lang="en-US" altLang="zh-CN" dirty="0"/>
              <a:t>24.99</a:t>
            </a:r>
            <a:r>
              <a:rPr lang="zh-CN" altLang="en-US" dirty="0"/>
              <a:t>亿元（</a:t>
            </a:r>
            <a:r>
              <a:rPr lang="en-US" altLang="zh-CN" dirty="0"/>
              <a:t>-1.2%</a:t>
            </a:r>
            <a:r>
              <a:rPr lang="zh-CN" altLang="en-US" dirty="0"/>
              <a:t>），零售毛销售额</a:t>
            </a:r>
            <a:r>
              <a:rPr lang="en-US" altLang="zh-CN" dirty="0"/>
              <a:t>46.78</a:t>
            </a:r>
            <a:r>
              <a:rPr lang="zh-CN" altLang="en-US" dirty="0"/>
              <a:t>亿元（</a:t>
            </a:r>
            <a:r>
              <a:rPr lang="en-US" altLang="zh-CN" dirty="0"/>
              <a:t>+1.9%</a:t>
            </a:r>
            <a:r>
              <a:rPr lang="zh-CN" altLang="en-US" dirty="0"/>
              <a:t>），电商毛销售额</a:t>
            </a:r>
            <a:r>
              <a:rPr lang="en-US" altLang="zh-CN" dirty="0"/>
              <a:t>10.84</a:t>
            </a:r>
            <a:r>
              <a:rPr lang="zh-CN" altLang="en-US" dirty="0"/>
              <a:t>亿元（</a:t>
            </a:r>
            <a:r>
              <a:rPr lang="en-US" altLang="zh-CN" dirty="0"/>
              <a:t>+36.2%</a:t>
            </a:r>
            <a:r>
              <a:rPr lang="zh-CN" altLang="en-US" dirty="0"/>
              <a:t>）。民营整体增长疲软，生意占比不断下降（从</a:t>
            </a:r>
            <a:r>
              <a:rPr lang="en-US" altLang="zh-CN" dirty="0"/>
              <a:t>20.0%</a:t>
            </a:r>
            <a:r>
              <a:rPr lang="zh-CN" altLang="en-US" dirty="0"/>
              <a:t>降至</a:t>
            </a:r>
            <a:r>
              <a:rPr lang="en-US" altLang="zh-CN" dirty="0"/>
              <a:t>18.7%</a:t>
            </a:r>
            <a:r>
              <a:rPr lang="zh-CN" altLang="en-US" dirty="0"/>
              <a:t>）；公立二三级和电商生意占比均显著提升，公立二三级占比提升至</a:t>
            </a:r>
            <a:r>
              <a:rPr lang="en-US" altLang="zh-CN" dirty="0"/>
              <a:t>27.5%</a:t>
            </a:r>
            <a:r>
              <a:rPr lang="zh-CN" altLang="en-US" dirty="0"/>
              <a:t>，电商占比提升至</a:t>
            </a:r>
            <a:r>
              <a:rPr lang="en-US" altLang="zh-CN" dirty="0"/>
              <a:t>8.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6801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51F172-7496-ABCC-FEBA-5E10DAA32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8D22488-4FDF-EF8A-CACB-213D59D233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132541E-95F9-4396-4F04-4EB88049D2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6DD7109-4CB2-7C8B-F501-5EEA19A2EB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311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业务中心和电商团队</a:t>
            </a:r>
            <a:r>
              <a:rPr lang="en-US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团队业绩整体均达成。类消费品团队同比负增长（</a:t>
            </a:r>
            <a:r>
              <a:rPr lang="en-US" altLang="zh-CN" dirty="0"/>
              <a:t>-3.7%</a:t>
            </a:r>
            <a:r>
              <a:rPr lang="zh-CN" altLang="en-US" dirty="0"/>
              <a:t>），且</a:t>
            </a:r>
            <a:r>
              <a:rPr lang="en-US" altLang="zh-CN" dirty="0"/>
              <a:t>10</a:t>
            </a:r>
            <a:r>
              <a:rPr lang="zh-CN" altLang="en-US" dirty="0"/>
              <a:t>月业绩较过往月份有明显下滑（</a:t>
            </a:r>
            <a:r>
              <a:rPr lang="en-US" altLang="zh-CN" dirty="0"/>
              <a:t>vs 9</a:t>
            </a:r>
            <a:r>
              <a:rPr lang="zh-CN" altLang="en-US" dirty="0"/>
              <a:t>月</a:t>
            </a:r>
            <a:r>
              <a:rPr lang="en-US" altLang="zh-CN" dirty="0"/>
              <a:t>YTD</a:t>
            </a:r>
            <a:r>
              <a:rPr lang="zh-CN" altLang="en-US" dirty="0"/>
              <a:t>同比</a:t>
            </a:r>
            <a:r>
              <a:rPr lang="en-US" altLang="zh-CN" dirty="0"/>
              <a:t>-1.5%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350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6520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12167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283B4-5D01-95EE-C7C2-3FBA0B74F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5776B79-C942-EDDA-91F7-8E96D16696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6A15C99-67BA-D69B-509F-1FB9FF50B9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12011AE-2D82-C0D1-17D3-7A0E40F7B6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0991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7BEEA-20F9-41FE-5C1A-7631AC7D8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D409E41-0443-95B0-DAD4-17F7E3984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E16DE5A-63AC-E510-8518-59B596EE64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778369-9ACB-99DD-AE78-745F75A7E2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FD138C-6EEB-491F-9F54-72693351AA8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9246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4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7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4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7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9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0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1.xml"/><Relationship Id="rId4" Type="http://schemas.openxmlformats.org/officeDocument/2006/relationships/image" Target="../media/image2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1.png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9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0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4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2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6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9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1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2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3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4.xml"/><Relationship Id="rId4" Type="http://schemas.openxmlformats.org/officeDocument/2006/relationships/image" Target="../media/image2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9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emf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2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3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4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5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7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9.bin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0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1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5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6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7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9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0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1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2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4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5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6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6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9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0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1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9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2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5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6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0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3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5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6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7.xml"/><Relationship Id="rId4" Type="http://schemas.openxmlformats.org/officeDocument/2006/relationships/image" Target="../media/image2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5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6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7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8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8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9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0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1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2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3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14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5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6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5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6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5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7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8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0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2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2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5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6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7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8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9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0.xml"/><Relationship Id="rId4" Type="http://schemas.openxmlformats.org/officeDocument/2006/relationships/image" Target="../media/image2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emf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3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8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9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0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1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9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1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1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2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3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4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5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5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1.xml"/><Relationship Id="rId1" Type="http://schemas.openxmlformats.org/officeDocument/2006/relationships/tags" Target="../tags/tag46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5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6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47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9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0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1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2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6.xml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4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5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6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7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9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0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61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2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3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4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5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6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7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9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9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0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1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2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3.xml"/><Relationship Id="rId4" Type="http://schemas.openxmlformats.org/officeDocument/2006/relationships/image" Target="../media/image30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5.bin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0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5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5" Type="http://schemas.openxmlformats.org/officeDocument/2006/relationships/image" Target="../media/image20.emf"/><Relationship Id="rId4" Type="http://schemas.openxmlformats.org/officeDocument/2006/relationships/image" Target="../media/image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emf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6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7.xml"/><Relationship Id="rId6" Type="http://schemas.openxmlformats.org/officeDocument/2006/relationships/image" Target="../media/image20.emf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8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9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1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32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35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11DCB8-C4E6-7685-356A-A5BEC00F7910}"/>
              </a:ext>
            </a:extLst>
          </p:cNvPr>
          <p:cNvGrpSpPr/>
          <p:nvPr userDrawn="1"/>
        </p:nvGrpSpPr>
        <p:grpSpPr>
          <a:xfrm>
            <a:off x="-900" y="-1"/>
            <a:ext cx="12193800" cy="6858001"/>
            <a:chOff x="-600" y="-1"/>
            <a:chExt cx="12193800" cy="6858001"/>
          </a:xfrm>
        </p:grpSpPr>
        <p:sp>
          <p:nvSpPr>
            <p:cNvPr id="10" name="No fly zone">
              <a:extLst>
                <a:ext uri="{FF2B5EF4-FFF2-40B4-BE49-F238E27FC236}">
                  <a16:creationId xmlns:a16="http://schemas.microsoft.com/office/drawing/2014/main" id="{5E7F29F8-9C93-51C2-D7B9-45002928E374}"/>
                </a:ext>
              </a:extLst>
            </p:cNvPr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1" name="Baselines / anchors">
              <a:extLst>
                <a:ext uri="{FF2B5EF4-FFF2-40B4-BE49-F238E27FC236}">
                  <a16:creationId xmlns:a16="http://schemas.microsoft.com/office/drawing/2014/main" id="{57B02A94-109E-4E31-20E4-98AA300993DE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FA67EE9-668D-90C4-B5D5-BD716B5E23C1}"/>
                  </a:ext>
                </a:extLst>
              </p:cNvPr>
              <p:cNvCxnSpPr/>
              <p:nvPr userDrawn="1"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62D072B-4A64-3880-A47C-99C586510F36}"/>
                  </a:ext>
                </a:extLst>
              </p:cNvPr>
              <p:cNvCxnSpPr/>
              <p:nvPr userDrawn="1"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E942CC7-CD2B-E7C8-4BAF-6742CAFCB94A}"/>
                  </a:ext>
                </a:extLst>
              </p:cNvPr>
              <p:cNvCxnSpPr/>
              <p:nvPr userDrawn="1"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4104B34-EF96-8F09-8C5D-0DBA957BD88F}"/>
                  </a:ext>
                </a:extLst>
              </p:cNvPr>
              <p:cNvCxnSpPr/>
              <p:nvPr userDrawn="1"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CF298E3-4904-C315-ACB8-0308631004B3}"/>
                  </a:ext>
                </a:extLst>
              </p:cNvPr>
              <p:cNvCxnSpPr/>
              <p:nvPr userDrawn="1"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FBFC5ED-CE22-3C02-9284-CDA91DECBB16}"/>
                  </a:ext>
                </a:extLst>
              </p:cNvPr>
              <p:cNvCxnSpPr/>
              <p:nvPr userDrawn="1"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32363A4-D9A0-F4C8-8EEE-E517F6C6F0FA}"/>
                  </a:ext>
                </a:extLst>
              </p:cNvPr>
              <p:cNvCxnSpPr/>
              <p:nvPr userDrawn="1"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53D0B22-E2E0-6A2C-8BFA-AC983DDD6DCE}"/>
                  </a:ext>
                </a:extLst>
              </p:cNvPr>
              <p:cNvCxnSpPr/>
              <p:nvPr userDrawn="1"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829E675-63BD-5D94-E8CF-EAE71F725409}"/>
                  </a:ext>
                </a:extLst>
              </p:cNvPr>
              <p:cNvCxnSpPr/>
              <p:nvPr userDrawn="1"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5E133AE-18FE-C205-228D-80441B34A07D}"/>
                  </a:ext>
                </a:extLst>
              </p:cNvPr>
              <p:cNvCxnSpPr/>
              <p:nvPr userDrawn="1"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D248414-CA8C-6F76-5D81-76031BB60A5F}"/>
                  </a:ext>
                </a:extLst>
              </p:cNvPr>
              <p:cNvCxnSpPr/>
              <p:nvPr userDrawn="1"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C0BDC74-48F4-E1B3-5A77-78E31E649864}"/>
                  </a:ext>
                </a:extLst>
              </p:cNvPr>
              <p:cNvCxnSpPr/>
              <p:nvPr userDrawn="1"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B675847-7107-BCC8-FDCD-B9DB0B8012DF}"/>
                  </a:ext>
                </a:extLst>
              </p:cNvPr>
              <p:cNvCxnSpPr/>
              <p:nvPr userDrawn="1"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203CA51-46AC-CDAB-6EE1-798478438F44}"/>
                  </a:ext>
                </a:extLst>
              </p:cNvPr>
              <p:cNvCxnSpPr/>
              <p:nvPr userDrawn="1"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946C3BB-7499-D547-CCF5-DAAF1D8D0C8D}"/>
                  </a:ext>
                </a:extLst>
              </p:cNvPr>
              <p:cNvCxnSpPr/>
              <p:nvPr userDrawn="1"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A3D8B5E-4D93-6F8E-6553-B9E01F6671FC}"/>
                  </a:ext>
                </a:extLst>
              </p:cNvPr>
              <p:cNvCxnSpPr/>
              <p:nvPr userDrawn="1"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0A6A66B-1B13-C010-2ECD-EF3176CBAD99}"/>
                  </a:ext>
                </a:extLst>
              </p:cNvPr>
              <p:cNvCxnSpPr/>
              <p:nvPr userDrawn="1"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B8041CF-7D0A-F90A-6F67-EC239C825408}"/>
                  </a:ext>
                </a:extLst>
              </p:cNvPr>
              <p:cNvCxnSpPr/>
              <p:nvPr userDrawn="1"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321C791-2BDC-889B-EAA4-7E8161657EC0}"/>
                  </a:ext>
                </a:extLst>
              </p:cNvPr>
              <p:cNvCxnSpPr/>
              <p:nvPr userDrawn="1"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2CD6384D-B090-554A-F4BD-D1C12E157E7D}"/>
                  </a:ext>
                </a:extLst>
              </p:cNvPr>
              <p:cNvCxnSpPr/>
              <p:nvPr userDrawn="1"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utter space">
              <a:extLst>
                <a:ext uri="{FF2B5EF4-FFF2-40B4-BE49-F238E27FC236}">
                  <a16:creationId xmlns:a16="http://schemas.microsoft.com/office/drawing/2014/main" id="{79FC8412-DAA5-297D-7A1B-04F26E75DD50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6DCF3CB-B120-B090-B98F-AB073DD0577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E2C0907-17AA-1A1F-50F1-F53171E3D1C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DA76116-24A3-9FEE-B6C6-7602203BFDA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34AC4C4-7D51-C47C-0251-CE6B8052F2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A1D5232-8345-A403-53E8-B2DBA8ECFE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5629E95-69C7-948B-1BD7-B132672114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39841CF-2A52-0944-9EB4-68A3D46D7A6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F36CC3E-3416-80B7-B153-4EE7295999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6B7ADB2-21A1-67FC-C0BA-105D947A740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DCB82FE-52DE-F991-57A6-617C4787F0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D011830-734B-5751-AB23-9BF5CC91A5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  <p:sp>
          <p:nvSpPr>
            <p:cNvPr id="13" name="Slide edges">
              <a:extLst>
                <a:ext uri="{FF2B5EF4-FFF2-40B4-BE49-F238E27FC236}">
                  <a16:creationId xmlns:a16="http://schemas.microsoft.com/office/drawing/2014/main" id="{B44C5BE2-118A-AAF5-98A0-68B0FEAEB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Footnote measure">
              <a:extLst>
                <a:ext uri="{FF2B5EF4-FFF2-40B4-BE49-F238E27FC236}">
                  <a16:creationId xmlns:a16="http://schemas.microsoft.com/office/drawing/2014/main" id="{515ECEDD-CA05-6B19-20C7-5194C10AD4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" name="Whitespace measure">
              <a:extLst>
                <a:ext uri="{FF2B5EF4-FFF2-40B4-BE49-F238E27FC236}">
                  <a16:creationId xmlns:a16="http://schemas.microsoft.com/office/drawing/2014/main" id="{0DCC80F7-AC7B-2369-40D1-3010EFA480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grpSp>
          <p:nvGrpSpPr>
            <p:cNvPr id="16" name="Five column measure">
              <a:extLst>
                <a:ext uri="{FF2B5EF4-FFF2-40B4-BE49-F238E27FC236}">
                  <a16:creationId xmlns:a16="http://schemas.microsoft.com/office/drawing/2014/main" id="{D3941B83-28D3-9DEB-52C3-2FF45A364AE1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EED098A-9755-2D10-6DA1-5E3DFDFE3D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2B3DFE78-CB2B-F459-FF8C-F63E59F8FD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4601554-D4F5-53EA-2FCA-54C27BA305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1ECFA82A-D3A2-6725-72A4-8738ECBC97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99B5180-1907-0946-51EE-F306C78FE79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  <p:sp>
          <p:nvSpPr>
            <p:cNvPr id="17" name="Live area">
              <a:extLst>
                <a:ext uri="{FF2B5EF4-FFF2-40B4-BE49-F238E27FC236}">
                  <a16:creationId xmlns:a16="http://schemas.microsoft.com/office/drawing/2014/main" id="{5243D7A2-F653-F66C-69EE-4A4F3293E44D}"/>
                </a:ext>
              </a:extLst>
            </p:cNvPr>
            <p:cNvSpPr/>
            <p:nvPr userDrawn="1"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" name="Footnote example">
              <a:extLst>
                <a:ext uri="{FF2B5EF4-FFF2-40B4-BE49-F238E27FC236}">
                  <a16:creationId xmlns:a16="http://schemas.microsoft.com/office/drawing/2014/main" id="{81128875-E6D8-DA36-499D-2B32EF1F5A95}"/>
                </a:ext>
              </a:extLst>
            </p:cNvPr>
            <p:cNvSpPr txBox="1"/>
            <p:nvPr userDrawn="1"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302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78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903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173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149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719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7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26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7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29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58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941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1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562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3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26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90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48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4291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82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529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53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3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47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08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493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683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46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694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31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5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74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524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2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2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05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016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8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3531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13048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45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204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13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733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08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13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33064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569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32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1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81843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094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29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7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880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0127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4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3228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4801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74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8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078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13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4639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737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9710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49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20829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812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369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6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922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00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946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38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0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25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86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87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140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3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2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42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7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86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5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3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71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50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952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9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19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40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22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06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4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41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28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81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367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26565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776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6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12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6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44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72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11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29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45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117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98246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13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714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981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02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495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839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64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81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66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33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55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74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58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 hidden="1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92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904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75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123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5081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11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85241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733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53978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007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61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662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54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47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91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41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45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42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vert="horz"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4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17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47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746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5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08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922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31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38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88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74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92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499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394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08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59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96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44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413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47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39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64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7215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683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96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8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8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7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452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27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094371-F322-4EBE-A1DB-90A69D6D0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48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094371-F322-4EBE-A1DB-90A69D6D0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C2FAC5-EB4B-4B53-AB1A-C26ABE0CC2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9F178-28B4-4AE5-A56E-EAC2B860C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91E986-29DA-462F-BB31-F36B9FACAE09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AD038-E67C-438E-A1EB-C00D8D064A6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/>
          <a:lstStyle>
            <a:lvl1pPr>
              <a:defRPr sz="3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363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64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22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61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40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32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24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29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3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52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95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24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9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8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2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89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8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6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90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120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41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772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3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93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42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97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93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13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1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758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95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7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60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555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57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8387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75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6DF70-975B-49FD-AA3C-9F1686297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68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6DF70-975B-49FD-AA3C-9F1686297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6FD399-6C42-41E9-B8EB-BD2898F997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8DD80F8C-D483-496F-895F-04922974F95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C07011F-0803-4EC6-B0B8-E3062F7FB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47D3FB-9E74-49A8-90AB-7E315C8A0F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7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00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450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68555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640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5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606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96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381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86227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53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672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25505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442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01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32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42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99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0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EC3BC-5B52-4AEA-9AE3-4F49A2B41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5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EC3BC-5B52-4AEA-9AE3-4F49A2B41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5BF4B7-C918-41E8-AC5F-1390D55B1C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274666B7-4C0B-49CC-B98A-B53BA0B4A1D9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CE55F-408F-414C-BFB8-FD7C7125F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954EB-F71C-4A62-8B33-A451AA815C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68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115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369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354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410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76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65953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34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45333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564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75724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670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32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4639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19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35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856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21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934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4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775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50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875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22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696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55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986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835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87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62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62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14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85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8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22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610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63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09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85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143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766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3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085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15713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688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99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433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06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714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36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92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97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32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56261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2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8359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7994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6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572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877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836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27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72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76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440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3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280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1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666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51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570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91378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835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89845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125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40613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23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35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253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92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47343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" y="3606203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999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2" y="6286708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7" y="628670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9" y="6299524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2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94B70D-DA78-4133-AD7C-9C125CD35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8992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94B70D-DA78-4133-AD7C-9C125CD35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422DE-E497-4640-9587-B926C33238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00FE91-9FE3-469E-AA34-2AAE56D2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0A64C1-857E-4E72-AAAC-5EF1B30EB9D4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7FEE1-4DD6-4D61-9126-07B309A3F8D9}"/>
              </a:ext>
            </a:extLst>
          </p:cNvPr>
          <p:cNvSpPr txBox="1"/>
          <p:nvPr userDrawn="1"/>
        </p:nvSpPr>
        <p:spPr>
          <a:xfrm>
            <a:off x="2194561" y="6320069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375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753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8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7CE5A4-9DBE-452B-B1A7-06BD6A382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66461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7CE5A4-9DBE-452B-B1A7-06BD6A382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C5EC4D-38F6-49D9-A2A6-C238F53080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659" y="2681103"/>
            <a:ext cx="3609742" cy="1495794"/>
          </a:xfrm>
          <a:noFill/>
        </p:spPr>
        <p:txBody>
          <a:bodyPr vert="horz" wrap="square" lIns="0" tIns="45720" rIns="0" bIns="4572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4114F0-A2F8-44C7-A134-22D2C3572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2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36173E-B310-4716-9B29-7C07860DEF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608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36173E-B310-4716-9B29-7C07860DEF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75C06-1CBD-410C-85E9-A5EFF8E48A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44DB1742-E92F-4264-9F3A-838B06BDD28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4E7BCB-2F98-4DD2-BBA1-BE2E0EB7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1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D9BE4-1868-4C0C-A22A-94A6A325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21198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D9BE4-1868-4C0C-A22A-94A6A325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39EE4B-E046-4E43-9878-0CFB2DB898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54DB9121-3FDF-4E36-81FD-8CBE738A9BBA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030C99-BFBF-4F35-80E9-8AAE95B3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81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460BF9-A20F-4BA2-B465-4A56FB77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0007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460BF9-A20F-4BA2-B465-4A56FB77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F5F65-2BA7-4B14-B170-2E7A963CD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6E31529-EE77-49CA-B07E-2B5E28F191C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37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B8B3E8-71F9-4C0F-A77C-14E2A550B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6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B8B3E8-71F9-4C0F-A77C-14E2A550B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3278EB-19D4-47C1-BC41-6FEAB9C8A6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9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83A785AE-AE13-46D0-89AC-564515DF654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56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69775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3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61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04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06918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1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70641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6" y="3402836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48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032421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8" y="3394400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8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577453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1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50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3A7B4D-95CD-4AE1-AE8D-43D3327B7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909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3A7B4D-95CD-4AE1-AE8D-43D3327B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C53E5-9ED2-4E82-AFF1-90B69B12F7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804650"/>
            <a:ext cx="6404894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5BB9BD-9454-497B-B884-B1D29A012CA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23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099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9" y="622803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05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42408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9" y="622803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7" y="3407811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33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540371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362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60" y="622803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31" y="3407811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2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A2C5A-D5FE-2E65-8281-816B518D96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5106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04" imgH="405" progId="TCLayout.ActiveDocument.1">
                  <p:embed/>
                </p:oleObj>
              </mc:Choice>
              <mc:Fallback>
                <p:oleObj name="think-cell 幻灯片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A2C5A-D5FE-2E65-8281-816B518D9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4">
            <a:extLst>
              <a:ext uri="{FF2B5EF4-FFF2-40B4-BE49-F238E27FC236}">
                <a16:creationId xmlns:a16="http://schemas.microsoft.com/office/drawing/2014/main" id="{CF96D2AC-A8EA-AD27-3CCB-36162FB173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" b="955"/>
          <a:stretch/>
        </p:blipFill>
        <p:spPr>
          <a:xfrm>
            <a:off x="1527" y="0"/>
            <a:ext cx="12188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92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50033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60" y="2158995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60" y="1227056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1" y="6320069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53190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6847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0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99466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61" y="622808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550520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1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622808"/>
            <a:ext cx="825892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8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1418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9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32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3201F-7543-4E9D-BD53-2057C237D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067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3201F-7543-4E9D-BD53-2057C237D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02F41-4D3D-4AD9-AA0F-AE543CF32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C6AF482C-58D2-46E3-ADDE-9F2934DB4AC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2718F-D4A8-460A-ACD4-35F87AF70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8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081569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9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77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1192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60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36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192060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 hidden="1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97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35731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7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60" y="2764211"/>
            <a:ext cx="2635981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6" y="3402836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25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4579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8" y="3394400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8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5533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9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1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827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66781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622808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91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7396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1" y="0"/>
            <a:ext cx="7486650" cy="6858000"/>
          </a:xfrm>
          <a:prstGeom prst="homePlate">
            <a:avLst>
              <a:gd name="adj" fmla="val 1224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039575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23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41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433629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3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60" y="622808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7" y="3407811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4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01649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8" y="6299523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59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C96504-3966-4B1D-97BC-EDBCCA68D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C96504-3966-4B1D-97BC-EDBCCA68D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97963D-3312-4A48-9C17-3DF889A5F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B87B61E-F1D4-43EC-AFC9-7D8A45F155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0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18875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4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8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31" y="3407811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38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8302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9" y="2609193"/>
            <a:ext cx="2976742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96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966246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90" y="2786714"/>
            <a:ext cx="5749021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237985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61" y="3262151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26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055256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1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9" y="2609193"/>
            <a:ext cx="2976742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9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8CD941A-B4B4-2707-C20F-21A96E2CA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5394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95" imgH="396" progId="TCLayout.ActiveDocument.1">
                  <p:embed/>
                </p:oleObj>
              </mc:Choice>
              <mc:Fallback>
                <p:oleObj name="think-cell 幻灯片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CD941A-B4B4-2707-C20F-21A96E2CA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87906723-E6E7-4EE0-BA2A-AF7D64B86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12188952" cy="832104"/>
          </a:xfrm>
        </p:spPr>
        <p:txBody>
          <a:bodyPr vert="horz" lIns="360000" tIns="36000" rIns="360000" bIns="108000" anchor="b"/>
          <a:lstStyle>
            <a:lvl1pPr>
              <a:lnSpc>
                <a:spcPct val="100000"/>
              </a:lnSpc>
              <a:defRPr sz="32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B0ECAABD-2977-17D2-80F1-7F1E359C306B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829963"/>
            <a:ext cx="12192000" cy="0"/>
          </a:xfrm>
          <a:prstGeom prst="line">
            <a:avLst/>
          </a:prstGeom>
          <a:ln w="38100" cap="flat" cmpd="sng" algn="ctr">
            <a:solidFill>
              <a:srgbClr val="5C4A8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254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7341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2091447" y="-1309"/>
            <a:ext cx="1010055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193756" y="134311"/>
            <a:ext cx="9582912" cy="442159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 b="1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B0BA4C8-164C-3FA1-14BA-E0C19BEB2CD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194658" y="576470"/>
            <a:ext cx="9582010" cy="541687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50000"/>
              <a:buFont typeface="Wingdings" panose="05000000000000000000" pitchFamily="2" charset="2"/>
              <a:buChar char="n"/>
              <a:defRPr sz="1400">
                <a:solidFill>
                  <a:schemeClr val="tx2"/>
                </a:solidFill>
                <a:latin typeface="+mn-ea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67" indent="0" algn="ctr">
              <a:buNone/>
              <a:defRPr sz="2000"/>
            </a:lvl2pPr>
            <a:lvl3pPr marL="914331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3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368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99683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20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429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CBC27E-9BC6-4846-9145-7D850EE5D2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7A03F1EB-2132-4238-97D0-5427A2F3E8F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B6CC4A4-59F2-4B7F-A44E-AE1FE721CF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5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004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vert="horz"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1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663192-C1D4-47D8-9B83-FA528821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53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663192-C1D4-47D8-9B83-FA528821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6BC054-CCE5-4E78-A0E8-DC22E988F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2EACF901-2471-4635-A064-C84B3FB0471E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5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CA221-254A-4377-A964-767461649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67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CA221-254A-4377-A964-767461649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FD763D-F21A-4F01-871B-2A472B89A6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F0055CB-782B-4CC0-AF89-DE41D5324DC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81805A-3194-489F-A82B-841A9133D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3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89FA9-37D4-48A4-87E0-F2517B31D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221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89FA9-37D4-48A4-87E0-F2517B31D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1D6A43-8617-443A-B09E-B1F636589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83098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3DE233AF-5611-4D70-A973-87FF4CFBA71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3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6CDC6-32B5-4797-86DC-72C5A4B6B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68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6CDC6-32B5-4797-86DC-72C5A4B6B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E06BB4-54B2-42BE-93F6-A8392AC44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381278A5-2F2B-41F8-A9A9-96CA71AB5E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F5C2C-32BB-4842-AD59-AC1F2CD0A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99332F-3EDF-4319-AC87-D52E33391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36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99332F-3EDF-4319-AC87-D52E3339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BCF8EE-B3BC-4130-8C1A-42A864EBDA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4142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C4815D1C-F1FB-4507-9CB7-6F40560C5B2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20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1DDBE9-65FD-4988-9128-A621DD77E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500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1DDBE9-65FD-4988-9128-A621DD77E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70AABF-AE4F-4189-A564-DB69ED7B7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ED1E4245-8CED-4EE8-B7D2-5067633E206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E97872-F948-4ABD-955F-F7B0E2BCBF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9357FA-315F-4A21-ADF1-B0A00920A0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43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DD5D8F-9E57-4422-B165-49B0B98E4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608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DD5D8F-9E57-4422-B165-49B0B98E4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10812D-D3D2-49AA-AE7A-393DE62E3F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63441-3C0A-439D-B1DF-46F1DB455C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C31BBB-1020-46E3-B1D6-6A6D85CF72C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80254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76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4" imgH="324" progId="TCLayout.ActiveDocument.1">
                  <p:embed/>
                </p:oleObj>
              </mc:Choice>
              <mc:Fallback>
                <p:oleObj name="think-cell 幻灯片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97F7E97D-30EE-40D9-856F-59A8F89D8BC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94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4234DD-8906-4B2C-86B2-FC42EE7D1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979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4234DD-8906-4B2C-86B2-FC42EE7D1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082EFE-AE4F-4753-BA12-2DB7CB1442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470898"/>
          </a:xfrm>
        </p:spPr>
        <p:txBody>
          <a:bodyPr vert="horz" lIns="0"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DDAB88BA-E242-4F85-9D75-75CDE19FD18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28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8F715B-D22C-49C6-B3AC-D5F1AA295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762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8F715B-D22C-49C6-B3AC-D5F1AA29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B48FCF-91C9-477B-8B22-4DA423DF1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C50707-6270-4C10-B300-562F308AD8BD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A4C9FB-4CC1-44B3-94D6-F6A3C654447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75985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2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07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4A8F4E-CFF1-4233-9249-84E4C229A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155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4A8F4E-CFF1-4233-9249-84E4C229A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DC9C5BEB-A0C9-49F7-AD0C-2A3E1447735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409B0C3-DE28-4015-BA6B-BEE7023BE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65CB76-87ED-48D1-BB46-2AE81DF6DD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07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148DDD-B54A-42E3-A874-08D6674E3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85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148DDD-B54A-42E3-A874-08D6674E3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6745807-C4EE-41DF-9B46-959DAC520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B3F28C-2C8F-437A-9374-C6C9F47E3271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B7EC9F-9CA9-49E2-A475-FCF1CB565A9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61708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078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98AEB1A-E0D0-4920-BE87-406F722D6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8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B63DB-FE12-4864-AD4A-41FDE6A89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12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B63DB-FE12-4864-AD4A-41FDE6A89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085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85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6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73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939BBA-66F0-4589-B013-1893D90DB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0C4716-0C84-4B08-9953-BCFE97D36A8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813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9D99E9-D699-49DD-B838-EFF0878D7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293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9D99E9-D699-49DD-B838-EFF0878D7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109FBD-1B10-4968-9F1F-1426F488C5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16593B-988D-4294-A50A-337E70736DD7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88952" cy="1143000"/>
          </a:xfrm>
        </p:spPr>
        <p:txBody>
          <a:bodyPr vert="horz" lIns="4572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706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DC70C-1C9C-4E9E-B370-A4CA068F4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28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DC70C-1C9C-4E9E-B370-A4CA068F4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E6BAEB-13EE-40DB-BE16-2C2BC675F0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3350D-E0F2-4B2C-A667-56A37AD7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1AF74D-E1D7-4689-9E67-4A16A4CAE287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F78219-3A5C-4A4D-866D-B53A45248D9B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43584"/>
            <a:ext cx="12188952" cy="46542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84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DA2CB-7FF8-4CFB-A652-684E59403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6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DA2CB-7FF8-4CFB-A652-684E59403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EB680E-A139-474B-BE33-01A12B6671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658" y="2158987"/>
            <a:ext cx="3901342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1227048"/>
            <a:ext cx="3901342" cy="664797"/>
          </a:xfrm>
        </p:spPr>
        <p:txBody>
          <a:bodyPr vert="horz" lIns="0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54F26-C665-4606-9A8F-D14E51201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D3B52D-4523-45C6-93FA-AA4D2DAE003F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96287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9FE2CA-F5BD-459D-B701-FB8A0A61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2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9FE2CA-F5BD-459D-B701-FB8A0A61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34DD15-6E7C-4608-A41D-DB90A88166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3E83C6-BB5A-4F84-95E2-2B86C8A0F7A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D8BD40-F4DC-49DE-9393-164D35A11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EC768D-CEDE-4487-A74F-8DE3B3F15524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59245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373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54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DD4ED-ADCE-4880-9BC8-443A0A811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970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DD4ED-ADCE-4880-9BC8-443A0A811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BBBC4-DBB7-4ADD-9E58-809481FB6F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E17A41D-95A9-412A-8B78-54DBB87F73D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24093D-CB16-42C8-B28B-3BF961E4C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8C6105-A5C3-44E4-AD52-3C83B394F1E1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339809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C6112-A96D-4B61-8290-08899155E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C6112-A96D-4B61-8290-08899155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C92D75-C1F2-4BAD-BB4D-C8570B6999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2AF3FA62-8956-474A-BD27-571D1858A6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489DDD-336A-41A0-954C-9EFC0E0561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34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46131-D60C-4AB8-9741-E3D3445EE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23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E46131-D60C-4AB8-9741-E3D3445EE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DB581F-07A2-4744-8AF6-1250A80BF8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33871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E67FB8E-1E92-48AC-8781-CA0439E5C42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F21E3D-1768-4FF1-8E30-6DAB14229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9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B55A6B-96AD-443A-8BE6-D7196A4B8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936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B55A6B-96AD-443A-8BE6-D7196A4B8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C9D1D1-54C8-40AA-9243-238FC6232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8258926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DE5FF888-0717-4358-93C2-CC7F14E31E9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6F9B14-AF97-4688-9449-BF575EEC9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34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EDCB5-AEBF-499C-B756-7B17B4A95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659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EDCB5-AEBF-499C-B756-7B17B4A95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E10FB9-6038-4B31-B9A4-CA062A53FC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681103"/>
            <a:ext cx="3285223" cy="1495794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C39EBC0A-DB8D-4B07-9E22-67C5553A718C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84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9369B-8A66-4FA2-A3BA-152FECEA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29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9369B-8A66-4FA2-A3BA-152FECEA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D1462-4579-4F8D-A893-B2E04C1143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658" y="1785600"/>
            <a:ext cx="454574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91B38573-A25E-4C9D-B31A-B2A05C94277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6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9C19B9-9588-464B-841B-4E0F598DE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92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9C19B9-9588-464B-841B-4E0F598DE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8CC25D-0595-4526-A34D-5963921747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658" y="1785600"/>
            <a:ext cx="6405830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5DBB44A7-3D49-46C4-90C4-337457E4DAC4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18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1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24" imgH="324" progId="TCLayout.ActiveDocument.1">
                  <p:embed/>
                </p:oleObj>
              </mc:Choice>
              <mc:Fallback>
                <p:oleObj name="think-cell 幻灯片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C6B61-8D66-4FF7-8087-0AEE5F87B1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 hidden="1">
            <a:extLst>
              <a:ext uri="{FF2B5EF4-FFF2-40B4-BE49-F238E27FC236}">
                <a16:creationId xmlns:a16="http://schemas.microsoft.com/office/drawing/2014/main" id="{8985EE07-872F-4546-8255-B1F7C3D3EE00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21C828-CD0B-4330-AC77-38338CEB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93EF4C-1394-476A-823F-13E6F1417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84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93EF4C-1394-476A-823F-13E6F1417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6760-4974-4DC7-9999-25DF3181F6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658" y="2764203"/>
            <a:ext cx="2635980" cy="1314311"/>
          </a:xfrm>
        </p:spPr>
        <p:txBody>
          <a:bodyPr vert="horz" l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5997ADEF-13E9-4A70-98F3-9D70123E1E2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4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69B887-2B13-4C8F-946E-E594927A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802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69B887-2B13-4C8F-946E-E594927A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B4775E-8277-4443-8882-027FE71887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8550E0E2-8275-4A3A-913E-F5434458093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AACFB1-4FDE-49ED-ADA7-A182B4B0B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4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63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83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5A7C36-70AD-47B9-A14E-627B49FA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8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5A7C36-70AD-47B9-A14E-627B49FA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B4FB58-4BD6-4978-A0FC-9FD983A9B3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1785600"/>
            <a:ext cx="4219577" cy="3286800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65BFCFB-E1C8-4E88-9187-AA63CA2E600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5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9D2536-1DC7-4B54-9D7A-41732CF83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5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9D2536-1DC7-4B54-9D7A-41732CF83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A668-A6E9-425E-A41B-225E93C70F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44DFD0AB-A860-4C65-931B-2395F8B7753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480EBA-C176-4582-83A4-00C4DEED1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7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73B82-53D5-4DFB-9CCC-3DDD34E83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51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73B82-53D5-4DFB-9CCC-3DDD34E83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45807-4395-43CE-A733-45D90261B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4905164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6AFF65ED-EACB-4733-9AB0-8F7027C3C08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0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7521DA-F255-4067-808C-8D586F745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366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7521DA-F255-4067-808C-8D586F745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C26B28-C269-4EB9-90B2-5897110D67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 hidden="1">
            <a:extLst>
              <a:ext uri="{FF2B5EF4-FFF2-40B4-BE49-F238E27FC236}">
                <a16:creationId xmlns:a16="http://schemas.microsoft.com/office/drawing/2014/main" id="{34BBF8DD-D31B-4FDE-A8D7-E1C68C47D3F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FAD55A-8215-43B0-8EDC-CF9D05EAE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68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540FA-7567-4B2F-82E1-9079310B7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12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540FA-7567-4B2F-82E1-9079310B7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7AFDB6-6892-470D-B2AD-81DAF5AB8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6411838" cy="332399"/>
          </a:xfrm>
          <a:prstGeom prst="rect">
            <a:avLst/>
          </a:prstGeom>
        </p:spPr>
        <p:txBody>
          <a:bodyPr vert="horz" lIns="0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95000311-5D31-442E-85EE-28CA374E2C2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8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2C8FA-CE5C-4408-854B-AC23B40E8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04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2C8FA-CE5C-4408-854B-AC23B40E8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165616-EA7E-4D0E-B74A-F91B0BD573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 hidden="1">
            <a:extLst>
              <a:ext uri="{FF2B5EF4-FFF2-40B4-BE49-F238E27FC236}">
                <a16:creationId xmlns:a16="http://schemas.microsoft.com/office/drawing/2014/main" id="{0E64DDA3-4ED6-45BF-AEDE-3CB64F40EA02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7B46AC5-A3B5-4681-BE90-824697C03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4A8EAD-E176-4539-86F9-EC73F4C535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3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9F9065-0E22-4E32-800E-137DEFB3B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11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9F9065-0E22-4E32-800E-137DEFB3B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A5F1DA-3DFC-47CD-90BD-9068D02E26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0995EA-3202-42C8-B94C-D542DA25477E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C1EA6-B16B-421C-AAC9-E5D290921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17BFF3-D96F-446A-8B0C-E86D1E3459D3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83024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221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8E087680-35E3-453F-AF01-53601FCE7C61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0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B4B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A175C1-DC26-4FD0-87C7-BD23A645D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351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A175C1-DC26-4FD0-87C7-BD23A645D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DB389B-860E-40E8-AC38-CC983BD40E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658" y="622800"/>
            <a:ext cx="11189074" cy="332399"/>
          </a:xfrm>
        </p:spPr>
        <p:txBody>
          <a:bodyPr vert="horz" l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38811E0E-4CB4-4123-AF03-85175905E4CA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62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FE13CB-8AEE-4F29-95FA-616822F7C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31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FE13CB-8AEE-4F29-95FA-616822F7C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 hidden="1">
            <a:extLst>
              <a:ext uri="{FF2B5EF4-FFF2-40B4-BE49-F238E27FC236}">
                <a16:creationId xmlns:a16="http://schemas.microsoft.com/office/drawing/2014/main" id="{18F7360B-CC2F-47B4-B395-D1BB177963D6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62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19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5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54EDB-E442-4474-B407-4BE7EB22B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191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B54EDB-E442-4474-B407-4BE7EB22B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>
            <a:extLst>
              <a:ext uri="{FF2B5EF4-FFF2-40B4-BE49-F238E27FC236}">
                <a16:creationId xmlns:a16="http://schemas.microsoft.com/office/drawing/2014/main" id="{86FB7315-01D7-4A6E-AA2A-EA6B32CC5547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2A0769-A4D2-4682-8A44-39467471C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B2B7BA-013C-4DFD-B152-C4D9BE3873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3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D5FDBA-D1AA-421F-84E5-80647FFAA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25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D5FDBA-D1AA-421F-84E5-80647FFAA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7BB428D-2EFA-4708-AB0A-FCF3726957AE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AAC51-40BA-47A0-810A-3E9E77959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911923-2719-48CE-8A7A-1EA6FB02E599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0722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584B5-037D-4D0E-AE3F-7F004DDC1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13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584B5-037D-4D0E-AE3F-7F004DDC1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4E755B5-EEBC-40F6-A9F2-A66FD0CD4753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64DBC5-8EC8-47CB-9179-F7B810F2F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0D4599-3F15-49F6-A3AA-519E131402EE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5486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102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DE62D58-417A-4C55-AEA2-87625FC3A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3221489" y="2786714"/>
            <a:ext cx="5749020" cy="128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2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C556E-5BF3-471B-A5EA-32A4AD580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330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63" progId="TCLayout.ActiveDocument.1">
                  <p:embed/>
                </p:oleObj>
              </mc:Choice>
              <mc:Fallback>
                <p:oleObj name="think-cell 幻灯片" r:id="rId3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C556E-5BF3-471B-A5EA-32A4AD580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378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963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7472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TextBox 12" hidden="1">
            <a:extLst>
              <a:ext uri="{FF2B5EF4-FFF2-40B4-BE49-F238E27FC236}">
                <a16:creationId xmlns:a16="http://schemas.microsoft.com/office/drawing/2014/main" id="{16B9DEE2-BCCC-4311-973D-744B08CF9A8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336E713-A119-4AAC-A732-3EF4C5834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715DA1-D7A5-49EA-A7F4-D83DD5679C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68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55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0DA4205E-11B4-4E2E-9C29-8E054330113D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D2AEDA8-5880-4E81-8AA9-552B04E65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D2527D-E64F-4AAF-8A96-9133426279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72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37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 hidden="1">
            <a:extLst>
              <a:ext uri="{FF2B5EF4-FFF2-40B4-BE49-F238E27FC236}">
                <a16:creationId xmlns:a16="http://schemas.microsoft.com/office/drawing/2014/main" id="{2D893567-86AB-4279-8D5F-07B6D39EE5A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7C1B484-0589-46CA-BD14-67534F8CC1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5752E3-84B6-4441-96BD-77A4ABEDD2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67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5692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1C2649CE-05A9-48DD-92AC-90ED9A0169EB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7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291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6244C1-EA2E-47F9-A10F-1508B50EF7F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953CE3-0CEC-42A1-A2B6-DD02E7600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0084FE-F759-4EA9-B31D-03819119277C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125392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290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1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521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B60D0-DF1E-401E-9386-8ADCDA3CBCC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FA6297-6D10-4CB1-8665-B7361F923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F9A676-A69D-44E6-85A4-9A60BA6847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69742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958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5810BAD-56F0-437E-AB0C-C00D3E6161FF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048" y="6787376"/>
            <a:ext cx="12198096" cy="70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017D52-F038-4A25-968B-79202E2D6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5" t="4187"/>
          <a:stretch/>
        </p:blipFill>
        <p:spPr>
          <a:xfrm>
            <a:off x="226726" y="6299515"/>
            <a:ext cx="1513895" cy="3382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72C3B-1746-4CA7-BD31-3DE659A7E187}"/>
              </a:ext>
            </a:extLst>
          </p:cNvPr>
          <p:cNvSpPr txBox="1"/>
          <p:nvPr userDrawn="1"/>
        </p:nvSpPr>
        <p:spPr>
          <a:xfrm>
            <a:off x="2194560" y="6320063"/>
            <a:ext cx="855878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8D8DA3"/>
                </a:solidFill>
              </a:rPr>
              <a:t>For internal use, education and training purposes only. Do not duplicate, distribute or use when detailing. This document contains confidential and proprietary</a:t>
            </a:r>
            <a:br>
              <a:rPr lang="en-US" sz="700" dirty="0">
                <a:solidFill>
                  <a:srgbClr val="8D8DA3"/>
                </a:solidFill>
              </a:rPr>
            </a:br>
            <a:r>
              <a:rPr lang="en-US" sz="700" dirty="0">
                <a:solidFill>
                  <a:srgbClr val="8D8DA3"/>
                </a:solidFill>
              </a:rPr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</p:spTree>
    <p:extLst>
      <p:ext uri="{BB962C8B-B14F-4D97-AF65-F5344CB8AC3E}">
        <p14:creationId xmlns:p14="http://schemas.microsoft.com/office/powerpoint/2010/main" val="294352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769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658" y="3262145"/>
            <a:ext cx="131838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9" name="TextBox 8" hidden="1">
            <a:extLst>
              <a:ext uri="{FF2B5EF4-FFF2-40B4-BE49-F238E27FC236}">
                <a16:creationId xmlns:a16="http://schemas.microsoft.com/office/drawing/2014/main" id="{A539437F-7F71-40A9-834E-DB34A3C52023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33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432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658" y="2577934"/>
            <a:ext cx="2976742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 hidden="1">
            <a:extLst>
              <a:ext uri="{FF2B5EF4-FFF2-40B4-BE49-F238E27FC236}">
                <a16:creationId xmlns:a16="http://schemas.microsoft.com/office/drawing/2014/main" id="{99E71833-BCE9-43DC-97A6-F9A6A57C9EA5}"/>
              </a:ext>
            </a:extLst>
          </p:cNvPr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chemeClr val="bg1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44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252351-350B-4EE1-80DA-480857AC1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699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252351-350B-4EE1-80DA-480857AC1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E4D179-7D2D-47FB-85EA-431AC61724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 descr="A boat on a body of water&#10;&#10;Description automatically generated">
            <a:extLst>
              <a:ext uri="{FF2B5EF4-FFF2-40B4-BE49-F238E27FC236}">
                <a16:creationId xmlns:a16="http://schemas.microsoft.com/office/drawing/2014/main" id="{D69DE5F6-C04D-1C4E-B88E-183B91D181C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8137003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813700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3222C4-96A5-C140-8315-F466630E3C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52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8382DF-DD0E-40F7-835E-30AACFFF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5805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8382DF-DD0E-40F7-835E-30AACFFF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5AD27D-C3CA-4C43-BA71-7BB13B72F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picture containing kite, outdoor, flying, water&#10;&#10;Description automatically generated">
            <a:extLst>
              <a:ext uri="{FF2B5EF4-FFF2-40B4-BE49-F238E27FC236}">
                <a16:creationId xmlns:a16="http://schemas.microsoft.com/office/drawing/2014/main" id="{90FC3857-900F-3142-8241-2E22BF9427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0D426C-C360-4642-82E3-3DA56ACAFB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1E81047-89E7-424F-AA0D-278F2BFB3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6A78B-01A1-5F49-8FA7-08EADEA50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4823199-E518-A14A-8748-D3E45A4DF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82B868-0DD5-47D8-948F-1846207FB0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6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47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35E9FF-EA1E-4094-88C5-C05AFC65E7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C1BD50-8CC0-4C70-AF6A-E75C22DF26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" y="0"/>
            <a:ext cx="12190815" cy="685800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0" y="3602736"/>
            <a:ext cx="9848088" cy="996696"/>
          </a:xfrm>
          <a:prstGeom prst="rect">
            <a:avLst/>
          </a:prstGeom>
        </p:spPr>
        <p:txBody>
          <a:bodyPr lIns="685800" tIns="45720" rIns="457200" bIns="45720" anchor="t"/>
          <a:lstStyle>
            <a:lvl1pPr marL="0" indent="0" algn="l">
              <a:lnSpc>
                <a:spcPct val="140000"/>
              </a:lnSpc>
              <a:buNone/>
              <a:defRPr sz="20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0" y="1216152"/>
            <a:ext cx="9848088" cy="2386584"/>
          </a:xfrm>
          <a:prstGeom prst="rect">
            <a:avLst/>
          </a:prstGeom>
        </p:spPr>
        <p:txBody>
          <a:bodyPr vert="horz" lIns="685800" tIns="45720" rIns="457200" bIns="45720" anchor="b">
            <a:normAutofit/>
          </a:bodyPr>
          <a:lstStyle>
            <a:lvl1pPr algn="l">
              <a:lnSpc>
                <a:spcPct val="93000"/>
              </a:lnSpc>
              <a:defRPr lang="en-US" sz="50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ECBF22C-8BA9-47BC-B97A-5C9E5491C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2594EF-FBF0-4E9E-B131-651206D1BD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5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C49E326-DBA2-4445-874C-2896611042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52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C49E326-DBA2-4445-874C-289661104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EBB1A6-86DA-418C-853E-6C5A10E8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kite, flying, colorful, holding&#10;&#10;Description automatically generated">
            <a:extLst>
              <a:ext uri="{FF2B5EF4-FFF2-40B4-BE49-F238E27FC236}">
                <a16:creationId xmlns:a16="http://schemas.microsoft.com/office/drawing/2014/main" id="{2E1494D2-3ABF-1A40-A28A-5B0540950E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260C3D-71AC-9643-BF42-E7CB8A8190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21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3D9DF1-FCEF-430D-A893-2CC47EDD5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994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3D9DF1-FCEF-430D-A893-2CC47EDD5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E02592-B39D-4838-88A5-DF3E3690C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3117785-64E2-FD4A-8AA9-5DDF6A61A1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76737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CB942A-9589-4A44-9EB1-43210906E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4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INNOV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6FC7E-B5D2-403D-B518-88504CD8F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331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6FC7E-B5D2-403D-B518-88504CD8F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14AE5-C8F9-4F26-96E9-71CC547EA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skiing, snow, glasses, wine&#10;&#10;Description automatically generated">
            <a:extLst>
              <a:ext uri="{FF2B5EF4-FFF2-40B4-BE49-F238E27FC236}">
                <a16:creationId xmlns:a16="http://schemas.microsoft.com/office/drawing/2014/main" id="{10350442-1ABA-794B-8690-5B687B03A8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DA067C-8F4D-A347-9838-60DDA130F6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1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085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4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EMPLOYE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EFA9AF-5D73-4A5C-95AB-BDC831988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93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EFA9AF-5D73-4A5C-95AB-BDC831988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669CD8-0ABE-4488-B58F-8793A81E5B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erson in glasses looking at the camera&#10;&#10;Description automatically generated">
            <a:extLst>
              <a:ext uri="{FF2B5EF4-FFF2-40B4-BE49-F238E27FC236}">
                <a16:creationId xmlns:a16="http://schemas.microsoft.com/office/drawing/2014/main" id="{CF469644-5102-984E-9572-AD8DA6E7B7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713316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713316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9FC614-B6BA-8E44-85B3-8D5561EB885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7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0AC594-74DD-41E5-9BEC-4966C0107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18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0AC594-74DD-41E5-9BEC-4966C0107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F52649-1FB2-4029-98F5-7CF548E925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person posing for a picture&#10;&#10;Description automatically generated">
            <a:extLst>
              <a:ext uri="{FF2B5EF4-FFF2-40B4-BE49-F238E27FC236}">
                <a16:creationId xmlns:a16="http://schemas.microsoft.com/office/drawing/2014/main" id="{D8D01114-7F3C-2749-A486-BC146ACB85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B3AABF9-9805-1E4D-8CCC-97D5205CA7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26" y="6245369"/>
            <a:ext cx="1691640" cy="447787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9945A-EDAB-BC4A-B552-AFEEDD3CB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3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_PAT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E99FA-EA61-4A50-84AE-4C4EAD189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77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E99FA-EA61-4A50-84AE-4C4EAD189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E92761-0247-484E-97B2-2DC3B2219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outdoor, kite, water, flying&#10;&#10;Description automatically generated">
            <a:extLst>
              <a:ext uri="{FF2B5EF4-FFF2-40B4-BE49-F238E27FC236}">
                <a16:creationId xmlns:a16="http://schemas.microsoft.com/office/drawing/2014/main" id="{366E0882-F7F2-0149-9EA1-94865E490E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ED0189-56B0-1042-BA75-6F7961626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331352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331352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accent1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8EB80ED-8456-DD43-88A6-810178EA9D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1F0DAA-0FDC-5E43-BA69-8DACB1EC1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C666A0-3DF3-3045-9819-C70A66AB80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45201" y="6244144"/>
            <a:ext cx="1377825" cy="44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7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PATI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2ADBD7-DF1A-43E7-8670-644A11CBC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358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2ADBD7-DF1A-43E7-8670-644A11CBC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809290-9878-4C53-A06D-14002EA3D9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 descr="A picture containing person, kite, young, outdoor&#10;&#10;Description automatically generated">
            <a:extLst>
              <a:ext uri="{FF2B5EF4-FFF2-40B4-BE49-F238E27FC236}">
                <a16:creationId xmlns:a16="http://schemas.microsoft.com/office/drawing/2014/main" id="{AF5E436E-E530-BD48-A250-B19CE7BB47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6458673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6458673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089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938CA3-0A88-445C-8BD1-B883D6BE3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835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938CA3-0A88-445C-8BD1-B883D6BE3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AA295D-24AB-418C-AC6A-1A5F298A92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A1D3B9-451E-734F-A3EF-58101E42FA2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A73ACB-DF2B-E047-BE7F-5C5F9F4C9EC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29682217-4946-4443-80FD-6FD67D5AF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EA137C3-A2C4-6541-A817-7894FD8D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EABE65F-D1D8-0543-A1E7-46858993B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7DD58C-F691-8349-8D04-9EA40DEFCE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8623AD-36AB-444F-AB29-6BFF9E7DE7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9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B6FC61-B9D5-4F53-A9F8-80380D75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6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B6FC61-B9D5-4F53-A9F8-80380D75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CF4678-F81C-4F1B-AC0E-311DED24DE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9DA33-BCFD-9F45-B6D4-22FE49B78DF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CEB8AF-7F6A-0D4C-83B7-53031C2748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307BE9C4-703B-564E-90C1-9C8B1D6835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wrap="square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AB49F2-700C-5949-B8E7-D5C45078042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05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F72DE-1E77-4CF8-AB31-BE226257E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62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F72DE-1E77-4CF8-AB31-BE226257E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F23D18-C4E3-44D8-98DB-95D000973C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84D509-72FC-F74E-A9A4-CD7B32288EE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4A277E-6D86-AB40-A0AB-84F3B75E851D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kite, flying, cat&#10;&#10;Description automatically generated">
              <a:extLst>
                <a:ext uri="{FF2B5EF4-FFF2-40B4-BE49-F238E27FC236}">
                  <a16:creationId xmlns:a16="http://schemas.microsoft.com/office/drawing/2014/main" id="{D5DBBE89-68C9-994F-8156-45233AC1E1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rgbClr val="2A276E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EFFBA0-D8F2-494E-8088-78EE1244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4560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2A276E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92CB31D-E361-FA43-BFD0-49CC6CB9C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2A276E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8FEB782-97E7-6B46-98EB-11F9D2031A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rgbClr val="2A276E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ABB6C3-EA7D-E044-A817-5D2E5634B4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300128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8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98DD6D-4CB4-41B2-A6EB-106DE8DB8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1125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98DD6D-4CB4-41B2-A6EB-106DE8DB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75437-06D4-4ABC-B060-E2777D4245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8E3A6-B93D-5849-BBEB-BD7566DBD12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79B97-FABA-944E-AACE-BF4324FA4FB1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370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9AD5963-5D15-8241-82B5-07EB125BD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5C1A98-31EF-5A42-BDDE-11EFCFC6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30977D-5C4C-0345-B29D-F3EEC80FB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F4B651-A3DD-164E-A86F-87AAFD959F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787EE-EE4E-EC4B-B6AC-8A6A90F9D0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2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727105-51C1-4E4A-9888-1325C5102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2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727105-51C1-4E4A-9888-1325C5102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A389C9-B88A-493F-AB9C-5AD7DF862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423A7B-3CC5-994C-B190-7FA28B4CEA9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64D83F-BFE8-4040-AC92-D096E8A80B07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9E0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" name="Picture 3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D452F6A8-4D1F-8C42-901A-1E7A629B99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E334D-8C7D-284C-A54B-CC8ACECB21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46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RE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AADC82-591B-490C-B13F-D6EC8866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203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3" imgH="363" progId="TCLayout.ActiveDocument.1">
                  <p:embed/>
                </p:oleObj>
              </mc:Choice>
              <mc:Fallback>
                <p:oleObj name="think-cell 幻灯片" r:id="rId4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AADC82-591B-490C-B13F-D6EC8866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BD5EC-3529-482E-8270-0CAB368BBF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0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5FB0D0-83F6-374E-ADDA-06AB649261F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7F8EC9-EFC7-A640-A457-FBC5B1592F1B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5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" name="Picture 4" descr="A picture containing cat&#10;&#10;Description automatically generated">
              <a:extLst>
                <a:ext uri="{FF2B5EF4-FFF2-40B4-BE49-F238E27FC236}">
                  <a16:creationId xmlns:a16="http://schemas.microsoft.com/office/drawing/2014/main" id="{ED0056ED-496B-4C43-8890-ED2BBFEC9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66DEC57D-E2DE-5F4D-8587-8F4213EDA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06196"/>
            <a:ext cx="9848088" cy="995903"/>
          </a:xfrm>
        </p:spPr>
        <p:txBody>
          <a:bodyPr vert="horz" lIns="685800" tIns="45720" rIns="457200" bIns="45720" rtlCol="0">
            <a:normAutofit/>
          </a:bodyPr>
          <a:lstStyle>
            <a:lvl1pPr marL="0" indent="0" algn="l">
              <a:buNone/>
              <a:defRPr lang="en-US" sz="2000" dirty="0">
                <a:solidFill>
                  <a:schemeClr val="bg2"/>
                </a:solidFill>
                <a:latin typeface="+mn-lt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2972102-C94D-5246-AA54-E70F763E34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5961" y="6286700"/>
            <a:ext cx="8559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, education and training purposes only. Do not duplicate, distribute or use when detailing. This document contains confidential and proprietary</a:t>
            </a:r>
            <a:br>
              <a:rPr lang="en-US" dirty="0"/>
            </a:br>
            <a:r>
              <a:rPr lang="en-US" dirty="0"/>
              <a:t>information of Viatris Inc. Unauthorized use, duplication, dissemination or disclosure to third parties is strictly prohibited. © 2020 Viatris Inc. All Rights Reserved. ​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16B8ED3-BBBD-134F-A027-F5E30C0EA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1535" y="6286700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AD2CD2D-0C39-C844-B16A-E0892E0FEA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5531C7-4EC9-F140-AF42-1E4B33DE30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218596"/>
            <a:ext cx="9848088" cy="2387600"/>
          </a:xfrm>
        </p:spPr>
        <p:txBody>
          <a:bodyPr vert="horz" lIns="685800" tIns="45720" rIns="457200" bIns="45720" rtlCol="0" anchor="b">
            <a:normAutofit/>
          </a:bodyPr>
          <a:lstStyle>
            <a:lvl1pPr algn="l">
              <a:defRPr lang="en-US" sz="5000" dirty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4DA361-7D67-0B4D-9E01-929C534B9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226726" y="6299516"/>
            <a:ext cx="1611599" cy="33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4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oleObject" Target="../embeddings/oleObject1.bin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25.xml"/><Relationship Id="rId47" Type="http://schemas.openxmlformats.org/officeDocument/2006/relationships/slideLayout" Target="../slideLayouts/slideLayout130.xml"/><Relationship Id="rId63" Type="http://schemas.openxmlformats.org/officeDocument/2006/relationships/slideLayout" Target="../slideLayouts/slideLayout146.xml"/><Relationship Id="rId68" Type="http://schemas.openxmlformats.org/officeDocument/2006/relationships/slideLayout" Target="../slideLayouts/slideLayout151.xml"/><Relationship Id="rId84" Type="http://schemas.openxmlformats.org/officeDocument/2006/relationships/tags" Target="../tags/tag150.xml"/><Relationship Id="rId1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53" Type="http://schemas.openxmlformats.org/officeDocument/2006/relationships/slideLayout" Target="../slideLayouts/slideLayout136.xml"/><Relationship Id="rId58" Type="http://schemas.openxmlformats.org/officeDocument/2006/relationships/slideLayout" Target="../slideLayouts/slideLayout141.xml"/><Relationship Id="rId74" Type="http://schemas.openxmlformats.org/officeDocument/2006/relationships/slideLayout" Target="../slideLayouts/slideLayout157.xml"/><Relationship Id="rId79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43" Type="http://schemas.openxmlformats.org/officeDocument/2006/relationships/slideLayout" Target="../slideLayouts/slideLayout126.xml"/><Relationship Id="rId48" Type="http://schemas.openxmlformats.org/officeDocument/2006/relationships/slideLayout" Target="../slideLayouts/slideLayout131.xml"/><Relationship Id="rId56" Type="http://schemas.openxmlformats.org/officeDocument/2006/relationships/slideLayout" Target="../slideLayouts/slideLayout139.xml"/><Relationship Id="rId64" Type="http://schemas.openxmlformats.org/officeDocument/2006/relationships/slideLayout" Target="../slideLayouts/slideLayout147.xml"/><Relationship Id="rId69" Type="http://schemas.openxmlformats.org/officeDocument/2006/relationships/slideLayout" Target="../slideLayouts/slideLayout152.xml"/><Relationship Id="rId77" Type="http://schemas.openxmlformats.org/officeDocument/2006/relationships/slideLayout" Target="../slideLayouts/slideLayout160.xml"/><Relationship Id="rId8" Type="http://schemas.openxmlformats.org/officeDocument/2006/relationships/slideLayout" Target="../slideLayouts/slideLayout91.xml"/><Relationship Id="rId51" Type="http://schemas.openxmlformats.org/officeDocument/2006/relationships/slideLayout" Target="../slideLayouts/slideLayout134.xml"/><Relationship Id="rId72" Type="http://schemas.openxmlformats.org/officeDocument/2006/relationships/slideLayout" Target="../slideLayouts/slideLayout155.xml"/><Relationship Id="rId80" Type="http://schemas.openxmlformats.org/officeDocument/2006/relationships/slideLayout" Target="../slideLayouts/slideLayout163.xml"/><Relationship Id="rId85" Type="http://schemas.openxmlformats.org/officeDocument/2006/relationships/tags" Target="../tags/tag151.xml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Relationship Id="rId46" Type="http://schemas.openxmlformats.org/officeDocument/2006/relationships/slideLayout" Target="../slideLayouts/slideLayout129.xml"/><Relationship Id="rId59" Type="http://schemas.openxmlformats.org/officeDocument/2006/relationships/slideLayout" Target="../slideLayouts/slideLayout142.xml"/><Relationship Id="rId67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24.xml"/><Relationship Id="rId54" Type="http://schemas.openxmlformats.org/officeDocument/2006/relationships/slideLayout" Target="../slideLayouts/slideLayout137.xml"/><Relationship Id="rId62" Type="http://schemas.openxmlformats.org/officeDocument/2006/relationships/slideLayout" Target="../slideLayouts/slideLayout145.xml"/><Relationship Id="rId70" Type="http://schemas.openxmlformats.org/officeDocument/2006/relationships/slideLayout" Target="../slideLayouts/slideLayout153.xml"/><Relationship Id="rId75" Type="http://schemas.openxmlformats.org/officeDocument/2006/relationships/slideLayout" Target="../slideLayouts/slideLayout158.xml"/><Relationship Id="rId83" Type="http://schemas.openxmlformats.org/officeDocument/2006/relationships/theme" Target="../theme/theme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49" Type="http://schemas.openxmlformats.org/officeDocument/2006/relationships/slideLayout" Target="../slideLayouts/slideLayout132.xml"/><Relationship Id="rId57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14.xml"/><Relationship Id="rId44" Type="http://schemas.openxmlformats.org/officeDocument/2006/relationships/slideLayout" Target="../slideLayouts/slideLayout127.xml"/><Relationship Id="rId52" Type="http://schemas.openxmlformats.org/officeDocument/2006/relationships/slideLayout" Target="../slideLayouts/slideLayout135.xml"/><Relationship Id="rId60" Type="http://schemas.openxmlformats.org/officeDocument/2006/relationships/slideLayout" Target="../slideLayouts/slideLayout143.xml"/><Relationship Id="rId65" Type="http://schemas.openxmlformats.org/officeDocument/2006/relationships/slideLayout" Target="../slideLayouts/slideLayout148.xml"/><Relationship Id="rId73" Type="http://schemas.openxmlformats.org/officeDocument/2006/relationships/slideLayout" Target="../slideLayouts/slideLayout156.xml"/><Relationship Id="rId78" Type="http://schemas.openxmlformats.org/officeDocument/2006/relationships/slideLayout" Target="../slideLayouts/slideLayout161.xml"/><Relationship Id="rId81" Type="http://schemas.openxmlformats.org/officeDocument/2006/relationships/slideLayout" Target="../slideLayouts/slideLayout164.xml"/><Relationship Id="rId86" Type="http://schemas.openxmlformats.org/officeDocument/2006/relationships/oleObject" Target="../embeddings/oleObject85.bin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17.xml"/><Relationship Id="rId50" Type="http://schemas.openxmlformats.org/officeDocument/2006/relationships/slideLayout" Target="../slideLayouts/slideLayout133.xml"/><Relationship Id="rId55" Type="http://schemas.openxmlformats.org/officeDocument/2006/relationships/slideLayout" Target="../slideLayouts/slideLayout138.xml"/><Relationship Id="rId76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90.xml"/><Relationship Id="rId71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23.xml"/><Relationship Id="rId45" Type="http://schemas.openxmlformats.org/officeDocument/2006/relationships/slideLayout" Target="../slideLayouts/slideLayout128.xml"/><Relationship Id="rId66" Type="http://schemas.openxmlformats.org/officeDocument/2006/relationships/slideLayout" Target="../slideLayouts/slideLayout149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144.xml"/><Relationship Id="rId82" Type="http://schemas.openxmlformats.org/officeDocument/2006/relationships/slideLayout" Target="../slideLayouts/slideLayout16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207.xml"/><Relationship Id="rId47" Type="http://schemas.openxmlformats.org/officeDocument/2006/relationships/slideLayout" Target="../slideLayouts/slideLayout212.xml"/><Relationship Id="rId63" Type="http://schemas.openxmlformats.org/officeDocument/2006/relationships/slideLayout" Target="../slideLayouts/slideLayout228.xml"/><Relationship Id="rId68" Type="http://schemas.openxmlformats.org/officeDocument/2006/relationships/slideLayout" Target="../slideLayouts/slideLayout233.xml"/><Relationship Id="rId84" Type="http://schemas.openxmlformats.org/officeDocument/2006/relationships/tags" Target="../tags/tag296.xml"/><Relationship Id="rId1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97.xml"/><Relationship Id="rId37" Type="http://schemas.openxmlformats.org/officeDocument/2006/relationships/slideLayout" Target="../slideLayouts/slideLayout202.xml"/><Relationship Id="rId53" Type="http://schemas.openxmlformats.org/officeDocument/2006/relationships/slideLayout" Target="../slideLayouts/slideLayout218.xml"/><Relationship Id="rId58" Type="http://schemas.openxmlformats.org/officeDocument/2006/relationships/slideLayout" Target="../slideLayouts/slideLayout223.xml"/><Relationship Id="rId74" Type="http://schemas.openxmlformats.org/officeDocument/2006/relationships/slideLayout" Target="../slideLayouts/slideLayout239.xml"/><Relationship Id="rId79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slideLayout" Target="../slideLayouts/slideLayout200.xml"/><Relationship Id="rId43" Type="http://schemas.openxmlformats.org/officeDocument/2006/relationships/slideLayout" Target="../slideLayouts/slideLayout208.xml"/><Relationship Id="rId48" Type="http://schemas.openxmlformats.org/officeDocument/2006/relationships/slideLayout" Target="../slideLayouts/slideLayout213.xml"/><Relationship Id="rId56" Type="http://schemas.openxmlformats.org/officeDocument/2006/relationships/slideLayout" Target="../slideLayouts/slideLayout221.xml"/><Relationship Id="rId64" Type="http://schemas.openxmlformats.org/officeDocument/2006/relationships/slideLayout" Target="../slideLayouts/slideLayout229.xml"/><Relationship Id="rId69" Type="http://schemas.openxmlformats.org/officeDocument/2006/relationships/slideLayout" Target="../slideLayouts/slideLayout234.xml"/><Relationship Id="rId77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73.xml"/><Relationship Id="rId51" Type="http://schemas.openxmlformats.org/officeDocument/2006/relationships/slideLayout" Target="../slideLayouts/slideLayout216.xml"/><Relationship Id="rId72" Type="http://schemas.openxmlformats.org/officeDocument/2006/relationships/slideLayout" Target="../slideLayouts/slideLayout237.xml"/><Relationship Id="rId80" Type="http://schemas.openxmlformats.org/officeDocument/2006/relationships/slideLayout" Target="../slideLayouts/slideLayout245.xml"/><Relationship Id="rId85" Type="http://schemas.openxmlformats.org/officeDocument/2006/relationships/tags" Target="../tags/tag297.xml"/><Relationship Id="rId3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slideLayout" Target="../slideLayouts/slideLayout203.xml"/><Relationship Id="rId46" Type="http://schemas.openxmlformats.org/officeDocument/2006/relationships/slideLayout" Target="../slideLayouts/slideLayout211.xml"/><Relationship Id="rId59" Type="http://schemas.openxmlformats.org/officeDocument/2006/relationships/slideLayout" Target="../slideLayouts/slideLayout224.xml"/><Relationship Id="rId67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185.xml"/><Relationship Id="rId41" Type="http://schemas.openxmlformats.org/officeDocument/2006/relationships/slideLayout" Target="../slideLayouts/slideLayout206.xml"/><Relationship Id="rId54" Type="http://schemas.openxmlformats.org/officeDocument/2006/relationships/slideLayout" Target="../slideLayouts/slideLayout219.xml"/><Relationship Id="rId62" Type="http://schemas.openxmlformats.org/officeDocument/2006/relationships/slideLayout" Target="../slideLayouts/slideLayout227.xml"/><Relationship Id="rId70" Type="http://schemas.openxmlformats.org/officeDocument/2006/relationships/slideLayout" Target="../slideLayouts/slideLayout235.xml"/><Relationship Id="rId75" Type="http://schemas.openxmlformats.org/officeDocument/2006/relationships/slideLayout" Target="../slideLayouts/slideLayout240.xml"/><Relationship Id="rId83" Type="http://schemas.openxmlformats.org/officeDocument/2006/relationships/theme" Target="../theme/theme3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slideLayout" Target="../slideLayouts/slideLayout201.xml"/><Relationship Id="rId49" Type="http://schemas.openxmlformats.org/officeDocument/2006/relationships/slideLayout" Target="../slideLayouts/slideLayout214.xml"/><Relationship Id="rId57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96.xml"/><Relationship Id="rId44" Type="http://schemas.openxmlformats.org/officeDocument/2006/relationships/slideLayout" Target="../slideLayouts/slideLayout209.xml"/><Relationship Id="rId52" Type="http://schemas.openxmlformats.org/officeDocument/2006/relationships/slideLayout" Target="../slideLayouts/slideLayout217.xml"/><Relationship Id="rId60" Type="http://schemas.openxmlformats.org/officeDocument/2006/relationships/slideLayout" Target="../slideLayouts/slideLayout225.xml"/><Relationship Id="rId65" Type="http://schemas.openxmlformats.org/officeDocument/2006/relationships/slideLayout" Target="../slideLayouts/slideLayout230.xml"/><Relationship Id="rId73" Type="http://schemas.openxmlformats.org/officeDocument/2006/relationships/slideLayout" Target="../slideLayouts/slideLayout238.xml"/><Relationship Id="rId78" Type="http://schemas.openxmlformats.org/officeDocument/2006/relationships/slideLayout" Target="../slideLayouts/slideLayout243.xml"/><Relationship Id="rId81" Type="http://schemas.openxmlformats.org/officeDocument/2006/relationships/slideLayout" Target="../slideLayouts/slideLayout246.xml"/><Relationship Id="rId86" Type="http://schemas.openxmlformats.org/officeDocument/2006/relationships/oleObject" Target="../embeddings/oleObject164.bin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39" Type="http://schemas.openxmlformats.org/officeDocument/2006/relationships/slideLayout" Target="../slideLayouts/slideLayout204.xml"/><Relationship Id="rId34" Type="http://schemas.openxmlformats.org/officeDocument/2006/relationships/slideLayout" Target="../slideLayouts/slideLayout199.xml"/><Relationship Id="rId50" Type="http://schemas.openxmlformats.org/officeDocument/2006/relationships/slideLayout" Target="../slideLayouts/slideLayout215.xml"/><Relationship Id="rId55" Type="http://schemas.openxmlformats.org/officeDocument/2006/relationships/slideLayout" Target="../slideLayouts/slideLayout220.xml"/><Relationship Id="rId76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72.xml"/><Relationship Id="rId71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94.xml"/><Relationship Id="rId24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205.xml"/><Relationship Id="rId45" Type="http://schemas.openxmlformats.org/officeDocument/2006/relationships/slideLayout" Target="../slideLayouts/slideLayout210.xml"/><Relationship Id="rId66" Type="http://schemas.openxmlformats.org/officeDocument/2006/relationships/slideLayout" Target="../slideLayouts/slideLayout231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226.xml"/><Relationship Id="rId82" Type="http://schemas.openxmlformats.org/officeDocument/2006/relationships/slideLayout" Target="../slideLayouts/slideLayout2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0.xml"/><Relationship Id="rId18" Type="http://schemas.openxmlformats.org/officeDocument/2006/relationships/slideLayout" Target="../slideLayouts/slideLayout265.xml"/><Relationship Id="rId26" Type="http://schemas.openxmlformats.org/officeDocument/2006/relationships/slideLayout" Target="../slideLayouts/slideLayout273.xml"/><Relationship Id="rId39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268.xml"/><Relationship Id="rId34" Type="http://schemas.openxmlformats.org/officeDocument/2006/relationships/slideLayout" Target="../slideLayouts/slideLayout281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254.xml"/><Relationship Id="rId2" Type="http://schemas.openxmlformats.org/officeDocument/2006/relationships/slideLayout" Target="../slideLayouts/slideLayout249.xml"/><Relationship Id="rId16" Type="http://schemas.openxmlformats.org/officeDocument/2006/relationships/slideLayout" Target="../slideLayouts/slideLayout263.xml"/><Relationship Id="rId29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24" Type="http://schemas.openxmlformats.org/officeDocument/2006/relationships/slideLayout" Target="../slideLayouts/slideLayout271.xml"/><Relationship Id="rId32" Type="http://schemas.openxmlformats.org/officeDocument/2006/relationships/slideLayout" Target="../slideLayouts/slideLayout279.xml"/><Relationship Id="rId37" Type="http://schemas.openxmlformats.org/officeDocument/2006/relationships/slideLayout" Target="../slideLayouts/slideLayout284.xml"/><Relationship Id="rId40" Type="http://schemas.openxmlformats.org/officeDocument/2006/relationships/slideLayout" Target="../slideLayouts/slideLayout287.xml"/><Relationship Id="rId45" Type="http://schemas.openxmlformats.org/officeDocument/2006/relationships/oleObject" Target="../embeddings/oleObject238.bin"/><Relationship Id="rId5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2.xml"/><Relationship Id="rId23" Type="http://schemas.openxmlformats.org/officeDocument/2006/relationships/slideLayout" Target="../slideLayouts/slideLayout270.xml"/><Relationship Id="rId28" Type="http://schemas.openxmlformats.org/officeDocument/2006/relationships/slideLayout" Target="../slideLayouts/slideLayout275.xml"/><Relationship Id="rId36" Type="http://schemas.openxmlformats.org/officeDocument/2006/relationships/slideLayout" Target="../slideLayouts/slideLayout283.xml"/><Relationship Id="rId10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66.xml"/><Relationship Id="rId31" Type="http://schemas.openxmlformats.org/officeDocument/2006/relationships/slideLayout" Target="../slideLayouts/slideLayout278.xml"/><Relationship Id="rId44" Type="http://schemas.openxmlformats.org/officeDocument/2006/relationships/tags" Target="../tags/tag443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Relationship Id="rId14" Type="http://schemas.openxmlformats.org/officeDocument/2006/relationships/slideLayout" Target="../slideLayouts/slideLayout261.xml"/><Relationship Id="rId22" Type="http://schemas.openxmlformats.org/officeDocument/2006/relationships/slideLayout" Target="../slideLayouts/slideLayout269.xml"/><Relationship Id="rId27" Type="http://schemas.openxmlformats.org/officeDocument/2006/relationships/slideLayout" Target="../slideLayouts/slideLayout274.xml"/><Relationship Id="rId30" Type="http://schemas.openxmlformats.org/officeDocument/2006/relationships/slideLayout" Target="../slideLayouts/slideLayout277.xml"/><Relationship Id="rId35" Type="http://schemas.openxmlformats.org/officeDocument/2006/relationships/slideLayout" Target="../slideLayouts/slideLayout282.xml"/><Relationship Id="rId43" Type="http://schemas.openxmlformats.org/officeDocument/2006/relationships/tags" Target="../tags/tag442.xml"/><Relationship Id="rId8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9.xml"/><Relationship Id="rId17" Type="http://schemas.openxmlformats.org/officeDocument/2006/relationships/slideLayout" Target="../slideLayouts/slideLayout264.xml"/><Relationship Id="rId25" Type="http://schemas.openxmlformats.org/officeDocument/2006/relationships/slideLayout" Target="../slideLayouts/slideLayout272.xml"/><Relationship Id="rId33" Type="http://schemas.openxmlformats.org/officeDocument/2006/relationships/slideLayout" Target="../slideLayouts/slideLayout280.xml"/><Relationship Id="rId38" Type="http://schemas.openxmlformats.org/officeDocument/2006/relationships/slideLayout" Target="../slideLayouts/slideLayout285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67.xml"/><Relationship Id="rId41" Type="http://schemas.openxmlformats.org/officeDocument/2006/relationships/slideLayout" Target="../slideLayouts/slideLayout2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323987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7" imgW="270" imgH="270" progId="TCLayout.ActiveDocument.1">
                  <p:embed/>
                </p:oleObj>
              </mc:Choice>
              <mc:Fallback>
                <p:oleObj name="think-cell 幻灯片" r:id="rId8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37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  <p:sldLayoutId id="2147483734" r:id="rId62"/>
    <p:sldLayoutId id="2147483735" r:id="rId63"/>
    <p:sldLayoutId id="2147483736" r:id="rId64"/>
    <p:sldLayoutId id="2147483737" r:id="rId65"/>
    <p:sldLayoutId id="2147483738" r:id="rId66"/>
    <p:sldLayoutId id="2147483739" r:id="rId67"/>
    <p:sldLayoutId id="2147483740" r:id="rId68"/>
    <p:sldLayoutId id="2147483741" r:id="rId69"/>
    <p:sldLayoutId id="2147483742" r:id="rId70"/>
    <p:sldLayoutId id="2147483743" r:id="rId71"/>
    <p:sldLayoutId id="2147483744" r:id="rId72"/>
    <p:sldLayoutId id="2147483745" r:id="rId73"/>
    <p:sldLayoutId id="2147483746" r:id="rId74"/>
    <p:sldLayoutId id="2147483747" r:id="rId75"/>
    <p:sldLayoutId id="2147483748" r:id="rId76"/>
    <p:sldLayoutId id="2147483749" r:id="rId77"/>
    <p:sldLayoutId id="2147483750" r:id="rId78"/>
    <p:sldLayoutId id="2147483751" r:id="rId79"/>
    <p:sldLayoutId id="2147483752" r:id="rId80"/>
    <p:sldLayoutId id="2147483753" r:id="rId81"/>
    <p:sldLayoutId id="2147483754" r:id="rId82"/>
    <p:sldLayoutId id="2147483755" r:id="rId8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3690872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6" imgW="270" imgH="270" progId="TCLayout.ActiveDocument.1">
                  <p:embed/>
                </p:oleObj>
              </mc:Choice>
              <mc:Fallback>
                <p:oleObj name="think-cell 幻灯片" r:id="rId8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04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89" r:id="rId33"/>
    <p:sldLayoutId id="2147483790" r:id="rId34"/>
    <p:sldLayoutId id="2147483791" r:id="rId35"/>
    <p:sldLayoutId id="2147483792" r:id="rId36"/>
    <p:sldLayoutId id="2147483793" r:id="rId37"/>
    <p:sldLayoutId id="2147483794" r:id="rId38"/>
    <p:sldLayoutId id="2147483795" r:id="rId39"/>
    <p:sldLayoutId id="2147483796" r:id="rId40"/>
    <p:sldLayoutId id="2147483797" r:id="rId41"/>
    <p:sldLayoutId id="2147483798" r:id="rId42"/>
    <p:sldLayoutId id="2147483799" r:id="rId43"/>
    <p:sldLayoutId id="2147483800" r:id="rId44"/>
    <p:sldLayoutId id="2147483801" r:id="rId45"/>
    <p:sldLayoutId id="2147483802" r:id="rId46"/>
    <p:sldLayoutId id="2147483803" r:id="rId47"/>
    <p:sldLayoutId id="2147483804" r:id="rId48"/>
    <p:sldLayoutId id="2147483805" r:id="rId49"/>
    <p:sldLayoutId id="2147483806" r:id="rId50"/>
    <p:sldLayoutId id="2147483807" r:id="rId51"/>
    <p:sldLayoutId id="2147483808" r:id="rId52"/>
    <p:sldLayoutId id="2147483809" r:id="rId53"/>
    <p:sldLayoutId id="2147483810" r:id="rId54"/>
    <p:sldLayoutId id="2147483811" r:id="rId55"/>
    <p:sldLayoutId id="2147483812" r:id="rId56"/>
    <p:sldLayoutId id="2147483813" r:id="rId57"/>
    <p:sldLayoutId id="2147483814" r:id="rId58"/>
    <p:sldLayoutId id="2147483815" r:id="rId59"/>
    <p:sldLayoutId id="2147483816" r:id="rId60"/>
    <p:sldLayoutId id="2147483817" r:id="rId61"/>
    <p:sldLayoutId id="2147483818" r:id="rId62"/>
    <p:sldLayoutId id="2147483819" r:id="rId63"/>
    <p:sldLayoutId id="2147483820" r:id="rId64"/>
    <p:sldLayoutId id="2147483821" r:id="rId65"/>
    <p:sldLayoutId id="2147483822" r:id="rId66"/>
    <p:sldLayoutId id="2147483823" r:id="rId67"/>
    <p:sldLayoutId id="2147483824" r:id="rId68"/>
    <p:sldLayoutId id="2147483825" r:id="rId69"/>
    <p:sldLayoutId id="2147483826" r:id="rId70"/>
    <p:sldLayoutId id="2147483827" r:id="rId71"/>
    <p:sldLayoutId id="2147483828" r:id="rId72"/>
    <p:sldLayoutId id="2147483829" r:id="rId73"/>
    <p:sldLayoutId id="2147483830" r:id="rId74"/>
    <p:sldLayoutId id="2147483831" r:id="rId75"/>
    <p:sldLayoutId id="2147483832" r:id="rId76"/>
    <p:sldLayoutId id="2147483833" r:id="rId77"/>
    <p:sldLayoutId id="2147483834" r:id="rId78"/>
    <p:sldLayoutId id="2147483835" r:id="rId79"/>
    <p:sldLayoutId id="2147483836" r:id="rId80"/>
    <p:sldLayoutId id="2147483837" r:id="rId81"/>
    <p:sldLayoutId id="2147483838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3980372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6" imgW="270" imgH="270" progId="TCLayout.ActiveDocument.1">
                  <p:embed/>
                </p:oleObj>
              </mc:Choice>
              <mc:Fallback>
                <p:oleObj name="think-cell 幻灯片" r:id="rId8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0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51536" y="6286088"/>
            <a:ext cx="10137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824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69" r:id="rId29"/>
    <p:sldLayoutId id="2147483870" r:id="rId30"/>
    <p:sldLayoutId id="2147483871" r:id="rId31"/>
    <p:sldLayoutId id="2147483872" r:id="rId32"/>
    <p:sldLayoutId id="2147483873" r:id="rId33"/>
    <p:sldLayoutId id="2147483874" r:id="rId34"/>
    <p:sldLayoutId id="2147483875" r:id="rId35"/>
    <p:sldLayoutId id="2147483876" r:id="rId36"/>
    <p:sldLayoutId id="2147483877" r:id="rId37"/>
    <p:sldLayoutId id="2147483878" r:id="rId38"/>
    <p:sldLayoutId id="2147483879" r:id="rId39"/>
    <p:sldLayoutId id="2147483880" r:id="rId40"/>
    <p:sldLayoutId id="2147483881" r:id="rId41"/>
    <p:sldLayoutId id="2147483882" r:id="rId42"/>
    <p:sldLayoutId id="2147483883" r:id="rId43"/>
    <p:sldLayoutId id="2147483884" r:id="rId44"/>
    <p:sldLayoutId id="2147483885" r:id="rId45"/>
    <p:sldLayoutId id="2147483886" r:id="rId46"/>
    <p:sldLayoutId id="2147483887" r:id="rId47"/>
    <p:sldLayoutId id="2147483888" r:id="rId48"/>
    <p:sldLayoutId id="2147483889" r:id="rId49"/>
    <p:sldLayoutId id="2147483890" r:id="rId50"/>
    <p:sldLayoutId id="2147483891" r:id="rId51"/>
    <p:sldLayoutId id="2147483892" r:id="rId52"/>
    <p:sldLayoutId id="2147483893" r:id="rId53"/>
    <p:sldLayoutId id="2147483894" r:id="rId54"/>
    <p:sldLayoutId id="2147483895" r:id="rId55"/>
    <p:sldLayoutId id="2147483896" r:id="rId56"/>
    <p:sldLayoutId id="2147483897" r:id="rId57"/>
    <p:sldLayoutId id="2147483898" r:id="rId58"/>
    <p:sldLayoutId id="2147483899" r:id="rId59"/>
    <p:sldLayoutId id="2147483900" r:id="rId60"/>
    <p:sldLayoutId id="2147483901" r:id="rId61"/>
    <p:sldLayoutId id="2147483902" r:id="rId62"/>
    <p:sldLayoutId id="2147483903" r:id="rId63"/>
    <p:sldLayoutId id="2147483904" r:id="rId64"/>
    <p:sldLayoutId id="2147483905" r:id="rId65"/>
    <p:sldLayoutId id="2147483906" r:id="rId66"/>
    <p:sldLayoutId id="2147483907" r:id="rId67"/>
    <p:sldLayoutId id="2147483908" r:id="rId68"/>
    <p:sldLayoutId id="2147483909" r:id="rId69"/>
    <p:sldLayoutId id="2147483910" r:id="rId70"/>
    <p:sldLayoutId id="2147483911" r:id="rId71"/>
    <p:sldLayoutId id="2147483912" r:id="rId72"/>
    <p:sldLayoutId id="2147483913" r:id="rId73"/>
    <p:sldLayoutId id="2147483914" r:id="rId74"/>
    <p:sldLayoutId id="2147483915" r:id="rId75"/>
    <p:sldLayoutId id="2147483916" r:id="rId76"/>
    <p:sldLayoutId id="2147483917" r:id="rId77"/>
    <p:sldLayoutId id="2147483918" r:id="rId78"/>
    <p:sldLayoutId id="2147483919" r:id="rId79"/>
    <p:sldLayoutId id="2147483920" r:id="rId80"/>
    <p:sldLayoutId id="2147483921" r:id="rId81"/>
    <p:sldLayoutId id="2147483922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402500863"/>
              </p:ext>
            </p:extLst>
          </p:nvPr>
        </p:nvGraphicFramePr>
        <p:xfrm>
          <a:off x="1590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270" imgH="270" progId="TCLayout.ActiveDocument.1">
                  <p:embed/>
                </p:oleObj>
              </mc:Choice>
              <mc:Fallback>
                <p:oleObj name="think-cell 幻灯片" r:id="rId4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307883-7445-4CB5-A55C-61E2836D559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" y="0"/>
            <a:ext cx="12188952" cy="1143000"/>
          </a:xfrm>
          <a:prstGeom prst="rect">
            <a:avLst/>
          </a:prstGeom>
        </p:spPr>
        <p:txBody>
          <a:bodyPr vert="horz" wrap="square" lIns="457200" tIns="45720" rIns="45720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" y="1243584"/>
            <a:ext cx="12188952" cy="4654296"/>
          </a:xfrm>
          <a:prstGeom prst="rect">
            <a:avLst/>
          </a:prstGeom>
        </p:spPr>
        <p:txBody>
          <a:bodyPr vert="horz" lIns="457200" tIns="45720" rIns="45720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10951538" y="6286096"/>
            <a:ext cx="1013737" cy="365125"/>
          </a:xfrm>
          <a:prstGeom prst="rect">
            <a:avLst/>
          </a:prstGeom>
        </p:spPr>
        <p:txBody>
          <a:bodyPr vert="horz" lIns="0" tIns="45721" rIns="0" bIns="45721" rtlCol="0" anchor="ctr"/>
          <a:lstStyle>
            <a:defPPr>
              <a:defRPr lang="en-US"/>
            </a:defPPr>
            <a:lvl1pPr algn="r">
              <a:defRPr sz="900">
                <a:solidFill>
                  <a:srgbClr val="8D8DA3"/>
                </a:solidFill>
              </a:defRPr>
            </a:lvl1pPr>
          </a:lstStyle>
          <a:p>
            <a:pPr lvl="0"/>
            <a:fld id="{DFCF27A5-1A5B-48D3-A060-2758FFBB1ADD}" type="slidenum">
              <a:rPr lang="en-US" sz="900" smtClean="0">
                <a:solidFill>
                  <a:srgbClr val="8D8DA3"/>
                </a:solidFill>
                <a:sym typeface="Arial" panose="020B0604020202020204" pitchFamily="34" charset="0"/>
              </a:rPr>
              <a:pPr lvl="0"/>
              <a:t>‹#›</a:t>
            </a:fld>
            <a:endParaRPr lang="en-US" sz="900" dirty="0">
              <a:solidFill>
                <a:srgbClr val="8D8DA3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051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31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331" rtl="0" eaLnBrk="1" latinLnBrk="0" hangingPunct="1">
        <a:lnSpc>
          <a:spcPct val="110000"/>
        </a:lnSpc>
        <a:spcBef>
          <a:spcPts val="599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378" indent="-172788" algn="l" defTabSz="914331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162" indent="-165589" algn="l" defTabSz="914331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331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33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55" indent="-152389" algn="l" defTabSz="914331" rtl="0" eaLnBrk="1" latinLnBrk="0" hangingPunct="1">
        <a:lnSpc>
          <a:spcPct val="90000"/>
        </a:lnSpc>
        <a:spcBef>
          <a:spcPts val="0"/>
        </a:spcBef>
        <a:spcAft>
          <a:spcPts val="599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331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331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33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3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8.xml"/><Relationship Id="rId4" Type="http://schemas.openxmlformats.org/officeDocument/2006/relationships/image" Target="../media/image30.emf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369.xml"/><Relationship Id="rId21" Type="http://schemas.openxmlformats.org/officeDocument/2006/relationships/tags" Target="../tags/tag1273.xml"/><Relationship Id="rId42" Type="http://schemas.openxmlformats.org/officeDocument/2006/relationships/tags" Target="../tags/tag1294.xml"/><Relationship Id="rId63" Type="http://schemas.openxmlformats.org/officeDocument/2006/relationships/tags" Target="../tags/tag1315.xml"/><Relationship Id="rId84" Type="http://schemas.openxmlformats.org/officeDocument/2006/relationships/tags" Target="../tags/tag1336.xml"/><Relationship Id="rId138" Type="http://schemas.openxmlformats.org/officeDocument/2006/relationships/tags" Target="../tags/tag1390.xml"/><Relationship Id="rId159" Type="http://schemas.openxmlformats.org/officeDocument/2006/relationships/tags" Target="../tags/tag1411.xml"/><Relationship Id="rId170" Type="http://schemas.openxmlformats.org/officeDocument/2006/relationships/tags" Target="../tags/tag1422.xml"/><Relationship Id="rId191" Type="http://schemas.openxmlformats.org/officeDocument/2006/relationships/tags" Target="../tags/tag1443.xml"/><Relationship Id="rId205" Type="http://schemas.openxmlformats.org/officeDocument/2006/relationships/tags" Target="../tags/tag1457.xml"/><Relationship Id="rId226" Type="http://schemas.openxmlformats.org/officeDocument/2006/relationships/tags" Target="../tags/tag1478.xml"/><Relationship Id="rId247" Type="http://schemas.openxmlformats.org/officeDocument/2006/relationships/tags" Target="../tags/tag1499.xml"/><Relationship Id="rId107" Type="http://schemas.openxmlformats.org/officeDocument/2006/relationships/tags" Target="../tags/tag1359.xml"/><Relationship Id="rId11" Type="http://schemas.openxmlformats.org/officeDocument/2006/relationships/tags" Target="../tags/tag1263.xml"/><Relationship Id="rId32" Type="http://schemas.openxmlformats.org/officeDocument/2006/relationships/tags" Target="../tags/tag1284.xml"/><Relationship Id="rId53" Type="http://schemas.openxmlformats.org/officeDocument/2006/relationships/tags" Target="../tags/tag1305.xml"/><Relationship Id="rId74" Type="http://schemas.openxmlformats.org/officeDocument/2006/relationships/tags" Target="../tags/tag1326.xml"/><Relationship Id="rId128" Type="http://schemas.openxmlformats.org/officeDocument/2006/relationships/tags" Target="../tags/tag1380.xml"/><Relationship Id="rId149" Type="http://schemas.openxmlformats.org/officeDocument/2006/relationships/tags" Target="../tags/tag1401.xml"/><Relationship Id="rId5" Type="http://schemas.openxmlformats.org/officeDocument/2006/relationships/tags" Target="../tags/tag1257.xml"/><Relationship Id="rId95" Type="http://schemas.openxmlformats.org/officeDocument/2006/relationships/tags" Target="../tags/tag1347.xml"/><Relationship Id="rId160" Type="http://schemas.openxmlformats.org/officeDocument/2006/relationships/tags" Target="../tags/tag1412.xml"/><Relationship Id="rId181" Type="http://schemas.openxmlformats.org/officeDocument/2006/relationships/tags" Target="../tags/tag1433.xml"/><Relationship Id="rId216" Type="http://schemas.openxmlformats.org/officeDocument/2006/relationships/tags" Target="../tags/tag1468.xml"/><Relationship Id="rId237" Type="http://schemas.openxmlformats.org/officeDocument/2006/relationships/tags" Target="../tags/tag1489.xml"/><Relationship Id="rId22" Type="http://schemas.openxmlformats.org/officeDocument/2006/relationships/tags" Target="../tags/tag1274.xml"/><Relationship Id="rId43" Type="http://schemas.openxmlformats.org/officeDocument/2006/relationships/tags" Target="../tags/tag1295.xml"/><Relationship Id="rId64" Type="http://schemas.openxmlformats.org/officeDocument/2006/relationships/tags" Target="../tags/tag1316.xml"/><Relationship Id="rId118" Type="http://schemas.openxmlformats.org/officeDocument/2006/relationships/tags" Target="../tags/tag1370.xml"/><Relationship Id="rId139" Type="http://schemas.openxmlformats.org/officeDocument/2006/relationships/tags" Target="../tags/tag1391.xml"/><Relationship Id="rId85" Type="http://schemas.openxmlformats.org/officeDocument/2006/relationships/tags" Target="../tags/tag1337.xml"/><Relationship Id="rId150" Type="http://schemas.openxmlformats.org/officeDocument/2006/relationships/tags" Target="../tags/tag1402.xml"/><Relationship Id="rId171" Type="http://schemas.openxmlformats.org/officeDocument/2006/relationships/tags" Target="../tags/tag1423.xml"/><Relationship Id="rId192" Type="http://schemas.openxmlformats.org/officeDocument/2006/relationships/tags" Target="../tags/tag1444.xml"/><Relationship Id="rId206" Type="http://schemas.openxmlformats.org/officeDocument/2006/relationships/tags" Target="../tags/tag1458.xml"/><Relationship Id="rId227" Type="http://schemas.openxmlformats.org/officeDocument/2006/relationships/tags" Target="../tags/tag1479.xml"/><Relationship Id="rId248" Type="http://schemas.openxmlformats.org/officeDocument/2006/relationships/tags" Target="../tags/tag1500.xml"/><Relationship Id="rId12" Type="http://schemas.openxmlformats.org/officeDocument/2006/relationships/tags" Target="../tags/tag1264.xml"/><Relationship Id="rId33" Type="http://schemas.openxmlformats.org/officeDocument/2006/relationships/tags" Target="../tags/tag1285.xml"/><Relationship Id="rId108" Type="http://schemas.openxmlformats.org/officeDocument/2006/relationships/tags" Target="../tags/tag1360.xml"/><Relationship Id="rId129" Type="http://schemas.openxmlformats.org/officeDocument/2006/relationships/tags" Target="../tags/tag1381.xml"/><Relationship Id="rId54" Type="http://schemas.openxmlformats.org/officeDocument/2006/relationships/tags" Target="../tags/tag1306.xml"/><Relationship Id="rId75" Type="http://schemas.openxmlformats.org/officeDocument/2006/relationships/tags" Target="../tags/tag1327.xml"/><Relationship Id="rId96" Type="http://schemas.openxmlformats.org/officeDocument/2006/relationships/tags" Target="../tags/tag1348.xml"/><Relationship Id="rId140" Type="http://schemas.openxmlformats.org/officeDocument/2006/relationships/tags" Target="../tags/tag1392.xml"/><Relationship Id="rId161" Type="http://schemas.openxmlformats.org/officeDocument/2006/relationships/tags" Target="../tags/tag1413.xml"/><Relationship Id="rId182" Type="http://schemas.openxmlformats.org/officeDocument/2006/relationships/tags" Target="../tags/tag1434.xml"/><Relationship Id="rId217" Type="http://schemas.openxmlformats.org/officeDocument/2006/relationships/tags" Target="../tags/tag1469.xml"/><Relationship Id="rId6" Type="http://schemas.openxmlformats.org/officeDocument/2006/relationships/tags" Target="../tags/tag1258.xml"/><Relationship Id="rId238" Type="http://schemas.openxmlformats.org/officeDocument/2006/relationships/tags" Target="../tags/tag1490.xml"/><Relationship Id="rId23" Type="http://schemas.openxmlformats.org/officeDocument/2006/relationships/tags" Target="../tags/tag1275.xml"/><Relationship Id="rId119" Type="http://schemas.openxmlformats.org/officeDocument/2006/relationships/tags" Target="../tags/tag1371.xml"/><Relationship Id="rId44" Type="http://schemas.openxmlformats.org/officeDocument/2006/relationships/tags" Target="../tags/tag1296.xml"/><Relationship Id="rId65" Type="http://schemas.openxmlformats.org/officeDocument/2006/relationships/tags" Target="../tags/tag1317.xml"/><Relationship Id="rId86" Type="http://schemas.openxmlformats.org/officeDocument/2006/relationships/tags" Target="../tags/tag1338.xml"/><Relationship Id="rId130" Type="http://schemas.openxmlformats.org/officeDocument/2006/relationships/tags" Target="../tags/tag1382.xml"/><Relationship Id="rId151" Type="http://schemas.openxmlformats.org/officeDocument/2006/relationships/tags" Target="../tags/tag1403.xml"/><Relationship Id="rId172" Type="http://schemas.openxmlformats.org/officeDocument/2006/relationships/tags" Target="../tags/tag1424.xml"/><Relationship Id="rId193" Type="http://schemas.openxmlformats.org/officeDocument/2006/relationships/tags" Target="../tags/tag1445.xml"/><Relationship Id="rId207" Type="http://schemas.openxmlformats.org/officeDocument/2006/relationships/tags" Target="../tags/tag1459.xml"/><Relationship Id="rId228" Type="http://schemas.openxmlformats.org/officeDocument/2006/relationships/tags" Target="../tags/tag1480.xml"/><Relationship Id="rId249" Type="http://schemas.openxmlformats.org/officeDocument/2006/relationships/slideLayout" Target="../slideLayouts/slideLayout47.xml"/><Relationship Id="rId13" Type="http://schemas.openxmlformats.org/officeDocument/2006/relationships/tags" Target="../tags/tag1265.xml"/><Relationship Id="rId109" Type="http://schemas.openxmlformats.org/officeDocument/2006/relationships/tags" Target="../tags/tag1361.xml"/><Relationship Id="rId34" Type="http://schemas.openxmlformats.org/officeDocument/2006/relationships/tags" Target="../tags/tag1286.xml"/><Relationship Id="rId55" Type="http://schemas.openxmlformats.org/officeDocument/2006/relationships/tags" Target="../tags/tag1307.xml"/><Relationship Id="rId76" Type="http://schemas.openxmlformats.org/officeDocument/2006/relationships/tags" Target="../tags/tag1328.xml"/><Relationship Id="rId97" Type="http://schemas.openxmlformats.org/officeDocument/2006/relationships/tags" Target="../tags/tag1349.xml"/><Relationship Id="rId120" Type="http://schemas.openxmlformats.org/officeDocument/2006/relationships/tags" Target="../tags/tag1372.xml"/><Relationship Id="rId141" Type="http://schemas.openxmlformats.org/officeDocument/2006/relationships/tags" Target="../tags/tag1393.xml"/><Relationship Id="rId7" Type="http://schemas.openxmlformats.org/officeDocument/2006/relationships/tags" Target="../tags/tag1259.xml"/><Relationship Id="rId162" Type="http://schemas.openxmlformats.org/officeDocument/2006/relationships/tags" Target="../tags/tag1414.xml"/><Relationship Id="rId183" Type="http://schemas.openxmlformats.org/officeDocument/2006/relationships/tags" Target="../tags/tag1435.xml"/><Relationship Id="rId218" Type="http://schemas.openxmlformats.org/officeDocument/2006/relationships/tags" Target="../tags/tag1470.xml"/><Relationship Id="rId239" Type="http://schemas.openxmlformats.org/officeDocument/2006/relationships/tags" Target="../tags/tag1491.xml"/><Relationship Id="rId250" Type="http://schemas.openxmlformats.org/officeDocument/2006/relationships/oleObject" Target="../embeddings/oleObject285.bin"/><Relationship Id="rId24" Type="http://schemas.openxmlformats.org/officeDocument/2006/relationships/tags" Target="../tags/tag1276.xml"/><Relationship Id="rId45" Type="http://schemas.openxmlformats.org/officeDocument/2006/relationships/tags" Target="../tags/tag1297.xml"/><Relationship Id="rId66" Type="http://schemas.openxmlformats.org/officeDocument/2006/relationships/tags" Target="../tags/tag1318.xml"/><Relationship Id="rId87" Type="http://schemas.openxmlformats.org/officeDocument/2006/relationships/tags" Target="../tags/tag1339.xml"/><Relationship Id="rId110" Type="http://schemas.openxmlformats.org/officeDocument/2006/relationships/tags" Target="../tags/tag1362.xml"/><Relationship Id="rId131" Type="http://schemas.openxmlformats.org/officeDocument/2006/relationships/tags" Target="../tags/tag1383.xml"/><Relationship Id="rId152" Type="http://schemas.openxmlformats.org/officeDocument/2006/relationships/tags" Target="../tags/tag1404.xml"/><Relationship Id="rId173" Type="http://schemas.openxmlformats.org/officeDocument/2006/relationships/tags" Target="../tags/tag1425.xml"/><Relationship Id="rId194" Type="http://schemas.openxmlformats.org/officeDocument/2006/relationships/tags" Target="../tags/tag1446.xml"/><Relationship Id="rId208" Type="http://schemas.openxmlformats.org/officeDocument/2006/relationships/tags" Target="../tags/tag1460.xml"/><Relationship Id="rId229" Type="http://schemas.openxmlformats.org/officeDocument/2006/relationships/tags" Target="../tags/tag1481.xml"/><Relationship Id="rId240" Type="http://schemas.openxmlformats.org/officeDocument/2006/relationships/tags" Target="../tags/tag1492.xml"/><Relationship Id="rId14" Type="http://schemas.openxmlformats.org/officeDocument/2006/relationships/tags" Target="../tags/tag1266.xml"/><Relationship Id="rId35" Type="http://schemas.openxmlformats.org/officeDocument/2006/relationships/tags" Target="../tags/tag1287.xml"/><Relationship Id="rId56" Type="http://schemas.openxmlformats.org/officeDocument/2006/relationships/tags" Target="../tags/tag1308.xml"/><Relationship Id="rId77" Type="http://schemas.openxmlformats.org/officeDocument/2006/relationships/tags" Target="../tags/tag1329.xml"/><Relationship Id="rId100" Type="http://schemas.openxmlformats.org/officeDocument/2006/relationships/tags" Target="../tags/tag1352.xml"/><Relationship Id="rId8" Type="http://schemas.openxmlformats.org/officeDocument/2006/relationships/tags" Target="../tags/tag1260.xml"/><Relationship Id="rId98" Type="http://schemas.openxmlformats.org/officeDocument/2006/relationships/tags" Target="../tags/tag1350.xml"/><Relationship Id="rId121" Type="http://schemas.openxmlformats.org/officeDocument/2006/relationships/tags" Target="../tags/tag1373.xml"/><Relationship Id="rId142" Type="http://schemas.openxmlformats.org/officeDocument/2006/relationships/tags" Target="../tags/tag1394.xml"/><Relationship Id="rId163" Type="http://schemas.openxmlformats.org/officeDocument/2006/relationships/tags" Target="../tags/tag1415.xml"/><Relationship Id="rId184" Type="http://schemas.openxmlformats.org/officeDocument/2006/relationships/tags" Target="../tags/tag1436.xml"/><Relationship Id="rId219" Type="http://schemas.openxmlformats.org/officeDocument/2006/relationships/tags" Target="../tags/tag1471.xml"/><Relationship Id="rId230" Type="http://schemas.openxmlformats.org/officeDocument/2006/relationships/tags" Target="../tags/tag1482.xml"/><Relationship Id="rId251" Type="http://schemas.openxmlformats.org/officeDocument/2006/relationships/image" Target="../media/image31.emf"/><Relationship Id="rId25" Type="http://schemas.openxmlformats.org/officeDocument/2006/relationships/tags" Target="../tags/tag1277.xml"/><Relationship Id="rId46" Type="http://schemas.openxmlformats.org/officeDocument/2006/relationships/tags" Target="../tags/tag1298.xml"/><Relationship Id="rId67" Type="http://schemas.openxmlformats.org/officeDocument/2006/relationships/tags" Target="../tags/tag1319.xml"/><Relationship Id="rId88" Type="http://schemas.openxmlformats.org/officeDocument/2006/relationships/tags" Target="../tags/tag1340.xml"/><Relationship Id="rId111" Type="http://schemas.openxmlformats.org/officeDocument/2006/relationships/tags" Target="../tags/tag1363.xml"/><Relationship Id="rId132" Type="http://schemas.openxmlformats.org/officeDocument/2006/relationships/tags" Target="../tags/tag1384.xml"/><Relationship Id="rId153" Type="http://schemas.openxmlformats.org/officeDocument/2006/relationships/tags" Target="../tags/tag1405.xml"/><Relationship Id="rId174" Type="http://schemas.openxmlformats.org/officeDocument/2006/relationships/tags" Target="../tags/tag1426.xml"/><Relationship Id="rId195" Type="http://schemas.openxmlformats.org/officeDocument/2006/relationships/tags" Target="../tags/tag1447.xml"/><Relationship Id="rId209" Type="http://schemas.openxmlformats.org/officeDocument/2006/relationships/tags" Target="../tags/tag1461.xml"/><Relationship Id="rId220" Type="http://schemas.openxmlformats.org/officeDocument/2006/relationships/tags" Target="../tags/tag1472.xml"/><Relationship Id="rId241" Type="http://schemas.openxmlformats.org/officeDocument/2006/relationships/tags" Target="../tags/tag1493.xml"/><Relationship Id="rId15" Type="http://schemas.openxmlformats.org/officeDocument/2006/relationships/tags" Target="../tags/tag1267.xml"/><Relationship Id="rId36" Type="http://schemas.openxmlformats.org/officeDocument/2006/relationships/tags" Target="../tags/tag1288.xml"/><Relationship Id="rId57" Type="http://schemas.openxmlformats.org/officeDocument/2006/relationships/tags" Target="../tags/tag1309.xml"/><Relationship Id="rId78" Type="http://schemas.openxmlformats.org/officeDocument/2006/relationships/tags" Target="../tags/tag1330.xml"/><Relationship Id="rId99" Type="http://schemas.openxmlformats.org/officeDocument/2006/relationships/tags" Target="../tags/tag1351.xml"/><Relationship Id="rId101" Type="http://schemas.openxmlformats.org/officeDocument/2006/relationships/tags" Target="../tags/tag1353.xml"/><Relationship Id="rId122" Type="http://schemas.openxmlformats.org/officeDocument/2006/relationships/tags" Target="../tags/tag1374.xml"/><Relationship Id="rId143" Type="http://schemas.openxmlformats.org/officeDocument/2006/relationships/tags" Target="../tags/tag1395.xml"/><Relationship Id="rId164" Type="http://schemas.openxmlformats.org/officeDocument/2006/relationships/tags" Target="../tags/tag1416.xml"/><Relationship Id="rId185" Type="http://schemas.openxmlformats.org/officeDocument/2006/relationships/tags" Target="../tags/tag1437.xml"/><Relationship Id="rId9" Type="http://schemas.openxmlformats.org/officeDocument/2006/relationships/tags" Target="../tags/tag1261.xml"/><Relationship Id="rId210" Type="http://schemas.openxmlformats.org/officeDocument/2006/relationships/tags" Target="../tags/tag1462.xml"/><Relationship Id="rId26" Type="http://schemas.openxmlformats.org/officeDocument/2006/relationships/tags" Target="../tags/tag1278.xml"/><Relationship Id="rId231" Type="http://schemas.openxmlformats.org/officeDocument/2006/relationships/tags" Target="../tags/tag1483.xml"/><Relationship Id="rId252" Type="http://schemas.openxmlformats.org/officeDocument/2006/relationships/chart" Target="../charts/chart26.xml"/><Relationship Id="rId47" Type="http://schemas.openxmlformats.org/officeDocument/2006/relationships/tags" Target="../tags/tag1299.xml"/><Relationship Id="rId68" Type="http://schemas.openxmlformats.org/officeDocument/2006/relationships/tags" Target="../tags/tag1320.xml"/><Relationship Id="rId89" Type="http://schemas.openxmlformats.org/officeDocument/2006/relationships/tags" Target="../tags/tag1341.xml"/><Relationship Id="rId112" Type="http://schemas.openxmlformats.org/officeDocument/2006/relationships/tags" Target="../tags/tag1364.xml"/><Relationship Id="rId133" Type="http://schemas.openxmlformats.org/officeDocument/2006/relationships/tags" Target="../tags/tag1385.xml"/><Relationship Id="rId154" Type="http://schemas.openxmlformats.org/officeDocument/2006/relationships/tags" Target="../tags/tag1406.xml"/><Relationship Id="rId175" Type="http://schemas.openxmlformats.org/officeDocument/2006/relationships/tags" Target="../tags/tag1427.xml"/><Relationship Id="rId196" Type="http://schemas.openxmlformats.org/officeDocument/2006/relationships/tags" Target="../tags/tag1448.xml"/><Relationship Id="rId200" Type="http://schemas.openxmlformats.org/officeDocument/2006/relationships/tags" Target="../tags/tag1452.xml"/><Relationship Id="rId16" Type="http://schemas.openxmlformats.org/officeDocument/2006/relationships/tags" Target="../tags/tag1268.xml"/><Relationship Id="rId221" Type="http://schemas.openxmlformats.org/officeDocument/2006/relationships/tags" Target="../tags/tag1473.xml"/><Relationship Id="rId242" Type="http://schemas.openxmlformats.org/officeDocument/2006/relationships/tags" Target="../tags/tag1494.xml"/><Relationship Id="rId37" Type="http://schemas.openxmlformats.org/officeDocument/2006/relationships/tags" Target="../tags/tag1289.xml"/><Relationship Id="rId58" Type="http://schemas.openxmlformats.org/officeDocument/2006/relationships/tags" Target="../tags/tag1310.xml"/><Relationship Id="rId79" Type="http://schemas.openxmlformats.org/officeDocument/2006/relationships/tags" Target="../tags/tag1331.xml"/><Relationship Id="rId102" Type="http://schemas.openxmlformats.org/officeDocument/2006/relationships/tags" Target="../tags/tag1354.xml"/><Relationship Id="rId123" Type="http://schemas.openxmlformats.org/officeDocument/2006/relationships/tags" Target="../tags/tag1375.xml"/><Relationship Id="rId144" Type="http://schemas.openxmlformats.org/officeDocument/2006/relationships/tags" Target="../tags/tag1396.xml"/><Relationship Id="rId90" Type="http://schemas.openxmlformats.org/officeDocument/2006/relationships/tags" Target="../tags/tag1342.xml"/><Relationship Id="rId165" Type="http://schemas.openxmlformats.org/officeDocument/2006/relationships/tags" Target="../tags/tag1417.xml"/><Relationship Id="rId186" Type="http://schemas.openxmlformats.org/officeDocument/2006/relationships/tags" Target="../tags/tag1438.xml"/><Relationship Id="rId211" Type="http://schemas.openxmlformats.org/officeDocument/2006/relationships/tags" Target="../tags/tag1463.xml"/><Relationship Id="rId232" Type="http://schemas.openxmlformats.org/officeDocument/2006/relationships/tags" Target="../tags/tag1484.xml"/><Relationship Id="rId253" Type="http://schemas.openxmlformats.org/officeDocument/2006/relationships/chart" Target="../charts/chart27.xml"/><Relationship Id="rId27" Type="http://schemas.openxmlformats.org/officeDocument/2006/relationships/tags" Target="../tags/tag1279.xml"/><Relationship Id="rId48" Type="http://schemas.openxmlformats.org/officeDocument/2006/relationships/tags" Target="../tags/tag1300.xml"/><Relationship Id="rId69" Type="http://schemas.openxmlformats.org/officeDocument/2006/relationships/tags" Target="../tags/tag1321.xml"/><Relationship Id="rId113" Type="http://schemas.openxmlformats.org/officeDocument/2006/relationships/tags" Target="../tags/tag1365.xml"/><Relationship Id="rId134" Type="http://schemas.openxmlformats.org/officeDocument/2006/relationships/tags" Target="../tags/tag1386.xml"/><Relationship Id="rId80" Type="http://schemas.openxmlformats.org/officeDocument/2006/relationships/tags" Target="../tags/tag1332.xml"/><Relationship Id="rId155" Type="http://schemas.openxmlformats.org/officeDocument/2006/relationships/tags" Target="../tags/tag1407.xml"/><Relationship Id="rId176" Type="http://schemas.openxmlformats.org/officeDocument/2006/relationships/tags" Target="../tags/tag1428.xml"/><Relationship Id="rId197" Type="http://schemas.openxmlformats.org/officeDocument/2006/relationships/tags" Target="../tags/tag1449.xml"/><Relationship Id="rId201" Type="http://schemas.openxmlformats.org/officeDocument/2006/relationships/tags" Target="../tags/tag1453.xml"/><Relationship Id="rId222" Type="http://schemas.openxmlformats.org/officeDocument/2006/relationships/tags" Target="../tags/tag1474.xml"/><Relationship Id="rId243" Type="http://schemas.openxmlformats.org/officeDocument/2006/relationships/tags" Target="../tags/tag1495.xml"/><Relationship Id="rId17" Type="http://schemas.openxmlformats.org/officeDocument/2006/relationships/tags" Target="../tags/tag1269.xml"/><Relationship Id="rId38" Type="http://schemas.openxmlformats.org/officeDocument/2006/relationships/tags" Target="../tags/tag1290.xml"/><Relationship Id="rId59" Type="http://schemas.openxmlformats.org/officeDocument/2006/relationships/tags" Target="../tags/tag1311.xml"/><Relationship Id="rId103" Type="http://schemas.openxmlformats.org/officeDocument/2006/relationships/tags" Target="../tags/tag1355.xml"/><Relationship Id="rId124" Type="http://schemas.openxmlformats.org/officeDocument/2006/relationships/tags" Target="../tags/tag1376.xml"/><Relationship Id="rId70" Type="http://schemas.openxmlformats.org/officeDocument/2006/relationships/tags" Target="../tags/tag1322.xml"/><Relationship Id="rId91" Type="http://schemas.openxmlformats.org/officeDocument/2006/relationships/tags" Target="../tags/tag1343.xml"/><Relationship Id="rId145" Type="http://schemas.openxmlformats.org/officeDocument/2006/relationships/tags" Target="../tags/tag1397.xml"/><Relationship Id="rId166" Type="http://schemas.openxmlformats.org/officeDocument/2006/relationships/tags" Target="../tags/tag1418.xml"/><Relationship Id="rId187" Type="http://schemas.openxmlformats.org/officeDocument/2006/relationships/tags" Target="../tags/tag1439.xml"/><Relationship Id="rId1" Type="http://schemas.openxmlformats.org/officeDocument/2006/relationships/tags" Target="../tags/tag1253.xml"/><Relationship Id="rId212" Type="http://schemas.openxmlformats.org/officeDocument/2006/relationships/tags" Target="../tags/tag1464.xml"/><Relationship Id="rId233" Type="http://schemas.openxmlformats.org/officeDocument/2006/relationships/tags" Target="../tags/tag1485.xml"/><Relationship Id="rId254" Type="http://schemas.openxmlformats.org/officeDocument/2006/relationships/chart" Target="../charts/chart28.xml"/><Relationship Id="rId28" Type="http://schemas.openxmlformats.org/officeDocument/2006/relationships/tags" Target="../tags/tag1280.xml"/><Relationship Id="rId49" Type="http://schemas.openxmlformats.org/officeDocument/2006/relationships/tags" Target="../tags/tag1301.xml"/><Relationship Id="rId114" Type="http://schemas.openxmlformats.org/officeDocument/2006/relationships/tags" Target="../tags/tag1366.xml"/><Relationship Id="rId60" Type="http://schemas.openxmlformats.org/officeDocument/2006/relationships/tags" Target="../tags/tag1312.xml"/><Relationship Id="rId81" Type="http://schemas.openxmlformats.org/officeDocument/2006/relationships/tags" Target="../tags/tag1333.xml"/><Relationship Id="rId135" Type="http://schemas.openxmlformats.org/officeDocument/2006/relationships/tags" Target="../tags/tag1387.xml"/><Relationship Id="rId156" Type="http://schemas.openxmlformats.org/officeDocument/2006/relationships/tags" Target="../tags/tag1408.xml"/><Relationship Id="rId177" Type="http://schemas.openxmlformats.org/officeDocument/2006/relationships/tags" Target="../tags/tag1429.xml"/><Relationship Id="rId198" Type="http://schemas.openxmlformats.org/officeDocument/2006/relationships/tags" Target="../tags/tag1450.xml"/><Relationship Id="rId202" Type="http://schemas.openxmlformats.org/officeDocument/2006/relationships/tags" Target="../tags/tag1454.xml"/><Relationship Id="rId223" Type="http://schemas.openxmlformats.org/officeDocument/2006/relationships/tags" Target="../tags/tag1475.xml"/><Relationship Id="rId244" Type="http://schemas.openxmlformats.org/officeDocument/2006/relationships/tags" Target="../tags/tag1496.xml"/><Relationship Id="rId18" Type="http://schemas.openxmlformats.org/officeDocument/2006/relationships/tags" Target="../tags/tag1270.xml"/><Relationship Id="rId39" Type="http://schemas.openxmlformats.org/officeDocument/2006/relationships/tags" Target="../tags/tag1291.xml"/><Relationship Id="rId50" Type="http://schemas.openxmlformats.org/officeDocument/2006/relationships/tags" Target="../tags/tag1302.xml"/><Relationship Id="rId104" Type="http://schemas.openxmlformats.org/officeDocument/2006/relationships/tags" Target="../tags/tag1356.xml"/><Relationship Id="rId125" Type="http://schemas.openxmlformats.org/officeDocument/2006/relationships/tags" Target="../tags/tag1377.xml"/><Relationship Id="rId146" Type="http://schemas.openxmlformats.org/officeDocument/2006/relationships/tags" Target="../tags/tag1398.xml"/><Relationship Id="rId167" Type="http://schemas.openxmlformats.org/officeDocument/2006/relationships/tags" Target="../tags/tag1419.xml"/><Relationship Id="rId188" Type="http://schemas.openxmlformats.org/officeDocument/2006/relationships/tags" Target="../tags/tag1440.xml"/><Relationship Id="rId71" Type="http://schemas.openxmlformats.org/officeDocument/2006/relationships/tags" Target="../tags/tag1323.xml"/><Relationship Id="rId92" Type="http://schemas.openxmlformats.org/officeDocument/2006/relationships/tags" Target="../tags/tag1344.xml"/><Relationship Id="rId213" Type="http://schemas.openxmlformats.org/officeDocument/2006/relationships/tags" Target="../tags/tag1465.xml"/><Relationship Id="rId234" Type="http://schemas.openxmlformats.org/officeDocument/2006/relationships/tags" Target="../tags/tag1486.xml"/><Relationship Id="rId2" Type="http://schemas.openxmlformats.org/officeDocument/2006/relationships/tags" Target="../tags/tag1254.xml"/><Relationship Id="rId29" Type="http://schemas.openxmlformats.org/officeDocument/2006/relationships/tags" Target="../tags/tag1281.xml"/><Relationship Id="rId255" Type="http://schemas.openxmlformats.org/officeDocument/2006/relationships/chart" Target="../charts/chart29.xml"/><Relationship Id="rId40" Type="http://schemas.openxmlformats.org/officeDocument/2006/relationships/tags" Target="../tags/tag1292.xml"/><Relationship Id="rId115" Type="http://schemas.openxmlformats.org/officeDocument/2006/relationships/tags" Target="../tags/tag1367.xml"/><Relationship Id="rId136" Type="http://schemas.openxmlformats.org/officeDocument/2006/relationships/tags" Target="../tags/tag1388.xml"/><Relationship Id="rId157" Type="http://schemas.openxmlformats.org/officeDocument/2006/relationships/tags" Target="../tags/tag1409.xml"/><Relationship Id="rId178" Type="http://schemas.openxmlformats.org/officeDocument/2006/relationships/tags" Target="../tags/tag1430.xml"/><Relationship Id="rId61" Type="http://schemas.openxmlformats.org/officeDocument/2006/relationships/tags" Target="../tags/tag1313.xml"/><Relationship Id="rId82" Type="http://schemas.openxmlformats.org/officeDocument/2006/relationships/tags" Target="../tags/tag1334.xml"/><Relationship Id="rId199" Type="http://schemas.openxmlformats.org/officeDocument/2006/relationships/tags" Target="../tags/tag1451.xml"/><Relationship Id="rId203" Type="http://schemas.openxmlformats.org/officeDocument/2006/relationships/tags" Target="../tags/tag1455.xml"/><Relationship Id="rId19" Type="http://schemas.openxmlformats.org/officeDocument/2006/relationships/tags" Target="../tags/tag1271.xml"/><Relationship Id="rId224" Type="http://schemas.openxmlformats.org/officeDocument/2006/relationships/tags" Target="../tags/tag1476.xml"/><Relationship Id="rId245" Type="http://schemas.openxmlformats.org/officeDocument/2006/relationships/tags" Target="../tags/tag1497.xml"/><Relationship Id="rId30" Type="http://schemas.openxmlformats.org/officeDocument/2006/relationships/tags" Target="../tags/tag1282.xml"/><Relationship Id="rId105" Type="http://schemas.openxmlformats.org/officeDocument/2006/relationships/tags" Target="../tags/tag1357.xml"/><Relationship Id="rId126" Type="http://schemas.openxmlformats.org/officeDocument/2006/relationships/tags" Target="../tags/tag1378.xml"/><Relationship Id="rId147" Type="http://schemas.openxmlformats.org/officeDocument/2006/relationships/tags" Target="../tags/tag1399.xml"/><Relationship Id="rId168" Type="http://schemas.openxmlformats.org/officeDocument/2006/relationships/tags" Target="../tags/tag1420.xml"/><Relationship Id="rId51" Type="http://schemas.openxmlformats.org/officeDocument/2006/relationships/tags" Target="../tags/tag1303.xml"/><Relationship Id="rId72" Type="http://schemas.openxmlformats.org/officeDocument/2006/relationships/tags" Target="../tags/tag1324.xml"/><Relationship Id="rId93" Type="http://schemas.openxmlformats.org/officeDocument/2006/relationships/tags" Target="../tags/tag1345.xml"/><Relationship Id="rId189" Type="http://schemas.openxmlformats.org/officeDocument/2006/relationships/tags" Target="../tags/tag1441.xml"/><Relationship Id="rId3" Type="http://schemas.openxmlformats.org/officeDocument/2006/relationships/tags" Target="../tags/tag1255.xml"/><Relationship Id="rId214" Type="http://schemas.openxmlformats.org/officeDocument/2006/relationships/tags" Target="../tags/tag1466.xml"/><Relationship Id="rId235" Type="http://schemas.openxmlformats.org/officeDocument/2006/relationships/tags" Target="../tags/tag1487.xml"/><Relationship Id="rId256" Type="http://schemas.openxmlformats.org/officeDocument/2006/relationships/chart" Target="../charts/chart30.xml"/><Relationship Id="rId116" Type="http://schemas.openxmlformats.org/officeDocument/2006/relationships/tags" Target="../tags/tag1368.xml"/><Relationship Id="rId137" Type="http://schemas.openxmlformats.org/officeDocument/2006/relationships/tags" Target="../tags/tag1389.xml"/><Relationship Id="rId158" Type="http://schemas.openxmlformats.org/officeDocument/2006/relationships/tags" Target="../tags/tag1410.xml"/><Relationship Id="rId20" Type="http://schemas.openxmlformats.org/officeDocument/2006/relationships/tags" Target="../tags/tag1272.xml"/><Relationship Id="rId41" Type="http://schemas.openxmlformats.org/officeDocument/2006/relationships/tags" Target="../tags/tag1293.xml"/><Relationship Id="rId62" Type="http://schemas.openxmlformats.org/officeDocument/2006/relationships/tags" Target="../tags/tag1314.xml"/><Relationship Id="rId83" Type="http://schemas.openxmlformats.org/officeDocument/2006/relationships/tags" Target="../tags/tag1335.xml"/><Relationship Id="rId179" Type="http://schemas.openxmlformats.org/officeDocument/2006/relationships/tags" Target="../tags/tag1431.xml"/><Relationship Id="rId190" Type="http://schemas.openxmlformats.org/officeDocument/2006/relationships/tags" Target="../tags/tag1442.xml"/><Relationship Id="rId204" Type="http://schemas.openxmlformats.org/officeDocument/2006/relationships/tags" Target="../tags/tag1456.xml"/><Relationship Id="rId225" Type="http://schemas.openxmlformats.org/officeDocument/2006/relationships/tags" Target="../tags/tag1477.xml"/><Relationship Id="rId246" Type="http://schemas.openxmlformats.org/officeDocument/2006/relationships/tags" Target="../tags/tag1498.xml"/><Relationship Id="rId106" Type="http://schemas.openxmlformats.org/officeDocument/2006/relationships/tags" Target="../tags/tag1358.xml"/><Relationship Id="rId127" Type="http://schemas.openxmlformats.org/officeDocument/2006/relationships/tags" Target="../tags/tag1379.xml"/><Relationship Id="rId10" Type="http://schemas.openxmlformats.org/officeDocument/2006/relationships/tags" Target="../tags/tag1262.xml"/><Relationship Id="rId31" Type="http://schemas.openxmlformats.org/officeDocument/2006/relationships/tags" Target="../tags/tag1283.xml"/><Relationship Id="rId52" Type="http://schemas.openxmlformats.org/officeDocument/2006/relationships/tags" Target="../tags/tag1304.xml"/><Relationship Id="rId73" Type="http://schemas.openxmlformats.org/officeDocument/2006/relationships/tags" Target="../tags/tag1325.xml"/><Relationship Id="rId94" Type="http://schemas.openxmlformats.org/officeDocument/2006/relationships/tags" Target="../tags/tag1346.xml"/><Relationship Id="rId148" Type="http://schemas.openxmlformats.org/officeDocument/2006/relationships/tags" Target="../tags/tag1400.xml"/><Relationship Id="rId169" Type="http://schemas.openxmlformats.org/officeDocument/2006/relationships/tags" Target="../tags/tag1421.xml"/><Relationship Id="rId4" Type="http://schemas.openxmlformats.org/officeDocument/2006/relationships/tags" Target="../tags/tag1256.xml"/><Relationship Id="rId180" Type="http://schemas.openxmlformats.org/officeDocument/2006/relationships/tags" Target="../tags/tag1432.xml"/><Relationship Id="rId215" Type="http://schemas.openxmlformats.org/officeDocument/2006/relationships/tags" Target="../tags/tag1467.xml"/><Relationship Id="rId236" Type="http://schemas.openxmlformats.org/officeDocument/2006/relationships/tags" Target="../tags/tag1488.xml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1617.xml"/><Relationship Id="rId21" Type="http://schemas.openxmlformats.org/officeDocument/2006/relationships/tags" Target="../tags/tag1521.xml"/><Relationship Id="rId63" Type="http://schemas.openxmlformats.org/officeDocument/2006/relationships/tags" Target="../tags/tag1563.xml"/><Relationship Id="rId159" Type="http://schemas.openxmlformats.org/officeDocument/2006/relationships/tags" Target="../tags/tag1659.xml"/><Relationship Id="rId170" Type="http://schemas.openxmlformats.org/officeDocument/2006/relationships/tags" Target="../tags/tag1670.xml"/><Relationship Id="rId226" Type="http://schemas.openxmlformats.org/officeDocument/2006/relationships/tags" Target="../tags/tag1726.xml"/><Relationship Id="rId268" Type="http://schemas.openxmlformats.org/officeDocument/2006/relationships/chart" Target="../charts/chart34.xml"/><Relationship Id="rId11" Type="http://schemas.openxmlformats.org/officeDocument/2006/relationships/tags" Target="../tags/tag1511.xml"/><Relationship Id="rId32" Type="http://schemas.openxmlformats.org/officeDocument/2006/relationships/tags" Target="../tags/tag1532.xml"/><Relationship Id="rId53" Type="http://schemas.openxmlformats.org/officeDocument/2006/relationships/tags" Target="../tags/tag1553.xml"/><Relationship Id="rId74" Type="http://schemas.openxmlformats.org/officeDocument/2006/relationships/tags" Target="../tags/tag1574.xml"/><Relationship Id="rId128" Type="http://schemas.openxmlformats.org/officeDocument/2006/relationships/tags" Target="../tags/tag1628.xml"/><Relationship Id="rId149" Type="http://schemas.openxmlformats.org/officeDocument/2006/relationships/tags" Target="../tags/tag1649.xml"/><Relationship Id="rId5" Type="http://schemas.openxmlformats.org/officeDocument/2006/relationships/tags" Target="../tags/tag1505.xml"/><Relationship Id="rId95" Type="http://schemas.openxmlformats.org/officeDocument/2006/relationships/tags" Target="../tags/tag1595.xml"/><Relationship Id="rId160" Type="http://schemas.openxmlformats.org/officeDocument/2006/relationships/tags" Target="../tags/tag1660.xml"/><Relationship Id="rId181" Type="http://schemas.openxmlformats.org/officeDocument/2006/relationships/tags" Target="../tags/tag1681.xml"/><Relationship Id="rId216" Type="http://schemas.openxmlformats.org/officeDocument/2006/relationships/tags" Target="../tags/tag1716.xml"/><Relationship Id="rId237" Type="http://schemas.openxmlformats.org/officeDocument/2006/relationships/tags" Target="../tags/tag1737.xml"/><Relationship Id="rId258" Type="http://schemas.openxmlformats.org/officeDocument/2006/relationships/tags" Target="../tags/tag1758.xml"/><Relationship Id="rId22" Type="http://schemas.openxmlformats.org/officeDocument/2006/relationships/tags" Target="../tags/tag1522.xml"/><Relationship Id="rId43" Type="http://schemas.openxmlformats.org/officeDocument/2006/relationships/tags" Target="../tags/tag1543.xml"/><Relationship Id="rId64" Type="http://schemas.openxmlformats.org/officeDocument/2006/relationships/tags" Target="../tags/tag1564.xml"/><Relationship Id="rId118" Type="http://schemas.openxmlformats.org/officeDocument/2006/relationships/tags" Target="../tags/tag1618.xml"/><Relationship Id="rId139" Type="http://schemas.openxmlformats.org/officeDocument/2006/relationships/tags" Target="../tags/tag1639.xml"/><Relationship Id="rId85" Type="http://schemas.openxmlformats.org/officeDocument/2006/relationships/tags" Target="../tags/tag1585.xml"/><Relationship Id="rId150" Type="http://schemas.openxmlformats.org/officeDocument/2006/relationships/tags" Target="../tags/tag1650.xml"/><Relationship Id="rId171" Type="http://schemas.openxmlformats.org/officeDocument/2006/relationships/tags" Target="../tags/tag1671.xml"/><Relationship Id="rId192" Type="http://schemas.openxmlformats.org/officeDocument/2006/relationships/tags" Target="../tags/tag1692.xml"/><Relationship Id="rId206" Type="http://schemas.openxmlformats.org/officeDocument/2006/relationships/tags" Target="../tags/tag1706.xml"/><Relationship Id="rId227" Type="http://schemas.openxmlformats.org/officeDocument/2006/relationships/tags" Target="../tags/tag1727.xml"/><Relationship Id="rId248" Type="http://schemas.openxmlformats.org/officeDocument/2006/relationships/tags" Target="../tags/tag1748.xml"/><Relationship Id="rId269" Type="http://schemas.openxmlformats.org/officeDocument/2006/relationships/chart" Target="../charts/chart35.xml"/><Relationship Id="rId12" Type="http://schemas.openxmlformats.org/officeDocument/2006/relationships/tags" Target="../tags/tag1512.xml"/><Relationship Id="rId33" Type="http://schemas.openxmlformats.org/officeDocument/2006/relationships/tags" Target="../tags/tag1533.xml"/><Relationship Id="rId108" Type="http://schemas.openxmlformats.org/officeDocument/2006/relationships/tags" Target="../tags/tag1608.xml"/><Relationship Id="rId129" Type="http://schemas.openxmlformats.org/officeDocument/2006/relationships/tags" Target="../tags/tag1629.xml"/><Relationship Id="rId54" Type="http://schemas.openxmlformats.org/officeDocument/2006/relationships/tags" Target="../tags/tag1554.xml"/><Relationship Id="rId75" Type="http://schemas.openxmlformats.org/officeDocument/2006/relationships/tags" Target="../tags/tag1575.xml"/><Relationship Id="rId96" Type="http://schemas.openxmlformats.org/officeDocument/2006/relationships/tags" Target="../tags/tag1596.xml"/><Relationship Id="rId140" Type="http://schemas.openxmlformats.org/officeDocument/2006/relationships/tags" Target="../tags/tag1640.xml"/><Relationship Id="rId161" Type="http://schemas.openxmlformats.org/officeDocument/2006/relationships/tags" Target="../tags/tag1661.xml"/><Relationship Id="rId182" Type="http://schemas.openxmlformats.org/officeDocument/2006/relationships/tags" Target="../tags/tag1682.xml"/><Relationship Id="rId217" Type="http://schemas.openxmlformats.org/officeDocument/2006/relationships/tags" Target="../tags/tag1717.xml"/><Relationship Id="rId6" Type="http://schemas.openxmlformats.org/officeDocument/2006/relationships/tags" Target="../tags/tag1506.xml"/><Relationship Id="rId238" Type="http://schemas.openxmlformats.org/officeDocument/2006/relationships/tags" Target="../tags/tag1738.xml"/><Relationship Id="rId259" Type="http://schemas.openxmlformats.org/officeDocument/2006/relationships/tags" Target="../tags/tag1759.xml"/><Relationship Id="rId23" Type="http://schemas.openxmlformats.org/officeDocument/2006/relationships/tags" Target="../tags/tag1523.xml"/><Relationship Id="rId119" Type="http://schemas.openxmlformats.org/officeDocument/2006/relationships/tags" Target="../tags/tag1619.xml"/><Relationship Id="rId44" Type="http://schemas.openxmlformats.org/officeDocument/2006/relationships/tags" Target="../tags/tag1544.xml"/><Relationship Id="rId65" Type="http://schemas.openxmlformats.org/officeDocument/2006/relationships/tags" Target="../tags/tag1565.xml"/><Relationship Id="rId86" Type="http://schemas.openxmlformats.org/officeDocument/2006/relationships/tags" Target="../tags/tag1586.xml"/><Relationship Id="rId130" Type="http://schemas.openxmlformats.org/officeDocument/2006/relationships/tags" Target="../tags/tag1630.xml"/><Relationship Id="rId151" Type="http://schemas.openxmlformats.org/officeDocument/2006/relationships/tags" Target="../tags/tag1651.xml"/><Relationship Id="rId172" Type="http://schemas.openxmlformats.org/officeDocument/2006/relationships/tags" Target="../tags/tag1672.xml"/><Relationship Id="rId193" Type="http://schemas.openxmlformats.org/officeDocument/2006/relationships/tags" Target="../tags/tag1693.xml"/><Relationship Id="rId207" Type="http://schemas.openxmlformats.org/officeDocument/2006/relationships/tags" Target="../tags/tag1707.xml"/><Relationship Id="rId228" Type="http://schemas.openxmlformats.org/officeDocument/2006/relationships/tags" Target="../tags/tag1728.xml"/><Relationship Id="rId249" Type="http://schemas.openxmlformats.org/officeDocument/2006/relationships/tags" Target="../tags/tag1749.xml"/><Relationship Id="rId13" Type="http://schemas.openxmlformats.org/officeDocument/2006/relationships/tags" Target="../tags/tag1513.xml"/><Relationship Id="rId109" Type="http://schemas.openxmlformats.org/officeDocument/2006/relationships/tags" Target="../tags/tag1609.xml"/><Relationship Id="rId260" Type="http://schemas.openxmlformats.org/officeDocument/2006/relationships/tags" Target="../tags/tag1760.xml"/><Relationship Id="rId34" Type="http://schemas.openxmlformats.org/officeDocument/2006/relationships/tags" Target="../tags/tag1534.xml"/><Relationship Id="rId55" Type="http://schemas.openxmlformats.org/officeDocument/2006/relationships/tags" Target="../tags/tag1555.xml"/><Relationship Id="rId76" Type="http://schemas.openxmlformats.org/officeDocument/2006/relationships/tags" Target="../tags/tag1576.xml"/><Relationship Id="rId97" Type="http://schemas.openxmlformats.org/officeDocument/2006/relationships/tags" Target="../tags/tag1597.xml"/><Relationship Id="rId120" Type="http://schemas.openxmlformats.org/officeDocument/2006/relationships/tags" Target="../tags/tag1620.xml"/><Relationship Id="rId141" Type="http://schemas.openxmlformats.org/officeDocument/2006/relationships/tags" Target="../tags/tag1641.xml"/><Relationship Id="rId7" Type="http://schemas.openxmlformats.org/officeDocument/2006/relationships/tags" Target="../tags/tag1507.xml"/><Relationship Id="rId162" Type="http://schemas.openxmlformats.org/officeDocument/2006/relationships/tags" Target="../tags/tag1662.xml"/><Relationship Id="rId183" Type="http://schemas.openxmlformats.org/officeDocument/2006/relationships/tags" Target="../tags/tag1683.xml"/><Relationship Id="rId218" Type="http://schemas.openxmlformats.org/officeDocument/2006/relationships/tags" Target="../tags/tag1718.xml"/><Relationship Id="rId239" Type="http://schemas.openxmlformats.org/officeDocument/2006/relationships/tags" Target="../tags/tag1739.xml"/><Relationship Id="rId250" Type="http://schemas.openxmlformats.org/officeDocument/2006/relationships/tags" Target="../tags/tag1750.xml"/><Relationship Id="rId24" Type="http://schemas.openxmlformats.org/officeDocument/2006/relationships/tags" Target="../tags/tag1524.xml"/><Relationship Id="rId45" Type="http://schemas.openxmlformats.org/officeDocument/2006/relationships/tags" Target="../tags/tag1545.xml"/><Relationship Id="rId66" Type="http://schemas.openxmlformats.org/officeDocument/2006/relationships/tags" Target="../tags/tag1566.xml"/><Relationship Id="rId87" Type="http://schemas.openxmlformats.org/officeDocument/2006/relationships/tags" Target="../tags/tag1587.xml"/><Relationship Id="rId110" Type="http://schemas.openxmlformats.org/officeDocument/2006/relationships/tags" Target="../tags/tag1610.xml"/><Relationship Id="rId131" Type="http://schemas.openxmlformats.org/officeDocument/2006/relationships/tags" Target="../tags/tag1631.xml"/><Relationship Id="rId152" Type="http://schemas.openxmlformats.org/officeDocument/2006/relationships/tags" Target="../tags/tag1652.xml"/><Relationship Id="rId173" Type="http://schemas.openxmlformats.org/officeDocument/2006/relationships/tags" Target="../tags/tag1673.xml"/><Relationship Id="rId194" Type="http://schemas.openxmlformats.org/officeDocument/2006/relationships/tags" Target="../tags/tag1694.xml"/><Relationship Id="rId208" Type="http://schemas.openxmlformats.org/officeDocument/2006/relationships/tags" Target="../tags/tag1708.xml"/><Relationship Id="rId229" Type="http://schemas.openxmlformats.org/officeDocument/2006/relationships/tags" Target="../tags/tag1729.xml"/><Relationship Id="rId240" Type="http://schemas.openxmlformats.org/officeDocument/2006/relationships/tags" Target="../tags/tag1740.xml"/><Relationship Id="rId261" Type="http://schemas.openxmlformats.org/officeDocument/2006/relationships/tags" Target="../tags/tag1761.xml"/><Relationship Id="rId14" Type="http://schemas.openxmlformats.org/officeDocument/2006/relationships/tags" Target="../tags/tag1514.xml"/><Relationship Id="rId35" Type="http://schemas.openxmlformats.org/officeDocument/2006/relationships/tags" Target="../tags/tag1535.xml"/><Relationship Id="rId56" Type="http://schemas.openxmlformats.org/officeDocument/2006/relationships/tags" Target="../tags/tag1556.xml"/><Relationship Id="rId77" Type="http://schemas.openxmlformats.org/officeDocument/2006/relationships/tags" Target="../tags/tag1577.xml"/><Relationship Id="rId100" Type="http://schemas.openxmlformats.org/officeDocument/2006/relationships/tags" Target="../tags/tag1600.xml"/><Relationship Id="rId8" Type="http://schemas.openxmlformats.org/officeDocument/2006/relationships/tags" Target="../tags/tag1508.xml"/><Relationship Id="rId98" Type="http://schemas.openxmlformats.org/officeDocument/2006/relationships/tags" Target="../tags/tag1598.xml"/><Relationship Id="rId121" Type="http://schemas.openxmlformats.org/officeDocument/2006/relationships/tags" Target="../tags/tag1621.xml"/><Relationship Id="rId142" Type="http://schemas.openxmlformats.org/officeDocument/2006/relationships/tags" Target="../tags/tag1642.xml"/><Relationship Id="rId163" Type="http://schemas.openxmlformats.org/officeDocument/2006/relationships/tags" Target="../tags/tag1663.xml"/><Relationship Id="rId184" Type="http://schemas.openxmlformats.org/officeDocument/2006/relationships/tags" Target="../tags/tag1684.xml"/><Relationship Id="rId219" Type="http://schemas.openxmlformats.org/officeDocument/2006/relationships/tags" Target="../tags/tag1719.xml"/><Relationship Id="rId230" Type="http://schemas.openxmlformats.org/officeDocument/2006/relationships/tags" Target="../tags/tag1730.xml"/><Relationship Id="rId251" Type="http://schemas.openxmlformats.org/officeDocument/2006/relationships/tags" Target="../tags/tag1751.xml"/><Relationship Id="rId25" Type="http://schemas.openxmlformats.org/officeDocument/2006/relationships/tags" Target="../tags/tag1525.xml"/><Relationship Id="rId46" Type="http://schemas.openxmlformats.org/officeDocument/2006/relationships/tags" Target="../tags/tag1546.xml"/><Relationship Id="rId67" Type="http://schemas.openxmlformats.org/officeDocument/2006/relationships/tags" Target="../tags/tag1567.xml"/><Relationship Id="rId88" Type="http://schemas.openxmlformats.org/officeDocument/2006/relationships/tags" Target="../tags/tag1588.xml"/><Relationship Id="rId111" Type="http://schemas.openxmlformats.org/officeDocument/2006/relationships/tags" Target="../tags/tag1611.xml"/><Relationship Id="rId132" Type="http://schemas.openxmlformats.org/officeDocument/2006/relationships/tags" Target="../tags/tag1632.xml"/><Relationship Id="rId153" Type="http://schemas.openxmlformats.org/officeDocument/2006/relationships/tags" Target="../tags/tag1653.xml"/><Relationship Id="rId174" Type="http://schemas.openxmlformats.org/officeDocument/2006/relationships/tags" Target="../tags/tag1674.xml"/><Relationship Id="rId195" Type="http://schemas.openxmlformats.org/officeDocument/2006/relationships/tags" Target="../tags/tag1695.xml"/><Relationship Id="rId209" Type="http://schemas.openxmlformats.org/officeDocument/2006/relationships/tags" Target="../tags/tag1709.xml"/><Relationship Id="rId220" Type="http://schemas.openxmlformats.org/officeDocument/2006/relationships/tags" Target="../tags/tag1720.xml"/><Relationship Id="rId241" Type="http://schemas.openxmlformats.org/officeDocument/2006/relationships/tags" Target="../tags/tag1741.xml"/><Relationship Id="rId15" Type="http://schemas.openxmlformats.org/officeDocument/2006/relationships/tags" Target="../tags/tag1515.xml"/><Relationship Id="rId36" Type="http://schemas.openxmlformats.org/officeDocument/2006/relationships/tags" Target="../tags/tag1536.xml"/><Relationship Id="rId57" Type="http://schemas.openxmlformats.org/officeDocument/2006/relationships/tags" Target="../tags/tag1557.xml"/><Relationship Id="rId262" Type="http://schemas.openxmlformats.org/officeDocument/2006/relationships/slideLayout" Target="../slideLayouts/slideLayout47.xml"/><Relationship Id="rId78" Type="http://schemas.openxmlformats.org/officeDocument/2006/relationships/tags" Target="../tags/tag1578.xml"/><Relationship Id="rId99" Type="http://schemas.openxmlformats.org/officeDocument/2006/relationships/tags" Target="../tags/tag1599.xml"/><Relationship Id="rId101" Type="http://schemas.openxmlformats.org/officeDocument/2006/relationships/tags" Target="../tags/tag1601.xml"/><Relationship Id="rId122" Type="http://schemas.openxmlformats.org/officeDocument/2006/relationships/tags" Target="../tags/tag1622.xml"/><Relationship Id="rId143" Type="http://schemas.openxmlformats.org/officeDocument/2006/relationships/tags" Target="../tags/tag1643.xml"/><Relationship Id="rId164" Type="http://schemas.openxmlformats.org/officeDocument/2006/relationships/tags" Target="../tags/tag1664.xml"/><Relationship Id="rId185" Type="http://schemas.openxmlformats.org/officeDocument/2006/relationships/tags" Target="../tags/tag1685.xml"/><Relationship Id="rId9" Type="http://schemas.openxmlformats.org/officeDocument/2006/relationships/tags" Target="../tags/tag1509.xml"/><Relationship Id="rId210" Type="http://schemas.openxmlformats.org/officeDocument/2006/relationships/tags" Target="../tags/tag1710.xml"/><Relationship Id="rId26" Type="http://schemas.openxmlformats.org/officeDocument/2006/relationships/tags" Target="../tags/tag1526.xml"/><Relationship Id="rId231" Type="http://schemas.openxmlformats.org/officeDocument/2006/relationships/tags" Target="../tags/tag1731.xml"/><Relationship Id="rId252" Type="http://schemas.openxmlformats.org/officeDocument/2006/relationships/tags" Target="../tags/tag1752.xml"/><Relationship Id="rId47" Type="http://schemas.openxmlformats.org/officeDocument/2006/relationships/tags" Target="../tags/tag1547.xml"/><Relationship Id="rId68" Type="http://schemas.openxmlformats.org/officeDocument/2006/relationships/tags" Target="../tags/tag1568.xml"/><Relationship Id="rId89" Type="http://schemas.openxmlformats.org/officeDocument/2006/relationships/tags" Target="../tags/tag1589.xml"/><Relationship Id="rId112" Type="http://schemas.openxmlformats.org/officeDocument/2006/relationships/tags" Target="../tags/tag1612.xml"/><Relationship Id="rId133" Type="http://schemas.openxmlformats.org/officeDocument/2006/relationships/tags" Target="../tags/tag1633.xml"/><Relationship Id="rId154" Type="http://schemas.openxmlformats.org/officeDocument/2006/relationships/tags" Target="../tags/tag1654.xml"/><Relationship Id="rId175" Type="http://schemas.openxmlformats.org/officeDocument/2006/relationships/tags" Target="../tags/tag1675.xml"/><Relationship Id="rId196" Type="http://schemas.openxmlformats.org/officeDocument/2006/relationships/tags" Target="../tags/tag1696.xml"/><Relationship Id="rId200" Type="http://schemas.openxmlformats.org/officeDocument/2006/relationships/tags" Target="../tags/tag1700.xml"/><Relationship Id="rId16" Type="http://schemas.openxmlformats.org/officeDocument/2006/relationships/tags" Target="../tags/tag1516.xml"/><Relationship Id="rId221" Type="http://schemas.openxmlformats.org/officeDocument/2006/relationships/tags" Target="../tags/tag1721.xml"/><Relationship Id="rId242" Type="http://schemas.openxmlformats.org/officeDocument/2006/relationships/tags" Target="../tags/tag1742.xml"/><Relationship Id="rId263" Type="http://schemas.openxmlformats.org/officeDocument/2006/relationships/oleObject" Target="../embeddings/oleObject286.bin"/><Relationship Id="rId37" Type="http://schemas.openxmlformats.org/officeDocument/2006/relationships/tags" Target="../tags/tag1537.xml"/><Relationship Id="rId58" Type="http://schemas.openxmlformats.org/officeDocument/2006/relationships/tags" Target="../tags/tag1558.xml"/><Relationship Id="rId79" Type="http://schemas.openxmlformats.org/officeDocument/2006/relationships/tags" Target="../tags/tag1579.xml"/><Relationship Id="rId102" Type="http://schemas.openxmlformats.org/officeDocument/2006/relationships/tags" Target="../tags/tag1602.xml"/><Relationship Id="rId123" Type="http://schemas.openxmlformats.org/officeDocument/2006/relationships/tags" Target="../tags/tag1623.xml"/><Relationship Id="rId144" Type="http://schemas.openxmlformats.org/officeDocument/2006/relationships/tags" Target="../tags/tag1644.xml"/><Relationship Id="rId90" Type="http://schemas.openxmlformats.org/officeDocument/2006/relationships/tags" Target="../tags/tag1590.xml"/><Relationship Id="rId165" Type="http://schemas.openxmlformats.org/officeDocument/2006/relationships/tags" Target="../tags/tag1665.xml"/><Relationship Id="rId186" Type="http://schemas.openxmlformats.org/officeDocument/2006/relationships/tags" Target="../tags/tag1686.xml"/><Relationship Id="rId211" Type="http://schemas.openxmlformats.org/officeDocument/2006/relationships/tags" Target="../tags/tag1711.xml"/><Relationship Id="rId232" Type="http://schemas.openxmlformats.org/officeDocument/2006/relationships/tags" Target="../tags/tag1732.xml"/><Relationship Id="rId253" Type="http://schemas.openxmlformats.org/officeDocument/2006/relationships/tags" Target="../tags/tag1753.xml"/><Relationship Id="rId27" Type="http://schemas.openxmlformats.org/officeDocument/2006/relationships/tags" Target="../tags/tag1527.xml"/><Relationship Id="rId48" Type="http://schemas.openxmlformats.org/officeDocument/2006/relationships/tags" Target="../tags/tag1548.xml"/><Relationship Id="rId69" Type="http://schemas.openxmlformats.org/officeDocument/2006/relationships/tags" Target="../tags/tag1569.xml"/><Relationship Id="rId113" Type="http://schemas.openxmlformats.org/officeDocument/2006/relationships/tags" Target="../tags/tag1613.xml"/><Relationship Id="rId134" Type="http://schemas.openxmlformats.org/officeDocument/2006/relationships/tags" Target="../tags/tag1634.xml"/><Relationship Id="rId80" Type="http://schemas.openxmlformats.org/officeDocument/2006/relationships/tags" Target="../tags/tag1580.xml"/><Relationship Id="rId155" Type="http://schemas.openxmlformats.org/officeDocument/2006/relationships/tags" Target="../tags/tag1655.xml"/><Relationship Id="rId176" Type="http://schemas.openxmlformats.org/officeDocument/2006/relationships/tags" Target="../tags/tag1676.xml"/><Relationship Id="rId197" Type="http://schemas.openxmlformats.org/officeDocument/2006/relationships/tags" Target="../tags/tag1697.xml"/><Relationship Id="rId201" Type="http://schemas.openxmlformats.org/officeDocument/2006/relationships/tags" Target="../tags/tag1701.xml"/><Relationship Id="rId222" Type="http://schemas.openxmlformats.org/officeDocument/2006/relationships/tags" Target="../tags/tag1722.xml"/><Relationship Id="rId243" Type="http://schemas.openxmlformats.org/officeDocument/2006/relationships/tags" Target="../tags/tag1743.xml"/><Relationship Id="rId264" Type="http://schemas.openxmlformats.org/officeDocument/2006/relationships/image" Target="../media/image31.emf"/><Relationship Id="rId17" Type="http://schemas.openxmlformats.org/officeDocument/2006/relationships/tags" Target="../tags/tag1517.xml"/><Relationship Id="rId38" Type="http://schemas.openxmlformats.org/officeDocument/2006/relationships/tags" Target="../tags/tag1538.xml"/><Relationship Id="rId59" Type="http://schemas.openxmlformats.org/officeDocument/2006/relationships/tags" Target="../tags/tag1559.xml"/><Relationship Id="rId103" Type="http://schemas.openxmlformats.org/officeDocument/2006/relationships/tags" Target="../tags/tag1603.xml"/><Relationship Id="rId124" Type="http://schemas.openxmlformats.org/officeDocument/2006/relationships/tags" Target="../tags/tag1624.xml"/><Relationship Id="rId70" Type="http://schemas.openxmlformats.org/officeDocument/2006/relationships/tags" Target="../tags/tag1570.xml"/><Relationship Id="rId91" Type="http://schemas.openxmlformats.org/officeDocument/2006/relationships/tags" Target="../tags/tag1591.xml"/><Relationship Id="rId145" Type="http://schemas.openxmlformats.org/officeDocument/2006/relationships/tags" Target="../tags/tag1645.xml"/><Relationship Id="rId166" Type="http://schemas.openxmlformats.org/officeDocument/2006/relationships/tags" Target="../tags/tag1666.xml"/><Relationship Id="rId187" Type="http://schemas.openxmlformats.org/officeDocument/2006/relationships/tags" Target="../tags/tag1687.xml"/><Relationship Id="rId1" Type="http://schemas.openxmlformats.org/officeDocument/2006/relationships/tags" Target="../tags/tag1501.xml"/><Relationship Id="rId212" Type="http://schemas.openxmlformats.org/officeDocument/2006/relationships/tags" Target="../tags/tag1712.xml"/><Relationship Id="rId233" Type="http://schemas.openxmlformats.org/officeDocument/2006/relationships/tags" Target="../tags/tag1733.xml"/><Relationship Id="rId254" Type="http://schemas.openxmlformats.org/officeDocument/2006/relationships/tags" Target="../tags/tag1754.xml"/><Relationship Id="rId28" Type="http://schemas.openxmlformats.org/officeDocument/2006/relationships/tags" Target="../tags/tag1528.xml"/><Relationship Id="rId49" Type="http://schemas.openxmlformats.org/officeDocument/2006/relationships/tags" Target="../tags/tag1549.xml"/><Relationship Id="rId114" Type="http://schemas.openxmlformats.org/officeDocument/2006/relationships/tags" Target="../tags/tag1614.xml"/><Relationship Id="rId60" Type="http://schemas.openxmlformats.org/officeDocument/2006/relationships/tags" Target="../tags/tag1560.xml"/><Relationship Id="rId81" Type="http://schemas.openxmlformats.org/officeDocument/2006/relationships/tags" Target="../tags/tag1581.xml"/><Relationship Id="rId135" Type="http://schemas.openxmlformats.org/officeDocument/2006/relationships/tags" Target="../tags/tag1635.xml"/><Relationship Id="rId156" Type="http://schemas.openxmlformats.org/officeDocument/2006/relationships/tags" Target="../tags/tag1656.xml"/><Relationship Id="rId177" Type="http://schemas.openxmlformats.org/officeDocument/2006/relationships/tags" Target="../tags/tag1677.xml"/><Relationship Id="rId198" Type="http://schemas.openxmlformats.org/officeDocument/2006/relationships/tags" Target="../tags/tag1698.xml"/><Relationship Id="rId202" Type="http://schemas.openxmlformats.org/officeDocument/2006/relationships/tags" Target="../tags/tag1702.xml"/><Relationship Id="rId223" Type="http://schemas.openxmlformats.org/officeDocument/2006/relationships/tags" Target="../tags/tag1723.xml"/><Relationship Id="rId244" Type="http://schemas.openxmlformats.org/officeDocument/2006/relationships/tags" Target="../tags/tag1744.xml"/><Relationship Id="rId18" Type="http://schemas.openxmlformats.org/officeDocument/2006/relationships/tags" Target="../tags/tag1518.xml"/><Relationship Id="rId39" Type="http://schemas.openxmlformats.org/officeDocument/2006/relationships/tags" Target="../tags/tag1539.xml"/><Relationship Id="rId265" Type="http://schemas.openxmlformats.org/officeDocument/2006/relationships/chart" Target="../charts/chart31.xml"/><Relationship Id="rId50" Type="http://schemas.openxmlformats.org/officeDocument/2006/relationships/tags" Target="../tags/tag1550.xml"/><Relationship Id="rId104" Type="http://schemas.openxmlformats.org/officeDocument/2006/relationships/tags" Target="../tags/tag1604.xml"/><Relationship Id="rId125" Type="http://schemas.openxmlformats.org/officeDocument/2006/relationships/tags" Target="../tags/tag1625.xml"/><Relationship Id="rId146" Type="http://schemas.openxmlformats.org/officeDocument/2006/relationships/tags" Target="../tags/tag1646.xml"/><Relationship Id="rId167" Type="http://schemas.openxmlformats.org/officeDocument/2006/relationships/tags" Target="../tags/tag1667.xml"/><Relationship Id="rId188" Type="http://schemas.openxmlformats.org/officeDocument/2006/relationships/tags" Target="../tags/tag1688.xml"/><Relationship Id="rId71" Type="http://schemas.openxmlformats.org/officeDocument/2006/relationships/tags" Target="../tags/tag1571.xml"/><Relationship Id="rId92" Type="http://schemas.openxmlformats.org/officeDocument/2006/relationships/tags" Target="../tags/tag1592.xml"/><Relationship Id="rId213" Type="http://schemas.openxmlformats.org/officeDocument/2006/relationships/tags" Target="../tags/tag1713.xml"/><Relationship Id="rId234" Type="http://schemas.openxmlformats.org/officeDocument/2006/relationships/tags" Target="../tags/tag1734.xml"/><Relationship Id="rId2" Type="http://schemas.openxmlformats.org/officeDocument/2006/relationships/tags" Target="../tags/tag1502.xml"/><Relationship Id="rId29" Type="http://schemas.openxmlformats.org/officeDocument/2006/relationships/tags" Target="../tags/tag1529.xml"/><Relationship Id="rId255" Type="http://schemas.openxmlformats.org/officeDocument/2006/relationships/tags" Target="../tags/tag1755.xml"/><Relationship Id="rId40" Type="http://schemas.openxmlformats.org/officeDocument/2006/relationships/tags" Target="../tags/tag1540.xml"/><Relationship Id="rId115" Type="http://schemas.openxmlformats.org/officeDocument/2006/relationships/tags" Target="../tags/tag1615.xml"/><Relationship Id="rId136" Type="http://schemas.openxmlformats.org/officeDocument/2006/relationships/tags" Target="../tags/tag1636.xml"/><Relationship Id="rId157" Type="http://schemas.openxmlformats.org/officeDocument/2006/relationships/tags" Target="../tags/tag1657.xml"/><Relationship Id="rId178" Type="http://schemas.openxmlformats.org/officeDocument/2006/relationships/tags" Target="../tags/tag1678.xml"/><Relationship Id="rId61" Type="http://schemas.openxmlformats.org/officeDocument/2006/relationships/tags" Target="../tags/tag1561.xml"/><Relationship Id="rId82" Type="http://schemas.openxmlformats.org/officeDocument/2006/relationships/tags" Target="../tags/tag1582.xml"/><Relationship Id="rId199" Type="http://schemas.openxmlformats.org/officeDocument/2006/relationships/tags" Target="../tags/tag1699.xml"/><Relationship Id="rId203" Type="http://schemas.openxmlformats.org/officeDocument/2006/relationships/tags" Target="../tags/tag1703.xml"/><Relationship Id="rId19" Type="http://schemas.openxmlformats.org/officeDocument/2006/relationships/tags" Target="../tags/tag1519.xml"/><Relationship Id="rId224" Type="http://schemas.openxmlformats.org/officeDocument/2006/relationships/tags" Target="../tags/tag1724.xml"/><Relationship Id="rId245" Type="http://schemas.openxmlformats.org/officeDocument/2006/relationships/tags" Target="../tags/tag1745.xml"/><Relationship Id="rId266" Type="http://schemas.openxmlformats.org/officeDocument/2006/relationships/chart" Target="../charts/chart32.xml"/><Relationship Id="rId30" Type="http://schemas.openxmlformats.org/officeDocument/2006/relationships/tags" Target="../tags/tag1530.xml"/><Relationship Id="rId105" Type="http://schemas.openxmlformats.org/officeDocument/2006/relationships/tags" Target="../tags/tag1605.xml"/><Relationship Id="rId126" Type="http://schemas.openxmlformats.org/officeDocument/2006/relationships/tags" Target="../tags/tag1626.xml"/><Relationship Id="rId147" Type="http://schemas.openxmlformats.org/officeDocument/2006/relationships/tags" Target="../tags/tag1647.xml"/><Relationship Id="rId168" Type="http://schemas.openxmlformats.org/officeDocument/2006/relationships/tags" Target="../tags/tag1668.xml"/><Relationship Id="rId51" Type="http://schemas.openxmlformats.org/officeDocument/2006/relationships/tags" Target="../tags/tag1551.xml"/><Relationship Id="rId72" Type="http://schemas.openxmlformats.org/officeDocument/2006/relationships/tags" Target="../tags/tag1572.xml"/><Relationship Id="rId93" Type="http://schemas.openxmlformats.org/officeDocument/2006/relationships/tags" Target="../tags/tag1593.xml"/><Relationship Id="rId189" Type="http://schemas.openxmlformats.org/officeDocument/2006/relationships/tags" Target="../tags/tag1689.xml"/><Relationship Id="rId3" Type="http://schemas.openxmlformats.org/officeDocument/2006/relationships/tags" Target="../tags/tag1503.xml"/><Relationship Id="rId214" Type="http://schemas.openxmlformats.org/officeDocument/2006/relationships/tags" Target="../tags/tag1714.xml"/><Relationship Id="rId235" Type="http://schemas.openxmlformats.org/officeDocument/2006/relationships/tags" Target="../tags/tag1735.xml"/><Relationship Id="rId256" Type="http://schemas.openxmlformats.org/officeDocument/2006/relationships/tags" Target="../tags/tag1756.xml"/><Relationship Id="rId116" Type="http://schemas.openxmlformats.org/officeDocument/2006/relationships/tags" Target="../tags/tag1616.xml"/><Relationship Id="rId137" Type="http://schemas.openxmlformats.org/officeDocument/2006/relationships/tags" Target="../tags/tag1637.xml"/><Relationship Id="rId158" Type="http://schemas.openxmlformats.org/officeDocument/2006/relationships/tags" Target="../tags/tag1658.xml"/><Relationship Id="rId20" Type="http://schemas.openxmlformats.org/officeDocument/2006/relationships/tags" Target="../tags/tag1520.xml"/><Relationship Id="rId41" Type="http://schemas.openxmlformats.org/officeDocument/2006/relationships/tags" Target="../tags/tag1541.xml"/><Relationship Id="rId62" Type="http://schemas.openxmlformats.org/officeDocument/2006/relationships/tags" Target="../tags/tag1562.xml"/><Relationship Id="rId83" Type="http://schemas.openxmlformats.org/officeDocument/2006/relationships/tags" Target="../tags/tag1583.xml"/><Relationship Id="rId179" Type="http://schemas.openxmlformats.org/officeDocument/2006/relationships/tags" Target="../tags/tag1679.xml"/><Relationship Id="rId190" Type="http://schemas.openxmlformats.org/officeDocument/2006/relationships/tags" Target="../tags/tag1690.xml"/><Relationship Id="rId204" Type="http://schemas.openxmlformats.org/officeDocument/2006/relationships/tags" Target="../tags/tag1704.xml"/><Relationship Id="rId225" Type="http://schemas.openxmlformats.org/officeDocument/2006/relationships/tags" Target="../tags/tag1725.xml"/><Relationship Id="rId246" Type="http://schemas.openxmlformats.org/officeDocument/2006/relationships/tags" Target="../tags/tag1746.xml"/><Relationship Id="rId267" Type="http://schemas.openxmlformats.org/officeDocument/2006/relationships/chart" Target="../charts/chart33.xml"/><Relationship Id="rId106" Type="http://schemas.openxmlformats.org/officeDocument/2006/relationships/tags" Target="../tags/tag1606.xml"/><Relationship Id="rId127" Type="http://schemas.openxmlformats.org/officeDocument/2006/relationships/tags" Target="../tags/tag1627.xml"/><Relationship Id="rId10" Type="http://schemas.openxmlformats.org/officeDocument/2006/relationships/tags" Target="../tags/tag1510.xml"/><Relationship Id="rId31" Type="http://schemas.openxmlformats.org/officeDocument/2006/relationships/tags" Target="../tags/tag1531.xml"/><Relationship Id="rId52" Type="http://schemas.openxmlformats.org/officeDocument/2006/relationships/tags" Target="../tags/tag1552.xml"/><Relationship Id="rId73" Type="http://schemas.openxmlformats.org/officeDocument/2006/relationships/tags" Target="../tags/tag1573.xml"/><Relationship Id="rId94" Type="http://schemas.openxmlformats.org/officeDocument/2006/relationships/tags" Target="../tags/tag1594.xml"/><Relationship Id="rId148" Type="http://schemas.openxmlformats.org/officeDocument/2006/relationships/tags" Target="../tags/tag1648.xml"/><Relationship Id="rId169" Type="http://schemas.openxmlformats.org/officeDocument/2006/relationships/tags" Target="../tags/tag1669.xml"/><Relationship Id="rId4" Type="http://schemas.openxmlformats.org/officeDocument/2006/relationships/tags" Target="../tags/tag1504.xml"/><Relationship Id="rId180" Type="http://schemas.openxmlformats.org/officeDocument/2006/relationships/tags" Target="../tags/tag1680.xml"/><Relationship Id="rId215" Type="http://schemas.openxmlformats.org/officeDocument/2006/relationships/tags" Target="../tags/tag1715.xml"/><Relationship Id="rId236" Type="http://schemas.openxmlformats.org/officeDocument/2006/relationships/tags" Target="../tags/tag1736.xml"/><Relationship Id="rId257" Type="http://schemas.openxmlformats.org/officeDocument/2006/relationships/tags" Target="../tags/tag1757.xml"/><Relationship Id="rId42" Type="http://schemas.openxmlformats.org/officeDocument/2006/relationships/tags" Target="../tags/tag1542.xml"/><Relationship Id="rId84" Type="http://schemas.openxmlformats.org/officeDocument/2006/relationships/tags" Target="../tags/tag1584.xml"/><Relationship Id="rId138" Type="http://schemas.openxmlformats.org/officeDocument/2006/relationships/tags" Target="../tags/tag1638.xml"/><Relationship Id="rId191" Type="http://schemas.openxmlformats.org/officeDocument/2006/relationships/tags" Target="../tags/tag1691.xml"/><Relationship Id="rId205" Type="http://schemas.openxmlformats.org/officeDocument/2006/relationships/tags" Target="../tags/tag1705.xml"/><Relationship Id="rId247" Type="http://schemas.openxmlformats.org/officeDocument/2006/relationships/tags" Target="../tags/tag1747.xml"/><Relationship Id="rId107" Type="http://schemas.openxmlformats.org/officeDocument/2006/relationships/tags" Target="../tags/tag1607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878.xml"/><Relationship Id="rId21" Type="http://schemas.openxmlformats.org/officeDocument/2006/relationships/tags" Target="../tags/tag1782.xml"/><Relationship Id="rId63" Type="http://schemas.openxmlformats.org/officeDocument/2006/relationships/tags" Target="../tags/tag1824.xml"/><Relationship Id="rId159" Type="http://schemas.openxmlformats.org/officeDocument/2006/relationships/tags" Target="../tags/tag1920.xml"/><Relationship Id="rId170" Type="http://schemas.openxmlformats.org/officeDocument/2006/relationships/tags" Target="../tags/tag1931.xml"/><Relationship Id="rId226" Type="http://schemas.openxmlformats.org/officeDocument/2006/relationships/tags" Target="../tags/tag1987.xml"/><Relationship Id="rId268" Type="http://schemas.openxmlformats.org/officeDocument/2006/relationships/oleObject" Target="../embeddings/oleObject287.bin"/><Relationship Id="rId32" Type="http://schemas.openxmlformats.org/officeDocument/2006/relationships/tags" Target="../tags/tag1793.xml"/><Relationship Id="rId74" Type="http://schemas.openxmlformats.org/officeDocument/2006/relationships/tags" Target="../tags/tag1835.xml"/><Relationship Id="rId128" Type="http://schemas.openxmlformats.org/officeDocument/2006/relationships/tags" Target="../tags/tag1889.xml"/><Relationship Id="rId5" Type="http://schemas.openxmlformats.org/officeDocument/2006/relationships/tags" Target="../tags/tag1766.xml"/><Relationship Id="rId95" Type="http://schemas.openxmlformats.org/officeDocument/2006/relationships/tags" Target="../tags/tag1856.xml"/><Relationship Id="rId160" Type="http://schemas.openxmlformats.org/officeDocument/2006/relationships/tags" Target="../tags/tag1921.xml"/><Relationship Id="rId181" Type="http://schemas.openxmlformats.org/officeDocument/2006/relationships/tags" Target="../tags/tag1942.xml"/><Relationship Id="rId216" Type="http://schemas.openxmlformats.org/officeDocument/2006/relationships/tags" Target="../tags/tag1977.xml"/><Relationship Id="rId237" Type="http://schemas.openxmlformats.org/officeDocument/2006/relationships/tags" Target="../tags/tag1998.xml"/><Relationship Id="rId258" Type="http://schemas.openxmlformats.org/officeDocument/2006/relationships/tags" Target="../tags/tag2019.xml"/><Relationship Id="rId22" Type="http://schemas.openxmlformats.org/officeDocument/2006/relationships/tags" Target="../tags/tag1783.xml"/><Relationship Id="rId43" Type="http://schemas.openxmlformats.org/officeDocument/2006/relationships/tags" Target="../tags/tag1804.xml"/><Relationship Id="rId64" Type="http://schemas.openxmlformats.org/officeDocument/2006/relationships/tags" Target="../tags/tag1825.xml"/><Relationship Id="rId118" Type="http://schemas.openxmlformats.org/officeDocument/2006/relationships/tags" Target="../tags/tag1879.xml"/><Relationship Id="rId139" Type="http://schemas.openxmlformats.org/officeDocument/2006/relationships/tags" Target="../tags/tag1900.xml"/><Relationship Id="rId85" Type="http://schemas.openxmlformats.org/officeDocument/2006/relationships/tags" Target="../tags/tag1846.xml"/><Relationship Id="rId150" Type="http://schemas.openxmlformats.org/officeDocument/2006/relationships/tags" Target="../tags/tag1911.xml"/><Relationship Id="rId171" Type="http://schemas.openxmlformats.org/officeDocument/2006/relationships/tags" Target="../tags/tag1932.xml"/><Relationship Id="rId192" Type="http://schemas.openxmlformats.org/officeDocument/2006/relationships/tags" Target="../tags/tag1953.xml"/><Relationship Id="rId206" Type="http://schemas.openxmlformats.org/officeDocument/2006/relationships/tags" Target="../tags/tag1967.xml"/><Relationship Id="rId227" Type="http://schemas.openxmlformats.org/officeDocument/2006/relationships/tags" Target="../tags/tag1988.xml"/><Relationship Id="rId248" Type="http://schemas.openxmlformats.org/officeDocument/2006/relationships/tags" Target="../tags/tag2009.xml"/><Relationship Id="rId269" Type="http://schemas.openxmlformats.org/officeDocument/2006/relationships/image" Target="../media/image31.emf"/><Relationship Id="rId12" Type="http://schemas.openxmlformats.org/officeDocument/2006/relationships/tags" Target="../tags/tag1773.xml"/><Relationship Id="rId33" Type="http://schemas.openxmlformats.org/officeDocument/2006/relationships/tags" Target="../tags/tag1794.xml"/><Relationship Id="rId108" Type="http://schemas.openxmlformats.org/officeDocument/2006/relationships/tags" Target="../tags/tag1869.xml"/><Relationship Id="rId129" Type="http://schemas.openxmlformats.org/officeDocument/2006/relationships/tags" Target="../tags/tag1890.xml"/><Relationship Id="rId54" Type="http://schemas.openxmlformats.org/officeDocument/2006/relationships/tags" Target="../tags/tag1815.xml"/><Relationship Id="rId75" Type="http://schemas.openxmlformats.org/officeDocument/2006/relationships/tags" Target="../tags/tag1836.xml"/><Relationship Id="rId96" Type="http://schemas.openxmlformats.org/officeDocument/2006/relationships/tags" Target="../tags/tag1857.xml"/><Relationship Id="rId140" Type="http://schemas.openxmlformats.org/officeDocument/2006/relationships/tags" Target="../tags/tag1901.xml"/><Relationship Id="rId161" Type="http://schemas.openxmlformats.org/officeDocument/2006/relationships/tags" Target="../tags/tag1922.xml"/><Relationship Id="rId182" Type="http://schemas.openxmlformats.org/officeDocument/2006/relationships/tags" Target="../tags/tag1943.xml"/><Relationship Id="rId217" Type="http://schemas.openxmlformats.org/officeDocument/2006/relationships/tags" Target="../tags/tag1978.xml"/><Relationship Id="rId6" Type="http://schemas.openxmlformats.org/officeDocument/2006/relationships/tags" Target="../tags/tag1767.xml"/><Relationship Id="rId238" Type="http://schemas.openxmlformats.org/officeDocument/2006/relationships/tags" Target="../tags/tag1999.xml"/><Relationship Id="rId259" Type="http://schemas.openxmlformats.org/officeDocument/2006/relationships/tags" Target="../tags/tag2020.xml"/><Relationship Id="rId23" Type="http://schemas.openxmlformats.org/officeDocument/2006/relationships/tags" Target="../tags/tag1784.xml"/><Relationship Id="rId119" Type="http://schemas.openxmlformats.org/officeDocument/2006/relationships/tags" Target="../tags/tag1880.xml"/><Relationship Id="rId270" Type="http://schemas.openxmlformats.org/officeDocument/2006/relationships/chart" Target="../charts/chart36.xml"/><Relationship Id="rId44" Type="http://schemas.openxmlformats.org/officeDocument/2006/relationships/tags" Target="../tags/tag1805.xml"/><Relationship Id="rId65" Type="http://schemas.openxmlformats.org/officeDocument/2006/relationships/tags" Target="../tags/tag1826.xml"/><Relationship Id="rId86" Type="http://schemas.openxmlformats.org/officeDocument/2006/relationships/tags" Target="../tags/tag1847.xml"/><Relationship Id="rId130" Type="http://schemas.openxmlformats.org/officeDocument/2006/relationships/tags" Target="../tags/tag1891.xml"/><Relationship Id="rId151" Type="http://schemas.openxmlformats.org/officeDocument/2006/relationships/tags" Target="../tags/tag1912.xml"/><Relationship Id="rId172" Type="http://schemas.openxmlformats.org/officeDocument/2006/relationships/tags" Target="../tags/tag1933.xml"/><Relationship Id="rId193" Type="http://schemas.openxmlformats.org/officeDocument/2006/relationships/tags" Target="../tags/tag1954.xml"/><Relationship Id="rId207" Type="http://schemas.openxmlformats.org/officeDocument/2006/relationships/tags" Target="../tags/tag1968.xml"/><Relationship Id="rId228" Type="http://schemas.openxmlformats.org/officeDocument/2006/relationships/tags" Target="../tags/tag1989.xml"/><Relationship Id="rId249" Type="http://schemas.openxmlformats.org/officeDocument/2006/relationships/tags" Target="../tags/tag2010.xml"/><Relationship Id="rId13" Type="http://schemas.openxmlformats.org/officeDocument/2006/relationships/tags" Target="../tags/tag1774.xml"/><Relationship Id="rId109" Type="http://schemas.openxmlformats.org/officeDocument/2006/relationships/tags" Target="../tags/tag1870.xml"/><Relationship Id="rId260" Type="http://schemas.openxmlformats.org/officeDocument/2006/relationships/tags" Target="../tags/tag2021.xml"/><Relationship Id="rId34" Type="http://schemas.openxmlformats.org/officeDocument/2006/relationships/tags" Target="../tags/tag1795.xml"/><Relationship Id="rId55" Type="http://schemas.openxmlformats.org/officeDocument/2006/relationships/tags" Target="../tags/tag1816.xml"/><Relationship Id="rId76" Type="http://schemas.openxmlformats.org/officeDocument/2006/relationships/tags" Target="../tags/tag1837.xml"/><Relationship Id="rId97" Type="http://schemas.openxmlformats.org/officeDocument/2006/relationships/tags" Target="../tags/tag1858.xml"/><Relationship Id="rId120" Type="http://schemas.openxmlformats.org/officeDocument/2006/relationships/tags" Target="../tags/tag1881.xml"/><Relationship Id="rId141" Type="http://schemas.openxmlformats.org/officeDocument/2006/relationships/tags" Target="../tags/tag1902.xml"/><Relationship Id="rId7" Type="http://schemas.openxmlformats.org/officeDocument/2006/relationships/tags" Target="../tags/tag1768.xml"/><Relationship Id="rId162" Type="http://schemas.openxmlformats.org/officeDocument/2006/relationships/tags" Target="../tags/tag1923.xml"/><Relationship Id="rId183" Type="http://schemas.openxmlformats.org/officeDocument/2006/relationships/tags" Target="../tags/tag1944.xml"/><Relationship Id="rId218" Type="http://schemas.openxmlformats.org/officeDocument/2006/relationships/tags" Target="../tags/tag1979.xml"/><Relationship Id="rId239" Type="http://schemas.openxmlformats.org/officeDocument/2006/relationships/tags" Target="../tags/tag2000.xml"/><Relationship Id="rId250" Type="http://schemas.openxmlformats.org/officeDocument/2006/relationships/tags" Target="../tags/tag2011.xml"/><Relationship Id="rId271" Type="http://schemas.openxmlformats.org/officeDocument/2006/relationships/chart" Target="../charts/chart37.xml"/><Relationship Id="rId24" Type="http://schemas.openxmlformats.org/officeDocument/2006/relationships/tags" Target="../tags/tag1785.xml"/><Relationship Id="rId45" Type="http://schemas.openxmlformats.org/officeDocument/2006/relationships/tags" Target="../tags/tag1806.xml"/><Relationship Id="rId66" Type="http://schemas.openxmlformats.org/officeDocument/2006/relationships/tags" Target="../tags/tag1827.xml"/><Relationship Id="rId87" Type="http://schemas.openxmlformats.org/officeDocument/2006/relationships/tags" Target="../tags/tag1848.xml"/><Relationship Id="rId110" Type="http://schemas.openxmlformats.org/officeDocument/2006/relationships/tags" Target="../tags/tag1871.xml"/><Relationship Id="rId131" Type="http://schemas.openxmlformats.org/officeDocument/2006/relationships/tags" Target="../tags/tag1892.xml"/><Relationship Id="rId152" Type="http://schemas.openxmlformats.org/officeDocument/2006/relationships/tags" Target="../tags/tag1913.xml"/><Relationship Id="rId173" Type="http://schemas.openxmlformats.org/officeDocument/2006/relationships/tags" Target="../tags/tag1934.xml"/><Relationship Id="rId194" Type="http://schemas.openxmlformats.org/officeDocument/2006/relationships/tags" Target="../tags/tag1955.xml"/><Relationship Id="rId208" Type="http://schemas.openxmlformats.org/officeDocument/2006/relationships/tags" Target="../tags/tag1969.xml"/><Relationship Id="rId229" Type="http://schemas.openxmlformats.org/officeDocument/2006/relationships/tags" Target="../tags/tag1990.xml"/><Relationship Id="rId240" Type="http://schemas.openxmlformats.org/officeDocument/2006/relationships/tags" Target="../tags/tag2001.xml"/><Relationship Id="rId261" Type="http://schemas.openxmlformats.org/officeDocument/2006/relationships/tags" Target="../tags/tag2022.xml"/><Relationship Id="rId14" Type="http://schemas.openxmlformats.org/officeDocument/2006/relationships/tags" Target="../tags/tag1775.xml"/><Relationship Id="rId35" Type="http://schemas.openxmlformats.org/officeDocument/2006/relationships/tags" Target="../tags/tag1796.xml"/><Relationship Id="rId56" Type="http://schemas.openxmlformats.org/officeDocument/2006/relationships/tags" Target="../tags/tag1817.xml"/><Relationship Id="rId77" Type="http://schemas.openxmlformats.org/officeDocument/2006/relationships/tags" Target="../tags/tag1838.xml"/><Relationship Id="rId100" Type="http://schemas.openxmlformats.org/officeDocument/2006/relationships/tags" Target="../tags/tag1861.xml"/><Relationship Id="rId8" Type="http://schemas.openxmlformats.org/officeDocument/2006/relationships/tags" Target="../tags/tag1769.xml"/><Relationship Id="rId98" Type="http://schemas.openxmlformats.org/officeDocument/2006/relationships/tags" Target="../tags/tag1859.xml"/><Relationship Id="rId121" Type="http://schemas.openxmlformats.org/officeDocument/2006/relationships/tags" Target="../tags/tag1882.xml"/><Relationship Id="rId142" Type="http://schemas.openxmlformats.org/officeDocument/2006/relationships/tags" Target="../tags/tag1903.xml"/><Relationship Id="rId163" Type="http://schemas.openxmlformats.org/officeDocument/2006/relationships/tags" Target="../tags/tag1924.xml"/><Relationship Id="rId184" Type="http://schemas.openxmlformats.org/officeDocument/2006/relationships/tags" Target="../tags/tag1945.xml"/><Relationship Id="rId219" Type="http://schemas.openxmlformats.org/officeDocument/2006/relationships/tags" Target="../tags/tag1980.xml"/><Relationship Id="rId230" Type="http://schemas.openxmlformats.org/officeDocument/2006/relationships/tags" Target="../tags/tag1991.xml"/><Relationship Id="rId251" Type="http://schemas.openxmlformats.org/officeDocument/2006/relationships/tags" Target="../tags/tag2012.xml"/><Relationship Id="rId25" Type="http://schemas.openxmlformats.org/officeDocument/2006/relationships/tags" Target="../tags/tag1786.xml"/><Relationship Id="rId46" Type="http://schemas.openxmlformats.org/officeDocument/2006/relationships/tags" Target="../tags/tag1807.xml"/><Relationship Id="rId67" Type="http://schemas.openxmlformats.org/officeDocument/2006/relationships/tags" Target="../tags/tag1828.xml"/><Relationship Id="rId272" Type="http://schemas.openxmlformats.org/officeDocument/2006/relationships/chart" Target="../charts/chart38.xml"/><Relationship Id="rId88" Type="http://schemas.openxmlformats.org/officeDocument/2006/relationships/tags" Target="../tags/tag1849.xml"/><Relationship Id="rId111" Type="http://schemas.openxmlformats.org/officeDocument/2006/relationships/tags" Target="../tags/tag1872.xml"/><Relationship Id="rId132" Type="http://schemas.openxmlformats.org/officeDocument/2006/relationships/tags" Target="../tags/tag1893.xml"/><Relationship Id="rId153" Type="http://schemas.openxmlformats.org/officeDocument/2006/relationships/tags" Target="../tags/tag1914.xml"/><Relationship Id="rId174" Type="http://schemas.openxmlformats.org/officeDocument/2006/relationships/tags" Target="../tags/tag1935.xml"/><Relationship Id="rId195" Type="http://schemas.openxmlformats.org/officeDocument/2006/relationships/tags" Target="../tags/tag1956.xml"/><Relationship Id="rId209" Type="http://schemas.openxmlformats.org/officeDocument/2006/relationships/tags" Target="../tags/tag1970.xml"/><Relationship Id="rId220" Type="http://schemas.openxmlformats.org/officeDocument/2006/relationships/tags" Target="../tags/tag1981.xml"/><Relationship Id="rId241" Type="http://schemas.openxmlformats.org/officeDocument/2006/relationships/tags" Target="../tags/tag2002.xml"/><Relationship Id="rId15" Type="http://schemas.openxmlformats.org/officeDocument/2006/relationships/tags" Target="../tags/tag1776.xml"/><Relationship Id="rId36" Type="http://schemas.openxmlformats.org/officeDocument/2006/relationships/tags" Target="../tags/tag1797.xml"/><Relationship Id="rId57" Type="http://schemas.openxmlformats.org/officeDocument/2006/relationships/tags" Target="../tags/tag1818.xml"/><Relationship Id="rId262" Type="http://schemas.openxmlformats.org/officeDocument/2006/relationships/tags" Target="../tags/tag2023.xml"/><Relationship Id="rId78" Type="http://schemas.openxmlformats.org/officeDocument/2006/relationships/tags" Target="../tags/tag1839.xml"/><Relationship Id="rId99" Type="http://schemas.openxmlformats.org/officeDocument/2006/relationships/tags" Target="../tags/tag1860.xml"/><Relationship Id="rId101" Type="http://schemas.openxmlformats.org/officeDocument/2006/relationships/tags" Target="../tags/tag1862.xml"/><Relationship Id="rId122" Type="http://schemas.openxmlformats.org/officeDocument/2006/relationships/tags" Target="../tags/tag1883.xml"/><Relationship Id="rId143" Type="http://schemas.openxmlformats.org/officeDocument/2006/relationships/tags" Target="../tags/tag1904.xml"/><Relationship Id="rId164" Type="http://schemas.openxmlformats.org/officeDocument/2006/relationships/tags" Target="../tags/tag1925.xml"/><Relationship Id="rId185" Type="http://schemas.openxmlformats.org/officeDocument/2006/relationships/tags" Target="../tags/tag1946.xml"/><Relationship Id="rId9" Type="http://schemas.openxmlformats.org/officeDocument/2006/relationships/tags" Target="../tags/tag1770.xml"/><Relationship Id="rId210" Type="http://schemas.openxmlformats.org/officeDocument/2006/relationships/tags" Target="../tags/tag1971.xml"/><Relationship Id="rId26" Type="http://schemas.openxmlformats.org/officeDocument/2006/relationships/tags" Target="../tags/tag1787.xml"/><Relationship Id="rId231" Type="http://schemas.openxmlformats.org/officeDocument/2006/relationships/tags" Target="../tags/tag1992.xml"/><Relationship Id="rId252" Type="http://schemas.openxmlformats.org/officeDocument/2006/relationships/tags" Target="../tags/tag2013.xml"/><Relationship Id="rId273" Type="http://schemas.openxmlformats.org/officeDocument/2006/relationships/chart" Target="../charts/chart39.xml"/><Relationship Id="rId47" Type="http://schemas.openxmlformats.org/officeDocument/2006/relationships/tags" Target="../tags/tag1808.xml"/><Relationship Id="rId68" Type="http://schemas.openxmlformats.org/officeDocument/2006/relationships/tags" Target="../tags/tag1829.xml"/><Relationship Id="rId89" Type="http://schemas.openxmlformats.org/officeDocument/2006/relationships/tags" Target="../tags/tag1850.xml"/><Relationship Id="rId112" Type="http://schemas.openxmlformats.org/officeDocument/2006/relationships/tags" Target="../tags/tag1873.xml"/><Relationship Id="rId133" Type="http://schemas.openxmlformats.org/officeDocument/2006/relationships/tags" Target="../tags/tag1894.xml"/><Relationship Id="rId154" Type="http://schemas.openxmlformats.org/officeDocument/2006/relationships/tags" Target="../tags/tag1915.xml"/><Relationship Id="rId175" Type="http://schemas.openxmlformats.org/officeDocument/2006/relationships/tags" Target="../tags/tag1936.xml"/><Relationship Id="rId196" Type="http://schemas.openxmlformats.org/officeDocument/2006/relationships/tags" Target="../tags/tag1957.xml"/><Relationship Id="rId200" Type="http://schemas.openxmlformats.org/officeDocument/2006/relationships/tags" Target="../tags/tag1961.xml"/><Relationship Id="rId16" Type="http://schemas.openxmlformats.org/officeDocument/2006/relationships/tags" Target="../tags/tag1777.xml"/><Relationship Id="rId221" Type="http://schemas.openxmlformats.org/officeDocument/2006/relationships/tags" Target="../tags/tag1982.xml"/><Relationship Id="rId242" Type="http://schemas.openxmlformats.org/officeDocument/2006/relationships/tags" Target="../tags/tag2003.xml"/><Relationship Id="rId263" Type="http://schemas.openxmlformats.org/officeDocument/2006/relationships/tags" Target="../tags/tag2024.xml"/><Relationship Id="rId37" Type="http://schemas.openxmlformats.org/officeDocument/2006/relationships/tags" Target="../tags/tag1798.xml"/><Relationship Id="rId58" Type="http://schemas.openxmlformats.org/officeDocument/2006/relationships/tags" Target="../tags/tag1819.xml"/><Relationship Id="rId79" Type="http://schemas.openxmlformats.org/officeDocument/2006/relationships/tags" Target="../tags/tag1840.xml"/><Relationship Id="rId102" Type="http://schemas.openxmlformats.org/officeDocument/2006/relationships/tags" Target="../tags/tag1863.xml"/><Relationship Id="rId123" Type="http://schemas.openxmlformats.org/officeDocument/2006/relationships/tags" Target="../tags/tag1884.xml"/><Relationship Id="rId144" Type="http://schemas.openxmlformats.org/officeDocument/2006/relationships/tags" Target="../tags/tag1905.xml"/><Relationship Id="rId90" Type="http://schemas.openxmlformats.org/officeDocument/2006/relationships/tags" Target="../tags/tag1851.xml"/><Relationship Id="rId165" Type="http://schemas.openxmlformats.org/officeDocument/2006/relationships/tags" Target="../tags/tag1926.xml"/><Relationship Id="rId186" Type="http://schemas.openxmlformats.org/officeDocument/2006/relationships/tags" Target="../tags/tag1947.xml"/><Relationship Id="rId211" Type="http://schemas.openxmlformats.org/officeDocument/2006/relationships/tags" Target="../tags/tag1972.xml"/><Relationship Id="rId232" Type="http://schemas.openxmlformats.org/officeDocument/2006/relationships/tags" Target="../tags/tag1993.xml"/><Relationship Id="rId253" Type="http://schemas.openxmlformats.org/officeDocument/2006/relationships/tags" Target="../tags/tag2014.xml"/><Relationship Id="rId274" Type="http://schemas.openxmlformats.org/officeDocument/2006/relationships/chart" Target="../charts/chart40.xml"/><Relationship Id="rId27" Type="http://schemas.openxmlformats.org/officeDocument/2006/relationships/tags" Target="../tags/tag1788.xml"/><Relationship Id="rId48" Type="http://schemas.openxmlformats.org/officeDocument/2006/relationships/tags" Target="../tags/tag1809.xml"/><Relationship Id="rId69" Type="http://schemas.openxmlformats.org/officeDocument/2006/relationships/tags" Target="../tags/tag1830.xml"/><Relationship Id="rId113" Type="http://schemas.openxmlformats.org/officeDocument/2006/relationships/tags" Target="../tags/tag1874.xml"/><Relationship Id="rId134" Type="http://schemas.openxmlformats.org/officeDocument/2006/relationships/tags" Target="../tags/tag1895.xml"/><Relationship Id="rId80" Type="http://schemas.openxmlformats.org/officeDocument/2006/relationships/tags" Target="../tags/tag1841.xml"/><Relationship Id="rId155" Type="http://schemas.openxmlformats.org/officeDocument/2006/relationships/tags" Target="../tags/tag1916.xml"/><Relationship Id="rId176" Type="http://schemas.openxmlformats.org/officeDocument/2006/relationships/tags" Target="../tags/tag1937.xml"/><Relationship Id="rId197" Type="http://schemas.openxmlformats.org/officeDocument/2006/relationships/tags" Target="../tags/tag1958.xml"/><Relationship Id="rId201" Type="http://schemas.openxmlformats.org/officeDocument/2006/relationships/tags" Target="../tags/tag1962.xml"/><Relationship Id="rId222" Type="http://schemas.openxmlformats.org/officeDocument/2006/relationships/tags" Target="../tags/tag1983.xml"/><Relationship Id="rId243" Type="http://schemas.openxmlformats.org/officeDocument/2006/relationships/tags" Target="../tags/tag2004.xml"/><Relationship Id="rId264" Type="http://schemas.openxmlformats.org/officeDocument/2006/relationships/tags" Target="../tags/tag2025.xml"/><Relationship Id="rId17" Type="http://schemas.openxmlformats.org/officeDocument/2006/relationships/tags" Target="../tags/tag1778.xml"/><Relationship Id="rId38" Type="http://schemas.openxmlformats.org/officeDocument/2006/relationships/tags" Target="../tags/tag1799.xml"/><Relationship Id="rId59" Type="http://schemas.openxmlformats.org/officeDocument/2006/relationships/tags" Target="../tags/tag1820.xml"/><Relationship Id="rId103" Type="http://schemas.openxmlformats.org/officeDocument/2006/relationships/tags" Target="../tags/tag1864.xml"/><Relationship Id="rId124" Type="http://schemas.openxmlformats.org/officeDocument/2006/relationships/tags" Target="../tags/tag1885.xml"/><Relationship Id="rId70" Type="http://schemas.openxmlformats.org/officeDocument/2006/relationships/tags" Target="../tags/tag1831.xml"/><Relationship Id="rId91" Type="http://schemas.openxmlformats.org/officeDocument/2006/relationships/tags" Target="../tags/tag1852.xml"/><Relationship Id="rId145" Type="http://schemas.openxmlformats.org/officeDocument/2006/relationships/tags" Target="../tags/tag1906.xml"/><Relationship Id="rId166" Type="http://schemas.openxmlformats.org/officeDocument/2006/relationships/tags" Target="../tags/tag1927.xml"/><Relationship Id="rId187" Type="http://schemas.openxmlformats.org/officeDocument/2006/relationships/tags" Target="../tags/tag1948.xml"/><Relationship Id="rId1" Type="http://schemas.openxmlformats.org/officeDocument/2006/relationships/tags" Target="../tags/tag1762.xml"/><Relationship Id="rId212" Type="http://schemas.openxmlformats.org/officeDocument/2006/relationships/tags" Target="../tags/tag1973.xml"/><Relationship Id="rId233" Type="http://schemas.openxmlformats.org/officeDocument/2006/relationships/tags" Target="../tags/tag1994.xml"/><Relationship Id="rId254" Type="http://schemas.openxmlformats.org/officeDocument/2006/relationships/tags" Target="../tags/tag2015.xml"/><Relationship Id="rId28" Type="http://schemas.openxmlformats.org/officeDocument/2006/relationships/tags" Target="../tags/tag1789.xml"/><Relationship Id="rId49" Type="http://schemas.openxmlformats.org/officeDocument/2006/relationships/tags" Target="../tags/tag1810.xml"/><Relationship Id="rId114" Type="http://schemas.openxmlformats.org/officeDocument/2006/relationships/tags" Target="../tags/tag1875.xml"/><Relationship Id="rId60" Type="http://schemas.openxmlformats.org/officeDocument/2006/relationships/tags" Target="../tags/tag1821.xml"/><Relationship Id="rId81" Type="http://schemas.openxmlformats.org/officeDocument/2006/relationships/tags" Target="../tags/tag1842.xml"/><Relationship Id="rId135" Type="http://schemas.openxmlformats.org/officeDocument/2006/relationships/tags" Target="../tags/tag1896.xml"/><Relationship Id="rId156" Type="http://schemas.openxmlformats.org/officeDocument/2006/relationships/tags" Target="../tags/tag1917.xml"/><Relationship Id="rId177" Type="http://schemas.openxmlformats.org/officeDocument/2006/relationships/tags" Target="../tags/tag1938.xml"/><Relationship Id="rId198" Type="http://schemas.openxmlformats.org/officeDocument/2006/relationships/tags" Target="../tags/tag1959.xml"/><Relationship Id="rId202" Type="http://schemas.openxmlformats.org/officeDocument/2006/relationships/tags" Target="../tags/tag1963.xml"/><Relationship Id="rId223" Type="http://schemas.openxmlformats.org/officeDocument/2006/relationships/tags" Target="../tags/tag1984.xml"/><Relationship Id="rId244" Type="http://schemas.openxmlformats.org/officeDocument/2006/relationships/tags" Target="../tags/tag2005.xml"/><Relationship Id="rId18" Type="http://schemas.openxmlformats.org/officeDocument/2006/relationships/tags" Target="../tags/tag1779.xml"/><Relationship Id="rId39" Type="http://schemas.openxmlformats.org/officeDocument/2006/relationships/tags" Target="../tags/tag1800.xml"/><Relationship Id="rId265" Type="http://schemas.openxmlformats.org/officeDocument/2006/relationships/tags" Target="../tags/tag2026.xml"/><Relationship Id="rId50" Type="http://schemas.openxmlformats.org/officeDocument/2006/relationships/tags" Target="../tags/tag1811.xml"/><Relationship Id="rId104" Type="http://schemas.openxmlformats.org/officeDocument/2006/relationships/tags" Target="../tags/tag1865.xml"/><Relationship Id="rId125" Type="http://schemas.openxmlformats.org/officeDocument/2006/relationships/tags" Target="../tags/tag1886.xml"/><Relationship Id="rId146" Type="http://schemas.openxmlformats.org/officeDocument/2006/relationships/tags" Target="../tags/tag1907.xml"/><Relationship Id="rId167" Type="http://schemas.openxmlformats.org/officeDocument/2006/relationships/tags" Target="../tags/tag1928.xml"/><Relationship Id="rId188" Type="http://schemas.openxmlformats.org/officeDocument/2006/relationships/tags" Target="../tags/tag1949.xml"/><Relationship Id="rId71" Type="http://schemas.openxmlformats.org/officeDocument/2006/relationships/tags" Target="../tags/tag1832.xml"/><Relationship Id="rId92" Type="http://schemas.openxmlformats.org/officeDocument/2006/relationships/tags" Target="../tags/tag1853.xml"/><Relationship Id="rId213" Type="http://schemas.openxmlformats.org/officeDocument/2006/relationships/tags" Target="../tags/tag1974.xml"/><Relationship Id="rId234" Type="http://schemas.openxmlformats.org/officeDocument/2006/relationships/tags" Target="../tags/tag1995.xml"/><Relationship Id="rId2" Type="http://schemas.openxmlformats.org/officeDocument/2006/relationships/tags" Target="../tags/tag1763.xml"/><Relationship Id="rId29" Type="http://schemas.openxmlformats.org/officeDocument/2006/relationships/tags" Target="../tags/tag1790.xml"/><Relationship Id="rId255" Type="http://schemas.openxmlformats.org/officeDocument/2006/relationships/tags" Target="../tags/tag2016.xml"/><Relationship Id="rId40" Type="http://schemas.openxmlformats.org/officeDocument/2006/relationships/tags" Target="../tags/tag1801.xml"/><Relationship Id="rId115" Type="http://schemas.openxmlformats.org/officeDocument/2006/relationships/tags" Target="../tags/tag1876.xml"/><Relationship Id="rId136" Type="http://schemas.openxmlformats.org/officeDocument/2006/relationships/tags" Target="../tags/tag1897.xml"/><Relationship Id="rId157" Type="http://schemas.openxmlformats.org/officeDocument/2006/relationships/tags" Target="../tags/tag1918.xml"/><Relationship Id="rId178" Type="http://schemas.openxmlformats.org/officeDocument/2006/relationships/tags" Target="../tags/tag1939.xml"/><Relationship Id="rId61" Type="http://schemas.openxmlformats.org/officeDocument/2006/relationships/tags" Target="../tags/tag1822.xml"/><Relationship Id="rId82" Type="http://schemas.openxmlformats.org/officeDocument/2006/relationships/tags" Target="../tags/tag1843.xml"/><Relationship Id="rId199" Type="http://schemas.openxmlformats.org/officeDocument/2006/relationships/tags" Target="../tags/tag1960.xml"/><Relationship Id="rId203" Type="http://schemas.openxmlformats.org/officeDocument/2006/relationships/tags" Target="../tags/tag1964.xml"/><Relationship Id="rId19" Type="http://schemas.openxmlformats.org/officeDocument/2006/relationships/tags" Target="../tags/tag1780.xml"/><Relationship Id="rId224" Type="http://schemas.openxmlformats.org/officeDocument/2006/relationships/tags" Target="../tags/tag1985.xml"/><Relationship Id="rId245" Type="http://schemas.openxmlformats.org/officeDocument/2006/relationships/tags" Target="../tags/tag2006.xml"/><Relationship Id="rId266" Type="http://schemas.openxmlformats.org/officeDocument/2006/relationships/tags" Target="../tags/tag2027.xml"/><Relationship Id="rId30" Type="http://schemas.openxmlformats.org/officeDocument/2006/relationships/tags" Target="../tags/tag1791.xml"/><Relationship Id="rId105" Type="http://schemas.openxmlformats.org/officeDocument/2006/relationships/tags" Target="../tags/tag1866.xml"/><Relationship Id="rId126" Type="http://schemas.openxmlformats.org/officeDocument/2006/relationships/tags" Target="../tags/tag1887.xml"/><Relationship Id="rId147" Type="http://schemas.openxmlformats.org/officeDocument/2006/relationships/tags" Target="../tags/tag1908.xml"/><Relationship Id="rId168" Type="http://schemas.openxmlformats.org/officeDocument/2006/relationships/tags" Target="../tags/tag1929.xml"/><Relationship Id="rId51" Type="http://schemas.openxmlformats.org/officeDocument/2006/relationships/tags" Target="../tags/tag1812.xml"/><Relationship Id="rId72" Type="http://schemas.openxmlformats.org/officeDocument/2006/relationships/tags" Target="../tags/tag1833.xml"/><Relationship Id="rId93" Type="http://schemas.openxmlformats.org/officeDocument/2006/relationships/tags" Target="../tags/tag1854.xml"/><Relationship Id="rId189" Type="http://schemas.openxmlformats.org/officeDocument/2006/relationships/tags" Target="../tags/tag1950.xml"/><Relationship Id="rId3" Type="http://schemas.openxmlformats.org/officeDocument/2006/relationships/tags" Target="../tags/tag1764.xml"/><Relationship Id="rId214" Type="http://schemas.openxmlformats.org/officeDocument/2006/relationships/tags" Target="../tags/tag1975.xml"/><Relationship Id="rId235" Type="http://schemas.openxmlformats.org/officeDocument/2006/relationships/tags" Target="../tags/tag1996.xml"/><Relationship Id="rId256" Type="http://schemas.openxmlformats.org/officeDocument/2006/relationships/tags" Target="../tags/tag2017.xml"/><Relationship Id="rId116" Type="http://schemas.openxmlformats.org/officeDocument/2006/relationships/tags" Target="../tags/tag1877.xml"/><Relationship Id="rId137" Type="http://schemas.openxmlformats.org/officeDocument/2006/relationships/tags" Target="../tags/tag1898.xml"/><Relationship Id="rId158" Type="http://schemas.openxmlformats.org/officeDocument/2006/relationships/tags" Target="../tags/tag1919.xml"/><Relationship Id="rId20" Type="http://schemas.openxmlformats.org/officeDocument/2006/relationships/tags" Target="../tags/tag1781.xml"/><Relationship Id="rId41" Type="http://schemas.openxmlformats.org/officeDocument/2006/relationships/tags" Target="../tags/tag1802.xml"/><Relationship Id="rId62" Type="http://schemas.openxmlformats.org/officeDocument/2006/relationships/tags" Target="../tags/tag1823.xml"/><Relationship Id="rId83" Type="http://schemas.openxmlformats.org/officeDocument/2006/relationships/tags" Target="../tags/tag1844.xml"/><Relationship Id="rId179" Type="http://schemas.openxmlformats.org/officeDocument/2006/relationships/tags" Target="../tags/tag1940.xml"/><Relationship Id="rId190" Type="http://schemas.openxmlformats.org/officeDocument/2006/relationships/tags" Target="../tags/tag1951.xml"/><Relationship Id="rId204" Type="http://schemas.openxmlformats.org/officeDocument/2006/relationships/tags" Target="../tags/tag1965.xml"/><Relationship Id="rId225" Type="http://schemas.openxmlformats.org/officeDocument/2006/relationships/tags" Target="../tags/tag1986.xml"/><Relationship Id="rId246" Type="http://schemas.openxmlformats.org/officeDocument/2006/relationships/tags" Target="../tags/tag2007.xml"/><Relationship Id="rId267" Type="http://schemas.openxmlformats.org/officeDocument/2006/relationships/slideLayout" Target="../slideLayouts/slideLayout47.xml"/><Relationship Id="rId106" Type="http://schemas.openxmlformats.org/officeDocument/2006/relationships/tags" Target="../tags/tag1867.xml"/><Relationship Id="rId127" Type="http://schemas.openxmlformats.org/officeDocument/2006/relationships/tags" Target="../tags/tag1888.xml"/><Relationship Id="rId10" Type="http://schemas.openxmlformats.org/officeDocument/2006/relationships/tags" Target="../tags/tag1771.xml"/><Relationship Id="rId31" Type="http://schemas.openxmlformats.org/officeDocument/2006/relationships/tags" Target="../tags/tag1792.xml"/><Relationship Id="rId52" Type="http://schemas.openxmlformats.org/officeDocument/2006/relationships/tags" Target="../tags/tag1813.xml"/><Relationship Id="rId73" Type="http://schemas.openxmlformats.org/officeDocument/2006/relationships/tags" Target="../tags/tag1834.xml"/><Relationship Id="rId94" Type="http://schemas.openxmlformats.org/officeDocument/2006/relationships/tags" Target="../tags/tag1855.xml"/><Relationship Id="rId148" Type="http://schemas.openxmlformats.org/officeDocument/2006/relationships/tags" Target="../tags/tag1909.xml"/><Relationship Id="rId169" Type="http://schemas.openxmlformats.org/officeDocument/2006/relationships/tags" Target="../tags/tag1930.xml"/><Relationship Id="rId4" Type="http://schemas.openxmlformats.org/officeDocument/2006/relationships/tags" Target="../tags/tag1765.xml"/><Relationship Id="rId180" Type="http://schemas.openxmlformats.org/officeDocument/2006/relationships/tags" Target="../tags/tag1941.xml"/><Relationship Id="rId215" Type="http://schemas.openxmlformats.org/officeDocument/2006/relationships/tags" Target="../tags/tag1976.xml"/><Relationship Id="rId236" Type="http://schemas.openxmlformats.org/officeDocument/2006/relationships/tags" Target="../tags/tag1997.xml"/><Relationship Id="rId257" Type="http://schemas.openxmlformats.org/officeDocument/2006/relationships/tags" Target="../tags/tag2018.xml"/><Relationship Id="rId42" Type="http://schemas.openxmlformats.org/officeDocument/2006/relationships/tags" Target="../tags/tag1803.xml"/><Relationship Id="rId84" Type="http://schemas.openxmlformats.org/officeDocument/2006/relationships/tags" Target="../tags/tag1845.xml"/><Relationship Id="rId138" Type="http://schemas.openxmlformats.org/officeDocument/2006/relationships/tags" Target="../tags/tag1899.xml"/><Relationship Id="rId191" Type="http://schemas.openxmlformats.org/officeDocument/2006/relationships/tags" Target="../tags/tag1952.xml"/><Relationship Id="rId205" Type="http://schemas.openxmlformats.org/officeDocument/2006/relationships/tags" Target="../tags/tag1966.xml"/><Relationship Id="rId247" Type="http://schemas.openxmlformats.org/officeDocument/2006/relationships/tags" Target="../tags/tag2008.xml"/><Relationship Id="rId107" Type="http://schemas.openxmlformats.org/officeDocument/2006/relationships/tags" Target="../tags/tag1868.xml"/><Relationship Id="rId11" Type="http://schemas.openxmlformats.org/officeDocument/2006/relationships/tags" Target="../tags/tag1772.xml"/><Relationship Id="rId53" Type="http://schemas.openxmlformats.org/officeDocument/2006/relationships/tags" Target="../tags/tag1814.xml"/><Relationship Id="rId149" Type="http://schemas.openxmlformats.org/officeDocument/2006/relationships/tags" Target="../tags/tag1910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2144.xml"/><Relationship Id="rId21" Type="http://schemas.openxmlformats.org/officeDocument/2006/relationships/tags" Target="../tags/tag2048.xml"/><Relationship Id="rId42" Type="http://schemas.openxmlformats.org/officeDocument/2006/relationships/tags" Target="../tags/tag2069.xml"/><Relationship Id="rId63" Type="http://schemas.openxmlformats.org/officeDocument/2006/relationships/tags" Target="../tags/tag2090.xml"/><Relationship Id="rId84" Type="http://schemas.openxmlformats.org/officeDocument/2006/relationships/tags" Target="../tags/tag2111.xml"/><Relationship Id="rId138" Type="http://schemas.openxmlformats.org/officeDocument/2006/relationships/tags" Target="../tags/tag2165.xml"/><Relationship Id="rId159" Type="http://schemas.openxmlformats.org/officeDocument/2006/relationships/tags" Target="../tags/tag2186.xml"/><Relationship Id="rId170" Type="http://schemas.openxmlformats.org/officeDocument/2006/relationships/tags" Target="../tags/tag2197.xml"/><Relationship Id="rId191" Type="http://schemas.openxmlformats.org/officeDocument/2006/relationships/tags" Target="../tags/tag2218.xml"/><Relationship Id="rId205" Type="http://schemas.openxmlformats.org/officeDocument/2006/relationships/tags" Target="../tags/tag2232.xml"/><Relationship Id="rId226" Type="http://schemas.openxmlformats.org/officeDocument/2006/relationships/tags" Target="../tags/tag2253.xml"/><Relationship Id="rId247" Type="http://schemas.openxmlformats.org/officeDocument/2006/relationships/tags" Target="../tags/tag2274.xml"/><Relationship Id="rId107" Type="http://schemas.openxmlformats.org/officeDocument/2006/relationships/tags" Target="../tags/tag2134.xml"/><Relationship Id="rId11" Type="http://schemas.openxmlformats.org/officeDocument/2006/relationships/tags" Target="../tags/tag2038.xml"/><Relationship Id="rId32" Type="http://schemas.openxmlformats.org/officeDocument/2006/relationships/tags" Target="../tags/tag2059.xml"/><Relationship Id="rId53" Type="http://schemas.openxmlformats.org/officeDocument/2006/relationships/tags" Target="../tags/tag2080.xml"/><Relationship Id="rId74" Type="http://schemas.openxmlformats.org/officeDocument/2006/relationships/tags" Target="../tags/tag2101.xml"/><Relationship Id="rId128" Type="http://schemas.openxmlformats.org/officeDocument/2006/relationships/tags" Target="../tags/tag2155.xml"/><Relationship Id="rId149" Type="http://schemas.openxmlformats.org/officeDocument/2006/relationships/tags" Target="../tags/tag2176.xml"/><Relationship Id="rId5" Type="http://schemas.openxmlformats.org/officeDocument/2006/relationships/tags" Target="../tags/tag2032.xml"/><Relationship Id="rId95" Type="http://schemas.openxmlformats.org/officeDocument/2006/relationships/tags" Target="../tags/tag2122.xml"/><Relationship Id="rId160" Type="http://schemas.openxmlformats.org/officeDocument/2006/relationships/tags" Target="../tags/tag2187.xml"/><Relationship Id="rId181" Type="http://schemas.openxmlformats.org/officeDocument/2006/relationships/tags" Target="../tags/tag2208.xml"/><Relationship Id="rId216" Type="http://schemas.openxmlformats.org/officeDocument/2006/relationships/tags" Target="../tags/tag2243.xml"/><Relationship Id="rId237" Type="http://schemas.openxmlformats.org/officeDocument/2006/relationships/tags" Target="../tags/tag2264.xml"/><Relationship Id="rId22" Type="http://schemas.openxmlformats.org/officeDocument/2006/relationships/tags" Target="../tags/tag2049.xml"/><Relationship Id="rId43" Type="http://schemas.openxmlformats.org/officeDocument/2006/relationships/tags" Target="../tags/tag2070.xml"/><Relationship Id="rId64" Type="http://schemas.openxmlformats.org/officeDocument/2006/relationships/tags" Target="../tags/tag2091.xml"/><Relationship Id="rId118" Type="http://schemas.openxmlformats.org/officeDocument/2006/relationships/tags" Target="../tags/tag2145.xml"/><Relationship Id="rId139" Type="http://schemas.openxmlformats.org/officeDocument/2006/relationships/tags" Target="../tags/tag2166.xml"/><Relationship Id="rId85" Type="http://schemas.openxmlformats.org/officeDocument/2006/relationships/tags" Target="../tags/tag2112.xml"/><Relationship Id="rId150" Type="http://schemas.openxmlformats.org/officeDocument/2006/relationships/tags" Target="../tags/tag2177.xml"/><Relationship Id="rId171" Type="http://schemas.openxmlformats.org/officeDocument/2006/relationships/tags" Target="../tags/tag2198.xml"/><Relationship Id="rId192" Type="http://schemas.openxmlformats.org/officeDocument/2006/relationships/tags" Target="../tags/tag2219.xml"/><Relationship Id="rId206" Type="http://schemas.openxmlformats.org/officeDocument/2006/relationships/tags" Target="../tags/tag2233.xml"/><Relationship Id="rId227" Type="http://schemas.openxmlformats.org/officeDocument/2006/relationships/tags" Target="../tags/tag2254.xml"/><Relationship Id="rId248" Type="http://schemas.openxmlformats.org/officeDocument/2006/relationships/tags" Target="../tags/tag2275.xml"/><Relationship Id="rId12" Type="http://schemas.openxmlformats.org/officeDocument/2006/relationships/tags" Target="../tags/tag2039.xml"/><Relationship Id="rId33" Type="http://schemas.openxmlformats.org/officeDocument/2006/relationships/tags" Target="../tags/tag2060.xml"/><Relationship Id="rId108" Type="http://schemas.openxmlformats.org/officeDocument/2006/relationships/tags" Target="../tags/tag2135.xml"/><Relationship Id="rId129" Type="http://schemas.openxmlformats.org/officeDocument/2006/relationships/tags" Target="../tags/tag2156.xml"/><Relationship Id="rId54" Type="http://schemas.openxmlformats.org/officeDocument/2006/relationships/tags" Target="../tags/tag2081.xml"/><Relationship Id="rId75" Type="http://schemas.openxmlformats.org/officeDocument/2006/relationships/tags" Target="../tags/tag2102.xml"/><Relationship Id="rId96" Type="http://schemas.openxmlformats.org/officeDocument/2006/relationships/tags" Target="../tags/tag2123.xml"/><Relationship Id="rId140" Type="http://schemas.openxmlformats.org/officeDocument/2006/relationships/tags" Target="../tags/tag2167.xml"/><Relationship Id="rId161" Type="http://schemas.openxmlformats.org/officeDocument/2006/relationships/tags" Target="../tags/tag2188.xml"/><Relationship Id="rId182" Type="http://schemas.openxmlformats.org/officeDocument/2006/relationships/tags" Target="../tags/tag2209.xml"/><Relationship Id="rId217" Type="http://schemas.openxmlformats.org/officeDocument/2006/relationships/tags" Target="../tags/tag2244.xml"/><Relationship Id="rId6" Type="http://schemas.openxmlformats.org/officeDocument/2006/relationships/tags" Target="../tags/tag2033.xml"/><Relationship Id="rId238" Type="http://schemas.openxmlformats.org/officeDocument/2006/relationships/tags" Target="../tags/tag2265.xml"/><Relationship Id="rId23" Type="http://schemas.openxmlformats.org/officeDocument/2006/relationships/tags" Target="../tags/tag2050.xml"/><Relationship Id="rId119" Type="http://schemas.openxmlformats.org/officeDocument/2006/relationships/tags" Target="../tags/tag2146.xml"/><Relationship Id="rId44" Type="http://schemas.openxmlformats.org/officeDocument/2006/relationships/tags" Target="../tags/tag2071.xml"/><Relationship Id="rId65" Type="http://schemas.openxmlformats.org/officeDocument/2006/relationships/tags" Target="../tags/tag2092.xml"/><Relationship Id="rId86" Type="http://schemas.openxmlformats.org/officeDocument/2006/relationships/tags" Target="../tags/tag2113.xml"/><Relationship Id="rId130" Type="http://schemas.openxmlformats.org/officeDocument/2006/relationships/tags" Target="../tags/tag2157.xml"/><Relationship Id="rId151" Type="http://schemas.openxmlformats.org/officeDocument/2006/relationships/tags" Target="../tags/tag2178.xml"/><Relationship Id="rId172" Type="http://schemas.openxmlformats.org/officeDocument/2006/relationships/tags" Target="../tags/tag2199.xml"/><Relationship Id="rId193" Type="http://schemas.openxmlformats.org/officeDocument/2006/relationships/tags" Target="../tags/tag2220.xml"/><Relationship Id="rId207" Type="http://schemas.openxmlformats.org/officeDocument/2006/relationships/tags" Target="../tags/tag2234.xml"/><Relationship Id="rId228" Type="http://schemas.openxmlformats.org/officeDocument/2006/relationships/tags" Target="../tags/tag2255.xml"/><Relationship Id="rId249" Type="http://schemas.openxmlformats.org/officeDocument/2006/relationships/slideLayout" Target="../slideLayouts/slideLayout47.xml"/><Relationship Id="rId13" Type="http://schemas.openxmlformats.org/officeDocument/2006/relationships/tags" Target="../tags/tag2040.xml"/><Relationship Id="rId109" Type="http://schemas.openxmlformats.org/officeDocument/2006/relationships/tags" Target="../tags/tag2136.xml"/><Relationship Id="rId34" Type="http://schemas.openxmlformats.org/officeDocument/2006/relationships/tags" Target="../tags/tag2061.xml"/><Relationship Id="rId55" Type="http://schemas.openxmlformats.org/officeDocument/2006/relationships/tags" Target="../tags/tag2082.xml"/><Relationship Id="rId76" Type="http://schemas.openxmlformats.org/officeDocument/2006/relationships/tags" Target="../tags/tag2103.xml"/><Relationship Id="rId97" Type="http://schemas.openxmlformats.org/officeDocument/2006/relationships/tags" Target="../tags/tag2124.xml"/><Relationship Id="rId120" Type="http://schemas.openxmlformats.org/officeDocument/2006/relationships/tags" Target="../tags/tag2147.xml"/><Relationship Id="rId141" Type="http://schemas.openxmlformats.org/officeDocument/2006/relationships/tags" Target="../tags/tag2168.xml"/><Relationship Id="rId7" Type="http://schemas.openxmlformats.org/officeDocument/2006/relationships/tags" Target="../tags/tag2034.xml"/><Relationship Id="rId162" Type="http://schemas.openxmlformats.org/officeDocument/2006/relationships/tags" Target="../tags/tag2189.xml"/><Relationship Id="rId183" Type="http://schemas.openxmlformats.org/officeDocument/2006/relationships/tags" Target="../tags/tag2210.xml"/><Relationship Id="rId218" Type="http://schemas.openxmlformats.org/officeDocument/2006/relationships/tags" Target="../tags/tag2245.xml"/><Relationship Id="rId239" Type="http://schemas.openxmlformats.org/officeDocument/2006/relationships/tags" Target="../tags/tag2266.xml"/><Relationship Id="rId250" Type="http://schemas.openxmlformats.org/officeDocument/2006/relationships/oleObject" Target="../embeddings/oleObject288.bin"/><Relationship Id="rId24" Type="http://schemas.openxmlformats.org/officeDocument/2006/relationships/tags" Target="../tags/tag2051.xml"/><Relationship Id="rId45" Type="http://schemas.openxmlformats.org/officeDocument/2006/relationships/tags" Target="../tags/tag2072.xml"/><Relationship Id="rId66" Type="http://schemas.openxmlformats.org/officeDocument/2006/relationships/tags" Target="../tags/tag2093.xml"/><Relationship Id="rId87" Type="http://schemas.openxmlformats.org/officeDocument/2006/relationships/tags" Target="../tags/tag2114.xml"/><Relationship Id="rId110" Type="http://schemas.openxmlformats.org/officeDocument/2006/relationships/tags" Target="../tags/tag2137.xml"/><Relationship Id="rId131" Type="http://schemas.openxmlformats.org/officeDocument/2006/relationships/tags" Target="../tags/tag2158.xml"/><Relationship Id="rId152" Type="http://schemas.openxmlformats.org/officeDocument/2006/relationships/tags" Target="../tags/tag2179.xml"/><Relationship Id="rId173" Type="http://schemas.openxmlformats.org/officeDocument/2006/relationships/tags" Target="../tags/tag2200.xml"/><Relationship Id="rId194" Type="http://schemas.openxmlformats.org/officeDocument/2006/relationships/tags" Target="../tags/tag2221.xml"/><Relationship Id="rId208" Type="http://schemas.openxmlformats.org/officeDocument/2006/relationships/tags" Target="../tags/tag2235.xml"/><Relationship Id="rId229" Type="http://schemas.openxmlformats.org/officeDocument/2006/relationships/tags" Target="../tags/tag2256.xml"/><Relationship Id="rId240" Type="http://schemas.openxmlformats.org/officeDocument/2006/relationships/tags" Target="../tags/tag2267.xml"/><Relationship Id="rId14" Type="http://schemas.openxmlformats.org/officeDocument/2006/relationships/tags" Target="../tags/tag2041.xml"/><Relationship Id="rId35" Type="http://schemas.openxmlformats.org/officeDocument/2006/relationships/tags" Target="../tags/tag2062.xml"/><Relationship Id="rId56" Type="http://schemas.openxmlformats.org/officeDocument/2006/relationships/tags" Target="../tags/tag2083.xml"/><Relationship Id="rId77" Type="http://schemas.openxmlformats.org/officeDocument/2006/relationships/tags" Target="../tags/tag2104.xml"/><Relationship Id="rId100" Type="http://schemas.openxmlformats.org/officeDocument/2006/relationships/tags" Target="../tags/tag2127.xml"/><Relationship Id="rId8" Type="http://schemas.openxmlformats.org/officeDocument/2006/relationships/tags" Target="../tags/tag2035.xml"/><Relationship Id="rId98" Type="http://schemas.openxmlformats.org/officeDocument/2006/relationships/tags" Target="../tags/tag2125.xml"/><Relationship Id="rId121" Type="http://schemas.openxmlformats.org/officeDocument/2006/relationships/tags" Target="../tags/tag2148.xml"/><Relationship Id="rId142" Type="http://schemas.openxmlformats.org/officeDocument/2006/relationships/tags" Target="../tags/tag2169.xml"/><Relationship Id="rId163" Type="http://schemas.openxmlformats.org/officeDocument/2006/relationships/tags" Target="../tags/tag2190.xml"/><Relationship Id="rId184" Type="http://schemas.openxmlformats.org/officeDocument/2006/relationships/tags" Target="../tags/tag2211.xml"/><Relationship Id="rId219" Type="http://schemas.openxmlformats.org/officeDocument/2006/relationships/tags" Target="../tags/tag2246.xml"/><Relationship Id="rId230" Type="http://schemas.openxmlformats.org/officeDocument/2006/relationships/tags" Target="../tags/tag2257.xml"/><Relationship Id="rId251" Type="http://schemas.openxmlformats.org/officeDocument/2006/relationships/image" Target="../media/image31.emf"/><Relationship Id="rId25" Type="http://schemas.openxmlformats.org/officeDocument/2006/relationships/tags" Target="../tags/tag2052.xml"/><Relationship Id="rId46" Type="http://schemas.openxmlformats.org/officeDocument/2006/relationships/tags" Target="../tags/tag2073.xml"/><Relationship Id="rId67" Type="http://schemas.openxmlformats.org/officeDocument/2006/relationships/tags" Target="../tags/tag2094.xml"/><Relationship Id="rId88" Type="http://schemas.openxmlformats.org/officeDocument/2006/relationships/tags" Target="../tags/tag2115.xml"/><Relationship Id="rId111" Type="http://schemas.openxmlformats.org/officeDocument/2006/relationships/tags" Target="../tags/tag2138.xml"/><Relationship Id="rId132" Type="http://schemas.openxmlformats.org/officeDocument/2006/relationships/tags" Target="../tags/tag2159.xml"/><Relationship Id="rId153" Type="http://schemas.openxmlformats.org/officeDocument/2006/relationships/tags" Target="../tags/tag2180.xml"/><Relationship Id="rId174" Type="http://schemas.openxmlformats.org/officeDocument/2006/relationships/tags" Target="../tags/tag2201.xml"/><Relationship Id="rId195" Type="http://schemas.openxmlformats.org/officeDocument/2006/relationships/tags" Target="../tags/tag2222.xml"/><Relationship Id="rId209" Type="http://schemas.openxmlformats.org/officeDocument/2006/relationships/tags" Target="../tags/tag2236.xml"/><Relationship Id="rId220" Type="http://schemas.openxmlformats.org/officeDocument/2006/relationships/tags" Target="../tags/tag2247.xml"/><Relationship Id="rId241" Type="http://schemas.openxmlformats.org/officeDocument/2006/relationships/tags" Target="../tags/tag2268.xml"/><Relationship Id="rId15" Type="http://schemas.openxmlformats.org/officeDocument/2006/relationships/tags" Target="../tags/tag2042.xml"/><Relationship Id="rId36" Type="http://schemas.openxmlformats.org/officeDocument/2006/relationships/tags" Target="../tags/tag2063.xml"/><Relationship Id="rId57" Type="http://schemas.openxmlformats.org/officeDocument/2006/relationships/tags" Target="../tags/tag2084.xml"/><Relationship Id="rId78" Type="http://schemas.openxmlformats.org/officeDocument/2006/relationships/tags" Target="../tags/tag2105.xml"/><Relationship Id="rId99" Type="http://schemas.openxmlformats.org/officeDocument/2006/relationships/tags" Target="../tags/tag2126.xml"/><Relationship Id="rId101" Type="http://schemas.openxmlformats.org/officeDocument/2006/relationships/tags" Target="../tags/tag2128.xml"/><Relationship Id="rId122" Type="http://schemas.openxmlformats.org/officeDocument/2006/relationships/tags" Target="../tags/tag2149.xml"/><Relationship Id="rId143" Type="http://schemas.openxmlformats.org/officeDocument/2006/relationships/tags" Target="../tags/tag2170.xml"/><Relationship Id="rId164" Type="http://schemas.openxmlformats.org/officeDocument/2006/relationships/tags" Target="../tags/tag2191.xml"/><Relationship Id="rId185" Type="http://schemas.openxmlformats.org/officeDocument/2006/relationships/tags" Target="../tags/tag2212.xml"/><Relationship Id="rId9" Type="http://schemas.openxmlformats.org/officeDocument/2006/relationships/tags" Target="../tags/tag2036.xml"/><Relationship Id="rId210" Type="http://schemas.openxmlformats.org/officeDocument/2006/relationships/tags" Target="../tags/tag2237.xml"/><Relationship Id="rId26" Type="http://schemas.openxmlformats.org/officeDocument/2006/relationships/tags" Target="../tags/tag2053.xml"/><Relationship Id="rId231" Type="http://schemas.openxmlformats.org/officeDocument/2006/relationships/tags" Target="../tags/tag2258.xml"/><Relationship Id="rId252" Type="http://schemas.openxmlformats.org/officeDocument/2006/relationships/chart" Target="../charts/chart41.xml"/><Relationship Id="rId47" Type="http://schemas.openxmlformats.org/officeDocument/2006/relationships/tags" Target="../tags/tag2074.xml"/><Relationship Id="rId68" Type="http://schemas.openxmlformats.org/officeDocument/2006/relationships/tags" Target="../tags/tag2095.xml"/><Relationship Id="rId89" Type="http://schemas.openxmlformats.org/officeDocument/2006/relationships/tags" Target="../tags/tag2116.xml"/><Relationship Id="rId112" Type="http://schemas.openxmlformats.org/officeDocument/2006/relationships/tags" Target="../tags/tag2139.xml"/><Relationship Id="rId133" Type="http://schemas.openxmlformats.org/officeDocument/2006/relationships/tags" Target="../tags/tag2160.xml"/><Relationship Id="rId154" Type="http://schemas.openxmlformats.org/officeDocument/2006/relationships/tags" Target="../tags/tag2181.xml"/><Relationship Id="rId175" Type="http://schemas.openxmlformats.org/officeDocument/2006/relationships/tags" Target="../tags/tag2202.xml"/><Relationship Id="rId196" Type="http://schemas.openxmlformats.org/officeDocument/2006/relationships/tags" Target="../tags/tag2223.xml"/><Relationship Id="rId200" Type="http://schemas.openxmlformats.org/officeDocument/2006/relationships/tags" Target="../tags/tag2227.xml"/><Relationship Id="rId16" Type="http://schemas.openxmlformats.org/officeDocument/2006/relationships/tags" Target="../tags/tag2043.xml"/><Relationship Id="rId221" Type="http://schemas.openxmlformats.org/officeDocument/2006/relationships/tags" Target="../tags/tag2248.xml"/><Relationship Id="rId242" Type="http://schemas.openxmlformats.org/officeDocument/2006/relationships/tags" Target="../tags/tag2269.xml"/><Relationship Id="rId37" Type="http://schemas.openxmlformats.org/officeDocument/2006/relationships/tags" Target="../tags/tag2064.xml"/><Relationship Id="rId58" Type="http://schemas.openxmlformats.org/officeDocument/2006/relationships/tags" Target="../tags/tag2085.xml"/><Relationship Id="rId79" Type="http://schemas.openxmlformats.org/officeDocument/2006/relationships/tags" Target="../tags/tag2106.xml"/><Relationship Id="rId102" Type="http://schemas.openxmlformats.org/officeDocument/2006/relationships/tags" Target="../tags/tag2129.xml"/><Relationship Id="rId123" Type="http://schemas.openxmlformats.org/officeDocument/2006/relationships/tags" Target="../tags/tag2150.xml"/><Relationship Id="rId144" Type="http://schemas.openxmlformats.org/officeDocument/2006/relationships/tags" Target="../tags/tag2171.xml"/><Relationship Id="rId90" Type="http://schemas.openxmlformats.org/officeDocument/2006/relationships/tags" Target="../tags/tag2117.xml"/><Relationship Id="rId165" Type="http://schemas.openxmlformats.org/officeDocument/2006/relationships/tags" Target="../tags/tag2192.xml"/><Relationship Id="rId186" Type="http://schemas.openxmlformats.org/officeDocument/2006/relationships/tags" Target="../tags/tag2213.xml"/><Relationship Id="rId211" Type="http://schemas.openxmlformats.org/officeDocument/2006/relationships/tags" Target="../tags/tag2238.xml"/><Relationship Id="rId232" Type="http://schemas.openxmlformats.org/officeDocument/2006/relationships/tags" Target="../tags/tag2259.xml"/><Relationship Id="rId253" Type="http://schemas.openxmlformats.org/officeDocument/2006/relationships/chart" Target="../charts/chart42.xml"/><Relationship Id="rId27" Type="http://schemas.openxmlformats.org/officeDocument/2006/relationships/tags" Target="../tags/tag2054.xml"/><Relationship Id="rId48" Type="http://schemas.openxmlformats.org/officeDocument/2006/relationships/tags" Target="../tags/tag2075.xml"/><Relationship Id="rId69" Type="http://schemas.openxmlformats.org/officeDocument/2006/relationships/tags" Target="../tags/tag2096.xml"/><Relationship Id="rId113" Type="http://schemas.openxmlformats.org/officeDocument/2006/relationships/tags" Target="../tags/tag2140.xml"/><Relationship Id="rId134" Type="http://schemas.openxmlformats.org/officeDocument/2006/relationships/tags" Target="../tags/tag2161.xml"/><Relationship Id="rId80" Type="http://schemas.openxmlformats.org/officeDocument/2006/relationships/tags" Target="../tags/tag2107.xml"/><Relationship Id="rId155" Type="http://schemas.openxmlformats.org/officeDocument/2006/relationships/tags" Target="../tags/tag2182.xml"/><Relationship Id="rId176" Type="http://schemas.openxmlformats.org/officeDocument/2006/relationships/tags" Target="../tags/tag2203.xml"/><Relationship Id="rId197" Type="http://schemas.openxmlformats.org/officeDocument/2006/relationships/tags" Target="../tags/tag2224.xml"/><Relationship Id="rId201" Type="http://schemas.openxmlformats.org/officeDocument/2006/relationships/tags" Target="../tags/tag2228.xml"/><Relationship Id="rId222" Type="http://schemas.openxmlformats.org/officeDocument/2006/relationships/tags" Target="../tags/tag2249.xml"/><Relationship Id="rId243" Type="http://schemas.openxmlformats.org/officeDocument/2006/relationships/tags" Target="../tags/tag2270.xml"/><Relationship Id="rId17" Type="http://schemas.openxmlformats.org/officeDocument/2006/relationships/tags" Target="../tags/tag2044.xml"/><Relationship Id="rId38" Type="http://schemas.openxmlformats.org/officeDocument/2006/relationships/tags" Target="../tags/tag2065.xml"/><Relationship Id="rId59" Type="http://schemas.openxmlformats.org/officeDocument/2006/relationships/tags" Target="../tags/tag2086.xml"/><Relationship Id="rId103" Type="http://schemas.openxmlformats.org/officeDocument/2006/relationships/tags" Target="../tags/tag2130.xml"/><Relationship Id="rId124" Type="http://schemas.openxmlformats.org/officeDocument/2006/relationships/tags" Target="../tags/tag2151.xml"/><Relationship Id="rId70" Type="http://schemas.openxmlformats.org/officeDocument/2006/relationships/tags" Target="../tags/tag2097.xml"/><Relationship Id="rId91" Type="http://schemas.openxmlformats.org/officeDocument/2006/relationships/tags" Target="../tags/tag2118.xml"/><Relationship Id="rId145" Type="http://schemas.openxmlformats.org/officeDocument/2006/relationships/tags" Target="../tags/tag2172.xml"/><Relationship Id="rId166" Type="http://schemas.openxmlformats.org/officeDocument/2006/relationships/tags" Target="../tags/tag2193.xml"/><Relationship Id="rId187" Type="http://schemas.openxmlformats.org/officeDocument/2006/relationships/tags" Target="../tags/tag2214.xml"/><Relationship Id="rId1" Type="http://schemas.openxmlformats.org/officeDocument/2006/relationships/tags" Target="../tags/tag2028.xml"/><Relationship Id="rId212" Type="http://schemas.openxmlformats.org/officeDocument/2006/relationships/tags" Target="../tags/tag2239.xml"/><Relationship Id="rId233" Type="http://schemas.openxmlformats.org/officeDocument/2006/relationships/tags" Target="../tags/tag2260.xml"/><Relationship Id="rId254" Type="http://schemas.openxmlformats.org/officeDocument/2006/relationships/chart" Target="../charts/chart43.xml"/><Relationship Id="rId28" Type="http://schemas.openxmlformats.org/officeDocument/2006/relationships/tags" Target="../tags/tag2055.xml"/><Relationship Id="rId49" Type="http://schemas.openxmlformats.org/officeDocument/2006/relationships/tags" Target="../tags/tag2076.xml"/><Relationship Id="rId114" Type="http://schemas.openxmlformats.org/officeDocument/2006/relationships/tags" Target="../tags/tag2141.xml"/><Relationship Id="rId60" Type="http://schemas.openxmlformats.org/officeDocument/2006/relationships/tags" Target="../tags/tag2087.xml"/><Relationship Id="rId81" Type="http://schemas.openxmlformats.org/officeDocument/2006/relationships/tags" Target="../tags/tag2108.xml"/><Relationship Id="rId135" Type="http://schemas.openxmlformats.org/officeDocument/2006/relationships/tags" Target="../tags/tag2162.xml"/><Relationship Id="rId156" Type="http://schemas.openxmlformats.org/officeDocument/2006/relationships/tags" Target="../tags/tag2183.xml"/><Relationship Id="rId177" Type="http://schemas.openxmlformats.org/officeDocument/2006/relationships/tags" Target="../tags/tag2204.xml"/><Relationship Id="rId198" Type="http://schemas.openxmlformats.org/officeDocument/2006/relationships/tags" Target="../tags/tag2225.xml"/><Relationship Id="rId202" Type="http://schemas.openxmlformats.org/officeDocument/2006/relationships/tags" Target="../tags/tag2229.xml"/><Relationship Id="rId223" Type="http://schemas.openxmlformats.org/officeDocument/2006/relationships/tags" Target="../tags/tag2250.xml"/><Relationship Id="rId244" Type="http://schemas.openxmlformats.org/officeDocument/2006/relationships/tags" Target="../tags/tag2271.xml"/><Relationship Id="rId18" Type="http://schemas.openxmlformats.org/officeDocument/2006/relationships/tags" Target="../tags/tag2045.xml"/><Relationship Id="rId39" Type="http://schemas.openxmlformats.org/officeDocument/2006/relationships/tags" Target="../tags/tag2066.xml"/><Relationship Id="rId50" Type="http://schemas.openxmlformats.org/officeDocument/2006/relationships/tags" Target="../tags/tag2077.xml"/><Relationship Id="rId104" Type="http://schemas.openxmlformats.org/officeDocument/2006/relationships/tags" Target="../tags/tag2131.xml"/><Relationship Id="rId125" Type="http://schemas.openxmlformats.org/officeDocument/2006/relationships/tags" Target="../tags/tag2152.xml"/><Relationship Id="rId146" Type="http://schemas.openxmlformats.org/officeDocument/2006/relationships/tags" Target="../tags/tag2173.xml"/><Relationship Id="rId167" Type="http://schemas.openxmlformats.org/officeDocument/2006/relationships/tags" Target="../tags/tag2194.xml"/><Relationship Id="rId188" Type="http://schemas.openxmlformats.org/officeDocument/2006/relationships/tags" Target="../tags/tag2215.xml"/><Relationship Id="rId71" Type="http://schemas.openxmlformats.org/officeDocument/2006/relationships/tags" Target="../tags/tag2098.xml"/><Relationship Id="rId92" Type="http://schemas.openxmlformats.org/officeDocument/2006/relationships/tags" Target="../tags/tag2119.xml"/><Relationship Id="rId213" Type="http://schemas.openxmlformats.org/officeDocument/2006/relationships/tags" Target="../tags/tag2240.xml"/><Relationship Id="rId234" Type="http://schemas.openxmlformats.org/officeDocument/2006/relationships/tags" Target="../tags/tag2261.xml"/><Relationship Id="rId2" Type="http://schemas.openxmlformats.org/officeDocument/2006/relationships/tags" Target="../tags/tag2029.xml"/><Relationship Id="rId29" Type="http://schemas.openxmlformats.org/officeDocument/2006/relationships/tags" Target="../tags/tag2056.xml"/><Relationship Id="rId255" Type="http://schemas.openxmlformats.org/officeDocument/2006/relationships/chart" Target="../charts/chart44.xml"/><Relationship Id="rId40" Type="http://schemas.openxmlformats.org/officeDocument/2006/relationships/tags" Target="../tags/tag2067.xml"/><Relationship Id="rId115" Type="http://schemas.openxmlformats.org/officeDocument/2006/relationships/tags" Target="../tags/tag2142.xml"/><Relationship Id="rId136" Type="http://schemas.openxmlformats.org/officeDocument/2006/relationships/tags" Target="../tags/tag2163.xml"/><Relationship Id="rId157" Type="http://schemas.openxmlformats.org/officeDocument/2006/relationships/tags" Target="../tags/tag2184.xml"/><Relationship Id="rId178" Type="http://schemas.openxmlformats.org/officeDocument/2006/relationships/tags" Target="../tags/tag2205.xml"/><Relationship Id="rId61" Type="http://schemas.openxmlformats.org/officeDocument/2006/relationships/tags" Target="../tags/tag2088.xml"/><Relationship Id="rId82" Type="http://schemas.openxmlformats.org/officeDocument/2006/relationships/tags" Target="../tags/tag2109.xml"/><Relationship Id="rId199" Type="http://schemas.openxmlformats.org/officeDocument/2006/relationships/tags" Target="../tags/tag2226.xml"/><Relationship Id="rId203" Type="http://schemas.openxmlformats.org/officeDocument/2006/relationships/tags" Target="../tags/tag2230.xml"/><Relationship Id="rId19" Type="http://schemas.openxmlformats.org/officeDocument/2006/relationships/tags" Target="../tags/tag2046.xml"/><Relationship Id="rId224" Type="http://schemas.openxmlformats.org/officeDocument/2006/relationships/tags" Target="../tags/tag2251.xml"/><Relationship Id="rId245" Type="http://schemas.openxmlformats.org/officeDocument/2006/relationships/tags" Target="../tags/tag2272.xml"/><Relationship Id="rId30" Type="http://schemas.openxmlformats.org/officeDocument/2006/relationships/tags" Target="../tags/tag2057.xml"/><Relationship Id="rId105" Type="http://schemas.openxmlformats.org/officeDocument/2006/relationships/tags" Target="../tags/tag2132.xml"/><Relationship Id="rId126" Type="http://schemas.openxmlformats.org/officeDocument/2006/relationships/tags" Target="../tags/tag2153.xml"/><Relationship Id="rId147" Type="http://schemas.openxmlformats.org/officeDocument/2006/relationships/tags" Target="../tags/tag2174.xml"/><Relationship Id="rId168" Type="http://schemas.openxmlformats.org/officeDocument/2006/relationships/tags" Target="../tags/tag2195.xml"/><Relationship Id="rId51" Type="http://schemas.openxmlformats.org/officeDocument/2006/relationships/tags" Target="../tags/tag2078.xml"/><Relationship Id="rId72" Type="http://schemas.openxmlformats.org/officeDocument/2006/relationships/tags" Target="../tags/tag2099.xml"/><Relationship Id="rId93" Type="http://schemas.openxmlformats.org/officeDocument/2006/relationships/tags" Target="../tags/tag2120.xml"/><Relationship Id="rId189" Type="http://schemas.openxmlformats.org/officeDocument/2006/relationships/tags" Target="../tags/tag2216.xml"/><Relationship Id="rId3" Type="http://schemas.openxmlformats.org/officeDocument/2006/relationships/tags" Target="../tags/tag2030.xml"/><Relationship Id="rId214" Type="http://schemas.openxmlformats.org/officeDocument/2006/relationships/tags" Target="../tags/tag2241.xml"/><Relationship Id="rId235" Type="http://schemas.openxmlformats.org/officeDocument/2006/relationships/tags" Target="../tags/tag2262.xml"/><Relationship Id="rId256" Type="http://schemas.openxmlformats.org/officeDocument/2006/relationships/chart" Target="../charts/chart45.xml"/><Relationship Id="rId116" Type="http://schemas.openxmlformats.org/officeDocument/2006/relationships/tags" Target="../tags/tag2143.xml"/><Relationship Id="rId137" Type="http://schemas.openxmlformats.org/officeDocument/2006/relationships/tags" Target="../tags/tag2164.xml"/><Relationship Id="rId158" Type="http://schemas.openxmlformats.org/officeDocument/2006/relationships/tags" Target="../tags/tag2185.xml"/><Relationship Id="rId20" Type="http://schemas.openxmlformats.org/officeDocument/2006/relationships/tags" Target="../tags/tag2047.xml"/><Relationship Id="rId41" Type="http://schemas.openxmlformats.org/officeDocument/2006/relationships/tags" Target="../tags/tag2068.xml"/><Relationship Id="rId62" Type="http://schemas.openxmlformats.org/officeDocument/2006/relationships/tags" Target="../tags/tag2089.xml"/><Relationship Id="rId83" Type="http://schemas.openxmlformats.org/officeDocument/2006/relationships/tags" Target="../tags/tag2110.xml"/><Relationship Id="rId179" Type="http://schemas.openxmlformats.org/officeDocument/2006/relationships/tags" Target="../tags/tag2206.xml"/><Relationship Id="rId190" Type="http://schemas.openxmlformats.org/officeDocument/2006/relationships/tags" Target="../tags/tag2217.xml"/><Relationship Id="rId204" Type="http://schemas.openxmlformats.org/officeDocument/2006/relationships/tags" Target="../tags/tag2231.xml"/><Relationship Id="rId225" Type="http://schemas.openxmlformats.org/officeDocument/2006/relationships/tags" Target="../tags/tag2252.xml"/><Relationship Id="rId246" Type="http://schemas.openxmlformats.org/officeDocument/2006/relationships/tags" Target="../tags/tag2273.xml"/><Relationship Id="rId106" Type="http://schemas.openxmlformats.org/officeDocument/2006/relationships/tags" Target="../tags/tag2133.xml"/><Relationship Id="rId127" Type="http://schemas.openxmlformats.org/officeDocument/2006/relationships/tags" Target="../tags/tag2154.xml"/><Relationship Id="rId10" Type="http://schemas.openxmlformats.org/officeDocument/2006/relationships/tags" Target="../tags/tag2037.xml"/><Relationship Id="rId31" Type="http://schemas.openxmlformats.org/officeDocument/2006/relationships/tags" Target="../tags/tag2058.xml"/><Relationship Id="rId52" Type="http://schemas.openxmlformats.org/officeDocument/2006/relationships/tags" Target="../tags/tag2079.xml"/><Relationship Id="rId73" Type="http://schemas.openxmlformats.org/officeDocument/2006/relationships/tags" Target="../tags/tag2100.xml"/><Relationship Id="rId94" Type="http://schemas.openxmlformats.org/officeDocument/2006/relationships/tags" Target="../tags/tag2121.xml"/><Relationship Id="rId148" Type="http://schemas.openxmlformats.org/officeDocument/2006/relationships/tags" Target="../tags/tag2175.xml"/><Relationship Id="rId169" Type="http://schemas.openxmlformats.org/officeDocument/2006/relationships/tags" Target="../tags/tag2196.xml"/><Relationship Id="rId4" Type="http://schemas.openxmlformats.org/officeDocument/2006/relationships/tags" Target="../tags/tag2031.xml"/><Relationship Id="rId180" Type="http://schemas.openxmlformats.org/officeDocument/2006/relationships/tags" Target="../tags/tag2207.xml"/><Relationship Id="rId215" Type="http://schemas.openxmlformats.org/officeDocument/2006/relationships/tags" Target="../tags/tag2242.xml"/><Relationship Id="rId236" Type="http://schemas.openxmlformats.org/officeDocument/2006/relationships/tags" Target="../tags/tag226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288.xml"/><Relationship Id="rId18" Type="http://schemas.openxmlformats.org/officeDocument/2006/relationships/tags" Target="../tags/tag2293.xml"/><Relationship Id="rId26" Type="http://schemas.openxmlformats.org/officeDocument/2006/relationships/tags" Target="../tags/tag2301.xml"/><Relationship Id="rId39" Type="http://schemas.openxmlformats.org/officeDocument/2006/relationships/tags" Target="../tags/tag2314.xml"/><Relationship Id="rId21" Type="http://schemas.openxmlformats.org/officeDocument/2006/relationships/tags" Target="../tags/tag2296.xml"/><Relationship Id="rId34" Type="http://schemas.openxmlformats.org/officeDocument/2006/relationships/tags" Target="../tags/tag2309.xml"/><Relationship Id="rId42" Type="http://schemas.openxmlformats.org/officeDocument/2006/relationships/tags" Target="../tags/tag2317.xml"/><Relationship Id="rId47" Type="http://schemas.openxmlformats.org/officeDocument/2006/relationships/tags" Target="../tags/tag2322.xml"/><Relationship Id="rId50" Type="http://schemas.openxmlformats.org/officeDocument/2006/relationships/slideLayout" Target="../slideLayouts/slideLayout47.xml"/><Relationship Id="rId7" Type="http://schemas.openxmlformats.org/officeDocument/2006/relationships/tags" Target="../tags/tag2282.xml"/><Relationship Id="rId2" Type="http://schemas.openxmlformats.org/officeDocument/2006/relationships/tags" Target="../tags/tag2277.xml"/><Relationship Id="rId16" Type="http://schemas.openxmlformats.org/officeDocument/2006/relationships/tags" Target="../tags/tag2291.xml"/><Relationship Id="rId29" Type="http://schemas.openxmlformats.org/officeDocument/2006/relationships/tags" Target="../tags/tag2304.xml"/><Relationship Id="rId11" Type="http://schemas.openxmlformats.org/officeDocument/2006/relationships/tags" Target="../tags/tag2286.xml"/><Relationship Id="rId24" Type="http://schemas.openxmlformats.org/officeDocument/2006/relationships/tags" Target="../tags/tag2299.xml"/><Relationship Id="rId32" Type="http://schemas.openxmlformats.org/officeDocument/2006/relationships/tags" Target="../tags/tag2307.xml"/><Relationship Id="rId37" Type="http://schemas.openxmlformats.org/officeDocument/2006/relationships/tags" Target="../tags/tag2312.xml"/><Relationship Id="rId40" Type="http://schemas.openxmlformats.org/officeDocument/2006/relationships/tags" Target="../tags/tag2315.xml"/><Relationship Id="rId45" Type="http://schemas.openxmlformats.org/officeDocument/2006/relationships/tags" Target="../tags/tag2320.xml"/><Relationship Id="rId53" Type="http://schemas.openxmlformats.org/officeDocument/2006/relationships/image" Target="../media/image30.emf"/><Relationship Id="rId5" Type="http://schemas.openxmlformats.org/officeDocument/2006/relationships/tags" Target="../tags/tag2280.xml"/><Relationship Id="rId10" Type="http://schemas.openxmlformats.org/officeDocument/2006/relationships/tags" Target="../tags/tag2285.xml"/><Relationship Id="rId19" Type="http://schemas.openxmlformats.org/officeDocument/2006/relationships/tags" Target="../tags/tag2294.xml"/><Relationship Id="rId31" Type="http://schemas.openxmlformats.org/officeDocument/2006/relationships/tags" Target="../tags/tag2306.xml"/><Relationship Id="rId44" Type="http://schemas.openxmlformats.org/officeDocument/2006/relationships/tags" Target="../tags/tag2319.xml"/><Relationship Id="rId52" Type="http://schemas.openxmlformats.org/officeDocument/2006/relationships/oleObject" Target="../embeddings/oleObject289.bin"/><Relationship Id="rId4" Type="http://schemas.openxmlformats.org/officeDocument/2006/relationships/tags" Target="../tags/tag2279.xml"/><Relationship Id="rId9" Type="http://schemas.openxmlformats.org/officeDocument/2006/relationships/tags" Target="../tags/tag2284.xml"/><Relationship Id="rId14" Type="http://schemas.openxmlformats.org/officeDocument/2006/relationships/tags" Target="../tags/tag2289.xml"/><Relationship Id="rId22" Type="http://schemas.openxmlformats.org/officeDocument/2006/relationships/tags" Target="../tags/tag2297.xml"/><Relationship Id="rId27" Type="http://schemas.openxmlformats.org/officeDocument/2006/relationships/tags" Target="../tags/tag2302.xml"/><Relationship Id="rId30" Type="http://schemas.openxmlformats.org/officeDocument/2006/relationships/tags" Target="../tags/tag2305.xml"/><Relationship Id="rId35" Type="http://schemas.openxmlformats.org/officeDocument/2006/relationships/tags" Target="../tags/tag2310.xml"/><Relationship Id="rId43" Type="http://schemas.openxmlformats.org/officeDocument/2006/relationships/tags" Target="../tags/tag2318.xml"/><Relationship Id="rId48" Type="http://schemas.openxmlformats.org/officeDocument/2006/relationships/tags" Target="../tags/tag2323.xml"/><Relationship Id="rId8" Type="http://schemas.openxmlformats.org/officeDocument/2006/relationships/tags" Target="../tags/tag2283.xml"/><Relationship Id="rId51" Type="http://schemas.openxmlformats.org/officeDocument/2006/relationships/notesSlide" Target="../notesSlides/notesSlide1.xml"/><Relationship Id="rId3" Type="http://schemas.openxmlformats.org/officeDocument/2006/relationships/tags" Target="../tags/tag2278.xml"/><Relationship Id="rId12" Type="http://schemas.openxmlformats.org/officeDocument/2006/relationships/tags" Target="../tags/tag2287.xml"/><Relationship Id="rId17" Type="http://schemas.openxmlformats.org/officeDocument/2006/relationships/tags" Target="../tags/tag2292.xml"/><Relationship Id="rId25" Type="http://schemas.openxmlformats.org/officeDocument/2006/relationships/tags" Target="../tags/tag2300.xml"/><Relationship Id="rId33" Type="http://schemas.openxmlformats.org/officeDocument/2006/relationships/tags" Target="../tags/tag2308.xml"/><Relationship Id="rId38" Type="http://schemas.openxmlformats.org/officeDocument/2006/relationships/tags" Target="../tags/tag2313.xml"/><Relationship Id="rId46" Type="http://schemas.openxmlformats.org/officeDocument/2006/relationships/tags" Target="../tags/tag2321.xml"/><Relationship Id="rId20" Type="http://schemas.openxmlformats.org/officeDocument/2006/relationships/tags" Target="../tags/tag2295.xml"/><Relationship Id="rId41" Type="http://schemas.openxmlformats.org/officeDocument/2006/relationships/tags" Target="../tags/tag2316.xml"/><Relationship Id="rId54" Type="http://schemas.openxmlformats.org/officeDocument/2006/relationships/chart" Target="../charts/chart46.xml"/><Relationship Id="rId1" Type="http://schemas.openxmlformats.org/officeDocument/2006/relationships/tags" Target="../tags/tag2276.xml"/><Relationship Id="rId6" Type="http://schemas.openxmlformats.org/officeDocument/2006/relationships/tags" Target="../tags/tag2281.xml"/><Relationship Id="rId15" Type="http://schemas.openxmlformats.org/officeDocument/2006/relationships/tags" Target="../tags/tag2290.xml"/><Relationship Id="rId23" Type="http://schemas.openxmlformats.org/officeDocument/2006/relationships/tags" Target="../tags/tag2298.xml"/><Relationship Id="rId28" Type="http://schemas.openxmlformats.org/officeDocument/2006/relationships/tags" Target="../tags/tag2303.xml"/><Relationship Id="rId36" Type="http://schemas.openxmlformats.org/officeDocument/2006/relationships/tags" Target="../tags/tag2311.xml"/><Relationship Id="rId49" Type="http://schemas.openxmlformats.org/officeDocument/2006/relationships/tags" Target="../tags/tag2324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2350.xml"/><Relationship Id="rId21" Type="http://schemas.openxmlformats.org/officeDocument/2006/relationships/tags" Target="../tags/tag2345.xml"/><Relationship Id="rId42" Type="http://schemas.openxmlformats.org/officeDocument/2006/relationships/tags" Target="../tags/tag2366.xml"/><Relationship Id="rId47" Type="http://schemas.openxmlformats.org/officeDocument/2006/relationships/tags" Target="../tags/tag2371.xml"/><Relationship Id="rId63" Type="http://schemas.openxmlformats.org/officeDocument/2006/relationships/tags" Target="../tags/tag2387.xml"/><Relationship Id="rId68" Type="http://schemas.openxmlformats.org/officeDocument/2006/relationships/tags" Target="../tags/tag2392.xml"/><Relationship Id="rId16" Type="http://schemas.openxmlformats.org/officeDocument/2006/relationships/tags" Target="../tags/tag2340.xml"/><Relationship Id="rId11" Type="http://schemas.openxmlformats.org/officeDocument/2006/relationships/tags" Target="../tags/tag2335.xml"/><Relationship Id="rId32" Type="http://schemas.openxmlformats.org/officeDocument/2006/relationships/tags" Target="../tags/tag2356.xml"/><Relationship Id="rId37" Type="http://schemas.openxmlformats.org/officeDocument/2006/relationships/tags" Target="../tags/tag2361.xml"/><Relationship Id="rId53" Type="http://schemas.openxmlformats.org/officeDocument/2006/relationships/tags" Target="../tags/tag2377.xml"/><Relationship Id="rId58" Type="http://schemas.openxmlformats.org/officeDocument/2006/relationships/tags" Target="../tags/tag2382.xml"/><Relationship Id="rId74" Type="http://schemas.openxmlformats.org/officeDocument/2006/relationships/tags" Target="../tags/tag2398.xml"/><Relationship Id="rId79" Type="http://schemas.openxmlformats.org/officeDocument/2006/relationships/oleObject" Target="../embeddings/oleObject290.bin"/><Relationship Id="rId5" Type="http://schemas.openxmlformats.org/officeDocument/2006/relationships/tags" Target="../tags/tag2329.xml"/><Relationship Id="rId61" Type="http://schemas.openxmlformats.org/officeDocument/2006/relationships/tags" Target="../tags/tag2385.xml"/><Relationship Id="rId82" Type="http://schemas.openxmlformats.org/officeDocument/2006/relationships/chart" Target="../charts/chart48.xml"/><Relationship Id="rId19" Type="http://schemas.openxmlformats.org/officeDocument/2006/relationships/tags" Target="../tags/tag2343.xml"/><Relationship Id="rId14" Type="http://schemas.openxmlformats.org/officeDocument/2006/relationships/tags" Target="../tags/tag2338.xml"/><Relationship Id="rId22" Type="http://schemas.openxmlformats.org/officeDocument/2006/relationships/tags" Target="../tags/tag2346.xml"/><Relationship Id="rId27" Type="http://schemas.openxmlformats.org/officeDocument/2006/relationships/tags" Target="../tags/tag2351.xml"/><Relationship Id="rId30" Type="http://schemas.openxmlformats.org/officeDocument/2006/relationships/tags" Target="../tags/tag2354.xml"/><Relationship Id="rId35" Type="http://schemas.openxmlformats.org/officeDocument/2006/relationships/tags" Target="../tags/tag2359.xml"/><Relationship Id="rId43" Type="http://schemas.openxmlformats.org/officeDocument/2006/relationships/tags" Target="../tags/tag2367.xml"/><Relationship Id="rId48" Type="http://schemas.openxmlformats.org/officeDocument/2006/relationships/tags" Target="../tags/tag2372.xml"/><Relationship Id="rId56" Type="http://schemas.openxmlformats.org/officeDocument/2006/relationships/tags" Target="../tags/tag2380.xml"/><Relationship Id="rId64" Type="http://schemas.openxmlformats.org/officeDocument/2006/relationships/tags" Target="../tags/tag2388.xml"/><Relationship Id="rId69" Type="http://schemas.openxmlformats.org/officeDocument/2006/relationships/tags" Target="../tags/tag2393.xml"/><Relationship Id="rId77" Type="http://schemas.openxmlformats.org/officeDocument/2006/relationships/slideLayout" Target="../slideLayouts/slideLayout47.xml"/><Relationship Id="rId8" Type="http://schemas.openxmlformats.org/officeDocument/2006/relationships/tags" Target="../tags/tag2332.xml"/><Relationship Id="rId51" Type="http://schemas.openxmlformats.org/officeDocument/2006/relationships/tags" Target="../tags/tag2375.xml"/><Relationship Id="rId72" Type="http://schemas.openxmlformats.org/officeDocument/2006/relationships/tags" Target="../tags/tag2396.xml"/><Relationship Id="rId80" Type="http://schemas.openxmlformats.org/officeDocument/2006/relationships/image" Target="../media/image30.emf"/><Relationship Id="rId3" Type="http://schemas.openxmlformats.org/officeDocument/2006/relationships/tags" Target="../tags/tag2327.xml"/><Relationship Id="rId12" Type="http://schemas.openxmlformats.org/officeDocument/2006/relationships/tags" Target="../tags/tag2336.xml"/><Relationship Id="rId17" Type="http://schemas.openxmlformats.org/officeDocument/2006/relationships/tags" Target="../tags/tag2341.xml"/><Relationship Id="rId25" Type="http://schemas.openxmlformats.org/officeDocument/2006/relationships/tags" Target="../tags/tag2349.xml"/><Relationship Id="rId33" Type="http://schemas.openxmlformats.org/officeDocument/2006/relationships/tags" Target="../tags/tag2357.xml"/><Relationship Id="rId38" Type="http://schemas.openxmlformats.org/officeDocument/2006/relationships/tags" Target="../tags/tag2362.xml"/><Relationship Id="rId46" Type="http://schemas.openxmlformats.org/officeDocument/2006/relationships/tags" Target="../tags/tag2370.xml"/><Relationship Id="rId59" Type="http://schemas.openxmlformats.org/officeDocument/2006/relationships/tags" Target="../tags/tag2383.xml"/><Relationship Id="rId67" Type="http://schemas.openxmlformats.org/officeDocument/2006/relationships/tags" Target="../tags/tag2391.xml"/><Relationship Id="rId20" Type="http://schemas.openxmlformats.org/officeDocument/2006/relationships/tags" Target="../tags/tag2344.xml"/><Relationship Id="rId41" Type="http://schemas.openxmlformats.org/officeDocument/2006/relationships/tags" Target="../tags/tag2365.xml"/><Relationship Id="rId54" Type="http://schemas.openxmlformats.org/officeDocument/2006/relationships/tags" Target="../tags/tag2378.xml"/><Relationship Id="rId62" Type="http://schemas.openxmlformats.org/officeDocument/2006/relationships/tags" Target="../tags/tag2386.xml"/><Relationship Id="rId70" Type="http://schemas.openxmlformats.org/officeDocument/2006/relationships/tags" Target="../tags/tag2394.xml"/><Relationship Id="rId75" Type="http://schemas.openxmlformats.org/officeDocument/2006/relationships/tags" Target="../tags/tag2399.xml"/><Relationship Id="rId1" Type="http://schemas.openxmlformats.org/officeDocument/2006/relationships/tags" Target="../tags/tag2325.xml"/><Relationship Id="rId6" Type="http://schemas.openxmlformats.org/officeDocument/2006/relationships/tags" Target="../tags/tag2330.xml"/><Relationship Id="rId15" Type="http://schemas.openxmlformats.org/officeDocument/2006/relationships/tags" Target="../tags/tag2339.xml"/><Relationship Id="rId23" Type="http://schemas.openxmlformats.org/officeDocument/2006/relationships/tags" Target="../tags/tag2347.xml"/><Relationship Id="rId28" Type="http://schemas.openxmlformats.org/officeDocument/2006/relationships/tags" Target="../tags/tag2352.xml"/><Relationship Id="rId36" Type="http://schemas.openxmlformats.org/officeDocument/2006/relationships/tags" Target="../tags/tag2360.xml"/><Relationship Id="rId49" Type="http://schemas.openxmlformats.org/officeDocument/2006/relationships/tags" Target="../tags/tag2373.xml"/><Relationship Id="rId57" Type="http://schemas.openxmlformats.org/officeDocument/2006/relationships/tags" Target="../tags/tag2381.xml"/><Relationship Id="rId10" Type="http://schemas.openxmlformats.org/officeDocument/2006/relationships/tags" Target="../tags/tag2334.xml"/><Relationship Id="rId31" Type="http://schemas.openxmlformats.org/officeDocument/2006/relationships/tags" Target="../tags/tag2355.xml"/><Relationship Id="rId44" Type="http://schemas.openxmlformats.org/officeDocument/2006/relationships/tags" Target="../tags/tag2368.xml"/><Relationship Id="rId52" Type="http://schemas.openxmlformats.org/officeDocument/2006/relationships/tags" Target="../tags/tag2376.xml"/><Relationship Id="rId60" Type="http://schemas.openxmlformats.org/officeDocument/2006/relationships/tags" Target="../tags/tag2384.xml"/><Relationship Id="rId65" Type="http://schemas.openxmlformats.org/officeDocument/2006/relationships/tags" Target="../tags/tag2389.xml"/><Relationship Id="rId73" Type="http://schemas.openxmlformats.org/officeDocument/2006/relationships/tags" Target="../tags/tag2397.xml"/><Relationship Id="rId78" Type="http://schemas.openxmlformats.org/officeDocument/2006/relationships/notesSlide" Target="../notesSlides/notesSlide2.xml"/><Relationship Id="rId81" Type="http://schemas.openxmlformats.org/officeDocument/2006/relationships/chart" Target="../charts/chart47.xml"/><Relationship Id="rId4" Type="http://schemas.openxmlformats.org/officeDocument/2006/relationships/tags" Target="../tags/tag2328.xml"/><Relationship Id="rId9" Type="http://schemas.openxmlformats.org/officeDocument/2006/relationships/tags" Target="../tags/tag2333.xml"/><Relationship Id="rId13" Type="http://schemas.openxmlformats.org/officeDocument/2006/relationships/tags" Target="../tags/tag2337.xml"/><Relationship Id="rId18" Type="http://schemas.openxmlformats.org/officeDocument/2006/relationships/tags" Target="../tags/tag2342.xml"/><Relationship Id="rId39" Type="http://schemas.openxmlformats.org/officeDocument/2006/relationships/tags" Target="../tags/tag2363.xml"/><Relationship Id="rId34" Type="http://schemas.openxmlformats.org/officeDocument/2006/relationships/tags" Target="../tags/tag2358.xml"/><Relationship Id="rId50" Type="http://schemas.openxmlformats.org/officeDocument/2006/relationships/tags" Target="../tags/tag2374.xml"/><Relationship Id="rId55" Type="http://schemas.openxmlformats.org/officeDocument/2006/relationships/tags" Target="../tags/tag2379.xml"/><Relationship Id="rId76" Type="http://schemas.openxmlformats.org/officeDocument/2006/relationships/tags" Target="../tags/tag2400.xml"/><Relationship Id="rId7" Type="http://schemas.openxmlformats.org/officeDocument/2006/relationships/tags" Target="../tags/tag2331.xml"/><Relationship Id="rId71" Type="http://schemas.openxmlformats.org/officeDocument/2006/relationships/tags" Target="../tags/tag2395.xml"/><Relationship Id="rId2" Type="http://schemas.openxmlformats.org/officeDocument/2006/relationships/tags" Target="../tags/tag2326.xml"/><Relationship Id="rId29" Type="http://schemas.openxmlformats.org/officeDocument/2006/relationships/tags" Target="../tags/tag2353.xml"/><Relationship Id="rId24" Type="http://schemas.openxmlformats.org/officeDocument/2006/relationships/tags" Target="../tags/tag2348.xml"/><Relationship Id="rId40" Type="http://schemas.openxmlformats.org/officeDocument/2006/relationships/tags" Target="../tags/tag2364.xml"/><Relationship Id="rId45" Type="http://schemas.openxmlformats.org/officeDocument/2006/relationships/tags" Target="../tags/tag2369.xml"/><Relationship Id="rId66" Type="http://schemas.openxmlformats.org/officeDocument/2006/relationships/tags" Target="../tags/tag2390.xml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2426.xml"/><Relationship Id="rId21" Type="http://schemas.openxmlformats.org/officeDocument/2006/relationships/tags" Target="../tags/tag2421.xml"/><Relationship Id="rId42" Type="http://schemas.openxmlformats.org/officeDocument/2006/relationships/tags" Target="../tags/tag2442.xml"/><Relationship Id="rId47" Type="http://schemas.openxmlformats.org/officeDocument/2006/relationships/tags" Target="../tags/tag2447.xml"/><Relationship Id="rId63" Type="http://schemas.openxmlformats.org/officeDocument/2006/relationships/tags" Target="../tags/tag2463.xml"/><Relationship Id="rId68" Type="http://schemas.openxmlformats.org/officeDocument/2006/relationships/tags" Target="../tags/tag2468.xml"/><Relationship Id="rId2" Type="http://schemas.openxmlformats.org/officeDocument/2006/relationships/tags" Target="../tags/tag2402.xml"/><Relationship Id="rId16" Type="http://schemas.openxmlformats.org/officeDocument/2006/relationships/tags" Target="../tags/tag2416.xml"/><Relationship Id="rId29" Type="http://schemas.openxmlformats.org/officeDocument/2006/relationships/tags" Target="../tags/tag2429.xml"/><Relationship Id="rId11" Type="http://schemas.openxmlformats.org/officeDocument/2006/relationships/tags" Target="../tags/tag2411.xml"/><Relationship Id="rId24" Type="http://schemas.openxmlformats.org/officeDocument/2006/relationships/tags" Target="../tags/tag2424.xml"/><Relationship Id="rId32" Type="http://schemas.openxmlformats.org/officeDocument/2006/relationships/tags" Target="../tags/tag2432.xml"/><Relationship Id="rId37" Type="http://schemas.openxmlformats.org/officeDocument/2006/relationships/tags" Target="../tags/tag2437.xml"/><Relationship Id="rId40" Type="http://schemas.openxmlformats.org/officeDocument/2006/relationships/tags" Target="../tags/tag2440.xml"/><Relationship Id="rId45" Type="http://schemas.openxmlformats.org/officeDocument/2006/relationships/tags" Target="../tags/tag2445.xml"/><Relationship Id="rId53" Type="http://schemas.openxmlformats.org/officeDocument/2006/relationships/tags" Target="../tags/tag2453.xml"/><Relationship Id="rId58" Type="http://schemas.openxmlformats.org/officeDocument/2006/relationships/tags" Target="../tags/tag2458.xml"/><Relationship Id="rId66" Type="http://schemas.openxmlformats.org/officeDocument/2006/relationships/tags" Target="../tags/tag2466.xml"/><Relationship Id="rId74" Type="http://schemas.openxmlformats.org/officeDocument/2006/relationships/chart" Target="../charts/chart49.xml"/><Relationship Id="rId5" Type="http://schemas.openxmlformats.org/officeDocument/2006/relationships/tags" Target="../tags/tag2405.xml"/><Relationship Id="rId61" Type="http://schemas.openxmlformats.org/officeDocument/2006/relationships/tags" Target="../tags/tag2461.xml"/><Relationship Id="rId19" Type="http://schemas.openxmlformats.org/officeDocument/2006/relationships/tags" Target="../tags/tag2419.xml"/><Relationship Id="rId14" Type="http://schemas.openxmlformats.org/officeDocument/2006/relationships/tags" Target="../tags/tag2414.xml"/><Relationship Id="rId22" Type="http://schemas.openxmlformats.org/officeDocument/2006/relationships/tags" Target="../tags/tag2422.xml"/><Relationship Id="rId27" Type="http://schemas.openxmlformats.org/officeDocument/2006/relationships/tags" Target="../tags/tag2427.xml"/><Relationship Id="rId30" Type="http://schemas.openxmlformats.org/officeDocument/2006/relationships/tags" Target="../tags/tag2430.xml"/><Relationship Id="rId35" Type="http://schemas.openxmlformats.org/officeDocument/2006/relationships/tags" Target="../tags/tag2435.xml"/><Relationship Id="rId43" Type="http://schemas.openxmlformats.org/officeDocument/2006/relationships/tags" Target="../tags/tag2443.xml"/><Relationship Id="rId48" Type="http://schemas.openxmlformats.org/officeDocument/2006/relationships/tags" Target="../tags/tag2448.xml"/><Relationship Id="rId56" Type="http://schemas.openxmlformats.org/officeDocument/2006/relationships/tags" Target="../tags/tag2456.xml"/><Relationship Id="rId64" Type="http://schemas.openxmlformats.org/officeDocument/2006/relationships/tags" Target="../tags/tag2464.xml"/><Relationship Id="rId69" Type="http://schemas.openxmlformats.org/officeDocument/2006/relationships/tags" Target="../tags/tag2469.xml"/><Relationship Id="rId8" Type="http://schemas.openxmlformats.org/officeDocument/2006/relationships/tags" Target="../tags/tag2408.xml"/><Relationship Id="rId51" Type="http://schemas.openxmlformats.org/officeDocument/2006/relationships/tags" Target="../tags/tag2451.xml"/><Relationship Id="rId72" Type="http://schemas.openxmlformats.org/officeDocument/2006/relationships/oleObject" Target="../embeddings/oleObject291.bin"/><Relationship Id="rId3" Type="http://schemas.openxmlformats.org/officeDocument/2006/relationships/tags" Target="../tags/tag2403.xml"/><Relationship Id="rId12" Type="http://schemas.openxmlformats.org/officeDocument/2006/relationships/tags" Target="../tags/tag2412.xml"/><Relationship Id="rId17" Type="http://schemas.openxmlformats.org/officeDocument/2006/relationships/tags" Target="../tags/tag2417.xml"/><Relationship Id="rId25" Type="http://schemas.openxmlformats.org/officeDocument/2006/relationships/tags" Target="../tags/tag2425.xml"/><Relationship Id="rId33" Type="http://schemas.openxmlformats.org/officeDocument/2006/relationships/tags" Target="../tags/tag2433.xml"/><Relationship Id="rId38" Type="http://schemas.openxmlformats.org/officeDocument/2006/relationships/tags" Target="../tags/tag2438.xml"/><Relationship Id="rId46" Type="http://schemas.openxmlformats.org/officeDocument/2006/relationships/tags" Target="../tags/tag2446.xml"/><Relationship Id="rId59" Type="http://schemas.openxmlformats.org/officeDocument/2006/relationships/tags" Target="../tags/tag2459.xml"/><Relationship Id="rId67" Type="http://schemas.openxmlformats.org/officeDocument/2006/relationships/tags" Target="../tags/tag2467.xml"/><Relationship Id="rId20" Type="http://schemas.openxmlformats.org/officeDocument/2006/relationships/tags" Target="../tags/tag2420.xml"/><Relationship Id="rId41" Type="http://schemas.openxmlformats.org/officeDocument/2006/relationships/tags" Target="../tags/tag2441.xml"/><Relationship Id="rId54" Type="http://schemas.openxmlformats.org/officeDocument/2006/relationships/tags" Target="../tags/tag2454.xml"/><Relationship Id="rId62" Type="http://schemas.openxmlformats.org/officeDocument/2006/relationships/tags" Target="../tags/tag2462.xml"/><Relationship Id="rId70" Type="http://schemas.openxmlformats.org/officeDocument/2006/relationships/slideLayout" Target="../slideLayouts/slideLayout47.xml"/><Relationship Id="rId75" Type="http://schemas.openxmlformats.org/officeDocument/2006/relationships/chart" Target="../charts/chart50.xml"/><Relationship Id="rId1" Type="http://schemas.openxmlformats.org/officeDocument/2006/relationships/tags" Target="../tags/tag2401.xml"/><Relationship Id="rId6" Type="http://schemas.openxmlformats.org/officeDocument/2006/relationships/tags" Target="../tags/tag2406.xml"/><Relationship Id="rId15" Type="http://schemas.openxmlformats.org/officeDocument/2006/relationships/tags" Target="../tags/tag2415.xml"/><Relationship Id="rId23" Type="http://schemas.openxmlformats.org/officeDocument/2006/relationships/tags" Target="../tags/tag2423.xml"/><Relationship Id="rId28" Type="http://schemas.openxmlformats.org/officeDocument/2006/relationships/tags" Target="../tags/tag2428.xml"/><Relationship Id="rId36" Type="http://schemas.openxmlformats.org/officeDocument/2006/relationships/tags" Target="../tags/tag2436.xml"/><Relationship Id="rId49" Type="http://schemas.openxmlformats.org/officeDocument/2006/relationships/tags" Target="../tags/tag2449.xml"/><Relationship Id="rId57" Type="http://schemas.openxmlformats.org/officeDocument/2006/relationships/tags" Target="../tags/tag2457.xml"/><Relationship Id="rId10" Type="http://schemas.openxmlformats.org/officeDocument/2006/relationships/tags" Target="../tags/tag2410.xml"/><Relationship Id="rId31" Type="http://schemas.openxmlformats.org/officeDocument/2006/relationships/tags" Target="../tags/tag2431.xml"/><Relationship Id="rId44" Type="http://schemas.openxmlformats.org/officeDocument/2006/relationships/tags" Target="../tags/tag2444.xml"/><Relationship Id="rId52" Type="http://schemas.openxmlformats.org/officeDocument/2006/relationships/tags" Target="../tags/tag2452.xml"/><Relationship Id="rId60" Type="http://schemas.openxmlformats.org/officeDocument/2006/relationships/tags" Target="../tags/tag2460.xml"/><Relationship Id="rId65" Type="http://schemas.openxmlformats.org/officeDocument/2006/relationships/tags" Target="../tags/tag2465.xml"/><Relationship Id="rId73" Type="http://schemas.openxmlformats.org/officeDocument/2006/relationships/image" Target="../media/image30.emf"/><Relationship Id="rId4" Type="http://schemas.openxmlformats.org/officeDocument/2006/relationships/tags" Target="../tags/tag2404.xml"/><Relationship Id="rId9" Type="http://schemas.openxmlformats.org/officeDocument/2006/relationships/tags" Target="../tags/tag2409.xml"/><Relationship Id="rId13" Type="http://schemas.openxmlformats.org/officeDocument/2006/relationships/tags" Target="../tags/tag2413.xml"/><Relationship Id="rId18" Type="http://schemas.openxmlformats.org/officeDocument/2006/relationships/tags" Target="../tags/tag2418.xml"/><Relationship Id="rId39" Type="http://schemas.openxmlformats.org/officeDocument/2006/relationships/tags" Target="../tags/tag2439.xml"/><Relationship Id="rId34" Type="http://schemas.openxmlformats.org/officeDocument/2006/relationships/tags" Target="../tags/tag2434.xml"/><Relationship Id="rId50" Type="http://schemas.openxmlformats.org/officeDocument/2006/relationships/tags" Target="../tags/tag2450.xml"/><Relationship Id="rId55" Type="http://schemas.openxmlformats.org/officeDocument/2006/relationships/tags" Target="../tags/tag2455.xml"/><Relationship Id="rId7" Type="http://schemas.openxmlformats.org/officeDocument/2006/relationships/tags" Target="../tags/tag2407.xml"/><Relationship Id="rId71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2495.xml"/><Relationship Id="rId21" Type="http://schemas.openxmlformats.org/officeDocument/2006/relationships/tags" Target="../tags/tag2490.xml"/><Relationship Id="rId34" Type="http://schemas.openxmlformats.org/officeDocument/2006/relationships/tags" Target="../tags/tag2503.xml"/><Relationship Id="rId42" Type="http://schemas.openxmlformats.org/officeDocument/2006/relationships/tags" Target="../tags/tag2511.xml"/><Relationship Id="rId47" Type="http://schemas.openxmlformats.org/officeDocument/2006/relationships/tags" Target="../tags/tag2516.xml"/><Relationship Id="rId50" Type="http://schemas.openxmlformats.org/officeDocument/2006/relationships/tags" Target="../tags/tag2519.xml"/><Relationship Id="rId55" Type="http://schemas.openxmlformats.org/officeDocument/2006/relationships/tags" Target="../tags/tag2524.xml"/><Relationship Id="rId63" Type="http://schemas.openxmlformats.org/officeDocument/2006/relationships/image" Target="../media/image30.emf"/><Relationship Id="rId7" Type="http://schemas.openxmlformats.org/officeDocument/2006/relationships/tags" Target="../tags/tag2476.xml"/><Relationship Id="rId2" Type="http://schemas.openxmlformats.org/officeDocument/2006/relationships/tags" Target="../tags/tag2471.xml"/><Relationship Id="rId16" Type="http://schemas.openxmlformats.org/officeDocument/2006/relationships/tags" Target="../tags/tag2485.xml"/><Relationship Id="rId29" Type="http://schemas.openxmlformats.org/officeDocument/2006/relationships/tags" Target="../tags/tag2498.xml"/><Relationship Id="rId11" Type="http://schemas.openxmlformats.org/officeDocument/2006/relationships/tags" Target="../tags/tag2480.xml"/><Relationship Id="rId24" Type="http://schemas.openxmlformats.org/officeDocument/2006/relationships/tags" Target="../tags/tag2493.xml"/><Relationship Id="rId32" Type="http://schemas.openxmlformats.org/officeDocument/2006/relationships/tags" Target="../tags/tag2501.xml"/><Relationship Id="rId37" Type="http://schemas.openxmlformats.org/officeDocument/2006/relationships/tags" Target="../tags/tag2506.xml"/><Relationship Id="rId40" Type="http://schemas.openxmlformats.org/officeDocument/2006/relationships/tags" Target="../tags/tag2509.xml"/><Relationship Id="rId45" Type="http://schemas.openxmlformats.org/officeDocument/2006/relationships/tags" Target="../tags/tag2514.xml"/><Relationship Id="rId53" Type="http://schemas.openxmlformats.org/officeDocument/2006/relationships/tags" Target="../tags/tag2522.xml"/><Relationship Id="rId58" Type="http://schemas.openxmlformats.org/officeDocument/2006/relationships/tags" Target="../tags/tag2527.xml"/><Relationship Id="rId5" Type="http://schemas.openxmlformats.org/officeDocument/2006/relationships/tags" Target="../tags/tag2474.xml"/><Relationship Id="rId61" Type="http://schemas.openxmlformats.org/officeDocument/2006/relationships/notesSlide" Target="../notesSlides/notesSlide4.xml"/><Relationship Id="rId19" Type="http://schemas.openxmlformats.org/officeDocument/2006/relationships/tags" Target="../tags/tag2488.xml"/><Relationship Id="rId14" Type="http://schemas.openxmlformats.org/officeDocument/2006/relationships/tags" Target="../tags/tag2483.xml"/><Relationship Id="rId22" Type="http://schemas.openxmlformats.org/officeDocument/2006/relationships/tags" Target="../tags/tag2491.xml"/><Relationship Id="rId27" Type="http://schemas.openxmlformats.org/officeDocument/2006/relationships/tags" Target="../tags/tag2496.xml"/><Relationship Id="rId30" Type="http://schemas.openxmlformats.org/officeDocument/2006/relationships/tags" Target="../tags/tag2499.xml"/><Relationship Id="rId35" Type="http://schemas.openxmlformats.org/officeDocument/2006/relationships/tags" Target="../tags/tag2504.xml"/><Relationship Id="rId43" Type="http://schemas.openxmlformats.org/officeDocument/2006/relationships/tags" Target="../tags/tag2512.xml"/><Relationship Id="rId48" Type="http://schemas.openxmlformats.org/officeDocument/2006/relationships/tags" Target="../tags/tag2517.xml"/><Relationship Id="rId56" Type="http://schemas.openxmlformats.org/officeDocument/2006/relationships/tags" Target="../tags/tag2525.xml"/><Relationship Id="rId64" Type="http://schemas.openxmlformats.org/officeDocument/2006/relationships/chart" Target="../charts/chart51.xml"/><Relationship Id="rId8" Type="http://schemas.openxmlformats.org/officeDocument/2006/relationships/tags" Target="../tags/tag2477.xml"/><Relationship Id="rId51" Type="http://schemas.openxmlformats.org/officeDocument/2006/relationships/tags" Target="../tags/tag2520.xml"/><Relationship Id="rId3" Type="http://schemas.openxmlformats.org/officeDocument/2006/relationships/tags" Target="../tags/tag2472.xml"/><Relationship Id="rId12" Type="http://schemas.openxmlformats.org/officeDocument/2006/relationships/tags" Target="../tags/tag2481.xml"/><Relationship Id="rId17" Type="http://schemas.openxmlformats.org/officeDocument/2006/relationships/tags" Target="../tags/tag2486.xml"/><Relationship Id="rId25" Type="http://schemas.openxmlformats.org/officeDocument/2006/relationships/tags" Target="../tags/tag2494.xml"/><Relationship Id="rId33" Type="http://schemas.openxmlformats.org/officeDocument/2006/relationships/tags" Target="../tags/tag2502.xml"/><Relationship Id="rId38" Type="http://schemas.openxmlformats.org/officeDocument/2006/relationships/tags" Target="../tags/tag2507.xml"/><Relationship Id="rId46" Type="http://schemas.openxmlformats.org/officeDocument/2006/relationships/tags" Target="../tags/tag2515.xml"/><Relationship Id="rId59" Type="http://schemas.openxmlformats.org/officeDocument/2006/relationships/tags" Target="../tags/tag2528.xml"/><Relationship Id="rId20" Type="http://schemas.openxmlformats.org/officeDocument/2006/relationships/tags" Target="../tags/tag2489.xml"/><Relationship Id="rId41" Type="http://schemas.openxmlformats.org/officeDocument/2006/relationships/tags" Target="../tags/tag2510.xml"/><Relationship Id="rId54" Type="http://schemas.openxmlformats.org/officeDocument/2006/relationships/tags" Target="../tags/tag2523.xml"/><Relationship Id="rId62" Type="http://schemas.openxmlformats.org/officeDocument/2006/relationships/oleObject" Target="../embeddings/oleObject292.bin"/><Relationship Id="rId1" Type="http://schemas.openxmlformats.org/officeDocument/2006/relationships/tags" Target="../tags/tag2470.xml"/><Relationship Id="rId6" Type="http://schemas.openxmlformats.org/officeDocument/2006/relationships/tags" Target="../tags/tag2475.xml"/><Relationship Id="rId15" Type="http://schemas.openxmlformats.org/officeDocument/2006/relationships/tags" Target="../tags/tag2484.xml"/><Relationship Id="rId23" Type="http://schemas.openxmlformats.org/officeDocument/2006/relationships/tags" Target="../tags/tag2492.xml"/><Relationship Id="rId28" Type="http://schemas.openxmlformats.org/officeDocument/2006/relationships/tags" Target="../tags/tag2497.xml"/><Relationship Id="rId36" Type="http://schemas.openxmlformats.org/officeDocument/2006/relationships/tags" Target="../tags/tag2505.xml"/><Relationship Id="rId49" Type="http://schemas.openxmlformats.org/officeDocument/2006/relationships/tags" Target="../tags/tag2518.xml"/><Relationship Id="rId57" Type="http://schemas.openxmlformats.org/officeDocument/2006/relationships/tags" Target="../tags/tag2526.xml"/><Relationship Id="rId10" Type="http://schemas.openxmlformats.org/officeDocument/2006/relationships/tags" Target="../tags/tag2479.xml"/><Relationship Id="rId31" Type="http://schemas.openxmlformats.org/officeDocument/2006/relationships/tags" Target="../tags/tag2500.xml"/><Relationship Id="rId44" Type="http://schemas.openxmlformats.org/officeDocument/2006/relationships/tags" Target="../tags/tag2513.xml"/><Relationship Id="rId52" Type="http://schemas.openxmlformats.org/officeDocument/2006/relationships/tags" Target="../tags/tag2521.xml"/><Relationship Id="rId60" Type="http://schemas.openxmlformats.org/officeDocument/2006/relationships/slideLayout" Target="../slideLayouts/slideLayout47.xml"/><Relationship Id="rId65" Type="http://schemas.openxmlformats.org/officeDocument/2006/relationships/chart" Target="../charts/chart52.xml"/><Relationship Id="rId4" Type="http://schemas.openxmlformats.org/officeDocument/2006/relationships/tags" Target="../tags/tag2473.xml"/><Relationship Id="rId9" Type="http://schemas.openxmlformats.org/officeDocument/2006/relationships/tags" Target="../tags/tag2478.xml"/><Relationship Id="rId13" Type="http://schemas.openxmlformats.org/officeDocument/2006/relationships/tags" Target="../tags/tag2482.xml"/><Relationship Id="rId18" Type="http://schemas.openxmlformats.org/officeDocument/2006/relationships/tags" Target="../tags/tag2487.xml"/><Relationship Id="rId39" Type="http://schemas.openxmlformats.org/officeDocument/2006/relationships/tags" Target="../tags/tag2508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541.xml"/><Relationship Id="rId18" Type="http://schemas.openxmlformats.org/officeDocument/2006/relationships/tags" Target="../tags/tag2546.xml"/><Relationship Id="rId26" Type="http://schemas.openxmlformats.org/officeDocument/2006/relationships/tags" Target="../tags/tag2554.xml"/><Relationship Id="rId39" Type="http://schemas.openxmlformats.org/officeDocument/2006/relationships/tags" Target="../tags/tag2567.xml"/><Relationship Id="rId21" Type="http://schemas.openxmlformats.org/officeDocument/2006/relationships/tags" Target="../tags/tag2549.xml"/><Relationship Id="rId34" Type="http://schemas.openxmlformats.org/officeDocument/2006/relationships/tags" Target="../tags/tag2562.xml"/><Relationship Id="rId42" Type="http://schemas.openxmlformats.org/officeDocument/2006/relationships/tags" Target="../tags/tag2570.xml"/><Relationship Id="rId47" Type="http://schemas.openxmlformats.org/officeDocument/2006/relationships/chart" Target="../charts/chart53.xml"/><Relationship Id="rId7" Type="http://schemas.openxmlformats.org/officeDocument/2006/relationships/tags" Target="../tags/tag2535.xml"/><Relationship Id="rId2" Type="http://schemas.openxmlformats.org/officeDocument/2006/relationships/tags" Target="../tags/tag2530.xml"/><Relationship Id="rId16" Type="http://schemas.openxmlformats.org/officeDocument/2006/relationships/tags" Target="../tags/tag2544.xml"/><Relationship Id="rId29" Type="http://schemas.openxmlformats.org/officeDocument/2006/relationships/tags" Target="../tags/tag2557.xml"/><Relationship Id="rId1" Type="http://schemas.openxmlformats.org/officeDocument/2006/relationships/tags" Target="../tags/tag2529.xml"/><Relationship Id="rId6" Type="http://schemas.openxmlformats.org/officeDocument/2006/relationships/tags" Target="../tags/tag2534.xml"/><Relationship Id="rId11" Type="http://schemas.openxmlformats.org/officeDocument/2006/relationships/tags" Target="../tags/tag2539.xml"/><Relationship Id="rId24" Type="http://schemas.openxmlformats.org/officeDocument/2006/relationships/tags" Target="../tags/tag2552.xml"/><Relationship Id="rId32" Type="http://schemas.openxmlformats.org/officeDocument/2006/relationships/tags" Target="../tags/tag2560.xml"/><Relationship Id="rId37" Type="http://schemas.openxmlformats.org/officeDocument/2006/relationships/tags" Target="../tags/tag2565.xml"/><Relationship Id="rId40" Type="http://schemas.openxmlformats.org/officeDocument/2006/relationships/tags" Target="../tags/tag2568.xml"/><Relationship Id="rId45" Type="http://schemas.openxmlformats.org/officeDocument/2006/relationships/oleObject" Target="../embeddings/oleObject293.bin"/><Relationship Id="rId5" Type="http://schemas.openxmlformats.org/officeDocument/2006/relationships/tags" Target="../tags/tag2533.xml"/><Relationship Id="rId15" Type="http://schemas.openxmlformats.org/officeDocument/2006/relationships/tags" Target="../tags/tag2543.xml"/><Relationship Id="rId23" Type="http://schemas.openxmlformats.org/officeDocument/2006/relationships/tags" Target="../tags/tag2551.xml"/><Relationship Id="rId28" Type="http://schemas.openxmlformats.org/officeDocument/2006/relationships/tags" Target="../tags/tag2556.xml"/><Relationship Id="rId36" Type="http://schemas.openxmlformats.org/officeDocument/2006/relationships/tags" Target="../tags/tag2564.xml"/><Relationship Id="rId10" Type="http://schemas.openxmlformats.org/officeDocument/2006/relationships/tags" Target="../tags/tag2538.xml"/><Relationship Id="rId19" Type="http://schemas.openxmlformats.org/officeDocument/2006/relationships/tags" Target="../tags/tag2547.xml"/><Relationship Id="rId31" Type="http://schemas.openxmlformats.org/officeDocument/2006/relationships/tags" Target="../tags/tag2559.xml"/><Relationship Id="rId44" Type="http://schemas.openxmlformats.org/officeDocument/2006/relationships/slideLayout" Target="../slideLayouts/slideLayout47.xml"/><Relationship Id="rId4" Type="http://schemas.openxmlformats.org/officeDocument/2006/relationships/tags" Target="../tags/tag2532.xml"/><Relationship Id="rId9" Type="http://schemas.openxmlformats.org/officeDocument/2006/relationships/tags" Target="../tags/tag2537.xml"/><Relationship Id="rId14" Type="http://schemas.openxmlformats.org/officeDocument/2006/relationships/tags" Target="../tags/tag2542.xml"/><Relationship Id="rId22" Type="http://schemas.openxmlformats.org/officeDocument/2006/relationships/tags" Target="../tags/tag2550.xml"/><Relationship Id="rId27" Type="http://schemas.openxmlformats.org/officeDocument/2006/relationships/tags" Target="../tags/tag2555.xml"/><Relationship Id="rId30" Type="http://schemas.openxmlformats.org/officeDocument/2006/relationships/tags" Target="../tags/tag2558.xml"/><Relationship Id="rId35" Type="http://schemas.openxmlformats.org/officeDocument/2006/relationships/tags" Target="../tags/tag2563.xml"/><Relationship Id="rId43" Type="http://schemas.openxmlformats.org/officeDocument/2006/relationships/tags" Target="../tags/tag2571.xml"/><Relationship Id="rId8" Type="http://schemas.openxmlformats.org/officeDocument/2006/relationships/tags" Target="../tags/tag2536.xml"/><Relationship Id="rId3" Type="http://schemas.openxmlformats.org/officeDocument/2006/relationships/tags" Target="../tags/tag2531.xml"/><Relationship Id="rId12" Type="http://schemas.openxmlformats.org/officeDocument/2006/relationships/tags" Target="../tags/tag2540.xml"/><Relationship Id="rId17" Type="http://schemas.openxmlformats.org/officeDocument/2006/relationships/tags" Target="../tags/tag2545.xml"/><Relationship Id="rId25" Type="http://schemas.openxmlformats.org/officeDocument/2006/relationships/tags" Target="../tags/tag2553.xml"/><Relationship Id="rId33" Type="http://schemas.openxmlformats.org/officeDocument/2006/relationships/tags" Target="../tags/tag2561.xml"/><Relationship Id="rId38" Type="http://schemas.openxmlformats.org/officeDocument/2006/relationships/tags" Target="../tags/tag2566.xml"/><Relationship Id="rId46" Type="http://schemas.openxmlformats.org/officeDocument/2006/relationships/image" Target="../media/image30.emf"/><Relationship Id="rId20" Type="http://schemas.openxmlformats.org/officeDocument/2006/relationships/tags" Target="../tags/tag2548.xml"/><Relationship Id="rId41" Type="http://schemas.openxmlformats.org/officeDocument/2006/relationships/tags" Target="../tags/tag2569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2597.xml"/><Relationship Id="rId21" Type="http://schemas.openxmlformats.org/officeDocument/2006/relationships/tags" Target="../tags/tag2592.xml"/><Relationship Id="rId42" Type="http://schemas.openxmlformats.org/officeDocument/2006/relationships/tags" Target="../tags/tag2613.xml"/><Relationship Id="rId47" Type="http://schemas.openxmlformats.org/officeDocument/2006/relationships/tags" Target="../tags/tag2618.xml"/><Relationship Id="rId63" Type="http://schemas.openxmlformats.org/officeDocument/2006/relationships/tags" Target="../tags/tag2634.xml"/><Relationship Id="rId68" Type="http://schemas.openxmlformats.org/officeDocument/2006/relationships/oleObject" Target="../embeddings/oleObject294.bin"/><Relationship Id="rId7" Type="http://schemas.openxmlformats.org/officeDocument/2006/relationships/tags" Target="../tags/tag2578.xml"/><Relationship Id="rId71" Type="http://schemas.openxmlformats.org/officeDocument/2006/relationships/chart" Target="../charts/chart55.xml"/><Relationship Id="rId2" Type="http://schemas.openxmlformats.org/officeDocument/2006/relationships/tags" Target="../tags/tag2573.xml"/><Relationship Id="rId16" Type="http://schemas.openxmlformats.org/officeDocument/2006/relationships/tags" Target="../tags/tag2587.xml"/><Relationship Id="rId29" Type="http://schemas.openxmlformats.org/officeDocument/2006/relationships/tags" Target="../tags/tag2600.xml"/><Relationship Id="rId11" Type="http://schemas.openxmlformats.org/officeDocument/2006/relationships/tags" Target="../tags/tag2582.xml"/><Relationship Id="rId24" Type="http://schemas.openxmlformats.org/officeDocument/2006/relationships/tags" Target="../tags/tag2595.xml"/><Relationship Id="rId32" Type="http://schemas.openxmlformats.org/officeDocument/2006/relationships/tags" Target="../tags/tag2603.xml"/><Relationship Id="rId37" Type="http://schemas.openxmlformats.org/officeDocument/2006/relationships/tags" Target="../tags/tag2608.xml"/><Relationship Id="rId40" Type="http://schemas.openxmlformats.org/officeDocument/2006/relationships/tags" Target="../tags/tag2611.xml"/><Relationship Id="rId45" Type="http://schemas.openxmlformats.org/officeDocument/2006/relationships/tags" Target="../tags/tag2616.xml"/><Relationship Id="rId53" Type="http://schemas.openxmlformats.org/officeDocument/2006/relationships/tags" Target="../tags/tag2624.xml"/><Relationship Id="rId58" Type="http://schemas.openxmlformats.org/officeDocument/2006/relationships/tags" Target="../tags/tag2629.xml"/><Relationship Id="rId66" Type="http://schemas.openxmlformats.org/officeDocument/2006/relationships/slideLayout" Target="../slideLayouts/slideLayout47.xml"/><Relationship Id="rId5" Type="http://schemas.openxmlformats.org/officeDocument/2006/relationships/tags" Target="../tags/tag2576.xml"/><Relationship Id="rId61" Type="http://schemas.openxmlformats.org/officeDocument/2006/relationships/tags" Target="../tags/tag2632.xml"/><Relationship Id="rId19" Type="http://schemas.openxmlformats.org/officeDocument/2006/relationships/tags" Target="../tags/tag2590.xml"/><Relationship Id="rId14" Type="http://schemas.openxmlformats.org/officeDocument/2006/relationships/tags" Target="../tags/tag2585.xml"/><Relationship Id="rId22" Type="http://schemas.openxmlformats.org/officeDocument/2006/relationships/tags" Target="../tags/tag2593.xml"/><Relationship Id="rId27" Type="http://schemas.openxmlformats.org/officeDocument/2006/relationships/tags" Target="../tags/tag2598.xml"/><Relationship Id="rId30" Type="http://schemas.openxmlformats.org/officeDocument/2006/relationships/tags" Target="../tags/tag2601.xml"/><Relationship Id="rId35" Type="http://schemas.openxmlformats.org/officeDocument/2006/relationships/tags" Target="../tags/tag2606.xml"/><Relationship Id="rId43" Type="http://schemas.openxmlformats.org/officeDocument/2006/relationships/tags" Target="../tags/tag2614.xml"/><Relationship Id="rId48" Type="http://schemas.openxmlformats.org/officeDocument/2006/relationships/tags" Target="../tags/tag2619.xml"/><Relationship Id="rId56" Type="http://schemas.openxmlformats.org/officeDocument/2006/relationships/tags" Target="../tags/tag2627.xml"/><Relationship Id="rId64" Type="http://schemas.openxmlformats.org/officeDocument/2006/relationships/tags" Target="../tags/tag2635.xml"/><Relationship Id="rId69" Type="http://schemas.openxmlformats.org/officeDocument/2006/relationships/image" Target="../media/image30.emf"/><Relationship Id="rId8" Type="http://schemas.openxmlformats.org/officeDocument/2006/relationships/tags" Target="../tags/tag2579.xml"/><Relationship Id="rId51" Type="http://schemas.openxmlformats.org/officeDocument/2006/relationships/tags" Target="../tags/tag2622.xml"/><Relationship Id="rId3" Type="http://schemas.openxmlformats.org/officeDocument/2006/relationships/tags" Target="../tags/tag2574.xml"/><Relationship Id="rId12" Type="http://schemas.openxmlformats.org/officeDocument/2006/relationships/tags" Target="../tags/tag2583.xml"/><Relationship Id="rId17" Type="http://schemas.openxmlformats.org/officeDocument/2006/relationships/tags" Target="../tags/tag2588.xml"/><Relationship Id="rId25" Type="http://schemas.openxmlformats.org/officeDocument/2006/relationships/tags" Target="../tags/tag2596.xml"/><Relationship Id="rId33" Type="http://schemas.openxmlformats.org/officeDocument/2006/relationships/tags" Target="../tags/tag2604.xml"/><Relationship Id="rId38" Type="http://schemas.openxmlformats.org/officeDocument/2006/relationships/tags" Target="../tags/tag2609.xml"/><Relationship Id="rId46" Type="http://schemas.openxmlformats.org/officeDocument/2006/relationships/tags" Target="../tags/tag2617.xml"/><Relationship Id="rId59" Type="http://schemas.openxmlformats.org/officeDocument/2006/relationships/tags" Target="../tags/tag2630.xml"/><Relationship Id="rId67" Type="http://schemas.openxmlformats.org/officeDocument/2006/relationships/notesSlide" Target="../notesSlides/notesSlide5.xml"/><Relationship Id="rId20" Type="http://schemas.openxmlformats.org/officeDocument/2006/relationships/tags" Target="../tags/tag2591.xml"/><Relationship Id="rId41" Type="http://schemas.openxmlformats.org/officeDocument/2006/relationships/tags" Target="../tags/tag2612.xml"/><Relationship Id="rId54" Type="http://schemas.openxmlformats.org/officeDocument/2006/relationships/tags" Target="../tags/tag2625.xml"/><Relationship Id="rId62" Type="http://schemas.openxmlformats.org/officeDocument/2006/relationships/tags" Target="../tags/tag2633.xml"/><Relationship Id="rId70" Type="http://schemas.openxmlformats.org/officeDocument/2006/relationships/chart" Target="../charts/chart54.xml"/><Relationship Id="rId1" Type="http://schemas.openxmlformats.org/officeDocument/2006/relationships/tags" Target="../tags/tag2572.xml"/><Relationship Id="rId6" Type="http://schemas.openxmlformats.org/officeDocument/2006/relationships/tags" Target="../tags/tag2577.xml"/><Relationship Id="rId15" Type="http://schemas.openxmlformats.org/officeDocument/2006/relationships/tags" Target="../tags/tag2586.xml"/><Relationship Id="rId23" Type="http://schemas.openxmlformats.org/officeDocument/2006/relationships/tags" Target="../tags/tag2594.xml"/><Relationship Id="rId28" Type="http://schemas.openxmlformats.org/officeDocument/2006/relationships/tags" Target="../tags/tag2599.xml"/><Relationship Id="rId36" Type="http://schemas.openxmlformats.org/officeDocument/2006/relationships/tags" Target="../tags/tag2607.xml"/><Relationship Id="rId49" Type="http://schemas.openxmlformats.org/officeDocument/2006/relationships/tags" Target="../tags/tag2620.xml"/><Relationship Id="rId57" Type="http://schemas.openxmlformats.org/officeDocument/2006/relationships/tags" Target="../tags/tag2628.xml"/><Relationship Id="rId10" Type="http://schemas.openxmlformats.org/officeDocument/2006/relationships/tags" Target="../tags/tag2581.xml"/><Relationship Id="rId31" Type="http://schemas.openxmlformats.org/officeDocument/2006/relationships/tags" Target="../tags/tag2602.xml"/><Relationship Id="rId44" Type="http://schemas.openxmlformats.org/officeDocument/2006/relationships/tags" Target="../tags/tag2615.xml"/><Relationship Id="rId52" Type="http://schemas.openxmlformats.org/officeDocument/2006/relationships/tags" Target="../tags/tag2623.xml"/><Relationship Id="rId60" Type="http://schemas.openxmlformats.org/officeDocument/2006/relationships/tags" Target="../tags/tag2631.xml"/><Relationship Id="rId65" Type="http://schemas.openxmlformats.org/officeDocument/2006/relationships/tags" Target="../tags/tag2636.xml"/><Relationship Id="rId4" Type="http://schemas.openxmlformats.org/officeDocument/2006/relationships/tags" Target="../tags/tag2575.xml"/><Relationship Id="rId9" Type="http://schemas.openxmlformats.org/officeDocument/2006/relationships/tags" Target="../tags/tag2580.xml"/><Relationship Id="rId13" Type="http://schemas.openxmlformats.org/officeDocument/2006/relationships/tags" Target="../tags/tag2584.xml"/><Relationship Id="rId18" Type="http://schemas.openxmlformats.org/officeDocument/2006/relationships/tags" Target="../tags/tag2589.xml"/><Relationship Id="rId39" Type="http://schemas.openxmlformats.org/officeDocument/2006/relationships/tags" Target="../tags/tag2610.xml"/><Relationship Id="rId34" Type="http://schemas.openxmlformats.org/officeDocument/2006/relationships/tags" Target="../tags/tag2605.xml"/><Relationship Id="rId50" Type="http://schemas.openxmlformats.org/officeDocument/2006/relationships/tags" Target="../tags/tag2621.xml"/><Relationship Id="rId55" Type="http://schemas.openxmlformats.org/officeDocument/2006/relationships/tags" Target="../tags/tag262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13" Type="http://schemas.openxmlformats.org/officeDocument/2006/relationships/oleObject" Target="../embeddings/oleObject277.bin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slideLayout" Target="../slideLayouts/slideLayout47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tags" Target="../tags/tag529.xml"/><Relationship Id="rId5" Type="http://schemas.openxmlformats.org/officeDocument/2006/relationships/tags" Target="../tags/tag523.xml"/><Relationship Id="rId15" Type="http://schemas.openxmlformats.org/officeDocument/2006/relationships/chart" Target="../charts/chart1.xml"/><Relationship Id="rId10" Type="http://schemas.openxmlformats.org/officeDocument/2006/relationships/tags" Target="../tags/tag528.xml"/><Relationship Id="rId4" Type="http://schemas.openxmlformats.org/officeDocument/2006/relationships/tags" Target="../tags/tag522.xml"/><Relationship Id="rId9" Type="http://schemas.openxmlformats.org/officeDocument/2006/relationships/tags" Target="../tags/tag527.xml"/><Relationship Id="rId14" Type="http://schemas.openxmlformats.org/officeDocument/2006/relationships/image" Target="../media/image30.emf"/></Relationships>
</file>

<file path=ppt/slides/_rels/slide20.xml.rels><?xml version="1.0" encoding="UTF-8" standalone="yes"?>
<Relationships xmlns="http://schemas.openxmlformats.org/package/2006/relationships"><Relationship Id="rId117" Type="http://schemas.openxmlformats.org/officeDocument/2006/relationships/tags" Target="../tags/tag2753.xml"/><Relationship Id="rId21" Type="http://schemas.openxmlformats.org/officeDocument/2006/relationships/tags" Target="../tags/tag2657.xml"/><Relationship Id="rId42" Type="http://schemas.openxmlformats.org/officeDocument/2006/relationships/tags" Target="../tags/tag2678.xml"/><Relationship Id="rId63" Type="http://schemas.openxmlformats.org/officeDocument/2006/relationships/tags" Target="../tags/tag2699.xml"/><Relationship Id="rId84" Type="http://schemas.openxmlformats.org/officeDocument/2006/relationships/tags" Target="../tags/tag2720.xml"/><Relationship Id="rId138" Type="http://schemas.openxmlformats.org/officeDocument/2006/relationships/tags" Target="../tags/tag2774.xml"/><Relationship Id="rId107" Type="http://schemas.openxmlformats.org/officeDocument/2006/relationships/tags" Target="../tags/tag2743.xml"/><Relationship Id="rId11" Type="http://schemas.openxmlformats.org/officeDocument/2006/relationships/tags" Target="../tags/tag2647.xml"/><Relationship Id="rId32" Type="http://schemas.openxmlformats.org/officeDocument/2006/relationships/tags" Target="../tags/tag2668.xml"/><Relationship Id="rId53" Type="http://schemas.openxmlformats.org/officeDocument/2006/relationships/tags" Target="../tags/tag2689.xml"/><Relationship Id="rId74" Type="http://schemas.openxmlformats.org/officeDocument/2006/relationships/tags" Target="../tags/tag2710.xml"/><Relationship Id="rId128" Type="http://schemas.openxmlformats.org/officeDocument/2006/relationships/tags" Target="../tags/tag2764.xml"/><Relationship Id="rId5" Type="http://schemas.openxmlformats.org/officeDocument/2006/relationships/tags" Target="../tags/tag2641.xml"/><Relationship Id="rId90" Type="http://schemas.openxmlformats.org/officeDocument/2006/relationships/tags" Target="../tags/tag2726.xml"/><Relationship Id="rId95" Type="http://schemas.openxmlformats.org/officeDocument/2006/relationships/tags" Target="../tags/tag2731.xml"/><Relationship Id="rId22" Type="http://schemas.openxmlformats.org/officeDocument/2006/relationships/tags" Target="../tags/tag2658.xml"/><Relationship Id="rId27" Type="http://schemas.openxmlformats.org/officeDocument/2006/relationships/tags" Target="../tags/tag2663.xml"/><Relationship Id="rId43" Type="http://schemas.openxmlformats.org/officeDocument/2006/relationships/tags" Target="../tags/tag2679.xml"/><Relationship Id="rId48" Type="http://schemas.openxmlformats.org/officeDocument/2006/relationships/tags" Target="../tags/tag2684.xml"/><Relationship Id="rId64" Type="http://schemas.openxmlformats.org/officeDocument/2006/relationships/tags" Target="../tags/tag2700.xml"/><Relationship Id="rId69" Type="http://schemas.openxmlformats.org/officeDocument/2006/relationships/tags" Target="../tags/tag2705.xml"/><Relationship Id="rId113" Type="http://schemas.openxmlformats.org/officeDocument/2006/relationships/tags" Target="../tags/tag2749.xml"/><Relationship Id="rId118" Type="http://schemas.openxmlformats.org/officeDocument/2006/relationships/tags" Target="../tags/tag2754.xml"/><Relationship Id="rId134" Type="http://schemas.openxmlformats.org/officeDocument/2006/relationships/tags" Target="../tags/tag2770.xml"/><Relationship Id="rId139" Type="http://schemas.openxmlformats.org/officeDocument/2006/relationships/tags" Target="../tags/tag2775.xml"/><Relationship Id="rId80" Type="http://schemas.openxmlformats.org/officeDocument/2006/relationships/tags" Target="../tags/tag2716.xml"/><Relationship Id="rId85" Type="http://schemas.openxmlformats.org/officeDocument/2006/relationships/tags" Target="../tags/tag2721.xml"/><Relationship Id="rId12" Type="http://schemas.openxmlformats.org/officeDocument/2006/relationships/tags" Target="../tags/tag2648.xml"/><Relationship Id="rId17" Type="http://schemas.openxmlformats.org/officeDocument/2006/relationships/tags" Target="../tags/tag2653.xml"/><Relationship Id="rId33" Type="http://schemas.openxmlformats.org/officeDocument/2006/relationships/tags" Target="../tags/tag2669.xml"/><Relationship Id="rId38" Type="http://schemas.openxmlformats.org/officeDocument/2006/relationships/tags" Target="../tags/tag2674.xml"/><Relationship Id="rId59" Type="http://schemas.openxmlformats.org/officeDocument/2006/relationships/tags" Target="../tags/tag2695.xml"/><Relationship Id="rId103" Type="http://schemas.openxmlformats.org/officeDocument/2006/relationships/tags" Target="../tags/tag2739.xml"/><Relationship Id="rId108" Type="http://schemas.openxmlformats.org/officeDocument/2006/relationships/tags" Target="../tags/tag2744.xml"/><Relationship Id="rId124" Type="http://schemas.openxmlformats.org/officeDocument/2006/relationships/tags" Target="../tags/tag2760.xml"/><Relationship Id="rId129" Type="http://schemas.openxmlformats.org/officeDocument/2006/relationships/tags" Target="../tags/tag2765.xml"/><Relationship Id="rId54" Type="http://schemas.openxmlformats.org/officeDocument/2006/relationships/tags" Target="../tags/tag2690.xml"/><Relationship Id="rId70" Type="http://schemas.openxmlformats.org/officeDocument/2006/relationships/tags" Target="../tags/tag2706.xml"/><Relationship Id="rId75" Type="http://schemas.openxmlformats.org/officeDocument/2006/relationships/tags" Target="../tags/tag2711.xml"/><Relationship Id="rId91" Type="http://schemas.openxmlformats.org/officeDocument/2006/relationships/tags" Target="../tags/tag2727.xml"/><Relationship Id="rId96" Type="http://schemas.openxmlformats.org/officeDocument/2006/relationships/tags" Target="../tags/tag2732.xml"/><Relationship Id="rId140" Type="http://schemas.openxmlformats.org/officeDocument/2006/relationships/tags" Target="../tags/tag2776.xml"/><Relationship Id="rId145" Type="http://schemas.openxmlformats.org/officeDocument/2006/relationships/image" Target="../media/image30.emf"/><Relationship Id="rId1" Type="http://schemas.openxmlformats.org/officeDocument/2006/relationships/tags" Target="../tags/tag2637.xml"/><Relationship Id="rId6" Type="http://schemas.openxmlformats.org/officeDocument/2006/relationships/tags" Target="../tags/tag2642.xml"/><Relationship Id="rId23" Type="http://schemas.openxmlformats.org/officeDocument/2006/relationships/tags" Target="../tags/tag2659.xml"/><Relationship Id="rId28" Type="http://schemas.openxmlformats.org/officeDocument/2006/relationships/tags" Target="../tags/tag2664.xml"/><Relationship Id="rId49" Type="http://schemas.openxmlformats.org/officeDocument/2006/relationships/tags" Target="../tags/tag2685.xml"/><Relationship Id="rId114" Type="http://schemas.openxmlformats.org/officeDocument/2006/relationships/tags" Target="../tags/tag2750.xml"/><Relationship Id="rId119" Type="http://schemas.openxmlformats.org/officeDocument/2006/relationships/tags" Target="../tags/tag2755.xml"/><Relationship Id="rId44" Type="http://schemas.openxmlformats.org/officeDocument/2006/relationships/tags" Target="../tags/tag2680.xml"/><Relationship Id="rId60" Type="http://schemas.openxmlformats.org/officeDocument/2006/relationships/tags" Target="../tags/tag2696.xml"/><Relationship Id="rId65" Type="http://schemas.openxmlformats.org/officeDocument/2006/relationships/tags" Target="../tags/tag2701.xml"/><Relationship Id="rId81" Type="http://schemas.openxmlformats.org/officeDocument/2006/relationships/tags" Target="../tags/tag2717.xml"/><Relationship Id="rId86" Type="http://schemas.openxmlformats.org/officeDocument/2006/relationships/tags" Target="../tags/tag2722.xml"/><Relationship Id="rId130" Type="http://schemas.openxmlformats.org/officeDocument/2006/relationships/tags" Target="../tags/tag2766.xml"/><Relationship Id="rId135" Type="http://schemas.openxmlformats.org/officeDocument/2006/relationships/tags" Target="../tags/tag2771.xml"/><Relationship Id="rId13" Type="http://schemas.openxmlformats.org/officeDocument/2006/relationships/tags" Target="../tags/tag2649.xml"/><Relationship Id="rId18" Type="http://schemas.openxmlformats.org/officeDocument/2006/relationships/tags" Target="../tags/tag2654.xml"/><Relationship Id="rId39" Type="http://schemas.openxmlformats.org/officeDocument/2006/relationships/tags" Target="../tags/tag2675.xml"/><Relationship Id="rId109" Type="http://schemas.openxmlformats.org/officeDocument/2006/relationships/tags" Target="../tags/tag2745.xml"/><Relationship Id="rId34" Type="http://schemas.openxmlformats.org/officeDocument/2006/relationships/tags" Target="../tags/tag2670.xml"/><Relationship Id="rId50" Type="http://schemas.openxmlformats.org/officeDocument/2006/relationships/tags" Target="../tags/tag2686.xml"/><Relationship Id="rId55" Type="http://schemas.openxmlformats.org/officeDocument/2006/relationships/tags" Target="../tags/tag2691.xml"/><Relationship Id="rId76" Type="http://schemas.openxmlformats.org/officeDocument/2006/relationships/tags" Target="../tags/tag2712.xml"/><Relationship Id="rId97" Type="http://schemas.openxmlformats.org/officeDocument/2006/relationships/tags" Target="../tags/tag2733.xml"/><Relationship Id="rId104" Type="http://schemas.openxmlformats.org/officeDocument/2006/relationships/tags" Target="../tags/tag2740.xml"/><Relationship Id="rId120" Type="http://schemas.openxmlformats.org/officeDocument/2006/relationships/tags" Target="../tags/tag2756.xml"/><Relationship Id="rId125" Type="http://schemas.openxmlformats.org/officeDocument/2006/relationships/tags" Target="../tags/tag2761.xml"/><Relationship Id="rId141" Type="http://schemas.openxmlformats.org/officeDocument/2006/relationships/tags" Target="../tags/tag2777.xml"/><Relationship Id="rId146" Type="http://schemas.openxmlformats.org/officeDocument/2006/relationships/chart" Target="../charts/chart56.xml"/><Relationship Id="rId7" Type="http://schemas.openxmlformats.org/officeDocument/2006/relationships/tags" Target="../tags/tag2643.xml"/><Relationship Id="rId71" Type="http://schemas.openxmlformats.org/officeDocument/2006/relationships/tags" Target="../tags/tag2707.xml"/><Relationship Id="rId92" Type="http://schemas.openxmlformats.org/officeDocument/2006/relationships/tags" Target="../tags/tag2728.xml"/><Relationship Id="rId2" Type="http://schemas.openxmlformats.org/officeDocument/2006/relationships/tags" Target="../tags/tag2638.xml"/><Relationship Id="rId29" Type="http://schemas.openxmlformats.org/officeDocument/2006/relationships/tags" Target="../tags/tag2665.xml"/><Relationship Id="rId24" Type="http://schemas.openxmlformats.org/officeDocument/2006/relationships/tags" Target="../tags/tag2660.xml"/><Relationship Id="rId40" Type="http://schemas.openxmlformats.org/officeDocument/2006/relationships/tags" Target="../tags/tag2676.xml"/><Relationship Id="rId45" Type="http://schemas.openxmlformats.org/officeDocument/2006/relationships/tags" Target="../tags/tag2681.xml"/><Relationship Id="rId66" Type="http://schemas.openxmlformats.org/officeDocument/2006/relationships/tags" Target="../tags/tag2702.xml"/><Relationship Id="rId87" Type="http://schemas.openxmlformats.org/officeDocument/2006/relationships/tags" Target="../tags/tag2723.xml"/><Relationship Id="rId110" Type="http://schemas.openxmlformats.org/officeDocument/2006/relationships/tags" Target="../tags/tag2746.xml"/><Relationship Id="rId115" Type="http://schemas.openxmlformats.org/officeDocument/2006/relationships/tags" Target="../tags/tag2751.xml"/><Relationship Id="rId131" Type="http://schemas.openxmlformats.org/officeDocument/2006/relationships/tags" Target="../tags/tag2767.xml"/><Relationship Id="rId136" Type="http://schemas.openxmlformats.org/officeDocument/2006/relationships/tags" Target="../tags/tag2772.xml"/><Relationship Id="rId61" Type="http://schemas.openxmlformats.org/officeDocument/2006/relationships/tags" Target="../tags/tag2697.xml"/><Relationship Id="rId82" Type="http://schemas.openxmlformats.org/officeDocument/2006/relationships/tags" Target="../tags/tag2718.xml"/><Relationship Id="rId19" Type="http://schemas.openxmlformats.org/officeDocument/2006/relationships/tags" Target="../tags/tag2655.xml"/><Relationship Id="rId14" Type="http://schemas.openxmlformats.org/officeDocument/2006/relationships/tags" Target="../tags/tag2650.xml"/><Relationship Id="rId30" Type="http://schemas.openxmlformats.org/officeDocument/2006/relationships/tags" Target="../tags/tag2666.xml"/><Relationship Id="rId35" Type="http://schemas.openxmlformats.org/officeDocument/2006/relationships/tags" Target="../tags/tag2671.xml"/><Relationship Id="rId56" Type="http://schemas.openxmlformats.org/officeDocument/2006/relationships/tags" Target="../tags/tag2692.xml"/><Relationship Id="rId77" Type="http://schemas.openxmlformats.org/officeDocument/2006/relationships/tags" Target="../tags/tag2713.xml"/><Relationship Id="rId100" Type="http://schemas.openxmlformats.org/officeDocument/2006/relationships/tags" Target="../tags/tag2736.xml"/><Relationship Id="rId105" Type="http://schemas.openxmlformats.org/officeDocument/2006/relationships/tags" Target="../tags/tag2741.xml"/><Relationship Id="rId126" Type="http://schemas.openxmlformats.org/officeDocument/2006/relationships/tags" Target="../tags/tag2762.xml"/><Relationship Id="rId147" Type="http://schemas.openxmlformats.org/officeDocument/2006/relationships/chart" Target="../charts/chart57.xml"/><Relationship Id="rId8" Type="http://schemas.openxmlformats.org/officeDocument/2006/relationships/tags" Target="../tags/tag2644.xml"/><Relationship Id="rId51" Type="http://schemas.openxmlformats.org/officeDocument/2006/relationships/tags" Target="../tags/tag2687.xml"/><Relationship Id="rId72" Type="http://schemas.openxmlformats.org/officeDocument/2006/relationships/tags" Target="../tags/tag2708.xml"/><Relationship Id="rId93" Type="http://schemas.openxmlformats.org/officeDocument/2006/relationships/tags" Target="../tags/tag2729.xml"/><Relationship Id="rId98" Type="http://schemas.openxmlformats.org/officeDocument/2006/relationships/tags" Target="../tags/tag2734.xml"/><Relationship Id="rId121" Type="http://schemas.openxmlformats.org/officeDocument/2006/relationships/tags" Target="../tags/tag2757.xml"/><Relationship Id="rId142" Type="http://schemas.openxmlformats.org/officeDocument/2006/relationships/slideLayout" Target="../slideLayouts/slideLayout47.xml"/><Relationship Id="rId3" Type="http://schemas.openxmlformats.org/officeDocument/2006/relationships/tags" Target="../tags/tag2639.xml"/><Relationship Id="rId25" Type="http://schemas.openxmlformats.org/officeDocument/2006/relationships/tags" Target="../tags/tag2661.xml"/><Relationship Id="rId46" Type="http://schemas.openxmlformats.org/officeDocument/2006/relationships/tags" Target="../tags/tag2682.xml"/><Relationship Id="rId67" Type="http://schemas.openxmlformats.org/officeDocument/2006/relationships/tags" Target="../tags/tag2703.xml"/><Relationship Id="rId116" Type="http://schemas.openxmlformats.org/officeDocument/2006/relationships/tags" Target="../tags/tag2752.xml"/><Relationship Id="rId137" Type="http://schemas.openxmlformats.org/officeDocument/2006/relationships/tags" Target="../tags/tag2773.xml"/><Relationship Id="rId20" Type="http://schemas.openxmlformats.org/officeDocument/2006/relationships/tags" Target="../tags/tag2656.xml"/><Relationship Id="rId41" Type="http://schemas.openxmlformats.org/officeDocument/2006/relationships/tags" Target="../tags/tag2677.xml"/><Relationship Id="rId62" Type="http://schemas.openxmlformats.org/officeDocument/2006/relationships/tags" Target="../tags/tag2698.xml"/><Relationship Id="rId83" Type="http://schemas.openxmlformats.org/officeDocument/2006/relationships/tags" Target="../tags/tag2719.xml"/><Relationship Id="rId88" Type="http://schemas.openxmlformats.org/officeDocument/2006/relationships/tags" Target="../tags/tag2724.xml"/><Relationship Id="rId111" Type="http://schemas.openxmlformats.org/officeDocument/2006/relationships/tags" Target="../tags/tag2747.xml"/><Relationship Id="rId132" Type="http://schemas.openxmlformats.org/officeDocument/2006/relationships/tags" Target="../tags/tag2768.xml"/><Relationship Id="rId15" Type="http://schemas.openxmlformats.org/officeDocument/2006/relationships/tags" Target="../tags/tag2651.xml"/><Relationship Id="rId36" Type="http://schemas.openxmlformats.org/officeDocument/2006/relationships/tags" Target="../tags/tag2672.xml"/><Relationship Id="rId57" Type="http://schemas.openxmlformats.org/officeDocument/2006/relationships/tags" Target="../tags/tag2693.xml"/><Relationship Id="rId106" Type="http://schemas.openxmlformats.org/officeDocument/2006/relationships/tags" Target="../tags/tag2742.xml"/><Relationship Id="rId127" Type="http://schemas.openxmlformats.org/officeDocument/2006/relationships/tags" Target="../tags/tag2763.xml"/><Relationship Id="rId10" Type="http://schemas.openxmlformats.org/officeDocument/2006/relationships/tags" Target="../tags/tag2646.xml"/><Relationship Id="rId31" Type="http://schemas.openxmlformats.org/officeDocument/2006/relationships/tags" Target="../tags/tag2667.xml"/><Relationship Id="rId52" Type="http://schemas.openxmlformats.org/officeDocument/2006/relationships/tags" Target="../tags/tag2688.xml"/><Relationship Id="rId73" Type="http://schemas.openxmlformats.org/officeDocument/2006/relationships/tags" Target="../tags/tag2709.xml"/><Relationship Id="rId78" Type="http://schemas.openxmlformats.org/officeDocument/2006/relationships/tags" Target="../tags/tag2714.xml"/><Relationship Id="rId94" Type="http://schemas.openxmlformats.org/officeDocument/2006/relationships/tags" Target="../tags/tag2730.xml"/><Relationship Id="rId99" Type="http://schemas.openxmlformats.org/officeDocument/2006/relationships/tags" Target="../tags/tag2735.xml"/><Relationship Id="rId101" Type="http://schemas.openxmlformats.org/officeDocument/2006/relationships/tags" Target="../tags/tag2737.xml"/><Relationship Id="rId122" Type="http://schemas.openxmlformats.org/officeDocument/2006/relationships/tags" Target="../tags/tag2758.xml"/><Relationship Id="rId143" Type="http://schemas.openxmlformats.org/officeDocument/2006/relationships/notesSlide" Target="../notesSlides/notesSlide6.xml"/><Relationship Id="rId148" Type="http://schemas.openxmlformats.org/officeDocument/2006/relationships/chart" Target="../charts/chart58.xml"/><Relationship Id="rId4" Type="http://schemas.openxmlformats.org/officeDocument/2006/relationships/tags" Target="../tags/tag2640.xml"/><Relationship Id="rId9" Type="http://schemas.openxmlformats.org/officeDocument/2006/relationships/tags" Target="../tags/tag2645.xml"/><Relationship Id="rId26" Type="http://schemas.openxmlformats.org/officeDocument/2006/relationships/tags" Target="../tags/tag2662.xml"/><Relationship Id="rId47" Type="http://schemas.openxmlformats.org/officeDocument/2006/relationships/tags" Target="../tags/tag2683.xml"/><Relationship Id="rId68" Type="http://schemas.openxmlformats.org/officeDocument/2006/relationships/tags" Target="../tags/tag2704.xml"/><Relationship Id="rId89" Type="http://schemas.openxmlformats.org/officeDocument/2006/relationships/tags" Target="../tags/tag2725.xml"/><Relationship Id="rId112" Type="http://schemas.openxmlformats.org/officeDocument/2006/relationships/tags" Target="../tags/tag2748.xml"/><Relationship Id="rId133" Type="http://schemas.openxmlformats.org/officeDocument/2006/relationships/tags" Target="../tags/tag2769.xml"/><Relationship Id="rId16" Type="http://schemas.openxmlformats.org/officeDocument/2006/relationships/tags" Target="../tags/tag2652.xml"/><Relationship Id="rId37" Type="http://schemas.openxmlformats.org/officeDocument/2006/relationships/tags" Target="../tags/tag2673.xml"/><Relationship Id="rId58" Type="http://schemas.openxmlformats.org/officeDocument/2006/relationships/tags" Target="../tags/tag2694.xml"/><Relationship Id="rId79" Type="http://schemas.openxmlformats.org/officeDocument/2006/relationships/tags" Target="../tags/tag2715.xml"/><Relationship Id="rId102" Type="http://schemas.openxmlformats.org/officeDocument/2006/relationships/tags" Target="../tags/tag2738.xml"/><Relationship Id="rId123" Type="http://schemas.openxmlformats.org/officeDocument/2006/relationships/tags" Target="../tags/tag2759.xml"/><Relationship Id="rId144" Type="http://schemas.openxmlformats.org/officeDocument/2006/relationships/oleObject" Target="../embeddings/oleObject295.bin"/></Relationships>
</file>

<file path=ppt/slides/_rels/slide21.xml.rels><?xml version="1.0" encoding="UTF-8" standalone="yes"?>
<Relationships xmlns="http://schemas.openxmlformats.org/package/2006/relationships"><Relationship Id="rId117" Type="http://schemas.openxmlformats.org/officeDocument/2006/relationships/tags" Target="../tags/tag2894.xml"/><Relationship Id="rId21" Type="http://schemas.openxmlformats.org/officeDocument/2006/relationships/tags" Target="../tags/tag2798.xml"/><Relationship Id="rId42" Type="http://schemas.openxmlformats.org/officeDocument/2006/relationships/tags" Target="../tags/tag2819.xml"/><Relationship Id="rId63" Type="http://schemas.openxmlformats.org/officeDocument/2006/relationships/tags" Target="../tags/tag2840.xml"/><Relationship Id="rId84" Type="http://schemas.openxmlformats.org/officeDocument/2006/relationships/tags" Target="../tags/tag2861.xml"/><Relationship Id="rId138" Type="http://schemas.openxmlformats.org/officeDocument/2006/relationships/tags" Target="../tags/tag2915.xml"/><Relationship Id="rId159" Type="http://schemas.openxmlformats.org/officeDocument/2006/relationships/chart" Target="../charts/chart60.xml"/><Relationship Id="rId107" Type="http://schemas.openxmlformats.org/officeDocument/2006/relationships/tags" Target="../tags/tag2884.xml"/><Relationship Id="rId11" Type="http://schemas.openxmlformats.org/officeDocument/2006/relationships/tags" Target="../tags/tag2788.xml"/><Relationship Id="rId32" Type="http://schemas.openxmlformats.org/officeDocument/2006/relationships/tags" Target="../tags/tag2809.xml"/><Relationship Id="rId53" Type="http://schemas.openxmlformats.org/officeDocument/2006/relationships/tags" Target="../tags/tag2830.xml"/><Relationship Id="rId74" Type="http://schemas.openxmlformats.org/officeDocument/2006/relationships/tags" Target="../tags/tag2851.xml"/><Relationship Id="rId128" Type="http://schemas.openxmlformats.org/officeDocument/2006/relationships/tags" Target="../tags/tag2905.xml"/><Relationship Id="rId149" Type="http://schemas.openxmlformats.org/officeDocument/2006/relationships/tags" Target="../tags/tag2926.xml"/><Relationship Id="rId5" Type="http://schemas.openxmlformats.org/officeDocument/2006/relationships/tags" Target="../tags/tag2782.xml"/><Relationship Id="rId95" Type="http://schemas.openxmlformats.org/officeDocument/2006/relationships/tags" Target="../tags/tag2872.xml"/><Relationship Id="rId160" Type="http://schemas.openxmlformats.org/officeDocument/2006/relationships/chart" Target="../charts/chart61.xml"/><Relationship Id="rId22" Type="http://schemas.openxmlformats.org/officeDocument/2006/relationships/tags" Target="../tags/tag2799.xml"/><Relationship Id="rId43" Type="http://schemas.openxmlformats.org/officeDocument/2006/relationships/tags" Target="../tags/tag2820.xml"/><Relationship Id="rId64" Type="http://schemas.openxmlformats.org/officeDocument/2006/relationships/tags" Target="../tags/tag2841.xml"/><Relationship Id="rId118" Type="http://schemas.openxmlformats.org/officeDocument/2006/relationships/tags" Target="../tags/tag2895.xml"/><Relationship Id="rId139" Type="http://schemas.openxmlformats.org/officeDocument/2006/relationships/tags" Target="../tags/tag2916.xml"/><Relationship Id="rId80" Type="http://schemas.openxmlformats.org/officeDocument/2006/relationships/tags" Target="../tags/tag2857.xml"/><Relationship Id="rId85" Type="http://schemas.openxmlformats.org/officeDocument/2006/relationships/tags" Target="../tags/tag2862.xml"/><Relationship Id="rId150" Type="http://schemas.openxmlformats.org/officeDocument/2006/relationships/tags" Target="../tags/tag2927.xml"/><Relationship Id="rId155" Type="http://schemas.openxmlformats.org/officeDocument/2006/relationships/notesSlide" Target="../notesSlides/notesSlide7.xml"/><Relationship Id="rId12" Type="http://schemas.openxmlformats.org/officeDocument/2006/relationships/tags" Target="../tags/tag2789.xml"/><Relationship Id="rId17" Type="http://schemas.openxmlformats.org/officeDocument/2006/relationships/tags" Target="../tags/tag2794.xml"/><Relationship Id="rId33" Type="http://schemas.openxmlformats.org/officeDocument/2006/relationships/tags" Target="../tags/tag2810.xml"/><Relationship Id="rId38" Type="http://schemas.openxmlformats.org/officeDocument/2006/relationships/tags" Target="../tags/tag2815.xml"/><Relationship Id="rId59" Type="http://schemas.openxmlformats.org/officeDocument/2006/relationships/tags" Target="../tags/tag2836.xml"/><Relationship Id="rId103" Type="http://schemas.openxmlformats.org/officeDocument/2006/relationships/tags" Target="../tags/tag2880.xml"/><Relationship Id="rId108" Type="http://schemas.openxmlformats.org/officeDocument/2006/relationships/tags" Target="../tags/tag2885.xml"/><Relationship Id="rId124" Type="http://schemas.openxmlformats.org/officeDocument/2006/relationships/tags" Target="../tags/tag2901.xml"/><Relationship Id="rId129" Type="http://schemas.openxmlformats.org/officeDocument/2006/relationships/tags" Target="../tags/tag2906.xml"/><Relationship Id="rId54" Type="http://schemas.openxmlformats.org/officeDocument/2006/relationships/tags" Target="../tags/tag2831.xml"/><Relationship Id="rId70" Type="http://schemas.openxmlformats.org/officeDocument/2006/relationships/tags" Target="../tags/tag2847.xml"/><Relationship Id="rId75" Type="http://schemas.openxmlformats.org/officeDocument/2006/relationships/tags" Target="../tags/tag2852.xml"/><Relationship Id="rId91" Type="http://schemas.openxmlformats.org/officeDocument/2006/relationships/tags" Target="../tags/tag2868.xml"/><Relationship Id="rId96" Type="http://schemas.openxmlformats.org/officeDocument/2006/relationships/tags" Target="../tags/tag2873.xml"/><Relationship Id="rId140" Type="http://schemas.openxmlformats.org/officeDocument/2006/relationships/tags" Target="../tags/tag2917.xml"/><Relationship Id="rId145" Type="http://schemas.openxmlformats.org/officeDocument/2006/relationships/tags" Target="../tags/tag2922.xml"/><Relationship Id="rId1" Type="http://schemas.openxmlformats.org/officeDocument/2006/relationships/tags" Target="../tags/tag2778.xml"/><Relationship Id="rId6" Type="http://schemas.openxmlformats.org/officeDocument/2006/relationships/tags" Target="../tags/tag2783.xml"/><Relationship Id="rId23" Type="http://schemas.openxmlformats.org/officeDocument/2006/relationships/tags" Target="../tags/tag2800.xml"/><Relationship Id="rId28" Type="http://schemas.openxmlformats.org/officeDocument/2006/relationships/tags" Target="../tags/tag2805.xml"/><Relationship Id="rId49" Type="http://schemas.openxmlformats.org/officeDocument/2006/relationships/tags" Target="../tags/tag2826.xml"/><Relationship Id="rId114" Type="http://schemas.openxmlformats.org/officeDocument/2006/relationships/tags" Target="../tags/tag2891.xml"/><Relationship Id="rId119" Type="http://schemas.openxmlformats.org/officeDocument/2006/relationships/tags" Target="../tags/tag2896.xml"/><Relationship Id="rId44" Type="http://schemas.openxmlformats.org/officeDocument/2006/relationships/tags" Target="../tags/tag2821.xml"/><Relationship Id="rId60" Type="http://schemas.openxmlformats.org/officeDocument/2006/relationships/tags" Target="../tags/tag2837.xml"/><Relationship Id="rId65" Type="http://schemas.openxmlformats.org/officeDocument/2006/relationships/tags" Target="../tags/tag2842.xml"/><Relationship Id="rId81" Type="http://schemas.openxmlformats.org/officeDocument/2006/relationships/tags" Target="../tags/tag2858.xml"/><Relationship Id="rId86" Type="http://schemas.openxmlformats.org/officeDocument/2006/relationships/tags" Target="../tags/tag2863.xml"/><Relationship Id="rId130" Type="http://schemas.openxmlformats.org/officeDocument/2006/relationships/tags" Target="../tags/tag2907.xml"/><Relationship Id="rId135" Type="http://schemas.openxmlformats.org/officeDocument/2006/relationships/tags" Target="../tags/tag2912.xml"/><Relationship Id="rId151" Type="http://schemas.openxmlformats.org/officeDocument/2006/relationships/tags" Target="../tags/tag2928.xml"/><Relationship Id="rId156" Type="http://schemas.openxmlformats.org/officeDocument/2006/relationships/oleObject" Target="../embeddings/oleObject296.bin"/><Relationship Id="rId13" Type="http://schemas.openxmlformats.org/officeDocument/2006/relationships/tags" Target="../tags/tag2790.xml"/><Relationship Id="rId18" Type="http://schemas.openxmlformats.org/officeDocument/2006/relationships/tags" Target="../tags/tag2795.xml"/><Relationship Id="rId39" Type="http://schemas.openxmlformats.org/officeDocument/2006/relationships/tags" Target="../tags/tag2816.xml"/><Relationship Id="rId109" Type="http://schemas.openxmlformats.org/officeDocument/2006/relationships/tags" Target="../tags/tag2886.xml"/><Relationship Id="rId34" Type="http://schemas.openxmlformats.org/officeDocument/2006/relationships/tags" Target="../tags/tag2811.xml"/><Relationship Id="rId50" Type="http://schemas.openxmlformats.org/officeDocument/2006/relationships/tags" Target="../tags/tag2827.xml"/><Relationship Id="rId55" Type="http://schemas.openxmlformats.org/officeDocument/2006/relationships/tags" Target="../tags/tag2832.xml"/><Relationship Id="rId76" Type="http://schemas.openxmlformats.org/officeDocument/2006/relationships/tags" Target="../tags/tag2853.xml"/><Relationship Id="rId97" Type="http://schemas.openxmlformats.org/officeDocument/2006/relationships/tags" Target="../tags/tag2874.xml"/><Relationship Id="rId104" Type="http://schemas.openxmlformats.org/officeDocument/2006/relationships/tags" Target="../tags/tag2881.xml"/><Relationship Id="rId120" Type="http://schemas.openxmlformats.org/officeDocument/2006/relationships/tags" Target="../tags/tag2897.xml"/><Relationship Id="rId125" Type="http://schemas.openxmlformats.org/officeDocument/2006/relationships/tags" Target="../tags/tag2902.xml"/><Relationship Id="rId141" Type="http://schemas.openxmlformats.org/officeDocument/2006/relationships/tags" Target="../tags/tag2918.xml"/><Relationship Id="rId146" Type="http://schemas.openxmlformats.org/officeDocument/2006/relationships/tags" Target="../tags/tag2923.xml"/><Relationship Id="rId7" Type="http://schemas.openxmlformats.org/officeDocument/2006/relationships/tags" Target="../tags/tag2784.xml"/><Relationship Id="rId71" Type="http://schemas.openxmlformats.org/officeDocument/2006/relationships/tags" Target="../tags/tag2848.xml"/><Relationship Id="rId92" Type="http://schemas.openxmlformats.org/officeDocument/2006/relationships/tags" Target="../tags/tag2869.xml"/><Relationship Id="rId2" Type="http://schemas.openxmlformats.org/officeDocument/2006/relationships/tags" Target="../tags/tag2779.xml"/><Relationship Id="rId29" Type="http://schemas.openxmlformats.org/officeDocument/2006/relationships/tags" Target="../tags/tag2806.xml"/><Relationship Id="rId24" Type="http://schemas.openxmlformats.org/officeDocument/2006/relationships/tags" Target="../tags/tag2801.xml"/><Relationship Id="rId40" Type="http://schemas.openxmlformats.org/officeDocument/2006/relationships/tags" Target="../tags/tag2817.xml"/><Relationship Id="rId45" Type="http://schemas.openxmlformats.org/officeDocument/2006/relationships/tags" Target="../tags/tag2822.xml"/><Relationship Id="rId66" Type="http://schemas.openxmlformats.org/officeDocument/2006/relationships/tags" Target="../tags/tag2843.xml"/><Relationship Id="rId87" Type="http://schemas.openxmlformats.org/officeDocument/2006/relationships/tags" Target="../tags/tag2864.xml"/><Relationship Id="rId110" Type="http://schemas.openxmlformats.org/officeDocument/2006/relationships/tags" Target="../tags/tag2887.xml"/><Relationship Id="rId115" Type="http://schemas.openxmlformats.org/officeDocument/2006/relationships/tags" Target="../tags/tag2892.xml"/><Relationship Id="rId131" Type="http://schemas.openxmlformats.org/officeDocument/2006/relationships/tags" Target="../tags/tag2908.xml"/><Relationship Id="rId136" Type="http://schemas.openxmlformats.org/officeDocument/2006/relationships/tags" Target="../tags/tag2913.xml"/><Relationship Id="rId157" Type="http://schemas.openxmlformats.org/officeDocument/2006/relationships/image" Target="../media/image30.emf"/><Relationship Id="rId61" Type="http://schemas.openxmlformats.org/officeDocument/2006/relationships/tags" Target="../tags/tag2838.xml"/><Relationship Id="rId82" Type="http://schemas.openxmlformats.org/officeDocument/2006/relationships/tags" Target="../tags/tag2859.xml"/><Relationship Id="rId152" Type="http://schemas.openxmlformats.org/officeDocument/2006/relationships/tags" Target="../tags/tag2929.xml"/><Relationship Id="rId19" Type="http://schemas.openxmlformats.org/officeDocument/2006/relationships/tags" Target="../tags/tag2796.xml"/><Relationship Id="rId14" Type="http://schemas.openxmlformats.org/officeDocument/2006/relationships/tags" Target="../tags/tag2791.xml"/><Relationship Id="rId30" Type="http://schemas.openxmlformats.org/officeDocument/2006/relationships/tags" Target="../tags/tag2807.xml"/><Relationship Id="rId35" Type="http://schemas.openxmlformats.org/officeDocument/2006/relationships/tags" Target="../tags/tag2812.xml"/><Relationship Id="rId56" Type="http://schemas.openxmlformats.org/officeDocument/2006/relationships/tags" Target="../tags/tag2833.xml"/><Relationship Id="rId77" Type="http://schemas.openxmlformats.org/officeDocument/2006/relationships/tags" Target="../tags/tag2854.xml"/><Relationship Id="rId100" Type="http://schemas.openxmlformats.org/officeDocument/2006/relationships/tags" Target="../tags/tag2877.xml"/><Relationship Id="rId105" Type="http://schemas.openxmlformats.org/officeDocument/2006/relationships/tags" Target="../tags/tag2882.xml"/><Relationship Id="rId126" Type="http://schemas.openxmlformats.org/officeDocument/2006/relationships/tags" Target="../tags/tag2903.xml"/><Relationship Id="rId147" Type="http://schemas.openxmlformats.org/officeDocument/2006/relationships/tags" Target="../tags/tag2924.xml"/><Relationship Id="rId8" Type="http://schemas.openxmlformats.org/officeDocument/2006/relationships/tags" Target="../tags/tag2785.xml"/><Relationship Id="rId51" Type="http://schemas.openxmlformats.org/officeDocument/2006/relationships/tags" Target="../tags/tag2828.xml"/><Relationship Id="rId72" Type="http://schemas.openxmlformats.org/officeDocument/2006/relationships/tags" Target="../tags/tag2849.xml"/><Relationship Id="rId93" Type="http://schemas.openxmlformats.org/officeDocument/2006/relationships/tags" Target="../tags/tag2870.xml"/><Relationship Id="rId98" Type="http://schemas.openxmlformats.org/officeDocument/2006/relationships/tags" Target="../tags/tag2875.xml"/><Relationship Id="rId121" Type="http://schemas.openxmlformats.org/officeDocument/2006/relationships/tags" Target="../tags/tag2898.xml"/><Relationship Id="rId142" Type="http://schemas.openxmlformats.org/officeDocument/2006/relationships/tags" Target="../tags/tag2919.xml"/><Relationship Id="rId3" Type="http://schemas.openxmlformats.org/officeDocument/2006/relationships/tags" Target="../tags/tag2780.xml"/><Relationship Id="rId25" Type="http://schemas.openxmlformats.org/officeDocument/2006/relationships/tags" Target="../tags/tag2802.xml"/><Relationship Id="rId46" Type="http://schemas.openxmlformats.org/officeDocument/2006/relationships/tags" Target="../tags/tag2823.xml"/><Relationship Id="rId67" Type="http://schemas.openxmlformats.org/officeDocument/2006/relationships/tags" Target="../tags/tag2844.xml"/><Relationship Id="rId116" Type="http://schemas.openxmlformats.org/officeDocument/2006/relationships/tags" Target="../tags/tag2893.xml"/><Relationship Id="rId137" Type="http://schemas.openxmlformats.org/officeDocument/2006/relationships/tags" Target="../tags/tag2914.xml"/><Relationship Id="rId158" Type="http://schemas.openxmlformats.org/officeDocument/2006/relationships/chart" Target="../charts/chart59.xml"/><Relationship Id="rId20" Type="http://schemas.openxmlformats.org/officeDocument/2006/relationships/tags" Target="../tags/tag2797.xml"/><Relationship Id="rId41" Type="http://schemas.openxmlformats.org/officeDocument/2006/relationships/tags" Target="../tags/tag2818.xml"/><Relationship Id="rId62" Type="http://schemas.openxmlformats.org/officeDocument/2006/relationships/tags" Target="../tags/tag2839.xml"/><Relationship Id="rId83" Type="http://schemas.openxmlformats.org/officeDocument/2006/relationships/tags" Target="../tags/tag2860.xml"/><Relationship Id="rId88" Type="http://schemas.openxmlformats.org/officeDocument/2006/relationships/tags" Target="../tags/tag2865.xml"/><Relationship Id="rId111" Type="http://schemas.openxmlformats.org/officeDocument/2006/relationships/tags" Target="../tags/tag2888.xml"/><Relationship Id="rId132" Type="http://schemas.openxmlformats.org/officeDocument/2006/relationships/tags" Target="../tags/tag2909.xml"/><Relationship Id="rId153" Type="http://schemas.openxmlformats.org/officeDocument/2006/relationships/tags" Target="../tags/tag2930.xml"/><Relationship Id="rId15" Type="http://schemas.openxmlformats.org/officeDocument/2006/relationships/tags" Target="../tags/tag2792.xml"/><Relationship Id="rId36" Type="http://schemas.openxmlformats.org/officeDocument/2006/relationships/tags" Target="../tags/tag2813.xml"/><Relationship Id="rId57" Type="http://schemas.openxmlformats.org/officeDocument/2006/relationships/tags" Target="../tags/tag2834.xml"/><Relationship Id="rId106" Type="http://schemas.openxmlformats.org/officeDocument/2006/relationships/tags" Target="../tags/tag2883.xml"/><Relationship Id="rId127" Type="http://schemas.openxmlformats.org/officeDocument/2006/relationships/tags" Target="../tags/tag2904.xml"/><Relationship Id="rId10" Type="http://schemas.openxmlformats.org/officeDocument/2006/relationships/tags" Target="../tags/tag2787.xml"/><Relationship Id="rId31" Type="http://schemas.openxmlformats.org/officeDocument/2006/relationships/tags" Target="../tags/tag2808.xml"/><Relationship Id="rId52" Type="http://schemas.openxmlformats.org/officeDocument/2006/relationships/tags" Target="../tags/tag2829.xml"/><Relationship Id="rId73" Type="http://schemas.openxmlformats.org/officeDocument/2006/relationships/tags" Target="../tags/tag2850.xml"/><Relationship Id="rId78" Type="http://schemas.openxmlformats.org/officeDocument/2006/relationships/tags" Target="../tags/tag2855.xml"/><Relationship Id="rId94" Type="http://schemas.openxmlformats.org/officeDocument/2006/relationships/tags" Target="../tags/tag2871.xml"/><Relationship Id="rId99" Type="http://schemas.openxmlformats.org/officeDocument/2006/relationships/tags" Target="../tags/tag2876.xml"/><Relationship Id="rId101" Type="http://schemas.openxmlformats.org/officeDocument/2006/relationships/tags" Target="../tags/tag2878.xml"/><Relationship Id="rId122" Type="http://schemas.openxmlformats.org/officeDocument/2006/relationships/tags" Target="../tags/tag2899.xml"/><Relationship Id="rId143" Type="http://schemas.openxmlformats.org/officeDocument/2006/relationships/tags" Target="../tags/tag2920.xml"/><Relationship Id="rId148" Type="http://schemas.openxmlformats.org/officeDocument/2006/relationships/tags" Target="../tags/tag2925.xml"/><Relationship Id="rId4" Type="http://schemas.openxmlformats.org/officeDocument/2006/relationships/tags" Target="../tags/tag2781.xml"/><Relationship Id="rId9" Type="http://schemas.openxmlformats.org/officeDocument/2006/relationships/tags" Target="../tags/tag2786.xml"/><Relationship Id="rId26" Type="http://schemas.openxmlformats.org/officeDocument/2006/relationships/tags" Target="../tags/tag2803.xml"/><Relationship Id="rId47" Type="http://schemas.openxmlformats.org/officeDocument/2006/relationships/tags" Target="../tags/tag2824.xml"/><Relationship Id="rId68" Type="http://schemas.openxmlformats.org/officeDocument/2006/relationships/tags" Target="../tags/tag2845.xml"/><Relationship Id="rId89" Type="http://schemas.openxmlformats.org/officeDocument/2006/relationships/tags" Target="../tags/tag2866.xml"/><Relationship Id="rId112" Type="http://schemas.openxmlformats.org/officeDocument/2006/relationships/tags" Target="../tags/tag2889.xml"/><Relationship Id="rId133" Type="http://schemas.openxmlformats.org/officeDocument/2006/relationships/tags" Target="../tags/tag2910.xml"/><Relationship Id="rId154" Type="http://schemas.openxmlformats.org/officeDocument/2006/relationships/slideLayout" Target="../slideLayouts/slideLayout47.xml"/><Relationship Id="rId16" Type="http://schemas.openxmlformats.org/officeDocument/2006/relationships/tags" Target="../tags/tag2793.xml"/><Relationship Id="rId37" Type="http://schemas.openxmlformats.org/officeDocument/2006/relationships/tags" Target="../tags/tag2814.xml"/><Relationship Id="rId58" Type="http://schemas.openxmlformats.org/officeDocument/2006/relationships/tags" Target="../tags/tag2835.xml"/><Relationship Id="rId79" Type="http://schemas.openxmlformats.org/officeDocument/2006/relationships/tags" Target="../tags/tag2856.xml"/><Relationship Id="rId102" Type="http://schemas.openxmlformats.org/officeDocument/2006/relationships/tags" Target="../tags/tag2879.xml"/><Relationship Id="rId123" Type="http://schemas.openxmlformats.org/officeDocument/2006/relationships/tags" Target="../tags/tag2900.xml"/><Relationship Id="rId144" Type="http://schemas.openxmlformats.org/officeDocument/2006/relationships/tags" Target="../tags/tag2921.xml"/><Relationship Id="rId90" Type="http://schemas.openxmlformats.org/officeDocument/2006/relationships/tags" Target="../tags/tag2867.xml"/><Relationship Id="rId27" Type="http://schemas.openxmlformats.org/officeDocument/2006/relationships/tags" Target="../tags/tag2804.xml"/><Relationship Id="rId48" Type="http://schemas.openxmlformats.org/officeDocument/2006/relationships/tags" Target="../tags/tag2825.xml"/><Relationship Id="rId69" Type="http://schemas.openxmlformats.org/officeDocument/2006/relationships/tags" Target="../tags/tag2846.xml"/><Relationship Id="rId113" Type="http://schemas.openxmlformats.org/officeDocument/2006/relationships/tags" Target="../tags/tag2890.xml"/><Relationship Id="rId134" Type="http://schemas.openxmlformats.org/officeDocument/2006/relationships/tags" Target="../tags/tag2911.xml"/></Relationships>
</file>

<file path=ppt/slides/_rels/slide22.xml.rels><?xml version="1.0" encoding="UTF-8" standalone="yes"?>
<Relationships xmlns="http://schemas.openxmlformats.org/package/2006/relationships"><Relationship Id="rId117" Type="http://schemas.openxmlformats.org/officeDocument/2006/relationships/tags" Target="../tags/tag3047.xml"/><Relationship Id="rId21" Type="http://schemas.openxmlformats.org/officeDocument/2006/relationships/tags" Target="../tags/tag2951.xml"/><Relationship Id="rId42" Type="http://schemas.openxmlformats.org/officeDocument/2006/relationships/tags" Target="../tags/tag2972.xml"/><Relationship Id="rId63" Type="http://schemas.openxmlformats.org/officeDocument/2006/relationships/tags" Target="../tags/tag2993.xml"/><Relationship Id="rId84" Type="http://schemas.openxmlformats.org/officeDocument/2006/relationships/tags" Target="../tags/tag3014.xml"/><Relationship Id="rId138" Type="http://schemas.openxmlformats.org/officeDocument/2006/relationships/chart" Target="../charts/chart64.xml"/><Relationship Id="rId16" Type="http://schemas.openxmlformats.org/officeDocument/2006/relationships/tags" Target="../tags/tag2946.xml"/><Relationship Id="rId107" Type="http://schemas.openxmlformats.org/officeDocument/2006/relationships/tags" Target="../tags/tag3037.xml"/><Relationship Id="rId11" Type="http://schemas.openxmlformats.org/officeDocument/2006/relationships/tags" Target="../tags/tag2941.xml"/><Relationship Id="rId32" Type="http://schemas.openxmlformats.org/officeDocument/2006/relationships/tags" Target="../tags/tag2962.xml"/><Relationship Id="rId37" Type="http://schemas.openxmlformats.org/officeDocument/2006/relationships/tags" Target="../tags/tag2967.xml"/><Relationship Id="rId53" Type="http://schemas.openxmlformats.org/officeDocument/2006/relationships/tags" Target="../tags/tag2983.xml"/><Relationship Id="rId58" Type="http://schemas.openxmlformats.org/officeDocument/2006/relationships/tags" Target="../tags/tag2988.xml"/><Relationship Id="rId74" Type="http://schemas.openxmlformats.org/officeDocument/2006/relationships/tags" Target="../tags/tag3004.xml"/><Relationship Id="rId79" Type="http://schemas.openxmlformats.org/officeDocument/2006/relationships/tags" Target="../tags/tag3009.xml"/><Relationship Id="rId102" Type="http://schemas.openxmlformats.org/officeDocument/2006/relationships/tags" Target="../tags/tag3032.xml"/><Relationship Id="rId123" Type="http://schemas.openxmlformats.org/officeDocument/2006/relationships/tags" Target="../tags/tag3053.xml"/><Relationship Id="rId128" Type="http://schemas.openxmlformats.org/officeDocument/2006/relationships/tags" Target="../tags/tag3058.xml"/><Relationship Id="rId5" Type="http://schemas.openxmlformats.org/officeDocument/2006/relationships/tags" Target="../tags/tag2935.xml"/><Relationship Id="rId90" Type="http://schemas.openxmlformats.org/officeDocument/2006/relationships/tags" Target="../tags/tag3020.xml"/><Relationship Id="rId95" Type="http://schemas.openxmlformats.org/officeDocument/2006/relationships/tags" Target="../tags/tag3025.xml"/><Relationship Id="rId22" Type="http://schemas.openxmlformats.org/officeDocument/2006/relationships/tags" Target="../tags/tag2952.xml"/><Relationship Id="rId27" Type="http://schemas.openxmlformats.org/officeDocument/2006/relationships/tags" Target="../tags/tag2957.xml"/><Relationship Id="rId43" Type="http://schemas.openxmlformats.org/officeDocument/2006/relationships/tags" Target="../tags/tag2973.xml"/><Relationship Id="rId48" Type="http://schemas.openxmlformats.org/officeDocument/2006/relationships/tags" Target="../tags/tag2978.xml"/><Relationship Id="rId64" Type="http://schemas.openxmlformats.org/officeDocument/2006/relationships/tags" Target="../tags/tag2994.xml"/><Relationship Id="rId69" Type="http://schemas.openxmlformats.org/officeDocument/2006/relationships/tags" Target="../tags/tag2999.xml"/><Relationship Id="rId113" Type="http://schemas.openxmlformats.org/officeDocument/2006/relationships/tags" Target="../tags/tag3043.xml"/><Relationship Id="rId118" Type="http://schemas.openxmlformats.org/officeDocument/2006/relationships/tags" Target="../tags/tag3048.xml"/><Relationship Id="rId134" Type="http://schemas.openxmlformats.org/officeDocument/2006/relationships/oleObject" Target="../embeddings/oleObject297.bin"/><Relationship Id="rId80" Type="http://schemas.openxmlformats.org/officeDocument/2006/relationships/tags" Target="../tags/tag3010.xml"/><Relationship Id="rId85" Type="http://schemas.openxmlformats.org/officeDocument/2006/relationships/tags" Target="../tags/tag3015.xml"/><Relationship Id="rId12" Type="http://schemas.openxmlformats.org/officeDocument/2006/relationships/tags" Target="../tags/tag2942.xml"/><Relationship Id="rId17" Type="http://schemas.openxmlformats.org/officeDocument/2006/relationships/tags" Target="../tags/tag2947.xml"/><Relationship Id="rId33" Type="http://schemas.openxmlformats.org/officeDocument/2006/relationships/tags" Target="../tags/tag2963.xml"/><Relationship Id="rId38" Type="http://schemas.openxmlformats.org/officeDocument/2006/relationships/tags" Target="../tags/tag2968.xml"/><Relationship Id="rId59" Type="http://schemas.openxmlformats.org/officeDocument/2006/relationships/tags" Target="../tags/tag2989.xml"/><Relationship Id="rId103" Type="http://schemas.openxmlformats.org/officeDocument/2006/relationships/tags" Target="../tags/tag3033.xml"/><Relationship Id="rId108" Type="http://schemas.openxmlformats.org/officeDocument/2006/relationships/tags" Target="../tags/tag3038.xml"/><Relationship Id="rId124" Type="http://schemas.openxmlformats.org/officeDocument/2006/relationships/tags" Target="../tags/tag3054.xml"/><Relationship Id="rId129" Type="http://schemas.openxmlformats.org/officeDocument/2006/relationships/tags" Target="../tags/tag3059.xml"/><Relationship Id="rId54" Type="http://schemas.openxmlformats.org/officeDocument/2006/relationships/tags" Target="../tags/tag2984.xml"/><Relationship Id="rId70" Type="http://schemas.openxmlformats.org/officeDocument/2006/relationships/tags" Target="../tags/tag3000.xml"/><Relationship Id="rId75" Type="http://schemas.openxmlformats.org/officeDocument/2006/relationships/tags" Target="../tags/tag3005.xml"/><Relationship Id="rId91" Type="http://schemas.openxmlformats.org/officeDocument/2006/relationships/tags" Target="../tags/tag3021.xml"/><Relationship Id="rId96" Type="http://schemas.openxmlformats.org/officeDocument/2006/relationships/tags" Target="../tags/tag3026.xml"/><Relationship Id="rId1" Type="http://schemas.openxmlformats.org/officeDocument/2006/relationships/tags" Target="../tags/tag2931.xml"/><Relationship Id="rId6" Type="http://schemas.openxmlformats.org/officeDocument/2006/relationships/tags" Target="../tags/tag2936.xml"/><Relationship Id="rId23" Type="http://schemas.openxmlformats.org/officeDocument/2006/relationships/tags" Target="../tags/tag2953.xml"/><Relationship Id="rId28" Type="http://schemas.openxmlformats.org/officeDocument/2006/relationships/tags" Target="../tags/tag2958.xml"/><Relationship Id="rId49" Type="http://schemas.openxmlformats.org/officeDocument/2006/relationships/tags" Target="../tags/tag2979.xml"/><Relationship Id="rId114" Type="http://schemas.openxmlformats.org/officeDocument/2006/relationships/tags" Target="../tags/tag3044.xml"/><Relationship Id="rId119" Type="http://schemas.openxmlformats.org/officeDocument/2006/relationships/tags" Target="../tags/tag3049.xml"/><Relationship Id="rId44" Type="http://schemas.openxmlformats.org/officeDocument/2006/relationships/tags" Target="../tags/tag2974.xml"/><Relationship Id="rId60" Type="http://schemas.openxmlformats.org/officeDocument/2006/relationships/tags" Target="../tags/tag2990.xml"/><Relationship Id="rId65" Type="http://schemas.openxmlformats.org/officeDocument/2006/relationships/tags" Target="../tags/tag2995.xml"/><Relationship Id="rId81" Type="http://schemas.openxmlformats.org/officeDocument/2006/relationships/tags" Target="../tags/tag3011.xml"/><Relationship Id="rId86" Type="http://schemas.openxmlformats.org/officeDocument/2006/relationships/tags" Target="../tags/tag3016.xml"/><Relationship Id="rId130" Type="http://schemas.openxmlformats.org/officeDocument/2006/relationships/tags" Target="../tags/tag3060.xml"/><Relationship Id="rId135" Type="http://schemas.openxmlformats.org/officeDocument/2006/relationships/image" Target="../media/image30.emf"/><Relationship Id="rId13" Type="http://schemas.openxmlformats.org/officeDocument/2006/relationships/tags" Target="../tags/tag2943.xml"/><Relationship Id="rId18" Type="http://schemas.openxmlformats.org/officeDocument/2006/relationships/tags" Target="../tags/tag2948.xml"/><Relationship Id="rId39" Type="http://schemas.openxmlformats.org/officeDocument/2006/relationships/tags" Target="../tags/tag2969.xml"/><Relationship Id="rId109" Type="http://schemas.openxmlformats.org/officeDocument/2006/relationships/tags" Target="../tags/tag3039.xml"/><Relationship Id="rId34" Type="http://schemas.openxmlformats.org/officeDocument/2006/relationships/tags" Target="../tags/tag2964.xml"/><Relationship Id="rId50" Type="http://schemas.openxmlformats.org/officeDocument/2006/relationships/tags" Target="../tags/tag2980.xml"/><Relationship Id="rId55" Type="http://schemas.openxmlformats.org/officeDocument/2006/relationships/tags" Target="../tags/tag2985.xml"/><Relationship Id="rId76" Type="http://schemas.openxmlformats.org/officeDocument/2006/relationships/tags" Target="../tags/tag3006.xml"/><Relationship Id="rId97" Type="http://schemas.openxmlformats.org/officeDocument/2006/relationships/tags" Target="../tags/tag3027.xml"/><Relationship Id="rId104" Type="http://schemas.openxmlformats.org/officeDocument/2006/relationships/tags" Target="../tags/tag3034.xml"/><Relationship Id="rId120" Type="http://schemas.openxmlformats.org/officeDocument/2006/relationships/tags" Target="../tags/tag3050.xml"/><Relationship Id="rId125" Type="http://schemas.openxmlformats.org/officeDocument/2006/relationships/tags" Target="../tags/tag3055.xml"/><Relationship Id="rId7" Type="http://schemas.openxmlformats.org/officeDocument/2006/relationships/tags" Target="../tags/tag2937.xml"/><Relationship Id="rId71" Type="http://schemas.openxmlformats.org/officeDocument/2006/relationships/tags" Target="../tags/tag3001.xml"/><Relationship Id="rId92" Type="http://schemas.openxmlformats.org/officeDocument/2006/relationships/tags" Target="../tags/tag3022.xml"/><Relationship Id="rId2" Type="http://schemas.openxmlformats.org/officeDocument/2006/relationships/tags" Target="../tags/tag2932.xml"/><Relationship Id="rId29" Type="http://schemas.openxmlformats.org/officeDocument/2006/relationships/tags" Target="../tags/tag2959.xml"/><Relationship Id="rId24" Type="http://schemas.openxmlformats.org/officeDocument/2006/relationships/tags" Target="../tags/tag2954.xml"/><Relationship Id="rId40" Type="http://schemas.openxmlformats.org/officeDocument/2006/relationships/tags" Target="../tags/tag2970.xml"/><Relationship Id="rId45" Type="http://schemas.openxmlformats.org/officeDocument/2006/relationships/tags" Target="../tags/tag2975.xml"/><Relationship Id="rId66" Type="http://schemas.openxmlformats.org/officeDocument/2006/relationships/tags" Target="../tags/tag2996.xml"/><Relationship Id="rId87" Type="http://schemas.openxmlformats.org/officeDocument/2006/relationships/tags" Target="../tags/tag3017.xml"/><Relationship Id="rId110" Type="http://schemas.openxmlformats.org/officeDocument/2006/relationships/tags" Target="../tags/tag3040.xml"/><Relationship Id="rId115" Type="http://schemas.openxmlformats.org/officeDocument/2006/relationships/tags" Target="../tags/tag3045.xml"/><Relationship Id="rId131" Type="http://schemas.openxmlformats.org/officeDocument/2006/relationships/tags" Target="../tags/tag3061.xml"/><Relationship Id="rId136" Type="http://schemas.openxmlformats.org/officeDocument/2006/relationships/chart" Target="../charts/chart62.xml"/><Relationship Id="rId61" Type="http://schemas.openxmlformats.org/officeDocument/2006/relationships/tags" Target="../tags/tag2991.xml"/><Relationship Id="rId82" Type="http://schemas.openxmlformats.org/officeDocument/2006/relationships/tags" Target="../tags/tag3012.xml"/><Relationship Id="rId19" Type="http://schemas.openxmlformats.org/officeDocument/2006/relationships/tags" Target="../tags/tag2949.xml"/><Relationship Id="rId14" Type="http://schemas.openxmlformats.org/officeDocument/2006/relationships/tags" Target="../tags/tag2944.xml"/><Relationship Id="rId30" Type="http://schemas.openxmlformats.org/officeDocument/2006/relationships/tags" Target="../tags/tag2960.xml"/><Relationship Id="rId35" Type="http://schemas.openxmlformats.org/officeDocument/2006/relationships/tags" Target="../tags/tag2965.xml"/><Relationship Id="rId56" Type="http://schemas.openxmlformats.org/officeDocument/2006/relationships/tags" Target="../tags/tag2986.xml"/><Relationship Id="rId77" Type="http://schemas.openxmlformats.org/officeDocument/2006/relationships/tags" Target="../tags/tag3007.xml"/><Relationship Id="rId100" Type="http://schemas.openxmlformats.org/officeDocument/2006/relationships/tags" Target="../tags/tag3030.xml"/><Relationship Id="rId105" Type="http://schemas.openxmlformats.org/officeDocument/2006/relationships/tags" Target="../tags/tag3035.xml"/><Relationship Id="rId126" Type="http://schemas.openxmlformats.org/officeDocument/2006/relationships/tags" Target="../tags/tag3056.xml"/><Relationship Id="rId8" Type="http://schemas.openxmlformats.org/officeDocument/2006/relationships/tags" Target="../tags/tag2938.xml"/><Relationship Id="rId51" Type="http://schemas.openxmlformats.org/officeDocument/2006/relationships/tags" Target="../tags/tag2981.xml"/><Relationship Id="rId72" Type="http://schemas.openxmlformats.org/officeDocument/2006/relationships/tags" Target="../tags/tag3002.xml"/><Relationship Id="rId93" Type="http://schemas.openxmlformats.org/officeDocument/2006/relationships/tags" Target="../tags/tag3023.xml"/><Relationship Id="rId98" Type="http://schemas.openxmlformats.org/officeDocument/2006/relationships/tags" Target="../tags/tag3028.xml"/><Relationship Id="rId121" Type="http://schemas.openxmlformats.org/officeDocument/2006/relationships/tags" Target="../tags/tag3051.xml"/><Relationship Id="rId3" Type="http://schemas.openxmlformats.org/officeDocument/2006/relationships/tags" Target="../tags/tag2933.xml"/><Relationship Id="rId25" Type="http://schemas.openxmlformats.org/officeDocument/2006/relationships/tags" Target="../tags/tag2955.xml"/><Relationship Id="rId46" Type="http://schemas.openxmlformats.org/officeDocument/2006/relationships/tags" Target="../tags/tag2976.xml"/><Relationship Id="rId67" Type="http://schemas.openxmlformats.org/officeDocument/2006/relationships/tags" Target="../tags/tag2997.xml"/><Relationship Id="rId116" Type="http://schemas.openxmlformats.org/officeDocument/2006/relationships/tags" Target="../tags/tag3046.xml"/><Relationship Id="rId137" Type="http://schemas.openxmlformats.org/officeDocument/2006/relationships/chart" Target="../charts/chart63.xml"/><Relationship Id="rId20" Type="http://schemas.openxmlformats.org/officeDocument/2006/relationships/tags" Target="../tags/tag2950.xml"/><Relationship Id="rId41" Type="http://schemas.openxmlformats.org/officeDocument/2006/relationships/tags" Target="../tags/tag2971.xml"/><Relationship Id="rId62" Type="http://schemas.openxmlformats.org/officeDocument/2006/relationships/tags" Target="../tags/tag2992.xml"/><Relationship Id="rId83" Type="http://schemas.openxmlformats.org/officeDocument/2006/relationships/tags" Target="../tags/tag3013.xml"/><Relationship Id="rId88" Type="http://schemas.openxmlformats.org/officeDocument/2006/relationships/tags" Target="../tags/tag3018.xml"/><Relationship Id="rId111" Type="http://schemas.openxmlformats.org/officeDocument/2006/relationships/tags" Target="../tags/tag3041.xml"/><Relationship Id="rId132" Type="http://schemas.openxmlformats.org/officeDocument/2006/relationships/slideLayout" Target="../slideLayouts/slideLayout47.xml"/><Relationship Id="rId15" Type="http://schemas.openxmlformats.org/officeDocument/2006/relationships/tags" Target="../tags/tag2945.xml"/><Relationship Id="rId36" Type="http://schemas.openxmlformats.org/officeDocument/2006/relationships/tags" Target="../tags/tag2966.xml"/><Relationship Id="rId57" Type="http://schemas.openxmlformats.org/officeDocument/2006/relationships/tags" Target="../tags/tag2987.xml"/><Relationship Id="rId106" Type="http://schemas.openxmlformats.org/officeDocument/2006/relationships/tags" Target="../tags/tag3036.xml"/><Relationship Id="rId127" Type="http://schemas.openxmlformats.org/officeDocument/2006/relationships/tags" Target="../tags/tag3057.xml"/><Relationship Id="rId10" Type="http://schemas.openxmlformats.org/officeDocument/2006/relationships/tags" Target="../tags/tag2940.xml"/><Relationship Id="rId31" Type="http://schemas.openxmlformats.org/officeDocument/2006/relationships/tags" Target="../tags/tag2961.xml"/><Relationship Id="rId52" Type="http://schemas.openxmlformats.org/officeDocument/2006/relationships/tags" Target="../tags/tag2982.xml"/><Relationship Id="rId73" Type="http://schemas.openxmlformats.org/officeDocument/2006/relationships/tags" Target="../tags/tag3003.xml"/><Relationship Id="rId78" Type="http://schemas.openxmlformats.org/officeDocument/2006/relationships/tags" Target="../tags/tag3008.xml"/><Relationship Id="rId94" Type="http://schemas.openxmlformats.org/officeDocument/2006/relationships/tags" Target="../tags/tag3024.xml"/><Relationship Id="rId99" Type="http://schemas.openxmlformats.org/officeDocument/2006/relationships/tags" Target="../tags/tag3029.xml"/><Relationship Id="rId101" Type="http://schemas.openxmlformats.org/officeDocument/2006/relationships/tags" Target="../tags/tag3031.xml"/><Relationship Id="rId122" Type="http://schemas.openxmlformats.org/officeDocument/2006/relationships/tags" Target="../tags/tag3052.xml"/><Relationship Id="rId4" Type="http://schemas.openxmlformats.org/officeDocument/2006/relationships/tags" Target="../tags/tag2934.xml"/><Relationship Id="rId9" Type="http://schemas.openxmlformats.org/officeDocument/2006/relationships/tags" Target="../tags/tag2939.xml"/><Relationship Id="rId26" Type="http://schemas.openxmlformats.org/officeDocument/2006/relationships/tags" Target="../tags/tag2956.xml"/><Relationship Id="rId47" Type="http://schemas.openxmlformats.org/officeDocument/2006/relationships/tags" Target="../tags/tag2977.xml"/><Relationship Id="rId68" Type="http://schemas.openxmlformats.org/officeDocument/2006/relationships/tags" Target="../tags/tag2998.xml"/><Relationship Id="rId89" Type="http://schemas.openxmlformats.org/officeDocument/2006/relationships/tags" Target="../tags/tag3019.xml"/><Relationship Id="rId112" Type="http://schemas.openxmlformats.org/officeDocument/2006/relationships/tags" Target="../tags/tag3042.xml"/><Relationship Id="rId133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3074.xml"/><Relationship Id="rId18" Type="http://schemas.openxmlformats.org/officeDocument/2006/relationships/tags" Target="../tags/tag3079.xml"/><Relationship Id="rId26" Type="http://schemas.openxmlformats.org/officeDocument/2006/relationships/tags" Target="../tags/tag3087.xml"/><Relationship Id="rId39" Type="http://schemas.openxmlformats.org/officeDocument/2006/relationships/tags" Target="../tags/tag3100.xml"/><Relationship Id="rId21" Type="http://schemas.openxmlformats.org/officeDocument/2006/relationships/tags" Target="../tags/tag3082.xml"/><Relationship Id="rId34" Type="http://schemas.openxmlformats.org/officeDocument/2006/relationships/tags" Target="../tags/tag3095.xml"/><Relationship Id="rId42" Type="http://schemas.openxmlformats.org/officeDocument/2006/relationships/tags" Target="../tags/tag3103.xml"/><Relationship Id="rId47" Type="http://schemas.openxmlformats.org/officeDocument/2006/relationships/tags" Target="../tags/tag3108.xml"/><Relationship Id="rId50" Type="http://schemas.openxmlformats.org/officeDocument/2006/relationships/tags" Target="../tags/tag3111.xml"/><Relationship Id="rId55" Type="http://schemas.openxmlformats.org/officeDocument/2006/relationships/tags" Target="../tags/tag3116.xml"/><Relationship Id="rId7" Type="http://schemas.openxmlformats.org/officeDocument/2006/relationships/tags" Target="../tags/tag3068.xml"/><Relationship Id="rId2" Type="http://schemas.openxmlformats.org/officeDocument/2006/relationships/tags" Target="../tags/tag3063.xml"/><Relationship Id="rId16" Type="http://schemas.openxmlformats.org/officeDocument/2006/relationships/tags" Target="../tags/tag3077.xml"/><Relationship Id="rId29" Type="http://schemas.openxmlformats.org/officeDocument/2006/relationships/tags" Target="../tags/tag3090.xml"/><Relationship Id="rId11" Type="http://schemas.openxmlformats.org/officeDocument/2006/relationships/tags" Target="../tags/tag3072.xml"/><Relationship Id="rId24" Type="http://schemas.openxmlformats.org/officeDocument/2006/relationships/tags" Target="../tags/tag3085.xml"/><Relationship Id="rId32" Type="http://schemas.openxmlformats.org/officeDocument/2006/relationships/tags" Target="../tags/tag3093.xml"/><Relationship Id="rId37" Type="http://schemas.openxmlformats.org/officeDocument/2006/relationships/tags" Target="../tags/tag3098.xml"/><Relationship Id="rId40" Type="http://schemas.openxmlformats.org/officeDocument/2006/relationships/tags" Target="../tags/tag3101.xml"/><Relationship Id="rId45" Type="http://schemas.openxmlformats.org/officeDocument/2006/relationships/tags" Target="../tags/tag3106.xml"/><Relationship Id="rId53" Type="http://schemas.openxmlformats.org/officeDocument/2006/relationships/tags" Target="../tags/tag3114.xml"/><Relationship Id="rId58" Type="http://schemas.openxmlformats.org/officeDocument/2006/relationships/oleObject" Target="../embeddings/oleObject298.bin"/><Relationship Id="rId5" Type="http://schemas.openxmlformats.org/officeDocument/2006/relationships/tags" Target="../tags/tag3066.xml"/><Relationship Id="rId19" Type="http://schemas.openxmlformats.org/officeDocument/2006/relationships/tags" Target="../tags/tag3080.xml"/><Relationship Id="rId4" Type="http://schemas.openxmlformats.org/officeDocument/2006/relationships/tags" Target="../tags/tag3065.xml"/><Relationship Id="rId9" Type="http://schemas.openxmlformats.org/officeDocument/2006/relationships/tags" Target="../tags/tag3070.xml"/><Relationship Id="rId14" Type="http://schemas.openxmlformats.org/officeDocument/2006/relationships/tags" Target="../tags/tag3075.xml"/><Relationship Id="rId22" Type="http://schemas.openxmlformats.org/officeDocument/2006/relationships/tags" Target="../tags/tag3083.xml"/><Relationship Id="rId27" Type="http://schemas.openxmlformats.org/officeDocument/2006/relationships/tags" Target="../tags/tag3088.xml"/><Relationship Id="rId30" Type="http://schemas.openxmlformats.org/officeDocument/2006/relationships/tags" Target="../tags/tag3091.xml"/><Relationship Id="rId35" Type="http://schemas.openxmlformats.org/officeDocument/2006/relationships/tags" Target="../tags/tag3096.xml"/><Relationship Id="rId43" Type="http://schemas.openxmlformats.org/officeDocument/2006/relationships/tags" Target="../tags/tag3104.xml"/><Relationship Id="rId48" Type="http://schemas.openxmlformats.org/officeDocument/2006/relationships/tags" Target="../tags/tag3109.xml"/><Relationship Id="rId56" Type="http://schemas.openxmlformats.org/officeDocument/2006/relationships/tags" Target="../tags/tag3117.xml"/><Relationship Id="rId8" Type="http://schemas.openxmlformats.org/officeDocument/2006/relationships/tags" Target="../tags/tag3069.xml"/><Relationship Id="rId51" Type="http://schemas.openxmlformats.org/officeDocument/2006/relationships/tags" Target="../tags/tag3112.xml"/><Relationship Id="rId3" Type="http://schemas.openxmlformats.org/officeDocument/2006/relationships/tags" Target="../tags/tag3064.xml"/><Relationship Id="rId12" Type="http://schemas.openxmlformats.org/officeDocument/2006/relationships/tags" Target="../tags/tag3073.xml"/><Relationship Id="rId17" Type="http://schemas.openxmlformats.org/officeDocument/2006/relationships/tags" Target="../tags/tag3078.xml"/><Relationship Id="rId25" Type="http://schemas.openxmlformats.org/officeDocument/2006/relationships/tags" Target="../tags/tag3086.xml"/><Relationship Id="rId33" Type="http://schemas.openxmlformats.org/officeDocument/2006/relationships/tags" Target="../tags/tag3094.xml"/><Relationship Id="rId38" Type="http://schemas.openxmlformats.org/officeDocument/2006/relationships/tags" Target="../tags/tag3099.xml"/><Relationship Id="rId46" Type="http://schemas.openxmlformats.org/officeDocument/2006/relationships/tags" Target="../tags/tag3107.xml"/><Relationship Id="rId59" Type="http://schemas.openxmlformats.org/officeDocument/2006/relationships/image" Target="../media/image30.emf"/><Relationship Id="rId20" Type="http://schemas.openxmlformats.org/officeDocument/2006/relationships/tags" Target="../tags/tag3081.xml"/><Relationship Id="rId41" Type="http://schemas.openxmlformats.org/officeDocument/2006/relationships/tags" Target="../tags/tag3102.xml"/><Relationship Id="rId54" Type="http://schemas.openxmlformats.org/officeDocument/2006/relationships/tags" Target="../tags/tag3115.xml"/><Relationship Id="rId1" Type="http://schemas.openxmlformats.org/officeDocument/2006/relationships/tags" Target="../tags/tag3062.xml"/><Relationship Id="rId6" Type="http://schemas.openxmlformats.org/officeDocument/2006/relationships/tags" Target="../tags/tag3067.xml"/><Relationship Id="rId15" Type="http://schemas.openxmlformats.org/officeDocument/2006/relationships/tags" Target="../tags/tag3076.xml"/><Relationship Id="rId23" Type="http://schemas.openxmlformats.org/officeDocument/2006/relationships/tags" Target="../tags/tag3084.xml"/><Relationship Id="rId28" Type="http://schemas.openxmlformats.org/officeDocument/2006/relationships/tags" Target="../tags/tag3089.xml"/><Relationship Id="rId36" Type="http://schemas.openxmlformats.org/officeDocument/2006/relationships/tags" Target="../tags/tag3097.xml"/><Relationship Id="rId49" Type="http://schemas.openxmlformats.org/officeDocument/2006/relationships/tags" Target="../tags/tag3110.xml"/><Relationship Id="rId57" Type="http://schemas.openxmlformats.org/officeDocument/2006/relationships/slideLayout" Target="../slideLayouts/slideLayout47.xml"/><Relationship Id="rId10" Type="http://schemas.openxmlformats.org/officeDocument/2006/relationships/tags" Target="../tags/tag3071.xml"/><Relationship Id="rId31" Type="http://schemas.openxmlformats.org/officeDocument/2006/relationships/tags" Target="../tags/tag3092.xml"/><Relationship Id="rId44" Type="http://schemas.openxmlformats.org/officeDocument/2006/relationships/tags" Target="../tags/tag3105.xml"/><Relationship Id="rId52" Type="http://schemas.openxmlformats.org/officeDocument/2006/relationships/tags" Target="../tags/tag3113.xml"/><Relationship Id="rId60" Type="http://schemas.openxmlformats.org/officeDocument/2006/relationships/chart" Target="../charts/chart65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3130.xml"/><Relationship Id="rId18" Type="http://schemas.openxmlformats.org/officeDocument/2006/relationships/tags" Target="../tags/tag3135.xml"/><Relationship Id="rId26" Type="http://schemas.openxmlformats.org/officeDocument/2006/relationships/tags" Target="../tags/tag3143.xml"/><Relationship Id="rId39" Type="http://schemas.openxmlformats.org/officeDocument/2006/relationships/tags" Target="../tags/tag3156.xml"/><Relationship Id="rId21" Type="http://schemas.openxmlformats.org/officeDocument/2006/relationships/tags" Target="../tags/tag3138.xml"/><Relationship Id="rId34" Type="http://schemas.openxmlformats.org/officeDocument/2006/relationships/tags" Target="../tags/tag3151.xml"/><Relationship Id="rId42" Type="http://schemas.openxmlformats.org/officeDocument/2006/relationships/tags" Target="../tags/tag3159.xml"/><Relationship Id="rId47" Type="http://schemas.openxmlformats.org/officeDocument/2006/relationships/tags" Target="../tags/tag3164.xml"/><Relationship Id="rId50" Type="http://schemas.openxmlformats.org/officeDocument/2006/relationships/tags" Target="../tags/tag3167.xml"/><Relationship Id="rId55" Type="http://schemas.openxmlformats.org/officeDocument/2006/relationships/tags" Target="../tags/tag3172.xml"/><Relationship Id="rId7" Type="http://schemas.openxmlformats.org/officeDocument/2006/relationships/tags" Target="../tags/tag3124.xml"/><Relationship Id="rId2" Type="http://schemas.openxmlformats.org/officeDocument/2006/relationships/tags" Target="../tags/tag3119.xml"/><Relationship Id="rId16" Type="http://schemas.openxmlformats.org/officeDocument/2006/relationships/tags" Target="../tags/tag3133.xml"/><Relationship Id="rId29" Type="http://schemas.openxmlformats.org/officeDocument/2006/relationships/tags" Target="../tags/tag3146.xml"/><Relationship Id="rId11" Type="http://schemas.openxmlformats.org/officeDocument/2006/relationships/tags" Target="../tags/tag3128.xml"/><Relationship Id="rId24" Type="http://schemas.openxmlformats.org/officeDocument/2006/relationships/tags" Target="../tags/tag3141.xml"/><Relationship Id="rId32" Type="http://schemas.openxmlformats.org/officeDocument/2006/relationships/tags" Target="../tags/tag3149.xml"/><Relationship Id="rId37" Type="http://schemas.openxmlformats.org/officeDocument/2006/relationships/tags" Target="../tags/tag3154.xml"/><Relationship Id="rId40" Type="http://schemas.openxmlformats.org/officeDocument/2006/relationships/tags" Target="../tags/tag3157.xml"/><Relationship Id="rId45" Type="http://schemas.openxmlformats.org/officeDocument/2006/relationships/tags" Target="../tags/tag3162.xml"/><Relationship Id="rId53" Type="http://schemas.openxmlformats.org/officeDocument/2006/relationships/tags" Target="../tags/tag3170.xml"/><Relationship Id="rId58" Type="http://schemas.openxmlformats.org/officeDocument/2006/relationships/image" Target="../media/image30.emf"/><Relationship Id="rId5" Type="http://schemas.openxmlformats.org/officeDocument/2006/relationships/tags" Target="../tags/tag3122.xml"/><Relationship Id="rId19" Type="http://schemas.openxmlformats.org/officeDocument/2006/relationships/tags" Target="../tags/tag3136.xml"/><Relationship Id="rId4" Type="http://schemas.openxmlformats.org/officeDocument/2006/relationships/tags" Target="../tags/tag3121.xml"/><Relationship Id="rId9" Type="http://schemas.openxmlformats.org/officeDocument/2006/relationships/tags" Target="../tags/tag3126.xml"/><Relationship Id="rId14" Type="http://schemas.openxmlformats.org/officeDocument/2006/relationships/tags" Target="../tags/tag3131.xml"/><Relationship Id="rId22" Type="http://schemas.openxmlformats.org/officeDocument/2006/relationships/tags" Target="../tags/tag3139.xml"/><Relationship Id="rId27" Type="http://schemas.openxmlformats.org/officeDocument/2006/relationships/tags" Target="../tags/tag3144.xml"/><Relationship Id="rId30" Type="http://schemas.openxmlformats.org/officeDocument/2006/relationships/tags" Target="../tags/tag3147.xml"/><Relationship Id="rId35" Type="http://schemas.openxmlformats.org/officeDocument/2006/relationships/tags" Target="../tags/tag3152.xml"/><Relationship Id="rId43" Type="http://schemas.openxmlformats.org/officeDocument/2006/relationships/tags" Target="../tags/tag3160.xml"/><Relationship Id="rId48" Type="http://schemas.openxmlformats.org/officeDocument/2006/relationships/tags" Target="../tags/tag3165.xml"/><Relationship Id="rId56" Type="http://schemas.openxmlformats.org/officeDocument/2006/relationships/slideLayout" Target="../slideLayouts/slideLayout47.xml"/><Relationship Id="rId8" Type="http://schemas.openxmlformats.org/officeDocument/2006/relationships/tags" Target="../tags/tag3125.xml"/><Relationship Id="rId51" Type="http://schemas.openxmlformats.org/officeDocument/2006/relationships/tags" Target="../tags/tag3168.xml"/><Relationship Id="rId3" Type="http://schemas.openxmlformats.org/officeDocument/2006/relationships/tags" Target="../tags/tag3120.xml"/><Relationship Id="rId12" Type="http://schemas.openxmlformats.org/officeDocument/2006/relationships/tags" Target="../tags/tag3129.xml"/><Relationship Id="rId17" Type="http://schemas.openxmlformats.org/officeDocument/2006/relationships/tags" Target="../tags/tag3134.xml"/><Relationship Id="rId25" Type="http://schemas.openxmlformats.org/officeDocument/2006/relationships/tags" Target="../tags/tag3142.xml"/><Relationship Id="rId33" Type="http://schemas.openxmlformats.org/officeDocument/2006/relationships/tags" Target="../tags/tag3150.xml"/><Relationship Id="rId38" Type="http://schemas.openxmlformats.org/officeDocument/2006/relationships/tags" Target="../tags/tag3155.xml"/><Relationship Id="rId46" Type="http://schemas.openxmlformats.org/officeDocument/2006/relationships/tags" Target="../tags/tag3163.xml"/><Relationship Id="rId59" Type="http://schemas.openxmlformats.org/officeDocument/2006/relationships/chart" Target="../charts/chart66.xml"/><Relationship Id="rId20" Type="http://schemas.openxmlformats.org/officeDocument/2006/relationships/tags" Target="../tags/tag3137.xml"/><Relationship Id="rId41" Type="http://schemas.openxmlformats.org/officeDocument/2006/relationships/tags" Target="../tags/tag3158.xml"/><Relationship Id="rId54" Type="http://schemas.openxmlformats.org/officeDocument/2006/relationships/tags" Target="../tags/tag3171.xml"/><Relationship Id="rId1" Type="http://schemas.openxmlformats.org/officeDocument/2006/relationships/tags" Target="../tags/tag3118.xml"/><Relationship Id="rId6" Type="http://schemas.openxmlformats.org/officeDocument/2006/relationships/tags" Target="../tags/tag3123.xml"/><Relationship Id="rId15" Type="http://schemas.openxmlformats.org/officeDocument/2006/relationships/tags" Target="../tags/tag3132.xml"/><Relationship Id="rId23" Type="http://schemas.openxmlformats.org/officeDocument/2006/relationships/tags" Target="../tags/tag3140.xml"/><Relationship Id="rId28" Type="http://schemas.openxmlformats.org/officeDocument/2006/relationships/tags" Target="../tags/tag3145.xml"/><Relationship Id="rId36" Type="http://schemas.openxmlformats.org/officeDocument/2006/relationships/tags" Target="../tags/tag3153.xml"/><Relationship Id="rId49" Type="http://schemas.openxmlformats.org/officeDocument/2006/relationships/tags" Target="../tags/tag3166.xml"/><Relationship Id="rId57" Type="http://schemas.openxmlformats.org/officeDocument/2006/relationships/oleObject" Target="../embeddings/oleObject299.bin"/><Relationship Id="rId10" Type="http://schemas.openxmlformats.org/officeDocument/2006/relationships/tags" Target="../tags/tag3127.xml"/><Relationship Id="rId31" Type="http://schemas.openxmlformats.org/officeDocument/2006/relationships/tags" Target="../tags/tag3148.xml"/><Relationship Id="rId44" Type="http://schemas.openxmlformats.org/officeDocument/2006/relationships/tags" Target="../tags/tag3161.xml"/><Relationship Id="rId52" Type="http://schemas.openxmlformats.org/officeDocument/2006/relationships/tags" Target="../tags/tag3169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3185.xml"/><Relationship Id="rId18" Type="http://schemas.openxmlformats.org/officeDocument/2006/relationships/tags" Target="../tags/tag3190.xml"/><Relationship Id="rId26" Type="http://schemas.openxmlformats.org/officeDocument/2006/relationships/tags" Target="../tags/tag3198.xml"/><Relationship Id="rId39" Type="http://schemas.openxmlformats.org/officeDocument/2006/relationships/tags" Target="../tags/tag3211.xml"/><Relationship Id="rId21" Type="http://schemas.openxmlformats.org/officeDocument/2006/relationships/tags" Target="../tags/tag3193.xml"/><Relationship Id="rId34" Type="http://schemas.openxmlformats.org/officeDocument/2006/relationships/tags" Target="../tags/tag3206.xml"/><Relationship Id="rId42" Type="http://schemas.openxmlformats.org/officeDocument/2006/relationships/tags" Target="../tags/tag3214.xml"/><Relationship Id="rId47" Type="http://schemas.openxmlformats.org/officeDocument/2006/relationships/tags" Target="../tags/tag3219.xml"/><Relationship Id="rId50" Type="http://schemas.openxmlformats.org/officeDocument/2006/relationships/tags" Target="../tags/tag3222.xml"/><Relationship Id="rId55" Type="http://schemas.openxmlformats.org/officeDocument/2006/relationships/chart" Target="../charts/chart67.xml"/><Relationship Id="rId7" Type="http://schemas.openxmlformats.org/officeDocument/2006/relationships/tags" Target="../tags/tag3179.xml"/><Relationship Id="rId2" Type="http://schemas.openxmlformats.org/officeDocument/2006/relationships/tags" Target="../tags/tag3174.xml"/><Relationship Id="rId16" Type="http://schemas.openxmlformats.org/officeDocument/2006/relationships/tags" Target="../tags/tag3188.xml"/><Relationship Id="rId29" Type="http://schemas.openxmlformats.org/officeDocument/2006/relationships/tags" Target="../tags/tag3201.xml"/><Relationship Id="rId11" Type="http://schemas.openxmlformats.org/officeDocument/2006/relationships/tags" Target="../tags/tag3183.xml"/><Relationship Id="rId24" Type="http://schemas.openxmlformats.org/officeDocument/2006/relationships/tags" Target="../tags/tag3196.xml"/><Relationship Id="rId32" Type="http://schemas.openxmlformats.org/officeDocument/2006/relationships/tags" Target="../tags/tag3204.xml"/><Relationship Id="rId37" Type="http://schemas.openxmlformats.org/officeDocument/2006/relationships/tags" Target="../tags/tag3209.xml"/><Relationship Id="rId40" Type="http://schemas.openxmlformats.org/officeDocument/2006/relationships/tags" Target="../tags/tag3212.xml"/><Relationship Id="rId45" Type="http://schemas.openxmlformats.org/officeDocument/2006/relationships/tags" Target="../tags/tag3217.xml"/><Relationship Id="rId53" Type="http://schemas.openxmlformats.org/officeDocument/2006/relationships/oleObject" Target="../embeddings/oleObject300.bin"/><Relationship Id="rId5" Type="http://schemas.openxmlformats.org/officeDocument/2006/relationships/tags" Target="../tags/tag3177.xml"/><Relationship Id="rId10" Type="http://schemas.openxmlformats.org/officeDocument/2006/relationships/tags" Target="../tags/tag3182.xml"/><Relationship Id="rId19" Type="http://schemas.openxmlformats.org/officeDocument/2006/relationships/tags" Target="../tags/tag3191.xml"/><Relationship Id="rId31" Type="http://schemas.openxmlformats.org/officeDocument/2006/relationships/tags" Target="../tags/tag3203.xml"/><Relationship Id="rId44" Type="http://schemas.openxmlformats.org/officeDocument/2006/relationships/tags" Target="../tags/tag3216.xml"/><Relationship Id="rId52" Type="http://schemas.openxmlformats.org/officeDocument/2006/relationships/slideLayout" Target="../slideLayouts/slideLayout47.xml"/><Relationship Id="rId4" Type="http://schemas.openxmlformats.org/officeDocument/2006/relationships/tags" Target="../tags/tag3176.xml"/><Relationship Id="rId9" Type="http://schemas.openxmlformats.org/officeDocument/2006/relationships/tags" Target="../tags/tag3181.xml"/><Relationship Id="rId14" Type="http://schemas.openxmlformats.org/officeDocument/2006/relationships/tags" Target="../tags/tag3186.xml"/><Relationship Id="rId22" Type="http://schemas.openxmlformats.org/officeDocument/2006/relationships/tags" Target="../tags/tag3194.xml"/><Relationship Id="rId27" Type="http://schemas.openxmlformats.org/officeDocument/2006/relationships/tags" Target="../tags/tag3199.xml"/><Relationship Id="rId30" Type="http://schemas.openxmlformats.org/officeDocument/2006/relationships/tags" Target="../tags/tag3202.xml"/><Relationship Id="rId35" Type="http://schemas.openxmlformats.org/officeDocument/2006/relationships/tags" Target="../tags/tag3207.xml"/><Relationship Id="rId43" Type="http://schemas.openxmlformats.org/officeDocument/2006/relationships/tags" Target="../tags/tag3215.xml"/><Relationship Id="rId48" Type="http://schemas.openxmlformats.org/officeDocument/2006/relationships/tags" Target="../tags/tag3220.xml"/><Relationship Id="rId8" Type="http://schemas.openxmlformats.org/officeDocument/2006/relationships/tags" Target="../tags/tag3180.xml"/><Relationship Id="rId51" Type="http://schemas.openxmlformats.org/officeDocument/2006/relationships/tags" Target="../tags/tag3223.xml"/><Relationship Id="rId3" Type="http://schemas.openxmlformats.org/officeDocument/2006/relationships/tags" Target="../tags/tag3175.xml"/><Relationship Id="rId12" Type="http://schemas.openxmlformats.org/officeDocument/2006/relationships/tags" Target="../tags/tag3184.xml"/><Relationship Id="rId17" Type="http://schemas.openxmlformats.org/officeDocument/2006/relationships/tags" Target="../tags/tag3189.xml"/><Relationship Id="rId25" Type="http://schemas.openxmlformats.org/officeDocument/2006/relationships/tags" Target="../tags/tag3197.xml"/><Relationship Id="rId33" Type="http://schemas.openxmlformats.org/officeDocument/2006/relationships/tags" Target="../tags/tag3205.xml"/><Relationship Id="rId38" Type="http://schemas.openxmlformats.org/officeDocument/2006/relationships/tags" Target="../tags/tag3210.xml"/><Relationship Id="rId46" Type="http://schemas.openxmlformats.org/officeDocument/2006/relationships/tags" Target="../tags/tag3218.xml"/><Relationship Id="rId20" Type="http://schemas.openxmlformats.org/officeDocument/2006/relationships/tags" Target="../tags/tag3192.xml"/><Relationship Id="rId41" Type="http://schemas.openxmlformats.org/officeDocument/2006/relationships/tags" Target="../tags/tag3213.xml"/><Relationship Id="rId54" Type="http://schemas.openxmlformats.org/officeDocument/2006/relationships/image" Target="../media/image30.emf"/><Relationship Id="rId1" Type="http://schemas.openxmlformats.org/officeDocument/2006/relationships/tags" Target="../tags/tag3173.xml"/><Relationship Id="rId6" Type="http://schemas.openxmlformats.org/officeDocument/2006/relationships/tags" Target="../tags/tag3178.xml"/><Relationship Id="rId15" Type="http://schemas.openxmlformats.org/officeDocument/2006/relationships/tags" Target="../tags/tag3187.xml"/><Relationship Id="rId23" Type="http://schemas.openxmlformats.org/officeDocument/2006/relationships/tags" Target="../tags/tag3195.xml"/><Relationship Id="rId28" Type="http://schemas.openxmlformats.org/officeDocument/2006/relationships/tags" Target="../tags/tag3200.xml"/><Relationship Id="rId36" Type="http://schemas.openxmlformats.org/officeDocument/2006/relationships/tags" Target="../tags/tag3208.xml"/><Relationship Id="rId49" Type="http://schemas.openxmlformats.org/officeDocument/2006/relationships/tags" Target="../tags/tag3221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3236.xml"/><Relationship Id="rId18" Type="http://schemas.openxmlformats.org/officeDocument/2006/relationships/tags" Target="../tags/tag3241.xml"/><Relationship Id="rId26" Type="http://schemas.openxmlformats.org/officeDocument/2006/relationships/tags" Target="../tags/tag3249.xml"/><Relationship Id="rId39" Type="http://schemas.openxmlformats.org/officeDocument/2006/relationships/tags" Target="../tags/tag3262.xml"/><Relationship Id="rId21" Type="http://schemas.openxmlformats.org/officeDocument/2006/relationships/tags" Target="../tags/tag3244.xml"/><Relationship Id="rId34" Type="http://schemas.openxmlformats.org/officeDocument/2006/relationships/tags" Target="../tags/tag3257.xml"/><Relationship Id="rId42" Type="http://schemas.openxmlformats.org/officeDocument/2006/relationships/tags" Target="../tags/tag3265.xml"/><Relationship Id="rId47" Type="http://schemas.openxmlformats.org/officeDocument/2006/relationships/tags" Target="../tags/tag3270.xml"/><Relationship Id="rId50" Type="http://schemas.openxmlformats.org/officeDocument/2006/relationships/tags" Target="../tags/tag3273.xml"/><Relationship Id="rId55" Type="http://schemas.openxmlformats.org/officeDocument/2006/relationships/chart" Target="../charts/chart68.xml"/><Relationship Id="rId7" Type="http://schemas.openxmlformats.org/officeDocument/2006/relationships/tags" Target="../tags/tag3230.xml"/><Relationship Id="rId2" Type="http://schemas.openxmlformats.org/officeDocument/2006/relationships/tags" Target="../tags/tag3225.xml"/><Relationship Id="rId16" Type="http://schemas.openxmlformats.org/officeDocument/2006/relationships/tags" Target="../tags/tag3239.xml"/><Relationship Id="rId29" Type="http://schemas.openxmlformats.org/officeDocument/2006/relationships/tags" Target="../tags/tag3252.xml"/><Relationship Id="rId11" Type="http://schemas.openxmlformats.org/officeDocument/2006/relationships/tags" Target="../tags/tag3234.xml"/><Relationship Id="rId24" Type="http://schemas.openxmlformats.org/officeDocument/2006/relationships/tags" Target="../tags/tag3247.xml"/><Relationship Id="rId32" Type="http://schemas.openxmlformats.org/officeDocument/2006/relationships/tags" Target="../tags/tag3255.xml"/><Relationship Id="rId37" Type="http://schemas.openxmlformats.org/officeDocument/2006/relationships/tags" Target="../tags/tag3260.xml"/><Relationship Id="rId40" Type="http://schemas.openxmlformats.org/officeDocument/2006/relationships/tags" Target="../tags/tag3263.xml"/><Relationship Id="rId45" Type="http://schemas.openxmlformats.org/officeDocument/2006/relationships/tags" Target="../tags/tag3268.xml"/><Relationship Id="rId53" Type="http://schemas.openxmlformats.org/officeDocument/2006/relationships/oleObject" Target="../embeddings/oleObject301.bin"/><Relationship Id="rId5" Type="http://schemas.openxmlformats.org/officeDocument/2006/relationships/tags" Target="../tags/tag3228.xml"/><Relationship Id="rId10" Type="http://schemas.openxmlformats.org/officeDocument/2006/relationships/tags" Target="../tags/tag3233.xml"/><Relationship Id="rId19" Type="http://schemas.openxmlformats.org/officeDocument/2006/relationships/tags" Target="../tags/tag3242.xml"/><Relationship Id="rId31" Type="http://schemas.openxmlformats.org/officeDocument/2006/relationships/tags" Target="../tags/tag3254.xml"/><Relationship Id="rId44" Type="http://schemas.openxmlformats.org/officeDocument/2006/relationships/tags" Target="../tags/tag3267.xml"/><Relationship Id="rId52" Type="http://schemas.openxmlformats.org/officeDocument/2006/relationships/slideLayout" Target="../slideLayouts/slideLayout47.xml"/><Relationship Id="rId4" Type="http://schemas.openxmlformats.org/officeDocument/2006/relationships/tags" Target="../tags/tag3227.xml"/><Relationship Id="rId9" Type="http://schemas.openxmlformats.org/officeDocument/2006/relationships/tags" Target="../tags/tag3232.xml"/><Relationship Id="rId14" Type="http://schemas.openxmlformats.org/officeDocument/2006/relationships/tags" Target="../tags/tag3237.xml"/><Relationship Id="rId22" Type="http://schemas.openxmlformats.org/officeDocument/2006/relationships/tags" Target="../tags/tag3245.xml"/><Relationship Id="rId27" Type="http://schemas.openxmlformats.org/officeDocument/2006/relationships/tags" Target="../tags/tag3250.xml"/><Relationship Id="rId30" Type="http://schemas.openxmlformats.org/officeDocument/2006/relationships/tags" Target="../tags/tag3253.xml"/><Relationship Id="rId35" Type="http://schemas.openxmlformats.org/officeDocument/2006/relationships/tags" Target="../tags/tag3258.xml"/><Relationship Id="rId43" Type="http://schemas.openxmlformats.org/officeDocument/2006/relationships/tags" Target="../tags/tag3266.xml"/><Relationship Id="rId48" Type="http://schemas.openxmlformats.org/officeDocument/2006/relationships/tags" Target="../tags/tag3271.xml"/><Relationship Id="rId8" Type="http://schemas.openxmlformats.org/officeDocument/2006/relationships/tags" Target="../tags/tag3231.xml"/><Relationship Id="rId51" Type="http://schemas.openxmlformats.org/officeDocument/2006/relationships/tags" Target="../tags/tag3274.xml"/><Relationship Id="rId3" Type="http://schemas.openxmlformats.org/officeDocument/2006/relationships/tags" Target="../tags/tag3226.xml"/><Relationship Id="rId12" Type="http://schemas.openxmlformats.org/officeDocument/2006/relationships/tags" Target="../tags/tag3235.xml"/><Relationship Id="rId17" Type="http://schemas.openxmlformats.org/officeDocument/2006/relationships/tags" Target="../tags/tag3240.xml"/><Relationship Id="rId25" Type="http://schemas.openxmlformats.org/officeDocument/2006/relationships/tags" Target="../tags/tag3248.xml"/><Relationship Id="rId33" Type="http://schemas.openxmlformats.org/officeDocument/2006/relationships/tags" Target="../tags/tag3256.xml"/><Relationship Id="rId38" Type="http://schemas.openxmlformats.org/officeDocument/2006/relationships/tags" Target="../tags/tag3261.xml"/><Relationship Id="rId46" Type="http://schemas.openxmlformats.org/officeDocument/2006/relationships/tags" Target="../tags/tag3269.xml"/><Relationship Id="rId20" Type="http://schemas.openxmlformats.org/officeDocument/2006/relationships/tags" Target="../tags/tag3243.xml"/><Relationship Id="rId41" Type="http://schemas.openxmlformats.org/officeDocument/2006/relationships/tags" Target="../tags/tag3264.xml"/><Relationship Id="rId54" Type="http://schemas.openxmlformats.org/officeDocument/2006/relationships/image" Target="../media/image30.emf"/><Relationship Id="rId1" Type="http://schemas.openxmlformats.org/officeDocument/2006/relationships/tags" Target="../tags/tag3224.xml"/><Relationship Id="rId6" Type="http://schemas.openxmlformats.org/officeDocument/2006/relationships/tags" Target="../tags/tag3229.xml"/><Relationship Id="rId15" Type="http://schemas.openxmlformats.org/officeDocument/2006/relationships/tags" Target="../tags/tag3238.xml"/><Relationship Id="rId23" Type="http://schemas.openxmlformats.org/officeDocument/2006/relationships/tags" Target="../tags/tag3246.xml"/><Relationship Id="rId28" Type="http://schemas.openxmlformats.org/officeDocument/2006/relationships/tags" Target="../tags/tag3251.xml"/><Relationship Id="rId36" Type="http://schemas.openxmlformats.org/officeDocument/2006/relationships/tags" Target="../tags/tag3259.xml"/><Relationship Id="rId49" Type="http://schemas.openxmlformats.org/officeDocument/2006/relationships/tags" Target="../tags/tag327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42.xml"/><Relationship Id="rId18" Type="http://schemas.openxmlformats.org/officeDocument/2006/relationships/tags" Target="../tags/tag547.xml"/><Relationship Id="rId26" Type="http://schemas.openxmlformats.org/officeDocument/2006/relationships/tags" Target="../tags/tag555.xml"/><Relationship Id="rId39" Type="http://schemas.openxmlformats.org/officeDocument/2006/relationships/tags" Target="../tags/tag568.xml"/><Relationship Id="rId21" Type="http://schemas.openxmlformats.org/officeDocument/2006/relationships/tags" Target="../tags/tag550.xml"/><Relationship Id="rId34" Type="http://schemas.openxmlformats.org/officeDocument/2006/relationships/tags" Target="../tags/tag563.xml"/><Relationship Id="rId42" Type="http://schemas.openxmlformats.org/officeDocument/2006/relationships/tags" Target="../tags/tag571.xml"/><Relationship Id="rId47" Type="http://schemas.openxmlformats.org/officeDocument/2006/relationships/tags" Target="../tags/tag576.xml"/><Relationship Id="rId50" Type="http://schemas.openxmlformats.org/officeDocument/2006/relationships/slideLayout" Target="../slideLayouts/slideLayout47.xml"/><Relationship Id="rId55" Type="http://schemas.openxmlformats.org/officeDocument/2006/relationships/chart" Target="../charts/chart4.xml"/><Relationship Id="rId7" Type="http://schemas.openxmlformats.org/officeDocument/2006/relationships/tags" Target="../tags/tag536.xml"/><Relationship Id="rId2" Type="http://schemas.openxmlformats.org/officeDocument/2006/relationships/tags" Target="../tags/tag531.xml"/><Relationship Id="rId16" Type="http://schemas.openxmlformats.org/officeDocument/2006/relationships/tags" Target="../tags/tag545.xml"/><Relationship Id="rId29" Type="http://schemas.openxmlformats.org/officeDocument/2006/relationships/tags" Target="../tags/tag558.xml"/><Relationship Id="rId11" Type="http://schemas.openxmlformats.org/officeDocument/2006/relationships/tags" Target="../tags/tag540.xml"/><Relationship Id="rId24" Type="http://schemas.openxmlformats.org/officeDocument/2006/relationships/tags" Target="../tags/tag553.xml"/><Relationship Id="rId32" Type="http://schemas.openxmlformats.org/officeDocument/2006/relationships/tags" Target="../tags/tag561.xml"/><Relationship Id="rId37" Type="http://schemas.openxmlformats.org/officeDocument/2006/relationships/tags" Target="../tags/tag566.xml"/><Relationship Id="rId40" Type="http://schemas.openxmlformats.org/officeDocument/2006/relationships/tags" Target="../tags/tag569.xml"/><Relationship Id="rId45" Type="http://schemas.openxmlformats.org/officeDocument/2006/relationships/tags" Target="../tags/tag574.xml"/><Relationship Id="rId53" Type="http://schemas.openxmlformats.org/officeDocument/2006/relationships/chart" Target="../charts/chart2.xml"/><Relationship Id="rId5" Type="http://schemas.openxmlformats.org/officeDocument/2006/relationships/tags" Target="../tags/tag534.xml"/><Relationship Id="rId10" Type="http://schemas.openxmlformats.org/officeDocument/2006/relationships/tags" Target="../tags/tag539.xml"/><Relationship Id="rId19" Type="http://schemas.openxmlformats.org/officeDocument/2006/relationships/tags" Target="../tags/tag548.xml"/><Relationship Id="rId31" Type="http://schemas.openxmlformats.org/officeDocument/2006/relationships/tags" Target="../tags/tag560.xml"/><Relationship Id="rId44" Type="http://schemas.openxmlformats.org/officeDocument/2006/relationships/tags" Target="../tags/tag573.xml"/><Relationship Id="rId52" Type="http://schemas.openxmlformats.org/officeDocument/2006/relationships/image" Target="../media/image30.emf"/><Relationship Id="rId4" Type="http://schemas.openxmlformats.org/officeDocument/2006/relationships/tags" Target="../tags/tag533.xml"/><Relationship Id="rId9" Type="http://schemas.openxmlformats.org/officeDocument/2006/relationships/tags" Target="../tags/tag538.xml"/><Relationship Id="rId14" Type="http://schemas.openxmlformats.org/officeDocument/2006/relationships/tags" Target="../tags/tag543.xml"/><Relationship Id="rId22" Type="http://schemas.openxmlformats.org/officeDocument/2006/relationships/tags" Target="../tags/tag551.xml"/><Relationship Id="rId27" Type="http://schemas.openxmlformats.org/officeDocument/2006/relationships/tags" Target="../tags/tag556.xml"/><Relationship Id="rId30" Type="http://schemas.openxmlformats.org/officeDocument/2006/relationships/tags" Target="../tags/tag559.xml"/><Relationship Id="rId35" Type="http://schemas.openxmlformats.org/officeDocument/2006/relationships/tags" Target="../tags/tag564.xml"/><Relationship Id="rId43" Type="http://schemas.openxmlformats.org/officeDocument/2006/relationships/tags" Target="../tags/tag572.xml"/><Relationship Id="rId48" Type="http://schemas.openxmlformats.org/officeDocument/2006/relationships/tags" Target="../tags/tag577.xml"/><Relationship Id="rId56" Type="http://schemas.openxmlformats.org/officeDocument/2006/relationships/chart" Target="../charts/chart5.xml"/><Relationship Id="rId8" Type="http://schemas.openxmlformats.org/officeDocument/2006/relationships/tags" Target="../tags/tag537.xml"/><Relationship Id="rId51" Type="http://schemas.openxmlformats.org/officeDocument/2006/relationships/oleObject" Target="../embeddings/oleObject278.bin"/><Relationship Id="rId3" Type="http://schemas.openxmlformats.org/officeDocument/2006/relationships/tags" Target="../tags/tag532.xml"/><Relationship Id="rId12" Type="http://schemas.openxmlformats.org/officeDocument/2006/relationships/tags" Target="../tags/tag541.xml"/><Relationship Id="rId17" Type="http://schemas.openxmlformats.org/officeDocument/2006/relationships/tags" Target="../tags/tag546.xml"/><Relationship Id="rId25" Type="http://schemas.openxmlformats.org/officeDocument/2006/relationships/tags" Target="../tags/tag554.xml"/><Relationship Id="rId33" Type="http://schemas.openxmlformats.org/officeDocument/2006/relationships/tags" Target="../tags/tag562.xml"/><Relationship Id="rId38" Type="http://schemas.openxmlformats.org/officeDocument/2006/relationships/tags" Target="../tags/tag567.xml"/><Relationship Id="rId46" Type="http://schemas.openxmlformats.org/officeDocument/2006/relationships/tags" Target="../tags/tag575.xml"/><Relationship Id="rId20" Type="http://schemas.openxmlformats.org/officeDocument/2006/relationships/tags" Target="../tags/tag549.xml"/><Relationship Id="rId41" Type="http://schemas.openxmlformats.org/officeDocument/2006/relationships/tags" Target="../tags/tag570.xml"/><Relationship Id="rId54" Type="http://schemas.openxmlformats.org/officeDocument/2006/relationships/chart" Target="../charts/chart3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5" Type="http://schemas.openxmlformats.org/officeDocument/2006/relationships/tags" Target="../tags/tag544.xml"/><Relationship Id="rId23" Type="http://schemas.openxmlformats.org/officeDocument/2006/relationships/tags" Target="../tags/tag552.xml"/><Relationship Id="rId28" Type="http://schemas.openxmlformats.org/officeDocument/2006/relationships/tags" Target="../tags/tag557.xml"/><Relationship Id="rId36" Type="http://schemas.openxmlformats.org/officeDocument/2006/relationships/tags" Target="../tags/tag565.xml"/><Relationship Id="rId49" Type="http://schemas.openxmlformats.org/officeDocument/2006/relationships/tags" Target="../tags/tag578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695.xml"/><Relationship Id="rId21" Type="http://schemas.openxmlformats.org/officeDocument/2006/relationships/tags" Target="../tags/tag599.xml"/><Relationship Id="rId42" Type="http://schemas.openxmlformats.org/officeDocument/2006/relationships/tags" Target="../tags/tag620.xml"/><Relationship Id="rId63" Type="http://schemas.openxmlformats.org/officeDocument/2006/relationships/tags" Target="../tags/tag641.xml"/><Relationship Id="rId84" Type="http://schemas.openxmlformats.org/officeDocument/2006/relationships/tags" Target="../tags/tag662.xml"/><Relationship Id="rId138" Type="http://schemas.openxmlformats.org/officeDocument/2006/relationships/tags" Target="../tags/tag716.xml"/><Relationship Id="rId159" Type="http://schemas.openxmlformats.org/officeDocument/2006/relationships/tags" Target="../tags/tag737.xml"/><Relationship Id="rId170" Type="http://schemas.openxmlformats.org/officeDocument/2006/relationships/tags" Target="../tags/tag748.xml"/><Relationship Id="rId107" Type="http://schemas.openxmlformats.org/officeDocument/2006/relationships/tags" Target="../tags/tag685.xml"/><Relationship Id="rId11" Type="http://schemas.openxmlformats.org/officeDocument/2006/relationships/tags" Target="../tags/tag589.xml"/><Relationship Id="rId32" Type="http://schemas.openxmlformats.org/officeDocument/2006/relationships/tags" Target="../tags/tag610.xml"/><Relationship Id="rId53" Type="http://schemas.openxmlformats.org/officeDocument/2006/relationships/tags" Target="../tags/tag631.xml"/><Relationship Id="rId74" Type="http://schemas.openxmlformats.org/officeDocument/2006/relationships/tags" Target="../tags/tag652.xml"/><Relationship Id="rId128" Type="http://schemas.openxmlformats.org/officeDocument/2006/relationships/tags" Target="../tags/tag706.xml"/><Relationship Id="rId149" Type="http://schemas.openxmlformats.org/officeDocument/2006/relationships/tags" Target="../tags/tag727.xml"/><Relationship Id="rId5" Type="http://schemas.openxmlformats.org/officeDocument/2006/relationships/tags" Target="../tags/tag583.xml"/><Relationship Id="rId95" Type="http://schemas.openxmlformats.org/officeDocument/2006/relationships/tags" Target="../tags/tag673.xml"/><Relationship Id="rId160" Type="http://schemas.openxmlformats.org/officeDocument/2006/relationships/tags" Target="../tags/tag738.xml"/><Relationship Id="rId181" Type="http://schemas.openxmlformats.org/officeDocument/2006/relationships/chart" Target="../charts/chart7.xml"/><Relationship Id="rId22" Type="http://schemas.openxmlformats.org/officeDocument/2006/relationships/tags" Target="../tags/tag600.xml"/><Relationship Id="rId43" Type="http://schemas.openxmlformats.org/officeDocument/2006/relationships/tags" Target="../tags/tag621.xml"/><Relationship Id="rId64" Type="http://schemas.openxmlformats.org/officeDocument/2006/relationships/tags" Target="../tags/tag642.xml"/><Relationship Id="rId118" Type="http://schemas.openxmlformats.org/officeDocument/2006/relationships/tags" Target="../tags/tag696.xml"/><Relationship Id="rId139" Type="http://schemas.openxmlformats.org/officeDocument/2006/relationships/tags" Target="../tags/tag717.xml"/><Relationship Id="rId85" Type="http://schemas.openxmlformats.org/officeDocument/2006/relationships/tags" Target="../tags/tag663.xml"/><Relationship Id="rId150" Type="http://schemas.openxmlformats.org/officeDocument/2006/relationships/tags" Target="../tags/tag728.xml"/><Relationship Id="rId171" Type="http://schemas.openxmlformats.org/officeDocument/2006/relationships/tags" Target="../tags/tag749.xml"/><Relationship Id="rId12" Type="http://schemas.openxmlformats.org/officeDocument/2006/relationships/tags" Target="../tags/tag590.xml"/><Relationship Id="rId33" Type="http://schemas.openxmlformats.org/officeDocument/2006/relationships/tags" Target="../tags/tag611.xml"/><Relationship Id="rId108" Type="http://schemas.openxmlformats.org/officeDocument/2006/relationships/tags" Target="../tags/tag686.xml"/><Relationship Id="rId129" Type="http://schemas.openxmlformats.org/officeDocument/2006/relationships/tags" Target="../tags/tag707.xml"/><Relationship Id="rId54" Type="http://schemas.openxmlformats.org/officeDocument/2006/relationships/tags" Target="../tags/tag632.xml"/><Relationship Id="rId75" Type="http://schemas.openxmlformats.org/officeDocument/2006/relationships/tags" Target="../tags/tag653.xml"/><Relationship Id="rId96" Type="http://schemas.openxmlformats.org/officeDocument/2006/relationships/tags" Target="../tags/tag674.xml"/><Relationship Id="rId140" Type="http://schemas.openxmlformats.org/officeDocument/2006/relationships/tags" Target="../tags/tag718.xml"/><Relationship Id="rId161" Type="http://schemas.openxmlformats.org/officeDocument/2006/relationships/tags" Target="../tags/tag739.xml"/><Relationship Id="rId182" Type="http://schemas.openxmlformats.org/officeDocument/2006/relationships/chart" Target="../charts/chart8.xml"/><Relationship Id="rId6" Type="http://schemas.openxmlformats.org/officeDocument/2006/relationships/tags" Target="../tags/tag584.xml"/><Relationship Id="rId23" Type="http://schemas.openxmlformats.org/officeDocument/2006/relationships/tags" Target="../tags/tag601.xml"/><Relationship Id="rId119" Type="http://schemas.openxmlformats.org/officeDocument/2006/relationships/tags" Target="../tags/tag697.xml"/><Relationship Id="rId44" Type="http://schemas.openxmlformats.org/officeDocument/2006/relationships/tags" Target="../tags/tag622.xml"/><Relationship Id="rId60" Type="http://schemas.openxmlformats.org/officeDocument/2006/relationships/tags" Target="../tags/tag638.xml"/><Relationship Id="rId65" Type="http://schemas.openxmlformats.org/officeDocument/2006/relationships/tags" Target="../tags/tag643.xml"/><Relationship Id="rId81" Type="http://schemas.openxmlformats.org/officeDocument/2006/relationships/tags" Target="../tags/tag659.xml"/><Relationship Id="rId86" Type="http://schemas.openxmlformats.org/officeDocument/2006/relationships/tags" Target="../tags/tag664.xml"/><Relationship Id="rId130" Type="http://schemas.openxmlformats.org/officeDocument/2006/relationships/tags" Target="../tags/tag708.xml"/><Relationship Id="rId135" Type="http://schemas.openxmlformats.org/officeDocument/2006/relationships/tags" Target="../tags/tag713.xml"/><Relationship Id="rId151" Type="http://schemas.openxmlformats.org/officeDocument/2006/relationships/tags" Target="../tags/tag729.xml"/><Relationship Id="rId156" Type="http://schemas.openxmlformats.org/officeDocument/2006/relationships/tags" Target="../tags/tag734.xml"/><Relationship Id="rId177" Type="http://schemas.openxmlformats.org/officeDocument/2006/relationships/slideLayout" Target="../slideLayouts/slideLayout47.xml"/><Relationship Id="rId172" Type="http://schemas.openxmlformats.org/officeDocument/2006/relationships/tags" Target="../tags/tag750.xml"/><Relationship Id="rId13" Type="http://schemas.openxmlformats.org/officeDocument/2006/relationships/tags" Target="../tags/tag591.xml"/><Relationship Id="rId18" Type="http://schemas.openxmlformats.org/officeDocument/2006/relationships/tags" Target="../tags/tag596.xml"/><Relationship Id="rId39" Type="http://schemas.openxmlformats.org/officeDocument/2006/relationships/tags" Target="../tags/tag617.xml"/><Relationship Id="rId109" Type="http://schemas.openxmlformats.org/officeDocument/2006/relationships/tags" Target="../tags/tag687.xml"/><Relationship Id="rId34" Type="http://schemas.openxmlformats.org/officeDocument/2006/relationships/tags" Target="../tags/tag612.xml"/><Relationship Id="rId50" Type="http://schemas.openxmlformats.org/officeDocument/2006/relationships/tags" Target="../tags/tag628.xml"/><Relationship Id="rId55" Type="http://schemas.openxmlformats.org/officeDocument/2006/relationships/tags" Target="../tags/tag633.xml"/><Relationship Id="rId76" Type="http://schemas.openxmlformats.org/officeDocument/2006/relationships/tags" Target="../tags/tag654.xml"/><Relationship Id="rId97" Type="http://schemas.openxmlformats.org/officeDocument/2006/relationships/tags" Target="../tags/tag675.xml"/><Relationship Id="rId104" Type="http://schemas.openxmlformats.org/officeDocument/2006/relationships/tags" Target="../tags/tag682.xml"/><Relationship Id="rId120" Type="http://schemas.openxmlformats.org/officeDocument/2006/relationships/tags" Target="../tags/tag698.xml"/><Relationship Id="rId125" Type="http://schemas.openxmlformats.org/officeDocument/2006/relationships/tags" Target="../tags/tag703.xml"/><Relationship Id="rId141" Type="http://schemas.openxmlformats.org/officeDocument/2006/relationships/tags" Target="../tags/tag719.xml"/><Relationship Id="rId146" Type="http://schemas.openxmlformats.org/officeDocument/2006/relationships/tags" Target="../tags/tag724.xml"/><Relationship Id="rId167" Type="http://schemas.openxmlformats.org/officeDocument/2006/relationships/tags" Target="../tags/tag745.xml"/><Relationship Id="rId7" Type="http://schemas.openxmlformats.org/officeDocument/2006/relationships/tags" Target="../tags/tag585.xml"/><Relationship Id="rId71" Type="http://schemas.openxmlformats.org/officeDocument/2006/relationships/tags" Target="../tags/tag649.xml"/><Relationship Id="rId92" Type="http://schemas.openxmlformats.org/officeDocument/2006/relationships/tags" Target="../tags/tag670.xml"/><Relationship Id="rId162" Type="http://schemas.openxmlformats.org/officeDocument/2006/relationships/tags" Target="../tags/tag740.xml"/><Relationship Id="rId183" Type="http://schemas.openxmlformats.org/officeDocument/2006/relationships/chart" Target="../charts/chart9.xml"/><Relationship Id="rId2" Type="http://schemas.openxmlformats.org/officeDocument/2006/relationships/tags" Target="../tags/tag580.xml"/><Relationship Id="rId29" Type="http://schemas.openxmlformats.org/officeDocument/2006/relationships/tags" Target="../tags/tag607.xml"/><Relationship Id="rId24" Type="http://schemas.openxmlformats.org/officeDocument/2006/relationships/tags" Target="../tags/tag602.xml"/><Relationship Id="rId40" Type="http://schemas.openxmlformats.org/officeDocument/2006/relationships/tags" Target="../tags/tag618.xml"/><Relationship Id="rId45" Type="http://schemas.openxmlformats.org/officeDocument/2006/relationships/tags" Target="../tags/tag623.xml"/><Relationship Id="rId66" Type="http://schemas.openxmlformats.org/officeDocument/2006/relationships/tags" Target="../tags/tag644.xml"/><Relationship Id="rId87" Type="http://schemas.openxmlformats.org/officeDocument/2006/relationships/tags" Target="../tags/tag665.xml"/><Relationship Id="rId110" Type="http://schemas.openxmlformats.org/officeDocument/2006/relationships/tags" Target="../tags/tag688.xml"/><Relationship Id="rId115" Type="http://schemas.openxmlformats.org/officeDocument/2006/relationships/tags" Target="../tags/tag693.xml"/><Relationship Id="rId131" Type="http://schemas.openxmlformats.org/officeDocument/2006/relationships/tags" Target="../tags/tag709.xml"/><Relationship Id="rId136" Type="http://schemas.openxmlformats.org/officeDocument/2006/relationships/tags" Target="../tags/tag714.xml"/><Relationship Id="rId157" Type="http://schemas.openxmlformats.org/officeDocument/2006/relationships/tags" Target="../tags/tag735.xml"/><Relationship Id="rId178" Type="http://schemas.openxmlformats.org/officeDocument/2006/relationships/oleObject" Target="../embeddings/oleObject279.bin"/><Relationship Id="rId61" Type="http://schemas.openxmlformats.org/officeDocument/2006/relationships/tags" Target="../tags/tag639.xml"/><Relationship Id="rId82" Type="http://schemas.openxmlformats.org/officeDocument/2006/relationships/tags" Target="../tags/tag660.xml"/><Relationship Id="rId152" Type="http://schemas.openxmlformats.org/officeDocument/2006/relationships/tags" Target="../tags/tag730.xml"/><Relationship Id="rId173" Type="http://schemas.openxmlformats.org/officeDocument/2006/relationships/tags" Target="../tags/tag751.xml"/><Relationship Id="rId19" Type="http://schemas.openxmlformats.org/officeDocument/2006/relationships/tags" Target="../tags/tag597.xml"/><Relationship Id="rId14" Type="http://schemas.openxmlformats.org/officeDocument/2006/relationships/tags" Target="../tags/tag592.xml"/><Relationship Id="rId30" Type="http://schemas.openxmlformats.org/officeDocument/2006/relationships/tags" Target="../tags/tag608.xml"/><Relationship Id="rId35" Type="http://schemas.openxmlformats.org/officeDocument/2006/relationships/tags" Target="../tags/tag613.xml"/><Relationship Id="rId56" Type="http://schemas.openxmlformats.org/officeDocument/2006/relationships/tags" Target="../tags/tag634.xml"/><Relationship Id="rId77" Type="http://schemas.openxmlformats.org/officeDocument/2006/relationships/tags" Target="../tags/tag655.xml"/><Relationship Id="rId100" Type="http://schemas.openxmlformats.org/officeDocument/2006/relationships/tags" Target="../tags/tag678.xml"/><Relationship Id="rId105" Type="http://schemas.openxmlformats.org/officeDocument/2006/relationships/tags" Target="../tags/tag683.xml"/><Relationship Id="rId126" Type="http://schemas.openxmlformats.org/officeDocument/2006/relationships/tags" Target="../tags/tag704.xml"/><Relationship Id="rId147" Type="http://schemas.openxmlformats.org/officeDocument/2006/relationships/tags" Target="../tags/tag725.xml"/><Relationship Id="rId168" Type="http://schemas.openxmlformats.org/officeDocument/2006/relationships/tags" Target="../tags/tag746.xml"/><Relationship Id="rId8" Type="http://schemas.openxmlformats.org/officeDocument/2006/relationships/tags" Target="../tags/tag586.xml"/><Relationship Id="rId51" Type="http://schemas.openxmlformats.org/officeDocument/2006/relationships/tags" Target="../tags/tag629.xml"/><Relationship Id="rId72" Type="http://schemas.openxmlformats.org/officeDocument/2006/relationships/tags" Target="../tags/tag650.xml"/><Relationship Id="rId93" Type="http://schemas.openxmlformats.org/officeDocument/2006/relationships/tags" Target="../tags/tag671.xml"/><Relationship Id="rId98" Type="http://schemas.openxmlformats.org/officeDocument/2006/relationships/tags" Target="../tags/tag676.xml"/><Relationship Id="rId121" Type="http://schemas.openxmlformats.org/officeDocument/2006/relationships/tags" Target="../tags/tag699.xml"/><Relationship Id="rId142" Type="http://schemas.openxmlformats.org/officeDocument/2006/relationships/tags" Target="../tags/tag720.xml"/><Relationship Id="rId163" Type="http://schemas.openxmlformats.org/officeDocument/2006/relationships/tags" Target="../tags/tag741.xml"/><Relationship Id="rId184" Type="http://schemas.openxmlformats.org/officeDocument/2006/relationships/chart" Target="../charts/chart10.xml"/><Relationship Id="rId3" Type="http://schemas.openxmlformats.org/officeDocument/2006/relationships/tags" Target="../tags/tag581.xml"/><Relationship Id="rId25" Type="http://schemas.openxmlformats.org/officeDocument/2006/relationships/tags" Target="../tags/tag603.xml"/><Relationship Id="rId46" Type="http://schemas.openxmlformats.org/officeDocument/2006/relationships/tags" Target="../tags/tag624.xml"/><Relationship Id="rId67" Type="http://schemas.openxmlformats.org/officeDocument/2006/relationships/tags" Target="../tags/tag645.xml"/><Relationship Id="rId116" Type="http://schemas.openxmlformats.org/officeDocument/2006/relationships/tags" Target="../tags/tag694.xml"/><Relationship Id="rId137" Type="http://schemas.openxmlformats.org/officeDocument/2006/relationships/tags" Target="../tags/tag715.xml"/><Relationship Id="rId158" Type="http://schemas.openxmlformats.org/officeDocument/2006/relationships/tags" Target="../tags/tag736.xml"/><Relationship Id="rId20" Type="http://schemas.openxmlformats.org/officeDocument/2006/relationships/tags" Target="../tags/tag598.xml"/><Relationship Id="rId41" Type="http://schemas.openxmlformats.org/officeDocument/2006/relationships/tags" Target="../tags/tag619.xml"/><Relationship Id="rId62" Type="http://schemas.openxmlformats.org/officeDocument/2006/relationships/tags" Target="../tags/tag640.xml"/><Relationship Id="rId83" Type="http://schemas.openxmlformats.org/officeDocument/2006/relationships/tags" Target="../tags/tag661.xml"/><Relationship Id="rId88" Type="http://schemas.openxmlformats.org/officeDocument/2006/relationships/tags" Target="../tags/tag666.xml"/><Relationship Id="rId111" Type="http://schemas.openxmlformats.org/officeDocument/2006/relationships/tags" Target="../tags/tag689.xml"/><Relationship Id="rId132" Type="http://schemas.openxmlformats.org/officeDocument/2006/relationships/tags" Target="../tags/tag710.xml"/><Relationship Id="rId153" Type="http://schemas.openxmlformats.org/officeDocument/2006/relationships/tags" Target="../tags/tag731.xml"/><Relationship Id="rId174" Type="http://schemas.openxmlformats.org/officeDocument/2006/relationships/tags" Target="../tags/tag752.xml"/><Relationship Id="rId179" Type="http://schemas.openxmlformats.org/officeDocument/2006/relationships/image" Target="../media/image31.emf"/><Relationship Id="rId15" Type="http://schemas.openxmlformats.org/officeDocument/2006/relationships/tags" Target="../tags/tag593.xml"/><Relationship Id="rId36" Type="http://schemas.openxmlformats.org/officeDocument/2006/relationships/tags" Target="../tags/tag614.xml"/><Relationship Id="rId57" Type="http://schemas.openxmlformats.org/officeDocument/2006/relationships/tags" Target="../tags/tag635.xml"/><Relationship Id="rId106" Type="http://schemas.openxmlformats.org/officeDocument/2006/relationships/tags" Target="../tags/tag684.xml"/><Relationship Id="rId127" Type="http://schemas.openxmlformats.org/officeDocument/2006/relationships/tags" Target="../tags/tag705.xml"/><Relationship Id="rId10" Type="http://schemas.openxmlformats.org/officeDocument/2006/relationships/tags" Target="../tags/tag588.xml"/><Relationship Id="rId31" Type="http://schemas.openxmlformats.org/officeDocument/2006/relationships/tags" Target="../tags/tag609.xml"/><Relationship Id="rId52" Type="http://schemas.openxmlformats.org/officeDocument/2006/relationships/tags" Target="../tags/tag630.xml"/><Relationship Id="rId73" Type="http://schemas.openxmlformats.org/officeDocument/2006/relationships/tags" Target="../tags/tag651.xml"/><Relationship Id="rId78" Type="http://schemas.openxmlformats.org/officeDocument/2006/relationships/tags" Target="../tags/tag656.xml"/><Relationship Id="rId94" Type="http://schemas.openxmlformats.org/officeDocument/2006/relationships/tags" Target="../tags/tag672.xml"/><Relationship Id="rId99" Type="http://schemas.openxmlformats.org/officeDocument/2006/relationships/tags" Target="../tags/tag677.xml"/><Relationship Id="rId101" Type="http://schemas.openxmlformats.org/officeDocument/2006/relationships/tags" Target="../tags/tag679.xml"/><Relationship Id="rId122" Type="http://schemas.openxmlformats.org/officeDocument/2006/relationships/tags" Target="../tags/tag700.xml"/><Relationship Id="rId143" Type="http://schemas.openxmlformats.org/officeDocument/2006/relationships/tags" Target="../tags/tag721.xml"/><Relationship Id="rId148" Type="http://schemas.openxmlformats.org/officeDocument/2006/relationships/tags" Target="../tags/tag726.xml"/><Relationship Id="rId164" Type="http://schemas.openxmlformats.org/officeDocument/2006/relationships/tags" Target="../tags/tag742.xml"/><Relationship Id="rId169" Type="http://schemas.openxmlformats.org/officeDocument/2006/relationships/tags" Target="../tags/tag747.xml"/><Relationship Id="rId4" Type="http://schemas.openxmlformats.org/officeDocument/2006/relationships/tags" Target="../tags/tag582.xml"/><Relationship Id="rId9" Type="http://schemas.openxmlformats.org/officeDocument/2006/relationships/tags" Target="../tags/tag587.xml"/><Relationship Id="rId180" Type="http://schemas.openxmlformats.org/officeDocument/2006/relationships/chart" Target="../charts/chart6.xml"/><Relationship Id="rId26" Type="http://schemas.openxmlformats.org/officeDocument/2006/relationships/tags" Target="../tags/tag604.xml"/><Relationship Id="rId47" Type="http://schemas.openxmlformats.org/officeDocument/2006/relationships/tags" Target="../tags/tag625.xml"/><Relationship Id="rId68" Type="http://schemas.openxmlformats.org/officeDocument/2006/relationships/tags" Target="../tags/tag646.xml"/><Relationship Id="rId89" Type="http://schemas.openxmlformats.org/officeDocument/2006/relationships/tags" Target="../tags/tag667.xml"/><Relationship Id="rId112" Type="http://schemas.openxmlformats.org/officeDocument/2006/relationships/tags" Target="../tags/tag690.xml"/><Relationship Id="rId133" Type="http://schemas.openxmlformats.org/officeDocument/2006/relationships/tags" Target="../tags/tag711.xml"/><Relationship Id="rId154" Type="http://schemas.openxmlformats.org/officeDocument/2006/relationships/tags" Target="../tags/tag732.xml"/><Relationship Id="rId175" Type="http://schemas.openxmlformats.org/officeDocument/2006/relationships/tags" Target="../tags/tag753.xml"/><Relationship Id="rId16" Type="http://schemas.openxmlformats.org/officeDocument/2006/relationships/tags" Target="../tags/tag594.xml"/><Relationship Id="rId37" Type="http://schemas.openxmlformats.org/officeDocument/2006/relationships/tags" Target="../tags/tag615.xml"/><Relationship Id="rId58" Type="http://schemas.openxmlformats.org/officeDocument/2006/relationships/tags" Target="../tags/tag636.xml"/><Relationship Id="rId79" Type="http://schemas.openxmlformats.org/officeDocument/2006/relationships/tags" Target="../tags/tag657.xml"/><Relationship Id="rId102" Type="http://schemas.openxmlformats.org/officeDocument/2006/relationships/tags" Target="../tags/tag680.xml"/><Relationship Id="rId123" Type="http://schemas.openxmlformats.org/officeDocument/2006/relationships/tags" Target="../tags/tag701.xml"/><Relationship Id="rId144" Type="http://schemas.openxmlformats.org/officeDocument/2006/relationships/tags" Target="../tags/tag722.xml"/><Relationship Id="rId90" Type="http://schemas.openxmlformats.org/officeDocument/2006/relationships/tags" Target="../tags/tag668.xml"/><Relationship Id="rId165" Type="http://schemas.openxmlformats.org/officeDocument/2006/relationships/tags" Target="../tags/tag743.xml"/><Relationship Id="rId27" Type="http://schemas.openxmlformats.org/officeDocument/2006/relationships/tags" Target="../tags/tag605.xml"/><Relationship Id="rId48" Type="http://schemas.openxmlformats.org/officeDocument/2006/relationships/tags" Target="../tags/tag626.xml"/><Relationship Id="rId69" Type="http://schemas.openxmlformats.org/officeDocument/2006/relationships/tags" Target="../tags/tag647.xml"/><Relationship Id="rId113" Type="http://schemas.openxmlformats.org/officeDocument/2006/relationships/tags" Target="../tags/tag691.xml"/><Relationship Id="rId134" Type="http://schemas.openxmlformats.org/officeDocument/2006/relationships/tags" Target="../tags/tag712.xml"/><Relationship Id="rId80" Type="http://schemas.openxmlformats.org/officeDocument/2006/relationships/tags" Target="../tags/tag658.xml"/><Relationship Id="rId155" Type="http://schemas.openxmlformats.org/officeDocument/2006/relationships/tags" Target="../tags/tag733.xml"/><Relationship Id="rId176" Type="http://schemas.openxmlformats.org/officeDocument/2006/relationships/tags" Target="../tags/tag754.xml"/><Relationship Id="rId17" Type="http://schemas.openxmlformats.org/officeDocument/2006/relationships/tags" Target="../tags/tag595.xml"/><Relationship Id="rId38" Type="http://schemas.openxmlformats.org/officeDocument/2006/relationships/tags" Target="../tags/tag616.xml"/><Relationship Id="rId59" Type="http://schemas.openxmlformats.org/officeDocument/2006/relationships/tags" Target="../tags/tag637.xml"/><Relationship Id="rId103" Type="http://schemas.openxmlformats.org/officeDocument/2006/relationships/tags" Target="../tags/tag681.xml"/><Relationship Id="rId124" Type="http://schemas.openxmlformats.org/officeDocument/2006/relationships/tags" Target="../tags/tag702.xml"/><Relationship Id="rId70" Type="http://schemas.openxmlformats.org/officeDocument/2006/relationships/tags" Target="../tags/tag648.xml"/><Relationship Id="rId91" Type="http://schemas.openxmlformats.org/officeDocument/2006/relationships/tags" Target="../tags/tag669.xml"/><Relationship Id="rId145" Type="http://schemas.openxmlformats.org/officeDocument/2006/relationships/tags" Target="../tags/tag723.xml"/><Relationship Id="rId166" Type="http://schemas.openxmlformats.org/officeDocument/2006/relationships/tags" Target="../tags/tag744.xml"/><Relationship Id="rId1" Type="http://schemas.openxmlformats.org/officeDocument/2006/relationships/tags" Target="../tags/tag579.xml"/><Relationship Id="rId28" Type="http://schemas.openxmlformats.org/officeDocument/2006/relationships/tags" Target="../tags/tag606.xml"/><Relationship Id="rId49" Type="http://schemas.openxmlformats.org/officeDocument/2006/relationships/tags" Target="../tags/tag627.xml"/><Relationship Id="rId114" Type="http://schemas.openxmlformats.org/officeDocument/2006/relationships/tags" Target="../tags/tag69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0.bin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755.xml"/><Relationship Id="rId4" Type="http://schemas.openxmlformats.org/officeDocument/2006/relationships/image" Target="../media/image31.emf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872.xml"/><Relationship Id="rId21" Type="http://schemas.openxmlformats.org/officeDocument/2006/relationships/tags" Target="../tags/tag776.xml"/><Relationship Id="rId42" Type="http://schemas.openxmlformats.org/officeDocument/2006/relationships/tags" Target="../tags/tag797.xml"/><Relationship Id="rId63" Type="http://schemas.openxmlformats.org/officeDocument/2006/relationships/tags" Target="../tags/tag818.xml"/><Relationship Id="rId84" Type="http://schemas.openxmlformats.org/officeDocument/2006/relationships/tags" Target="../tags/tag839.xml"/><Relationship Id="rId138" Type="http://schemas.openxmlformats.org/officeDocument/2006/relationships/tags" Target="../tags/tag893.xml"/><Relationship Id="rId159" Type="http://schemas.openxmlformats.org/officeDocument/2006/relationships/tags" Target="../tags/tag914.xml"/><Relationship Id="rId170" Type="http://schemas.openxmlformats.org/officeDocument/2006/relationships/slideLayout" Target="../slideLayouts/slideLayout47.xml"/><Relationship Id="rId107" Type="http://schemas.openxmlformats.org/officeDocument/2006/relationships/tags" Target="../tags/tag862.xml"/><Relationship Id="rId11" Type="http://schemas.openxmlformats.org/officeDocument/2006/relationships/tags" Target="../tags/tag766.xml"/><Relationship Id="rId32" Type="http://schemas.openxmlformats.org/officeDocument/2006/relationships/tags" Target="../tags/tag787.xml"/><Relationship Id="rId53" Type="http://schemas.openxmlformats.org/officeDocument/2006/relationships/tags" Target="../tags/tag808.xml"/><Relationship Id="rId74" Type="http://schemas.openxmlformats.org/officeDocument/2006/relationships/tags" Target="../tags/tag829.xml"/><Relationship Id="rId128" Type="http://schemas.openxmlformats.org/officeDocument/2006/relationships/tags" Target="../tags/tag883.xml"/><Relationship Id="rId149" Type="http://schemas.openxmlformats.org/officeDocument/2006/relationships/tags" Target="../tags/tag904.xml"/><Relationship Id="rId5" Type="http://schemas.openxmlformats.org/officeDocument/2006/relationships/tags" Target="../tags/tag760.xml"/><Relationship Id="rId95" Type="http://schemas.openxmlformats.org/officeDocument/2006/relationships/tags" Target="../tags/tag850.xml"/><Relationship Id="rId160" Type="http://schemas.openxmlformats.org/officeDocument/2006/relationships/tags" Target="../tags/tag915.xml"/><Relationship Id="rId22" Type="http://schemas.openxmlformats.org/officeDocument/2006/relationships/tags" Target="../tags/tag777.xml"/><Relationship Id="rId43" Type="http://schemas.openxmlformats.org/officeDocument/2006/relationships/tags" Target="../tags/tag798.xml"/><Relationship Id="rId64" Type="http://schemas.openxmlformats.org/officeDocument/2006/relationships/tags" Target="../tags/tag819.xml"/><Relationship Id="rId118" Type="http://schemas.openxmlformats.org/officeDocument/2006/relationships/tags" Target="../tags/tag873.xml"/><Relationship Id="rId139" Type="http://schemas.openxmlformats.org/officeDocument/2006/relationships/tags" Target="../tags/tag894.xml"/><Relationship Id="rId85" Type="http://schemas.openxmlformats.org/officeDocument/2006/relationships/tags" Target="../tags/tag840.xml"/><Relationship Id="rId150" Type="http://schemas.openxmlformats.org/officeDocument/2006/relationships/tags" Target="../tags/tag905.xml"/><Relationship Id="rId171" Type="http://schemas.openxmlformats.org/officeDocument/2006/relationships/oleObject" Target="../embeddings/oleObject281.bin"/><Relationship Id="rId12" Type="http://schemas.openxmlformats.org/officeDocument/2006/relationships/tags" Target="../tags/tag767.xml"/><Relationship Id="rId33" Type="http://schemas.openxmlformats.org/officeDocument/2006/relationships/tags" Target="../tags/tag788.xml"/><Relationship Id="rId108" Type="http://schemas.openxmlformats.org/officeDocument/2006/relationships/tags" Target="../tags/tag863.xml"/><Relationship Id="rId129" Type="http://schemas.openxmlformats.org/officeDocument/2006/relationships/tags" Target="../tags/tag884.xml"/><Relationship Id="rId54" Type="http://schemas.openxmlformats.org/officeDocument/2006/relationships/tags" Target="../tags/tag809.xml"/><Relationship Id="rId75" Type="http://schemas.openxmlformats.org/officeDocument/2006/relationships/tags" Target="../tags/tag830.xml"/><Relationship Id="rId96" Type="http://schemas.openxmlformats.org/officeDocument/2006/relationships/tags" Target="../tags/tag851.xml"/><Relationship Id="rId140" Type="http://schemas.openxmlformats.org/officeDocument/2006/relationships/tags" Target="../tags/tag895.xml"/><Relationship Id="rId161" Type="http://schemas.openxmlformats.org/officeDocument/2006/relationships/tags" Target="../tags/tag916.xml"/><Relationship Id="rId6" Type="http://schemas.openxmlformats.org/officeDocument/2006/relationships/tags" Target="../tags/tag761.xml"/><Relationship Id="rId23" Type="http://schemas.openxmlformats.org/officeDocument/2006/relationships/tags" Target="../tags/tag778.xml"/><Relationship Id="rId28" Type="http://schemas.openxmlformats.org/officeDocument/2006/relationships/tags" Target="../tags/tag783.xml"/><Relationship Id="rId49" Type="http://schemas.openxmlformats.org/officeDocument/2006/relationships/tags" Target="../tags/tag804.xml"/><Relationship Id="rId114" Type="http://schemas.openxmlformats.org/officeDocument/2006/relationships/tags" Target="../tags/tag869.xml"/><Relationship Id="rId119" Type="http://schemas.openxmlformats.org/officeDocument/2006/relationships/tags" Target="../tags/tag874.xml"/><Relationship Id="rId44" Type="http://schemas.openxmlformats.org/officeDocument/2006/relationships/tags" Target="../tags/tag799.xml"/><Relationship Id="rId60" Type="http://schemas.openxmlformats.org/officeDocument/2006/relationships/tags" Target="../tags/tag815.xml"/><Relationship Id="rId65" Type="http://schemas.openxmlformats.org/officeDocument/2006/relationships/tags" Target="../tags/tag820.xml"/><Relationship Id="rId81" Type="http://schemas.openxmlformats.org/officeDocument/2006/relationships/tags" Target="../tags/tag836.xml"/><Relationship Id="rId86" Type="http://schemas.openxmlformats.org/officeDocument/2006/relationships/tags" Target="../tags/tag841.xml"/><Relationship Id="rId130" Type="http://schemas.openxmlformats.org/officeDocument/2006/relationships/tags" Target="../tags/tag885.xml"/><Relationship Id="rId135" Type="http://schemas.openxmlformats.org/officeDocument/2006/relationships/tags" Target="../tags/tag890.xml"/><Relationship Id="rId151" Type="http://schemas.openxmlformats.org/officeDocument/2006/relationships/tags" Target="../tags/tag906.xml"/><Relationship Id="rId156" Type="http://schemas.openxmlformats.org/officeDocument/2006/relationships/tags" Target="../tags/tag911.xml"/><Relationship Id="rId177" Type="http://schemas.openxmlformats.org/officeDocument/2006/relationships/chart" Target="../charts/chart15.xml"/><Relationship Id="rId172" Type="http://schemas.openxmlformats.org/officeDocument/2006/relationships/image" Target="../media/image31.emf"/><Relationship Id="rId13" Type="http://schemas.openxmlformats.org/officeDocument/2006/relationships/tags" Target="../tags/tag768.xml"/><Relationship Id="rId18" Type="http://schemas.openxmlformats.org/officeDocument/2006/relationships/tags" Target="../tags/tag773.xml"/><Relationship Id="rId39" Type="http://schemas.openxmlformats.org/officeDocument/2006/relationships/tags" Target="../tags/tag794.xml"/><Relationship Id="rId109" Type="http://schemas.openxmlformats.org/officeDocument/2006/relationships/tags" Target="../tags/tag864.xml"/><Relationship Id="rId34" Type="http://schemas.openxmlformats.org/officeDocument/2006/relationships/tags" Target="../tags/tag789.xml"/><Relationship Id="rId50" Type="http://schemas.openxmlformats.org/officeDocument/2006/relationships/tags" Target="../tags/tag805.xml"/><Relationship Id="rId55" Type="http://schemas.openxmlformats.org/officeDocument/2006/relationships/tags" Target="../tags/tag810.xml"/><Relationship Id="rId76" Type="http://schemas.openxmlformats.org/officeDocument/2006/relationships/tags" Target="../tags/tag831.xml"/><Relationship Id="rId97" Type="http://schemas.openxmlformats.org/officeDocument/2006/relationships/tags" Target="../tags/tag852.xml"/><Relationship Id="rId104" Type="http://schemas.openxmlformats.org/officeDocument/2006/relationships/tags" Target="../tags/tag859.xml"/><Relationship Id="rId120" Type="http://schemas.openxmlformats.org/officeDocument/2006/relationships/tags" Target="../tags/tag875.xml"/><Relationship Id="rId125" Type="http://schemas.openxmlformats.org/officeDocument/2006/relationships/tags" Target="../tags/tag880.xml"/><Relationship Id="rId141" Type="http://schemas.openxmlformats.org/officeDocument/2006/relationships/tags" Target="../tags/tag896.xml"/><Relationship Id="rId146" Type="http://schemas.openxmlformats.org/officeDocument/2006/relationships/tags" Target="../tags/tag901.xml"/><Relationship Id="rId167" Type="http://schemas.openxmlformats.org/officeDocument/2006/relationships/tags" Target="../tags/tag922.xml"/><Relationship Id="rId7" Type="http://schemas.openxmlformats.org/officeDocument/2006/relationships/tags" Target="../tags/tag762.xml"/><Relationship Id="rId71" Type="http://schemas.openxmlformats.org/officeDocument/2006/relationships/tags" Target="../tags/tag826.xml"/><Relationship Id="rId92" Type="http://schemas.openxmlformats.org/officeDocument/2006/relationships/tags" Target="../tags/tag847.xml"/><Relationship Id="rId162" Type="http://schemas.openxmlformats.org/officeDocument/2006/relationships/tags" Target="../tags/tag917.xml"/><Relationship Id="rId2" Type="http://schemas.openxmlformats.org/officeDocument/2006/relationships/tags" Target="../tags/tag757.xml"/><Relationship Id="rId29" Type="http://schemas.openxmlformats.org/officeDocument/2006/relationships/tags" Target="../tags/tag784.xml"/><Relationship Id="rId24" Type="http://schemas.openxmlformats.org/officeDocument/2006/relationships/tags" Target="../tags/tag779.xml"/><Relationship Id="rId40" Type="http://schemas.openxmlformats.org/officeDocument/2006/relationships/tags" Target="../tags/tag795.xml"/><Relationship Id="rId45" Type="http://schemas.openxmlformats.org/officeDocument/2006/relationships/tags" Target="../tags/tag800.xml"/><Relationship Id="rId66" Type="http://schemas.openxmlformats.org/officeDocument/2006/relationships/tags" Target="../tags/tag821.xml"/><Relationship Id="rId87" Type="http://schemas.openxmlformats.org/officeDocument/2006/relationships/tags" Target="../tags/tag842.xml"/><Relationship Id="rId110" Type="http://schemas.openxmlformats.org/officeDocument/2006/relationships/tags" Target="../tags/tag865.xml"/><Relationship Id="rId115" Type="http://schemas.openxmlformats.org/officeDocument/2006/relationships/tags" Target="../tags/tag870.xml"/><Relationship Id="rId131" Type="http://schemas.openxmlformats.org/officeDocument/2006/relationships/tags" Target="../tags/tag886.xml"/><Relationship Id="rId136" Type="http://schemas.openxmlformats.org/officeDocument/2006/relationships/tags" Target="../tags/tag891.xml"/><Relationship Id="rId157" Type="http://schemas.openxmlformats.org/officeDocument/2006/relationships/tags" Target="../tags/tag912.xml"/><Relationship Id="rId61" Type="http://schemas.openxmlformats.org/officeDocument/2006/relationships/tags" Target="../tags/tag816.xml"/><Relationship Id="rId82" Type="http://schemas.openxmlformats.org/officeDocument/2006/relationships/tags" Target="../tags/tag837.xml"/><Relationship Id="rId152" Type="http://schemas.openxmlformats.org/officeDocument/2006/relationships/tags" Target="../tags/tag907.xml"/><Relationship Id="rId173" Type="http://schemas.openxmlformats.org/officeDocument/2006/relationships/chart" Target="../charts/chart11.xml"/><Relationship Id="rId19" Type="http://schemas.openxmlformats.org/officeDocument/2006/relationships/tags" Target="../tags/tag774.xml"/><Relationship Id="rId14" Type="http://schemas.openxmlformats.org/officeDocument/2006/relationships/tags" Target="../tags/tag769.xml"/><Relationship Id="rId30" Type="http://schemas.openxmlformats.org/officeDocument/2006/relationships/tags" Target="../tags/tag785.xml"/><Relationship Id="rId35" Type="http://schemas.openxmlformats.org/officeDocument/2006/relationships/tags" Target="../tags/tag790.xml"/><Relationship Id="rId56" Type="http://schemas.openxmlformats.org/officeDocument/2006/relationships/tags" Target="../tags/tag811.xml"/><Relationship Id="rId77" Type="http://schemas.openxmlformats.org/officeDocument/2006/relationships/tags" Target="../tags/tag832.xml"/><Relationship Id="rId100" Type="http://schemas.openxmlformats.org/officeDocument/2006/relationships/tags" Target="../tags/tag855.xml"/><Relationship Id="rId105" Type="http://schemas.openxmlformats.org/officeDocument/2006/relationships/tags" Target="../tags/tag860.xml"/><Relationship Id="rId126" Type="http://schemas.openxmlformats.org/officeDocument/2006/relationships/tags" Target="../tags/tag881.xml"/><Relationship Id="rId147" Type="http://schemas.openxmlformats.org/officeDocument/2006/relationships/tags" Target="../tags/tag902.xml"/><Relationship Id="rId168" Type="http://schemas.openxmlformats.org/officeDocument/2006/relationships/tags" Target="../tags/tag923.xml"/><Relationship Id="rId8" Type="http://schemas.openxmlformats.org/officeDocument/2006/relationships/tags" Target="../tags/tag763.xml"/><Relationship Id="rId51" Type="http://schemas.openxmlformats.org/officeDocument/2006/relationships/tags" Target="../tags/tag806.xml"/><Relationship Id="rId72" Type="http://schemas.openxmlformats.org/officeDocument/2006/relationships/tags" Target="../tags/tag827.xml"/><Relationship Id="rId93" Type="http://schemas.openxmlformats.org/officeDocument/2006/relationships/tags" Target="../tags/tag848.xml"/><Relationship Id="rId98" Type="http://schemas.openxmlformats.org/officeDocument/2006/relationships/tags" Target="../tags/tag853.xml"/><Relationship Id="rId121" Type="http://schemas.openxmlformats.org/officeDocument/2006/relationships/tags" Target="../tags/tag876.xml"/><Relationship Id="rId142" Type="http://schemas.openxmlformats.org/officeDocument/2006/relationships/tags" Target="../tags/tag897.xml"/><Relationship Id="rId163" Type="http://schemas.openxmlformats.org/officeDocument/2006/relationships/tags" Target="../tags/tag918.xml"/><Relationship Id="rId3" Type="http://schemas.openxmlformats.org/officeDocument/2006/relationships/tags" Target="../tags/tag758.xml"/><Relationship Id="rId25" Type="http://schemas.openxmlformats.org/officeDocument/2006/relationships/tags" Target="../tags/tag780.xml"/><Relationship Id="rId46" Type="http://schemas.openxmlformats.org/officeDocument/2006/relationships/tags" Target="../tags/tag801.xml"/><Relationship Id="rId67" Type="http://schemas.openxmlformats.org/officeDocument/2006/relationships/tags" Target="../tags/tag822.xml"/><Relationship Id="rId116" Type="http://schemas.openxmlformats.org/officeDocument/2006/relationships/tags" Target="../tags/tag871.xml"/><Relationship Id="rId137" Type="http://schemas.openxmlformats.org/officeDocument/2006/relationships/tags" Target="../tags/tag892.xml"/><Relationship Id="rId158" Type="http://schemas.openxmlformats.org/officeDocument/2006/relationships/tags" Target="../tags/tag913.xml"/><Relationship Id="rId20" Type="http://schemas.openxmlformats.org/officeDocument/2006/relationships/tags" Target="../tags/tag775.xml"/><Relationship Id="rId41" Type="http://schemas.openxmlformats.org/officeDocument/2006/relationships/tags" Target="../tags/tag796.xml"/><Relationship Id="rId62" Type="http://schemas.openxmlformats.org/officeDocument/2006/relationships/tags" Target="../tags/tag817.xml"/><Relationship Id="rId83" Type="http://schemas.openxmlformats.org/officeDocument/2006/relationships/tags" Target="../tags/tag838.xml"/><Relationship Id="rId88" Type="http://schemas.openxmlformats.org/officeDocument/2006/relationships/tags" Target="../tags/tag843.xml"/><Relationship Id="rId111" Type="http://schemas.openxmlformats.org/officeDocument/2006/relationships/tags" Target="../tags/tag866.xml"/><Relationship Id="rId132" Type="http://schemas.openxmlformats.org/officeDocument/2006/relationships/tags" Target="../tags/tag887.xml"/><Relationship Id="rId153" Type="http://schemas.openxmlformats.org/officeDocument/2006/relationships/tags" Target="../tags/tag908.xml"/><Relationship Id="rId174" Type="http://schemas.openxmlformats.org/officeDocument/2006/relationships/chart" Target="../charts/chart12.xml"/><Relationship Id="rId15" Type="http://schemas.openxmlformats.org/officeDocument/2006/relationships/tags" Target="../tags/tag770.xml"/><Relationship Id="rId36" Type="http://schemas.openxmlformats.org/officeDocument/2006/relationships/tags" Target="../tags/tag791.xml"/><Relationship Id="rId57" Type="http://schemas.openxmlformats.org/officeDocument/2006/relationships/tags" Target="../tags/tag812.xml"/><Relationship Id="rId106" Type="http://schemas.openxmlformats.org/officeDocument/2006/relationships/tags" Target="../tags/tag861.xml"/><Relationship Id="rId127" Type="http://schemas.openxmlformats.org/officeDocument/2006/relationships/tags" Target="../tags/tag882.xml"/><Relationship Id="rId10" Type="http://schemas.openxmlformats.org/officeDocument/2006/relationships/tags" Target="../tags/tag765.xml"/><Relationship Id="rId31" Type="http://schemas.openxmlformats.org/officeDocument/2006/relationships/tags" Target="../tags/tag786.xml"/><Relationship Id="rId52" Type="http://schemas.openxmlformats.org/officeDocument/2006/relationships/tags" Target="../tags/tag807.xml"/><Relationship Id="rId73" Type="http://schemas.openxmlformats.org/officeDocument/2006/relationships/tags" Target="../tags/tag828.xml"/><Relationship Id="rId78" Type="http://schemas.openxmlformats.org/officeDocument/2006/relationships/tags" Target="../tags/tag833.xml"/><Relationship Id="rId94" Type="http://schemas.openxmlformats.org/officeDocument/2006/relationships/tags" Target="../tags/tag849.xml"/><Relationship Id="rId99" Type="http://schemas.openxmlformats.org/officeDocument/2006/relationships/tags" Target="../tags/tag854.xml"/><Relationship Id="rId101" Type="http://schemas.openxmlformats.org/officeDocument/2006/relationships/tags" Target="../tags/tag856.xml"/><Relationship Id="rId122" Type="http://schemas.openxmlformats.org/officeDocument/2006/relationships/tags" Target="../tags/tag877.xml"/><Relationship Id="rId143" Type="http://schemas.openxmlformats.org/officeDocument/2006/relationships/tags" Target="../tags/tag898.xml"/><Relationship Id="rId148" Type="http://schemas.openxmlformats.org/officeDocument/2006/relationships/tags" Target="../tags/tag903.xml"/><Relationship Id="rId164" Type="http://schemas.openxmlformats.org/officeDocument/2006/relationships/tags" Target="../tags/tag919.xml"/><Relationship Id="rId169" Type="http://schemas.openxmlformats.org/officeDocument/2006/relationships/tags" Target="../tags/tag924.xml"/><Relationship Id="rId4" Type="http://schemas.openxmlformats.org/officeDocument/2006/relationships/tags" Target="../tags/tag759.xml"/><Relationship Id="rId9" Type="http://schemas.openxmlformats.org/officeDocument/2006/relationships/tags" Target="../tags/tag764.xml"/><Relationship Id="rId26" Type="http://schemas.openxmlformats.org/officeDocument/2006/relationships/tags" Target="../tags/tag781.xml"/><Relationship Id="rId47" Type="http://schemas.openxmlformats.org/officeDocument/2006/relationships/tags" Target="../tags/tag802.xml"/><Relationship Id="rId68" Type="http://schemas.openxmlformats.org/officeDocument/2006/relationships/tags" Target="../tags/tag823.xml"/><Relationship Id="rId89" Type="http://schemas.openxmlformats.org/officeDocument/2006/relationships/tags" Target="../tags/tag844.xml"/><Relationship Id="rId112" Type="http://schemas.openxmlformats.org/officeDocument/2006/relationships/tags" Target="../tags/tag867.xml"/><Relationship Id="rId133" Type="http://schemas.openxmlformats.org/officeDocument/2006/relationships/tags" Target="../tags/tag888.xml"/><Relationship Id="rId154" Type="http://schemas.openxmlformats.org/officeDocument/2006/relationships/tags" Target="../tags/tag909.xml"/><Relationship Id="rId175" Type="http://schemas.openxmlformats.org/officeDocument/2006/relationships/chart" Target="../charts/chart13.xml"/><Relationship Id="rId16" Type="http://schemas.openxmlformats.org/officeDocument/2006/relationships/tags" Target="../tags/tag771.xml"/><Relationship Id="rId37" Type="http://schemas.openxmlformats.org/officeDocument/2006/relationships/tags" Target="../tags/tag792.xml"/><Relationship Id="rId58" Type="http://schemas.openxmlformats.org/officeDocument/2006/relationships/tags" Target="../tags/tag813.xml"/><Relationship Id="rId79" Type="http://schemas.openxmlformats.org/officeDocument/2006/relationships/tags" Target="../tags/tag834.xml"/><Relationship Id="rId102" Type="http://schemas.openxmlformats.org/officeDocument/2006/relationships/tags" Target="../tags/tag857.xml"/><Relationship Id="rId123" Type="http://schemas.openxmlformats.org/officeDocument/2006/relationships/tags" Target="../tags/tag878.xml"/><Relationship Id="rId144" Type="http://schemas.openxmlformats.org/officeDocument/2006/relationships/tags" Target="../tags/tag899.xml"/><Relationship Id="rId90" Type="http://schemas.openxmlformats.org/officeDocument/2006/relationships/tags" Target="../tags/tag845.xml"/><Relationship Id="rId165" Type="http://schemas.openxmlformats.org/officeDocument/2006/relationships/tags" Target="../tags/tag920.xml"/><Relationship Id="rId27" Type="http://schemas.openxmlformats.org/officeDocument/2006/relationships/tags" Target="../tags/tag782.xml"/><Relationship Id="rId48" Type="http://schemas.openxmlformats.org/officeDocument/2006/relationships/tags" Target="../tags/tag803.xml"/><Relationship Id="rId69" Type="http://schemas.openxmlformats.org/officeDocument/2006/relationships/tags" Target="../tags/tag824.xml"/><Relationship Id="rId113" Type="http://schemas.openxmlformats.org/officeDocument/2006/relationships/tags" Target="../tags/tag868.xml"/><Relationship Id="rId134" Type="http://schemas.openxmlformats.org/officeDocument/2006/relationships/tags" Target="../tags/tag889.xml"/><Relationship Id="rId80" Type="http://schemas.openxmlformats.org/officeDocument/2006/relationships/tags" Target="../tags/tag835.xml"/><Relationship Id="rId155" Type="http://schemas.openxmlformats.org/officeDocument/2006/relationships/tags" Target="../tags/tag910.xml"/><Relationship Id="rId176" Type="http://schemas.openxmlformats.org/officeDocument/2006/relationships/chart" Target="../charts/chart14.xml"/><Relationship Id="rId17" Type="http://schemas.openxmlformats.org/officeDocument/2006/relationships/tags" Target="../tags/tag772.xml"/><Relationship Id="rId38" Type="http://schemas.openxmlformats.org/officeDocument/2006/relationships/tags" Target="../tags/tag793.xml"/><Relationship Id="rId59" Type="http://schemas.openxmlformats.org/officeDocument/2006/relationships/tags" Target="../tags/tag814.xml"/><Relationship Id="rId103" Type="http://schemas.openxmlformats.org/officeDocument/2006/relationships/tags" Target="../tags/tag858.xml"/><Relationship Id="rId124" Type="http://schemas.openxmlformats.org/officeDocument/2006/relationships/tags" Target="../tags/tag879.xml"/><Relationship Id="rId70" Type="http://schemas.openxmlformats.org/officeDocument/2006/relationships/tags" Target="../tags/tag825.xml"/><Relationship Id="rId91" Type="http://schemas.openxmlformats.org/officeDocument/2006/relationships/tags" Target="../tags/tag846.xml"/><Relationship Id="rId145" Type="http://schemas.openxmlformats.org/officeDocument/2006/relationships/tags" Target="../tags/tag900.xml"/><Relationship Id="rId166" Type="http://schemas.openxmlformats.org/officeDocument/2006/relationships/tags" Target="../tags/tag921.xml"/><Relationship Id="rId1" Type="http://schemas.openxmlformats.org/officeDocument/2006/relationships/tags" Target="../tags/tag756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041.xml"/><Relationship Id="rId21" Type="http://schemas.openxmlformats.org/officeDocument/2006/relationships/tags" Target="../tags/tag945.xml"/><Relationship Id="rId42" Type="http://schemas.openxmlformats.org/officeDocument/2006/relationships/tags" Target="../tags/tag966.xml"/><Relationship Id="rId63" Type="http://schemas.openxmlformats.org/officeDocument/2006/relationships/tags" Target="../tags/tag987.xml"/><Relationship Id="rId84" Type="http://schemas.openxmlformats.org/officeDocument/2006/relationships/tags" Target="../tags/tag1008.xml"/><Relationship Id="rId138" Type="http://schemas.openxmlformats.org/officeDocument/2006/relationships/tags" Target="../tags/tag1062.xml"/><Relationship Id="rId159" Type="http://schemas.openxmlformats.org/officeDocument/2006/relationships/tags" Target="../tags/tag1083.xml"/><Relationship Id="rId170" Type="http://schemas.openxmlformats.org/officeDocument/2006/relationships/slideLayout" Target="../slideLayouts/slideLayout47.xml"/><Relationship Id="rId107" Type="http://schemas.openxmlformats.org/officeDocument/2006/relationships/tags" Target="../tags/tag1031.xml"/><Relationship Id="rId11" Type="http://schemas.openxmlformats.org/officeDocument/2006/relationships/tags" Target="../tags/tag935.xml"/><Relationship Id="rId32" Type="http://schemas.openxmlformats.org/officeDocument/2006/relationships/tags" Target="../tags/tag956.xml"/><Relationship Id="rId53" Type="http://schemas.openxmlformats.org/officeDocument/2006/relationships/tags" Target="../tags/tag977.xml"/><Relationship Id="rId74" Type="http://schemas.openxmlformats.org/officeDocument/2006/relationships/tags" Target="../tags/tag998.xml"/><Relationship Id="rId128" Type="http://schemas.openxmlformats.org/officeDocument/2006/relationships/tags" Target="../tags/tag1052.xml"/><Relationship Id="rId149" Type="http://schemas.openxmlformats.org/officeDocument/2006/relationships/tags" Target="../tags/tag1073.xml"/><Relationship Id="rId5" Type="http://schemas.openxmlformats.org/officeDocument/2006/relationships/tags" Target="../tags/tag929.xml"/><Relationship Id="rId95" Type="http://schemas.openxmlformats.org/officeDocument/2006/relationships/tags" Target="../tags/tag1019.xml"/><Relationship Id="rId160" Type="http://schemas.openxmlformats.org/officeDocument/2006/relationships/tags" Target="../tags/tag1084.xml"/><Relationship Id="rId22" Type="http://schemas.openxmlformats.org/officeDocument/2006/relationships/tags" Target="../tags/tag946.xml"/><Relationship Id="rId43" Type="http://schemas.openxmlformats.org/officeDocument/2006/relationships/tags" Target="../tags/tag967.xml"/><Relationship Id="rId64" Type="http://schemas.openxmlformats.org/officeDocument/2006/relationships/tags" Target="../tags/tag988.xml"/><Relationship Id="rId118" Type="http://schemas.openxmlformats.org/officeDocument/2006/relationships/tags" Target="../tags/tag1042.xml"/><Relationship Id="rId139" Type="http://schemas.openxmlformats.org/officeDocument/2006/relationships/tags" Target="../tags/tag1063.xml"/><Relationship Id="rId85" Type="http://schemas.openxmlformats.org/officeDocument/2006/relationships/tags" Target="../tags/tag1009.xml"/><Relationship Id="rId150" Type="http://schemas.openxmlformats.org/officeDocument/2006/relationships/tags" Target="../tags/tag1074.xml"/><Relationship Id="rId171" Type="http://schemas.openxmlformats.org/officeDocument/2006/relationships/oleObject" Target="../embeddings/oleObject282.bin"/><Relationship Id="rId12" Type="http://schemas.openxmlformats.org/officeDocument/2006/relationships/tags" Target="../tags/tag936.xml"/><Relationship Id="rId33" Type="http://schemas.openxmlformats.org/officeDocument/2006/relationships/tags" Target="../tags/tag957.xml"/><Relationship Id="rId108" Type="http://schemas.openxmlformats.org/officeDocument/2006/relationships/tags" Target="../tags/tag1032.xml"/><Relationship Id="rId129" Type="http://schemas.openxmlformats.org/officeDocument/2006/relationships/tags" Target="../tags/tag1053.xml"/><Relationship Id="rId54" Type="http://schemas.openxmlformats.org/officeDocument/2006/relationships/tags" Target="../tags/tag978.xml"/><Relationship Id="rId75" Type="http://schemas.openxmlformats.org/officeDocument/2006/relationships/tags" Target="../tags/tag999.xml"/><Relationship Id="rId96" Type="http://schemas.openxmlformats.org/officeDocument/2006/relationships/tags" Target="../tags/tag1020.xml"/><Relationship Id="rId140" Type="http://schemas.openxmlformats.org/officeDocument/2006/relationships/tags" Target="../tags/tag1064.xml"/><Relationship Id="rId161" Type="http://schemas.openxmlformats.org/officeDocument/2006/relationships/tags" Target="../tags/tag1085.xml"/><Relationship Id="rId6" Type="http://schemas.openxmlformats.org/officeDocument/2006/relationships/tags" Target="../tags/tag930.xml"/><Relationship Id="rId23" Type="http://schemas.openxmlformats.org/officeDocument/2006/relationships/tags" Target="../tags/tag947.xml"/><Relationship Id="rId28" Type="http://schemas.openxmlformats.org/officeDocument/2006/relationships/tags" Target="../tags/tag952.xml"/><Relationship Id="rId49" Type="http://schemas.openxmlformats.org/officeDocument/2006/relationships/tags" Target="../tags/tag973.xml"/><Relationship Id="rId114" Type="http://schemas.openxmlformats.org/officeDocument/2006/relationships/tags" Target="../tags/tag1038.xml"/><Relationship Id="rId119" Type="http://schemas.openxmlformats.org/officeDocument/2006/relationships/tags" Target="../tags/tag1043.xml"/><Relationship Id="rId44" Type="http://schemas.openxmlformats.org/officeDocument/2006/relationships/tags" Target="../tags/tag968.xml"/><Relationship Id="rId60" Type="http://schemas.openxmlformats.org/officeDocument/2006/relationships/tags" Target="../tags/tag984.xml"/><Relationship Id="rId65" Type="http://schemas.openxmlformats.org/officeDocument/2006/relationships/tags" Target="../tags/tag989.xml"/><Relationship Id="rId81" Type="http://schemas.openxmlformats.org/officeDocument/2006/relationships/tags" Target="../tags/tag1005.xml"/><Relationship Id="rId86" Type="http://schemas.openxmlformats.org/officeDocument/2006/relationships/tags" Target="../tags/tag1010.xml"/><Relationship Id="rId130" Type="http://schemas.openxmlformats.org/officeDocument/2006/relationships/tags" Target="../tags/tag1054.xml"/><Relationship Id="rId135" Type="http://schemas.openxmlformats.org/officeDocument/2006/relationships/tags" Target="../tags/tag1059.xml"/><Relationship Id="rId151" Type="http://schemas.openxmlformats.org/officeDocument/2006/relationships/tags" Target="../tags/tag1075.xml"/><Relationship Id="rId156" Type="http://schemas.openxmlformats.org/officeDocument/2006/relationships/tags" Target="../tags/tag1080.xml"/><Relationship Id="rId177" Type="http://schemas.openxmlformats.org/officeDocument/2006/relationships/chart" Target="../charts/chart20.xml"/><Relationship Id="rId172" Type="http://schemas.openxmlformats.org/officeDocument/2006/relationships/image" Target="../media/image31.emf"/><Relationship Id="rId13" Type="http://schemas.openxmlformats.org/officeDocument/2006/relationships/tags" Target="../tags/tag937.xml"/><Relationship Id="rId18" Type="http://schemas.openxmlformats.org/officeDocument/2006/relationships/tags" Target="../tags/tag942.xml"/><Relationship Id="rId39" Type="http://schemas.openxmlformats.org/officeDocument/2006/relationships/tags" Target="../tags/tag963.xml"/><Relationship Id="rId109" Type="http://schemas.openxmlformats.org/officeDocument/2006/relationships/tags" Target="../tags/tag1033.xml"/><Relationship Id="rId34" Type="http://schemas.openxmlformats.org/officeDocument/2006/relationships/tags" Target="../tags/tag958.xml"/><Relationship Id="rId50" Type="http://schemas.openxmlformats.org/officeDocument/2006/relationships/tags" Target="../tags/tag974.xml"/><Relationship Id="rId55" Type="http://schemas.openxmlformats.org/officeDocument/2006/relationships/tags" Target="../tags/tag979.xml"/><Relationship Id="rId76" Type="http://schemas.openxmlformats.org/officeDocument/2006/relationships/tags" Target="../tags/tag1000.xml"/><Relationship Id="rId97" Type="http://schemas.openxmlformats.org/officeDocument/2006/relationships/tags" Target="../tags/tag1021.xml"/><Relationship Id="rId104" Type="http://schemas.openxmlformats.org/officeDocument/2006/relationships/tags" Target="../tags/tag1028.xml"/><Relationship Id="rId120" Type="http://schemas.openxmlformats.org/officeDocument/2006/relationships/tags" Target="../tags/tag1044.xml"/><Relationship Id="rId125" Type="http://schemas.openxmlformats.org/officeDocument/2006/relationships/tags" Target="../tags/tag1049.xml"/><Relationship Id="rId141" Type="http://schemas.openxmlformats.org/officeDocument/2006/relationships/tags" Target="../tags/tag1065.xml"/><Relationship Id="rId146" Type="http://schemas.openxmlformats.org/officeDocument/2006/relationships/tags" Target="../tags/tag1070.xml"/><Relationship Id="rId167" Type="http://schemas.openxmlformats.org/officeDocument/2006/relationships/tags" Target="../tags/tag1091.xml"/><Relationship Id="rId7" Type="http://schemas.openxmlformats.org/officeDocument/2006/relationships/tags" Target="../tags/tag931.xml"/><Relationship Id="rId71" Type="http://schemas.openxmlformats.org/officeDocument/2006/relationships/tags" Target="../tags/tag995.xml"/><Relationship Id="rId92" Type="http://schemas.openxmlformats.org/officeDocument/2006/relationships/tags" Target="../tags/tag1016.xml"/><Relationship Id="rId162" Type="http://schemas.openxmlformats.org/officeDocument/2006/relationships/tags" Target="../tags/tag1086.xml"/><Relationship Id="rId2" Type="http://schemas.openxmlformats.org/officeDocument/2006/relationships/tags" Target="../tags/tag926.xml"/><Relationship Id="rId29" Type="http://schemas.openxmlformats.org/officeDocument/2006/relationships/tags" Target="../tags/tag953.xml"/><Relationship Id="rId24" Type="http://schemas.openxmlformats.org/officeDocument/2006/relationships/tags" Target="../tags/tag948.xml"/><Relationship Id="rId40" Type="http://schemas.openxmlformats.org/officeDocument/2006/relationships/tags" Target="../tags/tag964.xml"/><Relationship Id="rId45" Type="http://schemas.openxmlformats.org/officeDocument/2006/relationships/tags" Target="../tags/tag969.xml"/><Relationship Id="rId66" Type="http://schemas.openxmlformats.org/officeDocument/2006/relationships/tags" Target="../tags/tag990.xml"/><Relationship Id="rId87" Type="http://schemas.openxmlformats.org/officeDocument/2006/relationships/tags" Target="../tags/tag1011.xml"/><Relationship Id="rId110" Type="http://schemas.openxmlformats.org/officeDocument/2006/relationships/tags" Target="../tags/tag1034.xml"/><Relationship Id="rId115" Type="http://schemas.openxmlformats.org/officeDocument/2006/relationships/tags" Target="../tags/tag1039.xml"/><Relationship Id="rId131" Type="http://schemas.openxmlformats.org/officeDocument/2006/relationships/tags" Target="../tags/tag1055.xml"/><Relationship Id="rId136" Type="http://schemas.openxmlformats.org/officeDocument/2006/relationships/tags" Target="../tags/tag1060.xml"/><Relationship Id="rId157" Type="http://schemas.openxmlformats.org/officeDocument/2006/relationships/tags" Target="../tags/tag1081.xml"/><Relationship Id="rId61" Type="http://schemas.openxmlformats.org/officeDocument/2006/relationships/tags" Target="../tags/tag985.xml"/><Relationship Id="rId82" Type="http://schemas.openxmlformats.org/officeDocument/2006/relationships/tags" Target="../tags/tag1006.xml"/><Relationship Id="rId152" Type="http://schemas.openxmlformats.org/officeDocument/2006/relationships/tags" Target="../tags/tag1076.xml"/><Relationship Id="rId173" Type="http://schemas.openxmlformats.org/officeDocument/2006/relationships/chart" Target="../charts/chart16.xml"/><Relationship Id="rId19" Type="http://schemas.openxmlformats.org/officeDocument/2006/relationships/tags" Target="../tags/tag943.xml"/><Relationship Id="rId14" Type="http://schemas.openxmlformats.org/officeDocument/2006/relationships/tags" Target="../tags/tag938.xml"/><Relationship Id="rId30" Type="http://schemas.openxmlformats.org/officeDocument/2006/relationships/tags" Target="../tags/tag954.xml"/><Relationship Id="rId35" Type="http://schemas.openxmlformats.org/officeDocument/2006/relationships/tags" Target="../tags/tag959.xml"/><Relationship Id="rId56" Type="http://schemas.openxmlformats.org/officeDocument/2006/relationships/tags" Target="../tags/tag980.xml"/><Relationship Id="rId77" Type="http://schemas.openxmlformats.org/officeDocument/2006/relationships/tags" Target="../tags/tag1001.xml"/><Relationship Id="rId100" Type="http://schemas.openxmlformats.org/officeDocument/2006/relationships/tags" Target="../tags/tag1024.xml"/><Relationship Id="rId105" Type="http://schemas.openxmlformats.org/officeDocument/2006/relationships/tags" Target="../tags/tag1029.xml"/><Relationship Id="rId126" Type="http://schemas.openxmlformats.org/officeDocument/2006/relationships/tags" Target="../tags/tag1050.xml"/><Relationship Id="rId147" Type="http://schemas.openxmlformats.org/officeDocument/2006/relationships/tags" Target="../tags/tag1071.xml"/><Relationship Id="rId168" Type="http://schemas.openxmlformats.org/officeDocument/2006/relationships/tags" Target="../tags/tag1092.xml"/><Relationship Id="rId8" Type="http://schemas.openxmlformats.org/officeDocument/2006/relationships/tags" Target="../tags/tag932.xml"/><Relationship Id="rId51" Type="http://schemas.openxmlformats.org/officeDocument/2006/relationships/tags" Target="../tags/tag975.xml"/><Relationship Id="rId72" Type="http://schemas.openxmlformats.org/officeDocument/2006/relationships/tags" Target="../tags/tag996.xml"/><Relationship Id="rId93" Type="http://schemas.openxmlformats.org/officeDocument/2006/relationships/tags" Target="../tags/tag1017.xml"/><Relationship Id="rId98" Type="http://schemas.openxmlformats.org/officeDocument/2006/relationships/tags" Target="../tags/tag1022.xml"/><Relationship Id="rId121" Type="http://schemas.openxmlformats.org/officeDocument/2006/relationships/tags" Target="../tags/tag1045.xml"/><Relationship Id="rId142" Type="http://schemas.openxmlformats.org/officeDocument/2006/relationships/tags" Target="../tags/tag1066.xml"/><Relationship Id="rId163" Type="http://schemas.openxmlformats.org/officeDocument/2006/relationships/tags" Target="../tags/tag1087.xml"/><Relationship Id="rId3" Type="http://schemas.openxmlformats.org/officeDocument/2006/relationships/tags" Target="../tags/tag927.xml"/><Relationship Id="rId25" Type="http://schemas.openxmlformats.org/officeDocument/2006/relationships/tags" Target="../tags/tag949.xml"/><Relationship Id="rId46" Type="http://schemas.openxmlformats.org/officeDocument/2006/relationships/tags" Target="../tags/tag970.xml"/><Relationship Id="rId67" Type="http://schemas.openxmlformats.org/officeDocument/2006/relationships/tags" Target="../tags/tag991.xml"/><Relationship Id="rId116" Type="http://schemas.openxmlformats.org/officeDocument/2006/relationships/tags" Target="../tags/tag1040.xml"/><Relationship Id="rId137" Type="http://schemas.openxmlformats.org/officeDocument/2006/relationships/tags" Target="../tags/tag1061.xml"/><Relationship Id="rId158" Type="http://schemas.openxmlformats.org/officeDocument/2006/relationships/tags" Target="../tags/tag1082.xml"/><Relationship Id="rId20" Type="http://schemas.openxmlformats.org/officeDocument/2006/relationships/tags" Target="../tags/tag944.xml"/><Relationship Id="rId41" Type="http://schemas.openxmlformats.org/officeDocument/2006/relationships/tags" Target="../tags/tag965.xml"/><Relationship Id="rId62" Type="http://schemas.openxmlformats.org/officeDocument/2006/relationships/tags" Target="../tags/tag986.xml"/><Relationship Id="rId83" Type="http://schemas.openxmlformats.org/officeDocument/2006/relationships/tags" Target="../tags/tag1007.xml"/><Relationship Id="rId88" Type="http://schemas.openxmlformats.org/officeDocument/2006/relationships/tags" Target="../tags/tag1012.xml"/><Relationship Id="rId111" Type="http://schemas.openxmlformats.org/officeDocument/2006/relationships/tags" Target="../tags/tag1035.xml"/><Relationship Id="rId132" Type="http://schemas.openxmlformats.org/officeDocument/2006/relationships/tags" Target="../tags/tag1056.xml"/><Relationship Id="rId153" Type="http://schemas.openxmlformats.org/officeDocument/2006/relationships/tags" Target="../tags/tag1077.xml"/><Relationship Id="rId174" Type="http://schemas.openxmlformats.org/officeDocument/2006/relationships/chart" Target="../charts/chart17.xml"/><Relationship Id="rId15" Type="http://schemas.openxmlformats.org/officeDocument/2006/relationships/tags" Target="../tags/tag939.xml"/><Relationship Id="rId36" Type="http://schemas.openxmlformats.org/officeDocument/2006/relationships/tags" Target="../tags/tag960.xml"/><Relationship Id="rId57" Type="http://schemas.openxmlformats.org/officeDocument/2006/relationships/tags" Target="../tags/tag981.xml"/><Relationship Id="rId106" Type="http://schemas.openxmlformats.org/officeDocument/2006/relationships/tags" Target="../tags/tag1030.xml"/><Relationship Id="rId127" Type="http://schemas.openxmlformats.org/officeDocument/2006/relationships/tags" Target="../tags/tag1051.xml"/><Relationship Id="rId10" Type="http://schemas.openxmlformats.org/officeDocument/2006/relationships/tags" Target="../tags/tag934.xml"/><Relationship Id="rId31" Type="http://schemas.openxmlformats.org/officeDocument/2006/relationships/tags" Target="../tags/tag955.xml"/><Relationship Id="rId52" Type="http://schemas.openxmlformats.org/officeDocument/2006/relationships/tags" Target="../tags/tag976.xml"/><Relationship Id="rId73" Type="http://schemas.openxmlformats.org/officeDocument/2006/relationships/tags" Target="../tags/tag997.xml"/><Relationship Id="rId78" Type="http://schemas.openxmlformats.org/officeDocument/2006/relationships/tags" Target="../tags/tag1002.xml"/><Relationship Id="rId94" Type="http://schemas.openxmlformats.org/officeDocument/2006/relationships/tags" Target="../tags/tag1018.xml"/><Relationship Id="rId99" Type="http://schemas.openxmlformats.org/officeDocument/2006/relationships/tags" Target="../tags/tag1023.xml"/><Relationship Id="rId101" Type="http://schemas.openxmlformats.org/officeDocument/2006/relationships/tags" Target="../tags/tag1025.xml"/><Relationship Id="rId122" Type="http://schemas.openxmlformats.org/officeDocument/2006/relationships/tags" Target="../tags/tag1046.xml"/><Relationship Id="rId143" Type="http://schemas.openxmlformats.org/officeDocument/2006/relationships/tags" Target="../tags/tag1067.xml"/><Relationship Id="rId148" Type="http://schemas.openxmlformats.org/officeDocument/2006/relationships/tags" Target="../tags/tag1072.xml"/><Relationship Id="rId164" Type="http://schemas.openxmlformats.org/officeDocument/2006/relationships/tags" Target="../tags/tag1088.xml"/><Relationship Id="rId169" Type="http://schemas.openxmlformats.org/officeDocument/2006/relationships/tags" Target="../tags/tag1093.xml"/><Relationship Id="rId4" Type="http://schemas.openxmlformats.org/officeDocument/2006/relationships/tags" Target="../tags/tag928.xml"/><Relationship Id="rId9" Type="http://schemas.openxmlformats.org/officeDocument/2006/relationships/tags" Target="../tags/tag933.xml"/><Relationship Id="rId26" Type="http://schemas.openxmlformats.org/officeDocument/2006/relationships/tags" Target="../tags/tag950.xml"/><Relationship Id="rId47" Type="http://schemas.openxmlformats.org/officeDocument/2006/relationships/tags" Target="../tags/tag971.xml"/><Relationship Id="rId68" Type="http://schemas.openxmlformats.org/officeDocument/2006/relationships/tags" Target="../tags/tag992.xml"/><Relationship Id="rId89" Type="http://schemas.openxmlformats.org/officeDocument/2006/relationships/tags" Target="../tags/tag1013.xml"/><Relationship Id="rId112" Type="http://schemas.openxmlformats.org/officeDocument/2006/relationships/tags" Target="../tags/tag1036.xml"/><Relationship Id="rId133" Type="http://schemas.openxmlformats.org/officeDocument/2006/relationships/tags" Target="../tags/tag1057.xml"/><Relationship Id="rId154" Type="http://schemas.openxmlformats.org/officeDocument/2006/relationships/tags" Target="../tags/tag1078.xml"/><Relationship Id="rId175" Type="http://schemas.openxmlformats.org/officeDocument/2006/relationships/chart" Target="../charts/chart18.xml"/><Relationship Id="rId16" Type="http://schemas.openxmlformats.org/officeDocument/2006/relationships/tags" Target="../tags/tag940.xml"/><Relationship Id="rId37" Type="http://schemas.openxmlformats.org/officeDocument/2006/relationships/tags" Target="../tags/tag961.xml"/><Relationship Id="rId58" Type="http://schemas.openxmlformats.org/officeDocument/2006/relationships/tags" Target="../tags/tag982.xml"/><Relationship Id="rId79" Type="http://schemas.openxmlformats.org/officeDocument/2006/relationships/tags" Target="../tags/tag1003.xml"/><Relationship Id="rId102" Type="http://schemas.openxmlformats.org/officeDocument/2006/relationships/tags" Target="../tags/tag1026.xml"/><Relationship Id="rId123" Type="http://schemas.openxmlformats.org/officeDocument/2006/relationships/tags" Target="../tags/tag1047.xml"/><Relationship Id="rId144" Type="http://schemas.openxmlformats.org/officeDocument/2006/relationships/tags" Target="../tags/tag1068.xml"/><Relationship Id="rId90" Type="http://schemas.openxmlformats.org/officeDocument/2006/relationships/tags" Target="../tags/tag1014.xml"/><Relationship Id="rId165" Type="http://schemas.openxmlformats.org/officeDocument/2006/relationships/tags" Target="../tags/tag1089.xml"/><Relationship Id="rId27" Type="http://schemas.openxmlformats.org/officeDocument/2006/relationships/tags" Target="../tags/tag951.xml"/><Relationship Id="rId48" Type="http://schemas.openxmlformats.org/officeDocument/2006/relationships/tags" Target="../tags/tag972.xml"/><Relationship Id="rId69" Type="http://schemas.openxmlformats.org/officeDocument/2006/relationships/tags" Target="../tags/tag993.xml"/><Relationship Id="rId113" Type="http://schemas.openxmlformats.org/officeDocument/2006/relationships/tags" Target="../tags/tag1037.xml"/><Relationship Id="rId134" Type="http://schemas.openxmlformats.org/officeDocument/2006/relationships/tags" Target="../tags/tag1058.xml"/><Relationship Id="rId80" Type="http://schemas.openxmlformats.org/officeDocument/2006/relationships/tags" Target="../tags/tag1004.xml"/><Relationship Id="rId155" Type="http://schemas.openxmlformats.org/officeDocument/2006/relationships/tags" Target="../tags/tag1079.xml"/><Relationship Id="rId176" Type="http://schemas.openxmlformats.org/officeDocument/2006/relationships/chart" Target="../charts/chart19.xml"/><Relationship Id="rId17" Type="http://schemas.openxmlformats.org/officeDocument/2006/relationships/tags" Target="../tags/tag941.xml"/><Relationship Id="rId38" Type="http://schemas.openxmlformats.org/officeDocument/2006/relationships/tags" Target="../tags/tag962.xml"/><Relationship Id="rId59" Type="http://schemas.openxmlformats.org/officeDocument/2006/relationships/tags" Target="../tags/tag983.xml"/><Relationship Id="rId103" Type="http://schemas.openxmlformats.org/officeDocument/2006/relationships/tags" Target="../tags/tag1027.xml"/><Relationship Id="rId124" Type="http://schemas.openxmlformats.org/officeDocument/2006/relationships/tags" Target="../tags/tag1048.xml"/><Relationship Id="rId70" Type="http://schemas.openxmlformats.org/officeDocument/2006/relationships/tags" Target="../tags/tag994.xml"/><Relationship Id="rId91" Type="http://schemas.openxmlformats.org/officeDocument/2006/relationships/tags" Target="../tags/tag1015.xml"/><Relationship Id="rId145" Type="http://schemas.openxmlformats.org/officeDocument/2006/relationships/tags" Target="../tags/tag1069.xml"/><Relationship Id="rId166" Type="http://schemas.openxmlformats.org/officeDocument/2006/relationships/tags" Target="../tags/tag1090.xml"/><Relationship Id="rId1" Type="http://schemas.openxmlformats.org/officeDocument/2006/relationships/tags" Target="../tags/tag9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3.bin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1094.xml"/><Relationship Id="rId4" Type="http://schemas.openxmlformats.org/officeDocument/2006/relationships/image" Target="../media/image31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11.xml"/><Relationship Id="rId21" Type="http://schemas.openxmlformats.org/officeDocument/2006/relationships/tags" Target="../tags/tag1115.xml"/><Relationship Id="rId42" Type="http://schemas.openxmlformats.org/officeDocument/2006/relationships/tags" Target="../tags/tag1136.xml"/><Relationship Id="rId63" Type="http://schemas.openxmlformats.org/officeDocument/2006/relationships/tags" Target="../tags/tag1157.xml"/><Relationship Id="rId84" Type="http://schemas.openxmlformats.org/officeDocument/2006/relationships/tags" Target="../tags/tag1178.xml"/><Relationship Id="rId138" Type="http://schemas.openxmlformats.org/officeDocument/2006/relationships/tags" Target="../tags/tag1232.xml"/><Relationship Id="rId159" Type="http://schemas.openxmlformats.org/officeDocument/2006/relationships/slideLayout" Target="../slideLayouts/slideLayout47.xml"/><Relationship Id="rId107" Type="http://schemas.openxmlformats.org/officeDocument/2006/relationships/tags" Target="../tags/tag1201.xml"/><Relationship Id="rId11" Type="http://schemas.openxmlformats.org/officeDocument/2006/relationships/tags" Target="../tags/tag1105.xml"/><Relationship Id="rId32" Type="http://schemas.openxmlformats.org/officeDocument/2006/relationships/tags" Target="../tags/tag1126.xml"/><Relationship Id="rId53" Type="http://schemas.openxmlformats.org/officeDocument/2006/relationships/tags" Target="../tags/tag1147.xml"/><Relationship Id="rId74" Type="http://schemas.openxmlformats.org/officeDocument/2006/relationships/tags" Target="../tags/tag1168.xml"/><Relationship Id="rId128" Type="http://schemas.openxmlformats.org/officeDocument/2006/relationships/tags" Target="../tags/tag1222.xml"/><Relationship Id="rId149" Type="http://schemas.openxmlformats.org/officeDocument/2006/relationships/tags" Target="../tags/tag1243.xml"/><Relationship Id="rId5" Type="http://schemas.openxmlformats.org/officeDocument/2006/relationships/tags" Target="../tags/tag1099.xml"/><Relationship Id="rId95" Type="http://schemas.openxmlformats.org/officeDocument/2006/relationships/tags" Target="../tags/tag1189.xml"/><Relationship Id="rId160" Type="http://schemas.openxmlformats.org/officeDocument/2006/relationships/oleObject" Target="../embeddings/oleObject284.bin"/><Relationship Id="rId22" Type="http://schemas.openxmlformats.org/officeDocument/2006/relationships/tags" Target="../tags/tag1116.xml"/><Relationship Id="rId43" Type="http://schemas.openxmlformats.org/officeDocument/2006/relationships/tags" Target="../tags/tag1137.xml"/><Relationship Id="rId64" Type="http://schemas.openxmlformats.org/officeDocument/2006/relationships/tags" Target="../tags/tag1158.xml"/><Relationship Id="rId118" Type="http://schemas.openxmlformats.org/officeDocument/2006/relationships/tags" Target="../tags/tag1212.xml"/><Relationship Id="rId139" Type="http://schemas.openxmlformats.org/officeDocument/2006/relationships/tags" Target="../tags/tag1233.xml"/><Relationship Id="rId85" Type="http://schemas.openxmlformats.org/officeDocument/2006/relationships/tags" Target="../tags/tag1179.xml"/><Relationship Id="rId150" Type="http://schemas.openxmlformats.org/officeDocument/2006/relationships/tags" Target="../tags/tag1244.xml"/><Relationship Id="rId12" Type="http://schemas.openxmlformats.org/officeDocument/2006/relationships/tags" Target="../tags/tag1106.xml"/><Relationship Id="rId17" Type="http://schemas.openxmlformats.org/officeDocument/2006/relationships/tags" Target="../tags/tag1111.xml"/><Relationship Id="rId33" Type="http://schemas.openxmlformats.org/officeDocument/2006/relationships/tags" Target="../tags/tag1127.xml"/><Relationship Id="rId38" Type="http://schemas.openxmlformats.org/officeDocument/2006/relationships/tags" Target="../tags/tag1132.xml"/><Relationship Id="rId59" Type="http://schemas.openxmlformats.org/officeDocument/2006/relationships/tags" Target="../tags/tag1153.xml"/><Relationship Id="rId103" Type="http://schemas.openxmlformats.org/officeDocument/2006/relationships/tags" Target="../tags/tag1197.xml"/><Relationship Id="rId108" Type="http://schemas.openxmlformats.org/officeDocument/2006/relationships/tags" Target="../tags/tag1202.xml"/><Relationship Id="rId124" Type="http://schemas.openxmlformats.org/officeDocument/2006/relationships/tags" Target="../tags/tag1218.xml"/><Relationship Id="rId129" Type="http://schemas.openxmlformats.org/officeDocument/2006/relationships/tags" Target="../tags/tag1223.xml"/><Relationship Id="rId54" Type="http://schemas.openxmlformats.org/officeDocument/2006/relationships/tags" Target="../tags/tag1148.xml"/><Relationship Id="rId70" Type="http://schemas.openxmlformats.org/officeDocument/2006/relationships/tags" Target="../tags/tag1164.xml"/><Relationship Id="rId75" Type="http://schemas.openxmlformats.org/officeDocument/2006/relationships/tags" Target="../tags/tag1169.xml"/><Relationship Id="rId91" Type="http://schemas.openxmlformats.org/officeDocument/2006/relationships/tags" Target="../tags/tag1185.xml"/><Relationship Id="rId96" Type="http://schemas.openxmlformats.org/officeDocument/2006/relationships/tags" Target="../tags/tag1190.xml"/><Relationship Id="rId140" Type="http://schemas.openxmlformats.org/officeDocument/2006/relationships/tags" Target="../tags/tag1234.xml"/><Relationship Id="rId145" Type="http://schemas.openxmlformats.org/officeDocument/2006/relationships/tags" Target="../tags/tag1239.xml"/><Relationship Id="rId161" Type="http://schemas.openxmlformats.org/officeDocument/2006/relationships/image" Target="../media/image31.emf"/><Relationship Id="rId166" Type="http://schemas.openxmlformats.org/officeDocument/2006/relationships/chart" Target="../charts/chart25.xml"/><Relationship Id="rId1" Type="http://schemas.openxmlformats.org/officeDocument/2006/relationships/tags" Target="../tags/tag1095.xml"/><Relationship Id="rId6" Type="http://schemas.openxmlformats.org/officeDocument/2006/relationships/tags" Target="../tags/tag1100.xml"/><Relationship Id="rId23" Type="http://schemas.openxmlformats.org/officeDocument/2006/relationships/tags" Target="../tags/tag1117.xml"/><Relationship Id="rId28" Type="http://schemas.openxmlformats.org/officeDocument/2006/relationships/tags" Target="../tags/tag1122.xml"/><Relationship Id="rId49" Type="http://schemas.openxmlformats.org/officeDocument/2006/relationships/tags" Target="../tags/tag1143.xml"/><Relationship Id="rId114" Type="http://schemas.openxmlformats.org/officeDocument/2006/relationships/tags" Target="../tags/tag1208.xml"/><Relationship Id="rId119" Type="http://schemas.openxmlformats.org/officeDocument/2006/relationships/tags" Target="../tags/tag1213.xml"/><Relationship Id="rId44" Type="http://schemas.openxmlformats.org/officeDocument/2006/relationships/tags" Target="../tags/tag1138.xml"/><Relationship Id="rId60" Type="http://schemas.openxmlformats.org/officeDocument/2006/relationships/tags" Target="../tags/tag1154.xml"/><Relationship Id="rId65" Type="http://schemas.openxmlformats.org/officeDocument/2006/relationships/tags" Target="../tags/tag1159.xml"/><Relationship Id="rId81" Type="http://schemas.openxmlformats.org/officeDocument/2006/relationships/tags" Target="../tags/tag1175.xml"/><Relationship Id="rId86" Type="http://schemas.openxmlformats.org/officeDocument/2006/relationships/tags" Target="../tags/tag1180.xml"/><Relationship Id="rId130" Type="http://schemas.openxmlformats.org/officeDocument/2006/relationships/tags" Target="../tags/tag1224.xml"/><Relationship Id="rId135" Type="http://schemas.openxmlformats.org/officeDocument/2006/relationships/tags" Target="../tags/tag1229.xml"/><Relationship Id="rId151" Type="http://schemas.openxmlformats.org/officeDocument/2006/relationships/tags" Target="../tags/tag1245.xml"/><Relationship Id="rId156" Type="http://schemas.openxmlformats.org/officeDocument/2006/relationships/tags" Target="../tags/tag1250.xml"/><Relationship Id="rId13" Type="http://schemas.openxmlformats.org/officeDocument/2006/relationships/tags" Target="../tags/tag1107.xml"/><Relationship Id="rId18" Type="http://schemas.openxmlformats.org/officeDocument/2006/relationships/tags" Target="../tags/tag1112.xml"/><Relationship Id="rId39" Type="http://schemas.openxmlformats.org/officeDocument/2006/relationships/tags" Target="../tags/tag1133.xml"/><Relationship Id="rId109" Type="http://schemas.openxmlformats.org/officeDocument/2006/relationships/tags" Target="../tags/tag1203.xml"/><Relationship Id="rId34" Type="http://schemas.openxmlformats.org/officeDocument/2006/relationships/tags" Target="../tags/tag1128.xml"/><Relationship Id="rId50" Type="http://schemas.openxmlformats.org/officeDocument/2006/relationships/tags" Target="../tags/tag1144.xml"/><Relationship Id="rId55" Type="http://schemas.openxmlformats.org/officeDocument/2006/relationships/tags" Target="../tags/tag1149.xml"/><Relationship Id="rId76" Type="http://schemas.openxmlformats.org/officeDocument/2006/relationships/tags" Target="../tags/tag1170.xml"/><Relationship Id="rId97" Type="http://schemas.openxmlformats.org/officeDocument/2006/relationships/tags" Target="../tags/tag1191.xml"/><Relationship Id="rId104" Type="http://schemas.openxmlformats.org/officeDocument/2006/relationships/tags" Target="../tags/tag1198.xml"/><Relationship Id="rId120" Type="http://schemas.openxmlformats.org/officeDocument/2006/relationships/tags" Target="../tags/tag1214.xml"/><Relationship Id="rId125" Type="http://schemas.openxmlformats.org/officeDocument/2006/relationships/tags" Target="../tags/tag1219.xml"/><Relationship Id="rId141" Type="http://schemas.openxmlformats.org/officeDocument/2006/relationships/tags" Target="../tags/tag1235.xml"/><Relationship Id="rId146" Type="http://schemas.openxmlformats.org/officeDocument/2006/relationships/tags" Target="../tags/tag1240.xml"/><Relationship Id="rId7" Type="http://schemas.openxmlformats.org/officeDocument/2006/relationships/tags" Target="../tags/tag1101.xml"/><Relationship Id="rId71" Type="http://schemas.openxmlformats.org/officeDocument/2006/relationships/tags" Target="../tags/tag1165.xml"/><Relationship Id="rId92" Type="http://schemas.openxmlformats.org/officeDocument/2006/relationships/tags" Target="../tags/tag1186.xml"/><Relationship Id="rId162" Type="http://schemas.openxmlformats.org/officeDocument/2006/relationships/chart" Target="../charts/chart21.xml"/><Relationship Id="rId2" Type="http://schemas.openxmlformats.org/officeDocument/2006/relationships/tags" Target="../tags/tag1096.xml"/><Relationship Id="rId29" Type="http://schemas.openxmlformats.org/officeDocument/2006/relationships/tags" Target="../tags/tag1123.xml"/><Relationship Id="rId24" Type="http://schemas.openxmlformats.org/officeDocument/2006/relationships/tags" Target="../tags/tag1118.xml"/><Relationship Id="rId40" Type="http://schemas.openxmlformats.org/officeDocument/2006/relationships/tags" Target="../tags/tag1134.xml"/><Relationship Id="rId45" Type="http://schemas.openxmlformats.org/officeDocument/2006/relationships/tags" Target="../tags/tag1139.xml"/><Relationship Id="rId66" Type="http://schemas.openxmlformats.org/officeDocument/2006/relationships/tags" Target="../tags/tag1160.xml"/><Relationship Id="rId87" Type="http://schemas.openxmlformats.org/officeDocument/2006/relationships/tags" Target="../tags/tag1181.xml"/><Relationship Id="rId110" Type="http://schemas.openxmlformats.org/officeDocument/2006/relationships/tags" Target="../tags/tag1204.xml"/><Relationship Id="rId115" Type="http://schemas.openxmlformats.org/officeDocument/2006/relationships/tags" Target="../tags/tag1209.xml"/><Relationship Id="rId131" Type="http://schemas.openxmlformats.org/officeDocument/2006/relationships/tags" Target="../tags/tag1225.xml"/><Relationship Id="rId136" Type="http://schemas.openxmlformats.org/officeDocument/2006/relationships/tags" Target="../tags/tag1230.xml"/><Relationship Id="rId157" Type="http://schemas.openxmlformats.org/officeDocument/2006/relationships/tags" Target="../tags/tag1251.xml"/><Relationship Id="rId61" Type="http://schemas.openxmlformats.org/officeDocument/2006/relationships/tags" Target="../tags/tag1155.xml"/><Relationship Id="rId82" Type="http://schemas.openxmlformats.org/officeDocument/2006/relationships/tags" Target="../tags/tag1176.xml"/><Relationship Id="rId152" Type="http://schemas.openxmlformats.org/officeDocument/2006/relationships/tags" Target="../tags/tag1246.xml"/><Relationship Id="rId19" Type="http://schemas.openxmlformats.org/officeDocument/2006/relationships/tags" Target="../tags/tag1113.xml"/><Relationship Id="rId14" Type="http://schemas.openxmlformats.org/officeDocument/2006/relationships/tags" Target="../tags/tag1108.xml"/><Relationship Id="rId30" Type="http://schemas.openxmlformats.org/officeDocument/2006/relationships/tags" Target="../tags/tag1124.xml"/><Relationship Id="rId35" Type="http://schemas.openxmlformats.org/officeDocument/2006/relationships/tags" Target="../tags/tag1129.xml"/><Relationship Id="rId56" Type="http://schemas.openxmlformats.org/officeDocument/2006/relationships/tags" Target="../tags/tag1150.xml"/><Relationship Id="rId77" Type="http://schemas.openxmlformats.org/officeDocument/2006/relationships/tags" Target="../tags/tag1171.xml"/><Relationship Id="rId100" Type="http://schemas.openxmlformats.org/officeDocument/2006/relationships/tags" Target="../tags/tag1194.xml"/><Relationship Id="rId105" Type="http://schemas.openxmlformats.org/officeDocument/2006/relationships/tags" Target="../tags/tag1199.xml"/><Relationship Id="rId126" Type="http://schemas.openxmlformats.org/officeDocument/2006/relationships/tags" Target="../tags/tag1220.xml"/><Relationship Id="rId147" Type="http://schemas.openxmlformats.org/officeDocument/2006/relationships/tags" Target="../tags/tag1241.xml"/><Relationship Id="rId8" Type="http://schemas.openxmlformats.org/officeDocument/2006/relationships/tags" Target="../tags/tag1102.xml"/><Relationship Id="rId51" Type="http://schemas.openxmlformats.org/officeDocument/2006/relationships/tags" Target="../tags/tag1145.xml"/><Relationship Id="rId72" Type="http://schemas.openxmlformats.org/officeDocument/2006/relationships/tags" Target="../tags/tag1166.xml"/><Relationship Id="rId93" Type="http://schemas.openxmlformats.org/officeDocument/2006/relationships/tags" Target="../tags/tag1187.xml"/><Relationship Id="rId98" Type="http://schemas.openxmlformats.org/officeDocument/2006/relationships/tags" Target="../tags/tag1192.xml"/><Relationship Id="rId121" Type="http://schemas.openxmlformats.org/officeDocument/2006/relationships/tags" Target="../tags/tag1215.xml"/><Relationship Id="rId142" Type="http://schemas.openxmlformats.org/officeDocument/2006/relationships/tags" Target="../tags/tag1236.xml"/><Relationship Id="rId163" Type="http://schemas.openxmlformats.org/officeDocument/2006/relationships/chart" Target="../charts/chart22.xml"/><Relationship Id="rId3" Type="http://schemas.openxmlformats.org/officeDocument/2006/relationships/tags" Target="../tags/tag1097.xml"/><Relationship Id="rId25" Type="http://schemas.openxmlformats.org/officeDocument/2006/relationships/tags" Target="../tags/tag1119.xml"/><Relationship Id="rId46" Type="http://schemas.openxmlformats.org/officeDocument/2006/relationships/tags" Target="../tags/tag1140.xml"/><Relationship Id="rId67" Type="http://schemas.openxmlformats.org/officeDocument/2006/relationships/tags" Target="../tags/tag1161.xml"/><Relationship Id="rId116" Type="http://schemas.openxmlformats.org/officeDocument/2006/relationships/tags" Target="../tags/tag1210.xml"/><Relationship Id="rId137" Type="http://schemas.openxmlformats.org/officeDocument/2006/relationships/tags" Target="../tags/tag1231.xml"/><Relationship Id="rId158" Type="http://schemas.openxmlformats.org/officeDocument/2006/relationships/tags" Target="../tags/tag1252.xml"/><Relationship Id="rId20" Type="http://schemas.openxmlformats.org/officeDocument/2006/relationships/tags" Target="../tags/tag1114.xml"/><Relationship Id="rId41" Type="http://schemas.openxmlformats.org/officeDocument/2006/relationships/tags" Target="../tags/tag1135.xml"/><Relationship Id="rId62" Type="http://schemas.openxmlformats.org/officeDocument/2006/relationships/tags" Target="../tags/tag1156.xml"/><Relationship Id="rId83" Type="http://schemas.openxmlformats.org/officeDocument/2006/relationships/tags" Target="../tags/tag1177.xml"/><Relationship Id="rId88" Type="http://schemas.openxmlformats.org/officeDocument/2006/relationships/tags" Target="../tags/tag1182.xml"/><Relationship Id="rId111" Type="http://schemas.openxmlformats.org/officeDocument/2006/relationships/tags" Target="../tags/tag1205.xml"/><Relationship Id="rId132" Type="http://schemas.openxmlformats.org/officeDocument/2006/relationships/tags" Target="../tags/tag1226.xml"/><Relationship Id="rId153" Type="http://schemas.openxmlformats.org/officeDocument/2006/relationships/tags" Target="../tags/tag1247.xml"/><Relationship Id="rId15" Type="http://schemas.openxmlformats.org/officeDocument/2006/relationships/tags" Target="../tags/tag1109.xml"/><Relationship Id="rId36" Type="http://schemas.openxmlformats.org/officeDocument/2006/relationships/tags" Target="../tags/tag1130.xml"/><Relationship Id="rId57" Type="http://schemas.openxmlformats.org/officeDocument/2006/relationships/tags" Target="../tags/tag1151.xml"/><Relationship Id="rId106" Type="http://schemas.openxmlformats.org/officeDocument/2006/relationships/tags" Target="../tags/tag1200.xml"/><Relationship Id="rId127" Type="http://schemas.openxmlformats.org/officeDocument/2006/relationships/tags" Target="../tags/tag1221.xml"/><Relationship Id="rId10" Type="http://schemas.openxmlformats.org/officeDocument/2006/relationships/tags" Target="../tags/tag1104.xml"/><Relationship Id="rId31" Type="http://schemas.openxmlformats.org/officeDocument/2006/relationships/tags" Target="../tags/tag1125.xml"/><Relationship Id="rId52" Type="http://schemas.openxmlformats.org/officeDocument/2006/relationships/tags" Target="../tags/tag1146.xml"/><Relationship Id="rId73" Type="http://schemas.openxmlformats.org/officeDocument/2006/relationships/tags" Target="../tags/tag1167.xml"/><Relationship Id="rId78" Type="http://schemas.openxmlformats.org/officeDocument/2006/relationships/tags" Target="../tags/tag1172.xml"/><Relationship Id="rId94" Type="http://schemas.openxmlformats.org/officeDocument/2006/relationships/tags" Target="../tags/tag1188.xml"/><Relationship Id="rId99" Type="http://schemas.openxmlformats.org/officeDocument/2006/relationships/tags" Target="../tags/tag1193.xml"/><Relationship Id="rId101" Type="http://schemas.openxmlformats.org/officeDocument/2006/relationships/tags" Target="../tags/tag1195.xml"/><Relationship Id="rId122" Type="http://schemas.openxmlformats.org/officeDocument/2006/relationships/tags" Target="../tags/tag1216.xml"/><Relationship Id="rId143" Type="http://schemas.openxmlformats.org/officeDocument/2006/relationships/tags" Target="../tags/tag1237.xml"/><Relationship Id="rId148" Type="http://schemas.openxmlformats.org/officeDocument/2006/relationships/tags" Target="../tags/tag1242.xml"/><Relationship Id="rId164" Type="http://schemas.openxmlformats.org/officeDocument/2006/relationships/chart" Target="../charts/chart23.xml"/><Relationship Id="rId4" Type="http://schemas.openxmlformats.org/officeDocument/2006/relationships/tags" Target="../tags/tag1098.xml"/><Relationship Id="rId9" Type="http://schemas.openxmlformats.org/officeDocument/2006/relationships/tags" Target="../tags/tag1103.xml"/><Relationship Id="rId26" Type="http://schemas.openxmlformats.org/officeDocument/2006/relationships/tags" Target="../tags/tag1120.xml"/><Relationship Id="rId47" Type="http://schemas.openxmlformats.org/officeDocument/2006/relationships/tags" Target="../tags/tag1141.xml"/><Relationship Id="rId68" Type="http://schemas.openxmlformats.org/officeDocument/2006/relationships/tags" Target="../tags/tag1162.xml"/><Relationship Id="rId89" Type="http://schemas.openxmlformats.org/officeDocument/2006/relationships/tags" Target="../tags/tag1183.xml"/><Relationship Id="rId112" Type="http://schemas.openxmlformats.org/officeDocument/2006/relationships/tags" Target="../tags/tag1206.xml"/><Relationship Id="rId133" Type="http://schemas.openxmlformats.org/officeDocument/2006/relationships/tags" Target="../tags/tag1227.xml"/><Relationship Id="rId154" Type="http://schemas.openxmlformats.org/officeDocument/2006/relationships/tags" Target="../tags/tag1248.xml"/><Relationship Id="rId16" Type="http://schemas.openxmlformats.org/officeDocument/2006/relationships/tags" Target="../tags/tag1110.xml"/><Relationship Id="rId37" Type="http://schemas.openxmlformats.org/officeDocument/2006/relationships/tags" Target="../tags/tag1131.xml"/><Relationship Id="rId58" Type="http://schemas.openxmlformats.org/officeDocument/2006/relationships/tags" Target="../tags/tag1152.xml"/><Relationship Id="rId79" Type="http://schemas.openxmlformats.org/officeDocument/2006/relationships/tags" Target="../tags/tag1173.xml"/><Relationship Id="rId102" Type="http://schemas.openxmlformats.org/officeDocument/2006/relationships/tags" Target="../tags/tag1196.xml"/><Relationship Id="rId123" Type="http://schemas.openxmlformats.org/officeDocument/2006/relationships/tags" Target="../tags/tag1217.xml"/><Relationship Id="rId144" Type="http://schemas.openxmlformats.org/officeDocument/2006/relationships/tags" Target="../tags/tag1238.xml"/><Relationship Id="rId90" Type="http://schemas.openxmlformats.org/officeDocument/2006/relationships/tags" Target="../tags/tag1184.xml"/><Relationship Id="rId165" Type="http://schemas.openxmlformats.org/officeDocument/2006/relationships/chart" Target="../charts/chart24.xml"/><Relationship Id="rId27" Type="http://schemas.openxmlformats.org/officeDocument/2006/relationships/tags" Target="../tags/tag1121.xml"/><Relationship Id="rId48" Type="http://schemas.openxmlformats.org/officeDocument/2006/relationships/tags" Target="../tags/tag1142.xml"/><Relationship Id="rId69" Type="http://schemas.openxmlformats.org/officeDocument/2006/relationships/tags" Target="../tags/tag1163.xml"/><Relationship Id="rId113" Type="http://schemas.openxmlformats.org/officeDocument/2006/relationships/tags" Target="../tags/tag1207.xml"/><Relationship Id="rId134" Type="http://schemas.openxmlformats.org/officeDocument/2006/relationships/tags" Target="../tags/tag1228.xml"/><Relationship Id="rId80" Type="http://schemas.openxmlformats.org/officeDocument/2006/relationships/tags" Target="../tags/tag1174.xml"/><Relationship Id="rId155" Type="http://schemas.openxmlformats.org/officeDocument/2006/relationships/tags" Target="../tags/tag12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99490CD-87F4-5A04-DE60-BE63EEBD87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8576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9490CD-87F4-5A04-DE60-BE63EEBD8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4C1EEC9-BC41-8798-6B4C-7B3B72CE3B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18596"/>
            <a:ext cx="8137003" cy="2387600"/>
          </a:xfrm>
        </p:spPr>
        <p:txBody>
          <a:bodyPr vert="horz"/>
          <a:lstStyle/>
          <a:p>
            <a:r>
              <a:rPr lang="en-US" dirty="0"/>
              <a:t>202510 </a:t>
            </a:r>
            <a:r>
              <a:rPr lang="zh-CN" altLang="en-US" dirty="0"/>
              <a:t>公司业绩回顾</a:t>
            </a:r>
            <a:endParaRPr lang="en-US" dirty="0"/>
          </a:p>
        </p:txBody>
      </p:sp>
      <p:sp>
        <p:nvSpPr>
          <p:cNvPr id="10" name="副标题 9">
            <a:extLst>
              <a:ext uri="{FF2B5EF4-FFF2-40B4-BE49-F238E27FC236}">
                <a16:creationId xmlns:a16="http://schemas.microsoft.com/office/drawing/2014/main" id="{EF12176B-34A0-0457-B55D-1031827A88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AI</a:t>
            </a:r>
          </a:p>
        </p:txBody>
      </p:sp>
    </p:spTree>
    <p:extLst>
      <p:ext uri="{BB962C8B-B14F-4D97-AF65-F5344CB8AC3E}">
        <p14:creationId xmlns:p14="http://schemas.microsoft.com/office/powerpoint/2010/main" val="3984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77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50" imgW="426" imgH="426" progId="TCLayout.ActiveDocument.1">
                  <p:embed/>
                </p:oleObj>
              </mc:Choice>
              <mc:Fallback>
                <p:oleObj name="think-cell 幻灯片" r:id="rId250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973416" cy="4800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立普妥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少</a:t>
            </a:r>
            <a:r>
              <a:rPr lang="en-US" altLang="zh-CN" sz="2000" dirty="0"/>
              <a:t>1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-52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574M</a:t>
            </a:r>
            <a:r>
              <a:rPr lang="zh-CN" altLang="en-US" sz="2000" dirty="0"/>
              <a:t>转化为渠道库存的减少，</a:t>
            </a:r>
            <a:r>
              <a:rPr lang="en-US" altLang="zh-CN" sz="2000" dirty="0"/>
              <a:t>522M</a:t>
            </a:r>
            <a:r>
              <a:rPr lang="zh-CN" altLang="en-US" sz="2000" dirty="0"/>
              <a:t>流向经销商和辖区外零售总仓不可追踪部分</a:t>
            </a: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7404C743-8614-C318-7925-9AA0F052DF3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781800" y="42306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987675" y="39131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19500" y="402272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52913" y="41703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3" name="直接连接符 1592">
            <a:extLst>
              <a:ext uri="{FF2B5EF4-FFF2-40B4-BE49-F238E27FC236}">
                <a16:creationId xmlns:a16="http://schemas.microsoft.com/office/drawing/2014/main" id="{6BDEA4E6-357A-2358-2347-22267E74416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884738" y="41497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42D15B7-5521-12CB-D591-CE08548AB2A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516563" y="41465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0" name="直接连接符 1599">
            <a:extLst>
              <a:ext uri="{FF2B5EF4-FFF2-40B4-BE49-F238E27FC236}">
                <a16:creationId xmlns:a16="http://schemas.microsoft.com/office/drawing/2014/main" id="{04D1FAC4-6359-D7AF-AB55-F04359BE2FF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148388" y="421640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CDE96436-D6F8-EA3B-0FB1-E87640B0B6D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413625" y="42052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6E65C362-3D27-0291-6F0A-0BC7EA74309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045450" y="42132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3AB8B903-A16B-BA8C-3D32-0D85BAB2F5B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677275" y="4202113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6" name="Chart 3">
            <a:extLst>
              <a:ext uri="{FF2B5EF4-FFF2-40B4-BE49-F238E27FC236}">
                <a16:creationId xmlns:a16="http://schemas.microsoft.com/office/drawing/2014/main" id="{423286F7-AFEE-D6A2-A500-EED61DCF95BD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71997905"/>
              </p:ext>
            </p:extLst>
          </p:nvPr>
        </p:nvGraphicFramePr>
        <p:xfrm>
          <a:off x="2454275" y="3524250"/>
          <a:ext cx="7119938" cy="130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2"/>
          </a:graphicData>
        </a:graphic>
      </p:graphicFrame>
      <p:sp>
        <p:nvSpPr>
          <p:cNvPr id="188" name="矩形 187">
            <a:extLst>
              <a:ext uri="{FF2B5EF4-FFF2-40B4-BE49-F238E27FC236}">
                <a16:creationId xmlns:a16="http://schemas.microsoft.com/office/drawing/2014/main" id="{C965EC32-EE33-323D-65C7-1C5BED4C159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251450" y="4129088"/>
            <a:ext cx="260350" cy="15875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7" name="矩形 186">
            <a:extLst>
              <a:ext uri="{FF2B5EF4-FFF2-40B4-BE49-F238E27FC236}">
                <a16:creationId xmlns:a16="http://schemas.microsoft.com/office/drawing/2014/main" id="{60C05FFC-31AE-FF35-5341-5B840258A5B1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619625" y="4129088"/>
            <a:ext cx="260350" cy="34925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" name="矩形 185">
            <a:extLst>
              <a:ext uri="{FF2B5EF4-FFF2-40B4-BE49-F238E27FC236}">
                <a16:creationId xmlns:a16="http://schemas.microsoft.com/office/drawing/2014/main" id="{33ED4FAF-31BF-1539-5341-2EDEF95869F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987800" y="4129088"/>
            <a:ext cx="260350" cy="34925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863" name="直接连接符 1862">
            <a:extLst>
              <a:ext uri="{FF2B5EF4-FFF2-40B4-BE49-F238E27FC236}">
                <a16:creationId xmlns:a16="http://schemas.microsoft.com/office/drawing/2014/main" id="{B8AA131A-CAA6-74F0-35F0-4DD438CF112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3584575" y="388937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5" name="直接连接符 1864">
            <a:extLst>
              <a:ext uri="{FF2B5EF4-FFF2-40B4-BE49-F238E27FC236}">
                <a16:creationId xmlns:a16="http://schemas.microsoft.com/office/drawing/2014/main" id="{B596BBA7-CFA8-C7CD-A259-A5D704AA331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 flipV="1">
            <a:off x="2952750" y="3965575"/>
            <a:ext cx="47625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9AFFC76A-95C2-7038-5B05-41730F055690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 flipV="1">
            <a:off x="4849813" y="4183062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A40D63EF-C94A-281F-7D75-446D6A80300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6113463" y="412750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48B05335-9390-1CA5-6B14-31F7AA0943E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6746875" y="4138613"/>
            <a:ext cx="47625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23C45A0A-366D-7C03-79DE-77CDCA0DC85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H="1" flipV="1">
            <a:off x="5481638" y="4164013"/>
            <a:ext cx="47625" cy="746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6" name="直接连接符 1865">
            <a:extLst>
              <a:ext uri="{FF2B5EF4-FFF2-40B4-BE49-F238E27FC236}">
                <a16:creationId xmlns:a16="http://schemas.microsoft.com/office/drawing/2014/main" id="{29349289-6412-CAD0-5975-DDD3A3E03B9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4217988" y="400367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F19C5EC0-0FD3-D98D-2D1A-BCF0CFFDAAA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H="1" flipV="1">
            <a:off x="7378700" y="4240213"/>
            <a:ext cx="4762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EF9EBDB4-8B7E-1BAE-BA6D-A82B810740D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8010525" y="4121150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79955FD4-CA7B-6254-FDB9-81026BCE9368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H="1" flipV="1">
            <a:off x="8642350" y="4233863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7426325" y="42306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4CEA34-8AE9-41C6-A20F-05108FD2F355}" type="datetime'''''''''''''''''''-''''''''''''''''''''21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752725" y="40147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0A833D-B61F-495D-AA8C-27F66032FFE3}" type="datetime'''''''''''1''''''2''''4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2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207250" y="414020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56DCA1-EFAC-4311-B674-FF34FDE9401F}" type="datetime'''''4''''''''''''''''''''''6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823200" y="41671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5F58ABD-A5D4-48DC-BE69-AB883480C260}" type="datetime'''''''''''''''''''''''''''''''''''''''''''''''-''56'''''''''">
              <a:rPr lang="zh-CN" altLang="en-US" sz="800" smtClean="0">
                <a:effectLst/>
                <a:latin typeface="+mn-lt"/>
                <a:cs typeface="+mn-cs"/>
              </a:rPr>
              <a:pPr/>
              <a:t>-5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8058150" y="40544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81DC891-C7F4-4B17-A093-1C506F0315EE}" type="datetime'''''''''''''''4''''''''''''''''''''7''''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368675" y="3924300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7191CF-9C55-407F-84B3-C15C2CA56B42}" type="datetime'''''''''''''-''''''''''''''1''''''''''5''''''''''''2'''''''">
              <a:rPr lang="zh-CN" altLang="en-US" sz="800" smtClean="0">
                <a:latin typeface="+mn-lt"/>
                <a:cs typeface="+mn-cs"/>
              </a:rPr>
              <a:pPr/>
              <a:t>-15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689975" y="42275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48A42C-F842-4B43-94CA-DFEEAE4F4376}" type="datetime'''''-''4''''''''''''''''''''''''2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4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632200" y="38227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9C97D3-E61C-4974-84B2-2B15F415F894}" type="datetime'''''''''''''''''''''''''4''6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8470900" y="4117975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DD2EC4-529E-4753-A0E0-093C98D9AC72}" type="datetime'''''''''''5''''''''3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9059863" y="4376738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021762-3B83-43B3-A84F-3F763910DE34}" type="datetime'-''''''''''''''''5''''7''''''''''''''4'''''''''''''''">
              <a:rPr lang="zh-CN" altLang="en-US" sz="800" smtClean="0">
                <a:latin typeface="+mn-lt"/>
                <a:cs typeface="+mn-cs"/>
              </a:rPr>
              <a:pPr/>
              <a:t>-57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9075738" y="38100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D87A57D-051B-47A7-AC01-16E7A3EBE7E6}" type="datetime'''''''''''''''''''''''''''''5''''''''''''2''''2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2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002088" y="4048125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F94D8CE-F9FD-4F0A-A1C0-CD204E7D6F37}" type="datetime'''''''''''''''''''''-''''''''''''''''''''''''1''''80'">
              <a:rPr lang="zh-CN" altLang="en-US" sz="800" smtClean="0">
                <a:latin typeface="+mn-lt"/>
                <a:cs typeface="+mn-cs"/>
              </a:rPr>
              <a:pPr/>
              <a:t>-18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265613" y="39370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1BA05A0-6396-40BC-AE42-68791EE0B6E8}" type="datetime'''''''''''''''''''''''''3''6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897438" y="41751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8D0BE5-7A02-4F51-8008-8A8F5E7C5E1E}" type="datetime'''''''''-''''''''''''''''''''''''25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678363" y="4079875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96E5075-CEEC-4F90-92DD-1068FBB1B6B7}" type="datetime'''''4''''''''''''''''''''''''''''''6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529263" y="41719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2E0C15B-2192-4595-BE4A-5B202B770906}" type="datetime'-''''''2''''''''''7''''''''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310188" y="4067175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CE03F5-B45E-4401-8D63-06CC1F3607C2}" type="datetime'''''''''''''''''''''''''''3''''''''''''''''''1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897563" y="4133850"/>
            <a:ext cx="2333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3BAB2C-1BC3-49BF-94F8-FB9F6AD8EA56}" type="datetime'''''''-''1''''''''''''''''''''''''''''''''''''''0''''5'''''''">
              <a:rPr lang="zh-CN" altLang="en-US" sz="800" smtClean="0">
                <a:latin typeface="+mn-lt"/>
                <a:cs typeface="+mn-cs"/>
              </a:rPr>
              <a:pPr/>
              <a:t>-10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161088" y="40608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D0257B9-7214-4778-AAC0-37B83C43E62C}" type="datetime'''''''''''''''''''''''''37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559550" y="418465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C456C6-B181-4B3E-ABAA-23B2BA31F754}" type="datetime'''''-''''''''''''''''''''''''''''''''''''6''''''9'''''">
              <a:rPr lang="zh-CN" altLang="en-US" sz="800" smtClean="0">
                <a:effectLst/>
                <a:latin typeface="+mn-lt"/>
                <a:cs typeface="+mn-cs"/>
              </a:rPr>
              <a:pPr/>
              <a:t>-6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794500" y="40719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57DA19E-6D47-4466-803F-39A4DEC06FF5}" type="datetime'56''''''''''''''''''''''''''''''''''''''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CB21D502-9241-3FA4-E504-AA9F1B448F9B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2752725" y="37544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CC4608-E4F6-40B3-9096-4431B6CBB44F}" type="datetime'''''''''''2''''''''''''''''''''''''''''2''''''''''6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2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3000375" y="39385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F2FD46A-6445-46BD-AD2F-FF2F2755E638}" type="datetime'''''''''''''''''''''''''1''''''''''''''02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02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1919" name="Chart 3">
            <a:extLst>
              <a:ext uri="{FF2B5EF4-FFF2-40B4-BE49-F238E27FC236}">
                <a16:creationId xmlns:a16="http://schemas.microsoft.com/office/drawing/2014/main" id="{679052DD-CF71-D946-1EF0-65274069EA77}"/>
              </a:ext>
            </a:extLst>
          </p:cNvPr>
          <p:cNvGraphicFramePr/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347103193"/>
              </p:ext>
            </p:extLst>
          </p:nvPr>
        </p:nvGraphicFramePr>
        <p:xfrm>
          <a:off x="2454275" y="1541463"/>
          <a:ext cx="6513513" cy="159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3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2536825" y="1649413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667125" y="1649413"/>
            <a:ext cx="52181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275013" y="27209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68FBE9-1380-4229-9911-00F053111269}" type="datetime'''''''''''''''3''''''''''''''84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8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3502025" y="26463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FA89D6-2B5B-472F-95F9-1E9B4D03B99F}" type="datetime'''''''''''''''''''''''''4''''''9''''''0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316288" y="15128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3C470C-B2DA-4B72-935C-B77702F150F8}" type="datetime'''''''''''''''''''''''''''''9''''''''''''''1''''''''''%'">
              <a:rPr lang="en-US" altLang="en-US" smtClean="0">
                <a:latin typeface="+mn-lt"/>
                <a:cs typeface="+mn-cs"/>
              </a:rPr>
              <a:pPr/>
              <a:t>9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3910013" y="26543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59676E-4FC9-4AE6-B591-9293D9BEAFFE}" type="datetime'''''''''''4''''''''''''''''''78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7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4137025" y="25558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5EA2FF-C57E-4E85-9D61-AAC4C3E86EDC}" type="datetime'''''''''''6''''''''''2''''1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3908424" y="137477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76BE5E-D923-4535-8071-383D7062303B}" type="datetime'''''''''''''''1''''''''0''''1''''''''''''%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4545013" y="24685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D1CEFD-FB07-4664-AE99-0E7210C2A82B}" type="datetime'7''''''''''''''''''''''''''''4''''''''''''''''''''''''6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4772025" y="24828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0BD511-B03F-4031-9F40-9B74492DD805}" type="datetime'''''''7''''''''''''''''''''25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4543424" y="1390650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DEE36D-83DD-4112-87F3-E29AA2FADE1B}" type="datetime'''''''''''''''''''''''''''1''0''''''''''''''''0''''%''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5180013" y="25542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854997-37D0-4911-85D7-E59441164DC3}" type="datetime'''''''''''''''''''''6''''''''''''''''''''''''''23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5407025" y="25574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6EE3AA-8D4F-4DE1-8AE1-D975B94F05D0}" type="datetime'''''''''''6''''''''1''''''''''''''''''9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1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5178424" y="13922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5845AC-8A19-4E75-91B7-8BCBE3B3675C}" type="datetime'''''1''''0''''''''''''''''''''''''''''''''0''%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5815013" y="26797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689A7E-0968-4705-A8E1-AB1D8DF58A77}" type="datetime'''''''''''4''''4''''''''''''''''''''2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4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2597149" y="2271713"/>
            <a:ext cx="285750" cy="133350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D6031B0-A915-4934-B27A-D5DA520E2879}" type="datetime'1,''''''''0''''''2''''''''''''9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02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5811837" y="13668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B1D470-1C5A-4058-8812-BB1427BBB05B}" type="datetime'''''1''''0''''''''''2''''''''''''''''''''''''%'">
              <a:rPr lang="en-US" altLang="en-US" smtClean="0">
                <a:latin typeface="+mn-lt"/>
                <a:cs typeface="+mn-cs"/>
              </a:rPr>
              <a:pPr/>
              <a:t>102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6448425" y="25003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96865F-DB29-48C7-8336-AF05292AFB62}" type="datetime'''''''''''''''''''7''''0''''''1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0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6675438" y="24907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96B517-C9EF-4DAC-B0C1-D6F0305BE12B}" type="datetime'7''''''14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1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6446837" y="13668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1E42DA-B481-45C1-B495-3716DD051A8B}" type="datetime'''''''''1''0''2''''''%'''''''''''''''''''''''''">
              <a:rPr lang="en-US" altLang="en-US" smtClean="0">
                <a:latin typeface="+mn-lt"/>
                <a:cs typeface="+mn-cs"/>
              </a:rPr>
              <a:pPr/>
              <a:t>102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7083425" y="25511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869AC6-1277-4EFA-87EB-220B567B88F7}" type="datetime'''''''''''''''''''''''''''''''''''''''6''''''''2''''''''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7310438" y="25669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66478C-A565-47FA-A906-73606A5641A2}" type="datetime'60''4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7081837" y="13763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05E070-1A22-49A9-A6B0-1C3C3DA9827E}" type="datetime'1''''''''''''''''''''0''''1''''''''''%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7718425" y="25352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F870C3-EBF0-42DD-AD78-F0A3F4CCE9BD}" type="datetime'''''''''''''''''''''''''''''''''6''''''5''''''''1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945438" y="25288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F41B24-D740-4435-960E-AFE72FC35524}" type="datetime'''''''''''''''65''''''''''''''''''''''''''''9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7716837" y="13763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703B49-83DB-46B0-AF1C-B128582423BE}" type="datetime'''''1''''''''''01''''''''''''''%''''''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8353425" y="24987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2B4DB0-2470-438A-B98D-61F4D44DA153}" type="datetime'''7''0''''''''''''3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8580438" y="25066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4EBC50-4FAB-42A0-A5F2-8EF2ABE685F8}" type="datetime'''''''6''''''9''''''2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9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8351837" y="138112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042349-5ACE-4572-8D65-0B7934D6525E}" type="datetime'''''''''''1''''''''0''''''''''''''''''1''''''''''%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2867025" y="24288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17CD1F-CD26-4934-B745-73D3C67001F8}" type="datetime'''''8''0''''3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2681288" y="1701800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778CE1-4A18-4B41-ABDA-C75D397FBAC6}" type="datetime'''''''''''7''''''''''''''''''''''8''''''%'''">
              <a:rPr lang="en-US" altLang="en-US" smtClean="0">
                <a:effectLst/>
                <a:latin typeface="+mn-lt"/>
                <a:cs typeface="+mn-cs"/>
              </a:rPr>
              <a:pPr/>
              <a:t>7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6042025" y="26336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361DBB-6373-4CE2-9F71-ED42F8AA12E7}" type="datetime'''''''''''''''''5''''''''''''''''1''''''''''''''''''0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1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744012-C30B-4D88-BD6F-028CF4D1BA82}" type="datetime'''D''''''''''''''''''''''DI''直连''''库''''存''变''''''''''化'''''''">
              <a:rPr lang="en-US" altLang="en-US" smtClean="0">
                <a:latin typeface="+mn-lt"/>
                <a:cs typeface="+mn-cs"/>
              </a:rPr>
              <a:pPr/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3372" y="4374047"/>
            <a:ext cx="3105509" cy="320758"/>
            <a:chOff x="366354" y="1228969"/>
            <a:chExt cx="3105556" cy="321645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66354" y="1228969"/>
              <a:ext cx="1618046" cy="26751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和不可追踪拆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9367838" y="179705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9955213" y="2843213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10541000" y="189230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F8832ABA-3008-773F-734D-F262687ABB74}"/>
              </a:ext>
            </a:extLst>
          </p:cNvPr>
          <p:cNvGraphicFramePr/>
          <p:nvPr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3853950638"/>
              </p:ext>
            </p:extLst>
          </p:nvPr>
        </p:nvGraphicFramePr>
        <p:xfrm>
          <a:off x="8845550" y="1714500"/>
          <a:ext cx="2511425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4"/>
          </a:graphicData>
        </a:graphic>
      </p:graphicFrame>
      <p:sp useBgFill="1">
        <p:nvSpPr>
          <p:cNvPr id="6" name="任意多边形: 形状 5">
            <a:extLst>
              <a:ext uri="{FF2B5EF4-FFF2-40B4-BE49-F238E27FC236}">
                <a16:creationId xmlns:a16="http://schemas.microsoft.com/office/drawing/2014/main" id="{2C2C4ED7-102B-7A76-0459-EFFFF9DA3BA3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9028113" y="2870200"/>
            <a:ext cx="385763" cy="160339"/>
          </a:xfrm>
          <a:custGeom>
            <a:avLst/>
            <a:gdLst/>
            <a:ahLst/>
            <a:cxnLst/>
            <a:rect l="0" t="0" r="0" b="0"/>
            <a:pathLst>
              <a:path w="385763" h="160339">
                <a:moveTo>
                  <a:pt x="0" y="103188"/>
                </a:moveTo>
                <a:lnTo>
                  <a:pt x="385762" y="0"/>
                </a:lnTo>
                <a:lnTo>
                  <a:pt x="385762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016566AD-0B56-AD0F-0663-30E06A491A07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0788650" y="2870200"/>
            <a:ext cx="385764" cy="160339"/>
          </a:xfrm>
          <a:custGeom>
            <a:avLst/>
            <a:gdLst/>
            <a:ahLst/>
            <a:cxnLst/>
            <a:rect l="0" t="0" r="0" b="0"/>
            <a:pathLst>
              <a:path w="385764" h="160339">
                <a:moveTo>
                  <a:pt x="0" y="103188"/>
                </a:moveTo>
                <a:lnTo>
                  <a:pt x="385763" y="0"/>
                </a:lnTo>
                <a:lnTo>
                  <a:pt x="385763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ABF05F1C-33DD-11FD-0425-CA8E1F53B05D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9028113" y="287020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23C1F1A-3BC3-0799-840F-2C298F88B503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9028113" y="292735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297C3C8-DAFC-C3E7-B6A2-6544A4C7CC5D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10788650" y="287020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D021103-5F81-10F4-C4B4-1850B5EE2255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0788650" y="292735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 flipV="1">
            <a:off x="10980738" y="1601789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03"/>
            </p:custDataLst>
          </p:nvPr>
        </p:nvCxnSpPr>
        <p:spPr bwMode="auto">
          <a:xfrm flipH="1">
            <a:off x="9220199" y="1601788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9220200" y="1601788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gray">
          <a:xfrm>
            <a:off x="9045575" y="2341563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F03150-CADB-4988-8C78-4229F73D0D09}" type="datetime'''''6'''',''''''''''''''''''''''''''4''''3''''''''''7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,437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9061450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gray">
          <a:xfrm>
            <a:off x="9664700" y="2235200"/>
            <a:ext cx="287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19B909-CECE-4DB3-A8C3-2BBC69585F90}" type="datetime'''''''''-''''''''5''7''''''''''''''''4'''''''''''">
              <a:rPr lang="zh-CN" altLang="en-US" sz="1000" smtClean="0">
                <a:latin typeface="+mn-lt"/>
                <a:cs typeface="+mn-cs"/>
              </a:rPr>
              <a:pPr/>
              <a:t>-574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648825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mtClean="0">
                <a:latin typeface="+mn-lt"/>
                <a:cs typeface="+mn-cs"/>
              </a:rPr>
              <a:pPr/>
              <a:t>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10271125" y="228282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C6D8BAD-B088-49E1-AA77-F19C42775E2F}" type="datetime'5''''''''''''2''''''''2''''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522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10234613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gray">
          <a:xfrm>
            <a:off x="10806113" y="2389188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1669DF-633C-49C8-9807-FDA2A1F57B70}" type="datetime'6'''''''''''''''''''''''',''''''''3''''''''8''4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,384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10821988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mtClean="0">
                <a:latin typeface="+mn-lt"/>
                <a:cs typeface="+mn-cs"/>
              </a:rPr>
              <a:pPr/>
              <a:t>工厂发货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9917113" y="1482725"/>
            <a:ext cx="365125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0B4F24-AB86-45B4-AE5C-992CAA180D8C}" type="datetime'''''''''''''''''''''+''''''1''''''''''''''%'''''''''''''">
              <a:rPr lang="en-US" altLang="en-US" sz="1000" smtClean="0">
                <a:effectLst/>
                <a:latin typeface="+mn-lt"/>
                <a:cs typeface="+mn-cs"/>
              </a:rPr>
              <a:pPr/>
              <a:t>+1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>
            <a:off x="9315450" y="4144963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>
            <a:off x="9899650" y="429418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9" name="直接连接符 1718">
            <a:extLst>
              <a:ext uri="{FF2B5EF4-FFF2-40B4-BE49-F238E27FC236}">
                <a16:creationId xmlns:a16="http://schemas.microsoft.com/office/drawing/2014/main" id="{86D50972-24CA-21B3-7A84-225DF0E2D40A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>
            <a:off x="10482263" y="4319588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90" name="Chart 3">
            <a:extLst>
              <a:ext uri="{FF2B5EF4-FFF2-40B4-BE49-F238E27FC236}">
                <a16:creationId xmlns:a16="http://schemas.microsoft.com/office/drawing/2014/main" id="{01D833B7-9111-997D-DFCB-C5D96AA8941F}"/>
              </a:ext>
            </a:extLst>
          </p:cNvPr>
          <p:cNvGraphicFramePr/>
          <p:nvPr>
            <p:custDataLst>
              <p:tags r:id="rId117"/>
            </p:custDataLst>
            <p:extLst>
              <p:ext uri="{D42A27DB-BD31-4B8C-83A1-F6EECF244321}">
                <p14:modId xmlns:p14="http://schemas.microsoft.com/office/powerpoint/2010/main" val="518164741"/>
              </p:ext>
            </p:extLst>
          </p:nvPr>
        </p:nvGraphicFramePr>
        <p:xfrm>
          <a:off x="8813800" y="4062413"/>
          <a:ext cx="2500313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5"/>
          </a:graphicData>
        </a:graphic>
      </p:graphicFrame>
      <p:sp>
        <p:nvSpPr>
          <p:cNvPr id="1880" name="Text Placeholder 3">
            <a:extLst>
              <a:ext uri="{FF2B5EF4-FFF2-40B4-BE49-F238E27FC236}">
                <a16:creationId xmlns:a16="http://schemas.microsoft.com/office/drawing/2014/main" id="{4B9753A8-D625-4D4F-29EB-DB60BCAC028E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8909050" y="477520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6775C-240B-4C51-9C42-E019FF05925F}" type="datetime'20''''2''5''''''''''10''''Y''''''''T''''''''''D''''''''''''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gray">
          <a:xfrm>
            <a:off x="9656763" y="4152900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BA2A72F-0179-42DE-B7B3-A4881E2BEB81}" type="datetime'''''''''-''''''''''''''''''''1''''''''44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2" name="Text Placeholder 3">
            <a:extLst>
              <a:ext uri="{FF2B5EF4-FFF2-40B4-BE49-F238E27FC236}">
                <a16:creationId xmlns:a16="http://schemas.microsoft.com/office/drawing/2014/main" id="{226A4E37-E112-9678-9034-CF8BCA141FDE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9613900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98A296-3918-4038-AC79-4ECF9DD02FC1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10267950" y="4240213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68F6D-7047-4502-9C7C-F1D09A83E3FE}" type="datetime'''''''''''''''''-''''''''2''''4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3" name="Text Placeholder 3">
            <a:extLst>
              <a:ext uri="{FF2B5EF4-FFF2-40B4-BE49-F238E27FC236}">
                <a16:creationId xmlns:a16="http://schemas.microsoft.com/office/drawing/2014/main" id="{929925F6-0E93-EC22-B300-E21F72946F4C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10196513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0F996-E231-4B7C-9137-85B53E21A439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5" name="Text Placeholder 3">
            <a:extLst>
              <a:ext uri="{FF2B5EF4-FFF2-40B4-BE49-F238E27FC236}">
                <a16:creationId xmlns:a16="http://schemas.microsoft.com/office/drawing/2014/main" id="{1BE56B6A-3C30-4B59-A6C7-170064E01044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10823575" y="4464050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0803284-05A4-43F6-BA13-B1ACB35E9AB7}" type="datetime'''''''''''''''''''''''''-''''4''''''''0''''''''6'">
              <a:rPr lang="zh-CN" altLang="en-US" sz="800" smtClean="0">
                <a:effectLst/>
                <a:latin typeface="+mn-lt"/>
                <a:cs typeface="+mn-cs"/>
              </a:rPr>
              <a:pPr/>
              <a:t>-40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4" name="Text Placeholder 3">
            <a:extLst>
              <a:ext uri="{FF2B5EF4-FFF2-40B4-BE49-F238E27FC236}">
                <a16:creationId xmlns:a16="http://schemas.microsoft.com/office/drawing/2014/main" id="{7D8DCB6C-4AAA-0195-9FB6-084C41ED8B42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10729913" y="477520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973EDA-4054-487B-BA87-C6E0A39457B5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AA91BECB-5B54-69C8-9FD2-C75EB254549A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>
            <a:off x="8045450" y="56038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接连接符 142">
            <a:extLst>
              <a:ext uri="{FF2B5EF4-FFF2-40B4-BE49-F238E27FC236}">
                <a16:creationId xmlns:a16="http://schemas.microsoft.com/office/drawing/2014/main" id="{EC6E5469-1FE6-DD66-D4B3-9D848B4C085E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>
            <a:off x="7523163" y="5595938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直接连接符 150">
            <a:extLst>
              <a:ext uri="{FF2B5EF4-FFF2-40B4-BE49-F238E27FC236}">
                <a16:creationId xmlns:a16="http://schemas.microsoft.com/office/drawing/2014/main" id="{9723B0F6-7B76-18D9-F0D3-32721AEF809A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auto">
          <a:xfrm>
            <a:off x="4884738" y="55419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C0567C39-9F79-6F76-49F7-7CB10EA59979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auto">
          <a:xfrm>
            <a:off x="7413625" y="55959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直接连接符 139">
            <a:extLst>
              <a:ext uri="{FF2B5EF4-FFF2-40B4-BE49-F238E27FC236}">
                <a16:creationId xmlns:a16="http://schemas.microsoft.com/office/drawing/2014/main" id="{763F88E0-5513-4C71-F9E0-97729260EA72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auto">
          <a:xfrm>
            <a:off x="2987675" y="53038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9CDBEADC-815A-1DE7-CA91-4CB63C47DC6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auto">
          <a:xfrm>
            <a:off x="6781800" y="56213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接连接符 140">
            <a:extLst>
              <a:ext uri="{FF2B5EF4-FFF2-40B4-BE49-F238E27FC236}">
                <a16:creationId xmlns:a16="http://schemas.microsoft.com/office/drawing/2014/main" id="{3BF1E16E-B973-7A15-0FB6-8C5C2D450EE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auto">
          <a:xfrm>
            <a:off x="4252913" y="55626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3CC97B79-ABD5-FDBF-D366-DA42E71FC9E2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>
            <a:off x="6348413" y="560863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0572583-446A-9E12-D592-41BAAB8975DE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auto">
          <a:xfrm>
            <a:off x="6148388" y="56086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8" name="直接连接符 1977">
            <a:extLst>
              <a:ext uri="{FF2B5EF4-FFF2-40B4-BE49-F238E27FC236}">
                <a16:creationId xmlns:a16="http://schemas.microsoft.com/office/drawing/2014/main" id="{8C8C90B0-867A-6A74-FA4A-96AD431191E3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>
            <a:off x="5516563" y="55372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8D999A4-47CD-480C-D9EB-7552B724F0C4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>
            <a:off x="3619500" y="541337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接连接符 159">
            <a:extLst>
              <a:ext uri="{FF2B5EF4-FFF2-40B4-BE49-F238E27FC236}">
                <a16:creationId xmlns:a16="http://schemas.microsoft.com/office/drawing/2014/main" id="{61388DCD-972D-3F96-78FD-210E27BB1B3E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>
            <a:off x="8677275" y="5592763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80" name="Chart 3">
            <a:extLst>
              <a:ext uri="{FF2B5EF4-FFF2-40B4-BE49-F238E27FC236}">
                <a16:creationId xmlns:a16="http://schemas.microsoft.com/office/drawing/2014/main" id="{B7C9306A-2DDE-0C4B-49EB-26B87CA6FEF6}"/>
              </a:ext>
            </a:extLst>
          </p:cNvPr>
          <p:cNvGraphicFramePr/>
          <p:nvPr>
            <p:custDataLst>
              <p:tags r:id="rId137"/>
            </p:custDataLst>
            <p:extLst>
              <p:ext uri="{D42A27DB-BD31-4B8C-83A1-F6EECF244321}">
                <p14:modId xmlns:p14="http://schemas.microsoft.com/office/powerpoint/2010/main" val="1996026338"/>
              </p:ext>
            </p:extLst>
          </p:nvPr>
        </p:nvGraphicFramePr>
        <p:xfrm>
          <a:off x="2454275" y="4916488"/>
          <a:ext cx="7119938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6"/>
          </a:graphicData>
        </a:graphic>
      </p:graphicFrame>
      <p:sp>
        <p:nvSpPr>
          <p:cNvPr id="150" name="矩形 149">
            <a:extLst>
              <a:ext uri="{FF2B5EF4-FFF2-40B4-BE49-F238E27FC236}">
                <a16:creationId xmlns:a16="http://schemas.microsoft.com/office/drawing/2014/main" id="{B313F119-5079-3C27-29BE-A89A580929FA}"/>
              </a:ext>
            </a:extLst>
          </p:cNvPr>
          <p:cNvSpPr/>
          <p:nvPr>
            <p:custDataLst>
              <p:tags r:id="rId138"/>
            </p:custDataLst>
          </p:nvPr>
        </p:nvSpPr>
        <p:spPr bwMode="auto">
          <a:xfrm>
            <a:off x="5883275" y="5541963"/>
            <a:ext cx="260350" cy="6350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13FB7897-25D1-76AE-1F95-0A7BEA1C3C06}"/>
              </a:ext>
            </a:extLst>
          </p:cNvPr>
          <p:cNvSpPr/>
          <p:nvPr>
            <p:custDataLst>
              <p:tags r:id="rId139"/>
            </p:custDataLst>
          </p:nvPr>
        </p:nvSpPr>
        <p:spPr bwMode="auto">
          <a:xfrm>
            <a:off x="5251450" y="5521325"/>
            <a:ext cx="260350" cy="1587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5F499E19-41E8-DB26-3E42-E587A115979D}"/>
              </a:ext>
            </a:extLst>
          </p:cNvPr>
          <p:cNvSpPr/>
          <p:nvPr>
            <p:custDataLst>
              <p:tags r:id="rId140"/>
            </p:custDataLst>
          </p:nvPr>
        </p:nvSpPr>
        <p:spPr bwMode="auto">
          <a:xfrm>
            <a:off x="4619625" y="5521325"/>
            <a:ext cx="260350" cy="3492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8AC93658-285F-9E93-75E9-096FA300096A}"/>
              </a:ext>
            </a:extLst>
          </p:cNvPr>
          <p:cNvSpPr/>
          <p:nvPr>
            <p:custDataLst>
              <p:tags r:id="rId141"/>
            </p:custDataLst>
          </p:nvPr>
        </p:nvSpPr>
        <p:spPr bwMode="auto">
          <a:xfrm>
            <a:off x="3987800" y="5538788"/>
            <a:ext cx="260350" cy="17463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950" name="直接连接符 1949">
            <a:extLst>
              <a:ext uri="{FF2B5EF4-FFF2-40B4-BE49-F238E27FC236}">
                <a16:creationId xmlns:a16="http://schemas.microsoft.com/office/drawing/2014/main" id="{BB5813E0-A557-C003-BCB5-75AD7EDCD463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 flipH="1">
            <a:off x="3584575" y="5121275"/>
            <a:ext cx="47625" cy="152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02D367C-1A02-3459-9C2D-9BD3F848C065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 flipH="1" flipV="1">
            <a:off x="2952750" y="5540375"/>
            <a:ext cx="47625" cy="1222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0" name="直接连接符 1969">
            <a:extLst>
              <a:ext uri="{FF2B5EF4-FFF2-40B4-BE49-F238E27FC236}">
                <a16:creationId xmlns:a16="http://schemas.microsoft.com/office/drawing/2014/main" id="{B61163D6-94CA-2F7C-186C-F48DF9E6356C}"/>
              </a:ext>
            </a:extLst>
          </p:cNvPr>
          <p:cNvCxnSpPr>
            <a:cxnSpLocks/>
          </p:cNvCxnSpPr>
          <p:nvPr>
            <p:custDataLst>
              <p:tags r:id="rId144"/>
            </p:custDataLst>
          </p:nvPr>
        </p:nvCxnSpPr>
        <p:spPr bwMode="auto">
          <a:xfrm flipH="1" flipV="1">
            <a:off x="6746875" y="5621338"/>
            <a:ext cx="47625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2" name="直接连接符 1861">
            <a:extLst>
              <a:ext uri="{FF2B5EF4-FFF2-40B4-BE49-F238E27FC236}">
                <a16:creationId xmlns:a16="http://schemas.microsoft.com/office/drawing/2014/main" id="{91C00302-45AE-14F2-B541-2E8ED262889F}"/>
              </a:ext>
            </a:extLst>
          </p:cNvPr>
          <p:cNvCxnSpPr>
            <a:cxnSpLocks/>
          </p:cNvCxnSpPr>
          <p:nvPr>
            <p:custDataLst>
              <p:tags r:id="rId145"/>
            </p:custDataLst>
          </p:nvPr>
        </p:nvCxnSpPr>
        <p:spPr bwMode="auto">
          <a:xfrm flipH="1">
            <a:off x="6746875" y="5462588"/>
            <a:ext cx="47625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7" name="直接连接符 1946">
            <a:extLst>
              <a:ext uri="{FF2B5EF4-FFF2-40B4-BE49-F238E27FC236}">
                <a16:creationId xmlns:a16="http://schemas.microsoft.com/office/drawing/2014/main" id="{17B4B5F2-E8FC-ADF3-19A3-A3DB0AB35F4C}"/>
              </a:ext>
            </a:extLst>
          </p:cNvPr>
          <p:cNvCxnSpPr>
            <a:cxnSpLocks/>
          </p:cNvCxnSpPr>
          <p:nvPr>
            <p:custDataLst>
              <p:tags r:id="rId146"/>
            </p:custDataLst>
          </p:nvPr>
        </p:nvCxnSpPr>
        <p:spPr bwMode="auto">
          <a:xfrm flipH="1">
            <a:off x="2952750" y="5395913"/>
            <a:ext cx="47625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49D63ACB-A030-422B-EE90-7AC4A69D43CA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 flipH="1" flipV="1">
            <a:off x="6746875" y="5657850"/>
            <a:ext cx="47625" cy="1222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6" name="直接连接符 1945">
            <a:extLst>
              <a:ext uri="{FF2B5EF4-FFF2-40B4-BE49-F238E27FC236}">
                <a16:creationId xmlns:a16="http://schemas.microsoft.com/office/drawing/2014/main" id="{740B77F3-F5EF-99B7-D85D-596545B2F04F}"/>
              </a:ext>
            </a:extLst>
          </p:cNvPr>
          <p:cNvCxnSpPr>
            <a:cxnSpLocks/>
          </p:cNvCxnSpPr>
          <p:nvPr>
            <p:custDataLst>
              <p:tags r:id="rId148"/>
            </p:custDataLst>
          </p:nvPr>
        </p:nvCxnSpPr>
        <p:spPr bwMode="auto">
          <a:xfrm flipH="1" flipV="1">
            <a:off x="2952750" y="5438775"/>
            <a:ext cx="47625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8" name="直接连接符 1967">
            <a:extLst>
              <a:ext uri="{FF2B5EF4-FFF2-40B4-BE49-F238E27FC236}">
                <a16:creationId xmlns:a16="http://schemas.microsoft.com/office/drawing/2014/main" id="{A8892081-58E1-8C46-B95A-9A34557F7E70}"/>
              </a:ext>
            </a:extLst>
          </p:cNvPr>
          <p:cNvCxnSpPr>
            <a:cxnSpLocks/>
          </p:cNvCxnSpPr>
          <p:nvPr>
            <p:custDataLst>
              <p:tags r:id="rId149"/>
            </p:custDataLst>
          </p:nvPr>
        </p:nvCxnSpPr>
        <p:spPr bwMode="auto">
          <a:xfrm flipH="1">
            <a:off x="6746875" y="5529263"/>
            <a:ext cx="476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7F758961-9016-F5C2-68B7-AAE51E36BFF0}"/>
              </a:ext>
            </a:extLst>
          </p:cNvPr>
          <p:cNvCxnSpPr/>
          <p:nvPr>
            <p:custDataLst>
              <p:tags r:id="rId150"/>
            </p:custDataLst>
          </p:nvPr>
        </p:nvCxnSpPr>
        <p:spPr bwMode="auto">
          <a:xfrm flipH="1">
            <a:off x="7378700" y="5459413"/>
            <a:ext cx="4762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3" name="直接连接符 1972">
            <a:extLst>
              <a:ext uri="{FF2B5EF4-FFF2-40B4-BE49-F238E27FC236}">
                <a16:creationId xmlns:a16="http://schemas.microsoft.com/office/drawing/2014/main" id="{085651EA-5F71-39DB-DA57-2D49ED431E64}"/>
              </a:ext>
            </a:extLst>
          </p:cNvPr>
          <p:cNvCxnSpPr>
            <a:cxnSpLocks/>
          </p:cNvCxnSpPr>
          <p:nvPr>
            <p:custDataLst>
              <p:tags r:id="rId151"/>
            </p:custDataLst>
          </p:nvPr>
        </p:nvCxnSpPr>
        <p:spPr bwMode="auto">
          <a:xfrm flipH="1" flipV="1">
            <a:off x="7378700" y="5624513"/>
            <a:ext cx="47625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6E16BA44-DF5E-92A1-A324-C50C080F024E}"/>
              </a:ext>
            </a:extLst>
          </p:cNvPr>
          <p:cNvCxnSpPr/>
          <p:nvPr>
            <p:custDataLst>
              <p:tags r:id="rId152"/>
            </p:custDataLst>
          </p:nvPr>
        </p:nvCxnSpPr>
        <p:spPr bwMode="auto">
          <a:xfrm flipH="1">
            <a:off x="3584575" y="5321300"/>
            <a:ext cx="47625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2" name="直接连接符 1971">
            <a:extLst>
              <a:ext uri="{FF2B5EF4-FFF2-40B4-BE49-F238E27FC236}">
                <a16:creationId xmlns:a16="http://schemas.microsoft.com/office/drawing/2014/main" id="{946F64BB-7EDF-43B9-855E-C56DFD4F7694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auto">
          <a:xfrm flipH="1">
            <a:off x="7378700" y="5526088"/>
            <a:ext cx="47625" cy="68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2" name="直接连接符 1951">
            <a:extLst>
              <a:ext uri="{FF2B5EF4-FFF2-40B4-BE49-F238E27FC236}">
                <a16:creationId xmlns:a16="http://schemas.microsoft.com/office/drawing/2014/main" id="{9F6C5C97-6F97-B3B9-2103-574FFD071DD2}"/>
              </a:ext>
            </a:extLst>
          </p:cNvPr>
          <p:cNvCxnSpPr/>
          <p:nvPr>
            <p:custDataLst>
              <p:tags r:id="rId154"/>
            </p:custDataLst>
          </p:nvPr>
        </p:nvCxnSpPr>
        <p:spPr bwMode="auto">
          <a:xfrm flipH="1" flipV="1">
            <a:off x="3584575" y="5440363"/>
            <a:ext cx="47625" cy="65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1" name="直接连接符 1970">
            <a:extLst>
              <a:ext uri="{FF2B5EF4-FFF2-40B4-BE49-F238E27FC236}">
                <a16:creationId xmlns:a16="http://schemas.microsoft.com/office/drawing/2014/main" id="{C76DB44D-D127-F15A-CD49-74A578661CB9}"/>
              </a:ext>
            </a:extLst>
          </p:cNvPr>
          <p:cNvCxnSpPr>
            <a:cxnSpLocks/>
          </p:cNvCxnSpPr>
          <p:nvPr>
            <p:custDataLst>
              <p:tags r:id="rId155"/>
            </p:custDataLst>
          </p:nvPr>
        </p:nvCxnSpPr>
        <p:spPr bwMode="auto">
          <a:xfrm flipH="1" flipV="1">
            <a:off x="7378700" y="5618163"/>
            <a:ext cx="47625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D0706066-60C2-4883-715C-9FC2C4B1684F}"/>
              </a:ext>
            </a:extLst>
          </p:cNvPr>
          <p:cNvCxnSpPr>
            <a:cxnSpLocks/>
          </p:cNvCxnSpPr>
          <p:nvPr>
            <p:custDataLst>
              <p:tags r:id="rId156"/>
            </p:custDataLst>
          </p:nvPr>
        </p:nvCxnSpPr>
        <p:spPr bwMode="auto">
          <a:xfrm flipH="1">
            <a:off x="4849813" y="5383213"/>
            <a:ext cx="47625" cy="123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6" name="直接连接符 1975">
            <a:extLst>
              <a:ext uri="{FF2B5EF4-FFF2-40B4-BE49-F238E27FC236}">
                <a16:creationId xmlns:a16="http://schemas.microsoft.com/office/drawing/2014/main" id="{E0490FFC-C605-4FCB-60BE-1EAB7760BB1D}"/>
              </a:ext>
            </a:extLst>
          </p:cNvPr>
          <p:cNvCxnSpPr>
            <a:cxnSpLocks/>
          </p:cNvCxnSpPr>
          <p:nvPr>
            <p:custDataLst>
              <p:tags r:id="rId157"/>
            </p:custDataLst>
          </p:nvPr>
        </p:nvCxnSpPr>
        <p:spPr bwMode="auto">
          <a:xfrm flipH="1">
            <a:off x="8010525" y="5445125"/>
            <a:ext cx="47625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9" name="直接连接符 1948">
            <a:extLst>
              <a:ext uri="{FF2B5EF4-FFF2-40B4-BE49-F238E27FC236}">
                <a16:creationId xmlns:a16="http://schemas.microsoft.com/office/drawing/2014/main" id="{C9EE11E5-6901-6EAB-7E18-5ED9D6913D4C}"/>
              </a:ext>
            </a:extLst>
          </p:cNvPr>
          <p:cNvCxnSpPr>
            <a:cxnSpLocks/>
          </p:cNvCxnSpPr>
          <p:nvPr>
            <p:custDataLst>
              <p:tags r:id="rId158"/>
            </p:custDataLst>
          </p:nvPr>
        </p:nvCxnSpPr>
        <p:spPr bwMode="auto">
          <a:xfrm flipH="1">
            <a:off x="3584575" y="5187950"/>
            <a:ext cx="47625" cy="109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4" name="直接连接符 1863">
            <a:extLst>
              <a:ext uri="{FF2B5EF4-FFF2-40B4-BE49-F238E27FC236}">
                <a16:creationId xmlns:a16="http://schemas.microsoft.com/office/drawing/2014/main" id="{BD434C9F-CE09-2FCC-3558-32D5184CF9A3}"/>
              </a:ext>
            </a:extLst>
          </p:cNvPr>
          <p:cNvCxnSpPr>
            <a:cxnSpLocks/>
          </p:cNvCxnSpPr>
          <p:nvPr>
            <p:custDataLst>
              <p:tags r:id="rId159"/>
            </p:custDataLst>
          </p:nvPr>
        </p:nvCxnSpPr>
        <p:spPr bwMode="auto">
          <a:xfrm flipH="1">
            <a:off x="8010525" y="5511800"/>
            <a:ext cx="47625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5" name="直接连接符 1974">
            <a:extLst>
              <a:ext uri="{FF2B5EF4-FFF2-40B4-BE49-F238E27FC236}">
                <a16:creationId xmlns:a16="http://schemas.microsoft.com/office/drawing/2014/main" id="{4DA23102-C219-DB2E-2336-133280BA7949}"/>
              </a:ext>
            </a:extLst>
          </p:cNvPr>
          <p:cNvCxnSpPr/>
          <p:nvPr>
            <p:custDataLst>
              <p:tags r:id="rId160"/>
            </p:custDataLst>
          </p:nvPr>
        </p:nvCxnSpPr>
        <p:spPr bwMode="auto">
          <a:xfrm flipH="1">
            <a:off x="8010525" y="5178425"/>
            <a:ext cx="47625" cy="388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E19570DC-5F68-7B15-B82D-8FF823FAA4BF}"/>
              </a:ext>
            </a:extLst>
          </p:cNvPr>
          <p:cNvCxnSpPr/>
          <p:nvPr>
            <p:custDataLst>
              <p:tags r:id="rId161"/>
            </p:custDataLst>
          </p:nvPr>
        </p:nvCxnSpPr>
        <p:spPr bwMode="auto">
          <a:xfrm flipH="1">
            <a:off x="4217988" y="5470525"/>
            <a:ext cx="47625" cy="42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4" name="直接连接符 1973">
            <a:extLst>
              <a:ext uri="{FF2B5EF4-FFF2-40B4-BE49-F238E27FC236}">
                <a16:creationId xmlns:a16="http://schemas.microsoft.com/office/drawing/2014/main" id="{C67D8BD1-7F82-C908-2853-6E93AA4946A0}"/>
              </a:ext>
            </a:extLst>
          </p:cNvPr>
          <p:cNvCxnSpPr>
            <a:cxnSpLocks/>
          </p:cNvCxnSpPr>
          <p:nvPr>
            <p:custDataLst>
              <p:tags r:id="rId162"/>
            </p:custDataLst>
          </p:nvPr>
        </p:nvCxnSpPr>
        <p:spPr bwMode="auto">
          <a:xfrm flipH="1">
            <a:off x="8010525" y="5311775"/>
            <a:ext cx="47625" cy="279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6" name="直接连接符 1955">
            <a:extLst>
              <a:ext uri="{FF2B5EF4-FFF2-40B4-BE49-F238E27FC236}">
                <a16:creationId xmlns:a16="http://schemas.microsoft.com/office/drawing/2014/main" id="{3A4F1EB6-E0BA-9C77-0516-25ED47D332AC}"/>
              </a:ext>
            </a:extLst>
          </p:cNvPr>
          <p:cNvCxnSpPr>
            <a:cxnSpLocks/>
          </p:cNvCxnSpPr>
          <p:nvPr>
            <p:custDataLst>
              <p:tags r:id="rId163"/>
            </p:custDataLst>
          </p:nvPr>
        </p:nvCxnSpPr>
        <p:spPr bwMode="auto">
          <a:xfrm flipH="1" flipV="1">
            <a:off x="4217988" y="5567363"/>
            <a:ext cx="47625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接连接符 138">
            <a:extLst>
              <a:ext uri="{FF2B5EF4-FFF2-40B4-BE49-F238E27FC236}">
                <a16:creationId xmlns:a16="http://schemas.microsoft.com/office/drawing/2014/main" id="{0F696389-1B0E-632C-5872-FA4364234750}"/>
              </a:ext>
            </a:extLst>
          </p:cNvPr>
          <p:cNvCxnSpPr/>
          <p:nvPr>
            <p:custDataLst>
              <p:tags r:id="rId164"/>
            </p:custDataLst>
          </p:nvPr>
        </p:nvCxnSpPr>
        <p:spPr bwMode="auto">
          <a:xfrm flipH="1" flipV="1">
            <a:off x="8642350" y="5603875"/>
            <a:ext cx="47625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497CD7EF-2824-5BEF-62B8-0B80F9A1815F}"/>
              </a:ext>
            </a:extLst>
          </p:cNvPr>
          <p:cNvCxnSpPr/>
          <p:nvPr>
            <p:custDataLst>
              <p:tags r:id="rId165"/>
            </p:custDataLst>
          </p:nvPr>
        </p:nvCxnSpPr>
        <p:spPr bwMode="auto">
          <a:xfrm flipH="1">
            <a:off x="4217988" y="5337175"/>
            <a:ext cx="476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直接连接符 137">
            <a:extLst>
              <a:ext uri="{FF2B5EF4-FFF2-40B4-BE49-F238E27FC236}">
                <a16:creationId xmlns:a16="http://schemas.microsoft.com/office/drawing/2014/main" id="{AD6E0703-56E5-AA61-ED7D-BD79A77735E1}"/>
              </a:ext>
            </a:extLst>
          </p:cNvPr>
          <p:cNvCxnSpPr/>
          <p:nvPr>
            <p:custDataLst>
              <p:tags r:id="rId166"/>
            </p:custDataLst>
          </p:nvPr>
        </p:nvCxnSpPr>
        <p:spPr bwMode="auto">
          <a:xfrm flipH="1" flipV="1">
            <a:off x="8642350" y="5627688"/>
            <a:ext cx="47625" cy="257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4" name="直接连接符 1953">
            <a:extLst>
              <a:ext uri="{FF2B5EF4-FFF2-40B4-BE49-F238E27FC236}">
                <a16:creationId xmlns:a16="http://schemas.microsoft.com/office/drawing/2014/main" id="{20A2C0B9-1883-F3FF-E1DC-752F91EC303A}"/>
              </a:ext>
            </a:extLst>
          </p:cNvPr>
          <p:cNvCxnSpPr/>
          <p:nvPr>
            <p:custDataLst>
              <p:tags r:id="rId167"/>
            </p:custDataLst>
          </p:nvPr>
        </p:nvCxnSpPr>
        <p:spPr bwMode="auto">
          <a:xfrm flipH="1" flipV="1">
            <a:off x="4217988" y="5603875"/>
            <a:ext cx="47625" cy="117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91E2097A-FBDE-3919-BBD5-CD8987C5B85F}"/>
              </a:ext>
            </a:extLst>
          </p:cNvPr>
          <p:cNvCxnSpPr>
            <a:cxnSpLocks/>
          </p:cNvCxnSpPr>
          <p:nvPr>
            <p:custDataLst>
              <p:tags r:id="rId168"/>
            </p:custDataLst>
          </p:nvPr>
        </p:nvCxnSpPr>
        <p:spPr bwMode="auto">
          <a:xfrm flipH="1" flipV="1">
            <a:off x="8642350" y="5600700"/>
            <a:ext cx="47625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接连接符 158">
            <a:extLst>
              <a:ext uri="{FF2B5EF4-FFF2-40B4-BE49-F238E27FC236}">
                <a16:creationId xmlns:a16="http://schemas.microsoft.com/office/drawing/2014/main" id="{D7BC6C38-0B7D-990D-6937-E5CAFCC70F67}"/>
              </a:ext>
            </a:extLst>
          </p:cNvPr>
          <p:cNvCxnSpPr/>
          <p:nvPr>
            <p:custDataLst>
              <p:tags r:id="rId169"/>
            </p:custDataLst>
          </p:nvPr>
        </p:nvCxnSpPr>
        <p:spPr bwMode="auto">
          <a:xfrm flipH="1">
            <a:off x="9275763" y="57007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50B04F6B-ACB2-79A6-ED46-82A028563371}"/>
              </a:ext>
            </a:extLst>
          </p:cNvPr>
          <p:cNvCxnSpPr/>
          <p:nvPr>
            <p:custDataLst>
              <p:tags r:id="rId170"/>
            </p:custDataLst>
          </p:nvPr>
        </p:nvCxnSpPr>
        <p:spPr bwMode="auto">
          <a:xfrm flipH="1">
            <a:off x="9275763" y="54959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0" name="直接连接符 1959">
            <a:extLst>
              <a:ext uri="{FF2B5EF4-FFF2-40B4-BE49-F238E27FC236}">
                <a16:creationId xmlns:a16="http://schemas.microsoft.com/office/drawing/2014/main" id="{0D1E6ED6-6DFF-2EDC-F8E8-9FCDE6F4F1B4}"/>
              </a:ext>
            </a:extLst>
          </p:cNvPr>
          <p:cNvCxnSpPr>
            <a:cxnSpLocks/>
          </p:cNvCxnSpPr>
          <p:nvPr>
            <p:custDataLst>
              <p:tags r:id="rId171"/>
            </p:custDataLst>
          </p:nvPr>
        </p:nvCxnSpPr>
        <p:spPr bwMode="auto">
          <a:xfrm flipH="1">
            <a:off x="4849813" y="5449888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5A4BDDAB-C480-572D-E7FF-824340033891}"/>
              </a:ext>
            </a:extLst>
          </p:cNvPr>
          <p:cNvCxnSpPr/>
          <p:nvPr>
            <p:custDataLst>
              <p:tags r:id="rId172"/>
            </p:custDataLst>
          </p:nvPr>
        </p:nvCxnSpPr>
        <p:spPr bwMode="auto">
          <a:xfrm flipH="1" flipV="1">
            <a:off x="4849813" y="5578475"/>
            <a:ext cx="47625" cy="55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8" name="直接连接符 1957">
            <a:extLst>
              <a:ext uri="{FF2B5EF4-FFF2-40B4-BE49-F238E27FC236}">
                <a16:creationId xmlns:a16="http://schemas.microsoft.com/office/drawing/2014/main" id="{81B721B0-A2A5-9559-32BC-23AEA842ABB2}"/>
              </a:ext>
            </a:extLst>
          </p:cNvPr>
          <p:cNvCxnSpPr/>
          <p:nvPr>
            <p:custDataLst>
              <p:tags r:id="rId173"/>
            </p:custDataLst>
          </p:nvPr>
        </p:nvCxnSpPr>
        <p:spPr bwMode="auto">
          <a:xfrm flipH="1" flipV="1">
            <a:off x="4849813" y="5597525"/>
            <a:ext cx="47625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5FD6F803-9FF9-C590-DCAD-BD9BBDABE600}"/>
              </a:ext>
            </a:extLst>
          </p:cNvPr>
          <p:cNvCxnSpPr>
            <a:cxnSpLocks/>
          </p:cNvCxnSpPr>
          <p:nvPr>
            <p:custDataLst>
              <p:tags r:id="rId174"/>
            </p:custDataLst>
          </p:nvPr>
        </p:nvCxnSpPr>
        <p:spPr bwMode="auto">
          <a:xfrm flipH="1">
            <a:off x="5481638" y="5445125"/>
            <a:ext cx="47625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3" name="直接连接符 1962">
            <a:extLst>
              <a:ext uri="{FF2B5EF4-FFF2-40B4-BE49-F238E27FC236}">
                <a16:creationId xmlns:a16="http://schemas.microsoft.com/office/drawing/2014/main" id="{4FE9B648-3270-C095-2F9D-1A0856AE5A28}"/>
              </a:ext>
            </a:extLst>
          </p:cNvPr>
          <p:cNvCxnSpPr>
            <a:cxnSpLocks/>
          </p:cNvCxnSpPr>
          <p:nvPr>
            <p:custDataLst>
              <p:tags r:id="rId175"/>
            </p:custDataLst>
          </p:nvPr>
        </p:nvCxnSpPr>
        <p:spPr bwMode="auto">
          <a:xfrm flipH="1" flipV="1">
            <a:off x="5481638" y="5543550"/>
            <a:ext cx="47625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直接连接符 133">
            <a:extLst>
              <a:ext uri="{FF2B5EF4-FFF2-40B4-BE49-F238E27FC236}">
                <a16:creationId xmlns:a16="http://schemas.microsoft.com/office/drawing/2014/main" id="{F39DE797-6E83-C6E1-E872-5E203764A14F}"/>
              </a:ext>
            </a:extLst>
          </p:cNvPr>
          <p:cNvCxnSpPr/>
          <p:nvPr>
            <p:custDataLst>
              <p:tags r:id="rId176"/>
            </p:custDataLst>
          </p:nvPr>
        </p:nvCxnSpPr>
        <p:spPr bwMode="auto">
          <a:xfrm flipH="1" flipV="1">
            <a:off x="5481638" y="5565775"/>
            <a:ext cx="47625" cy="130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1" name="直接连接符 1960">
            <a:extLst>
              <a:ext uri="{FF2B5EF4-FFF2-40B4-BE49-F238E27FC236}">
                <a16:creationId xmlns:a16="http://schemas.microsoft.com/office/drawing/2014/main" id="{7363D516-3D68-CDA6-D255-19B788285CA6}"/>
              </a:ext>
            </a:extLst>
          </p:cNvPr>
          <p:cNvCxnSpPr/>
          <p:nvPr>
            <p:custDataLst>
              <p:tags r:id="rId177"/>
            </p:custDataLst>
          </p:nvPr>
        </p:nvCxnSpPr>
        <p:spPr bwMode="auto">
          <a:xfrm flipH="1" flipV="1">
            <a:off x="5481638" y="5591175"/>
            <a:ext cx="47625" cy="238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7" name="直接连接符 1966">
            <a:extLst>
              <a:ext uri="{FF2B5EF4-FFF2-40B4-BE49-F238E27FC236}">
                <a16:creationId xmlns:a16="http://schemas.microsoft.com/office/drawing/2014/main" id="{EDAA4A02-6541-F89F-268C-C83BBCCEE0EC}"/>
              </a:ext>
            </a:extLst>
          </p:cNvPr>
          <p:cNvCxnSpPr>
            <a:cxnSpLocks/>
          </p:cNvCxnSpPr>
          <p:nvPr>
            <p:custDataLst>
              <p:tags r:id="rId178"/>
            </p:custDataLst>
          </p:nvPr>
        </p:nvCxnSpPr>
        <p:spPr bwMode="auto">
          <a:xfrm flipH="1">
            <a:off x="6113463" y="5516563"/>
            <a:ext cx="47625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3EFA5799-B11E-7367-92C5-B2E499273415}"/>
              </a:ext>
            </a:extLst>
          </p:cNvPr>
          <p:cNvCxnSpPr>
            <a:cxnSpLocks/>
          </p:cNvCxnSpPr>
          <p:nvPr>
            <p:custDataLst>
              <p:tags r:id="rId179"/>
            </p:custDataLst>
          </p:nvPr>
        </p:nvCxnSpPr>
        <p:spPr bwMode="auto">
          <a:xfrm flipH="1" flipV="1">
            <a:off x="6113463" y="5570538"/>
            <a:ext cx="47625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直接连接符 134">
            <a:extLst>
              <a:ext uri="{FF2B5EF4-FFF2-40B4-BE49-F238E27FC236}">
                <a16:creationId xmlns:a16="http://schemas.microsoft.com/office/drawing/2014/main" id="{22845195-F19E-1E7D-D556-3E518C81794D}"/>
              </a:ext>
            </a:extLst>
          </p:cNvPr>
          <p:cNvCxnSpPr/>
          <p:nvPr>
            <p:custDataLst>
              <p:tags r:id="rId180"/>
            </p:custDataLst>
          </p:nvPr>
        </p:nvCxnSpPr>
        <p:spPr bwMode="auto">
          <a:xfrm flipH="1">
            <a:off x="6113463" y="5449888"/>
            <a:ext cx="47625" cy="68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5" name="直接连接符 1964">
            <a:extLst>
              <a:ext uri="{FF2B5EF4-FFF2-40B4-BE49-F238E27FC236}">
                <a16:creationId xmlns:a16="http://schemas.microsoft.com/office/drawing/2014/main" id="{9BE48E32-BAF6-B9CC-D505-9C85A23EB2C2}"/>
              </a:ext>
            </a:extLst>
          </p:cNvPr>
          <p:cNvCxnSpPr>
            <a:cxnSpLocks/>
          </p:cNvCxnSpPr>
          <p:nvPr>
            <p:custDataLst>
              <p:tags r:id="rId181"/>
            </p:custDataLst>
          </p:nvPr>
        </p:nvCxnSpPr>
        <p:spPr bwMode="auto">
          <a:xfrm flipH="1" flipV="1">
            <a:off x="6113463" y="5646738"/>
            <a:ext cx="4762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7" name="直接连接符 1866">
            <a:extLst>
              <a:ext uri="{FF2B5EF4-FFF2-40B4-BE49-F238E27FC236}">
                <a16:creationId xmlns:a16="http://schemas.microsoft.com/office/drawing/2014/main" id="{5620269F-6135-C4D2-BCC3-936DCB4BB8D3}"/>
              </a:ext>
            </a:extLst>
          </p:cNvPr>
          <p:cNvCxnSpPr>
            <a:cxnSpLocks/>
          </p:cNvCxnSpPr>
          <p:nvPr>
            <p:custDataLst>
              <p:tags r:id="rId182"/>
            </p:custDataLst>
          </p:nvPr>
        </p:nvCxnSpPr>
        <p:spPr bwMode="auto">
          <a:xfrm flipH="1">
            <a:off x="8642350" y="5500688"/>
            <a:ext cx="47625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73" name="Text Placeholder 3">
            <a:extLst>
              <a:ext uri="{FF2B5EF4-FFF2-40B4-BE49-F238E27FC236}">
                <a16:creationId xmlns:a16="http://schemas.microsoft.com/office/drawing/2014/main" id="{05407D80-E416-6E11-84C7-DD78FC13A95D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gray">
          <a:xfrm>
            <a:off x="2781300" y="5283200"/>
            <a:ext cx="142875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21BF8A-194F-4D88-BDDD-4E849C245350}" type="datetime'''''''9''''''''''''''''''''''''''''''''''''''''''''9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3" name="Text Placeholder 3">
            <a:extLst>
              <a:ext uri="{FF2B5EF4-FFF2-40B4-BE49-F238E27FC236}">
                <a16:creationId xmlns:a16="http://schemas.microsoft.com/office/drawing/2014/main" id="{EAFD658F-06C7-F532-5625-5D9375F58080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gray">
          <a:xfrm>
            <a:off x="3000375" y="53292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948E199-4223-4D66-AA1A-653E331B9015}" type="datetime'''''''''''''''''''''''''''''8''''''''''''''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2" name="Text Placeholder 3">
            <a:extLst>
              <a:ext uri="{FF2B5EF4-FFF2-40B4-BE49-F238E27FC236}">
                <a16:creationId xmlns:a16="http://schemas.microsoft.com/office/drawing/2014/main" id="{4BA3AAFE-425B-0FE9-F37C-6372EE6EF387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gray">
          <a:xfrm>
            <a:off x="3000375" y="54625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5EEC259-F3C8-44A3-B9AC-BF029D609FC6}" type="datetime'''5''''''''''''''6'''''''''''''''''''''''''''''''''''''''''">
              <a:rPr lang="zh-CN" altLang="en-US" sz="800" smtClean="0">
                <a:latin typeface="+mn-lt"/>
                <a:cs typeface="+mn-cs"/>
              </a:rPr>
              <a:pPr/>
              <a:t>5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1" name="Text Placeholder 3">
            <a:extLst>
              <a:ext uri="{FF2B5EF4-FFF2-40B4-BE49-F238E27FC236}">
                <a16:creationId xmlns:a16="http://schemas.microsoft.com/office/drawing/2014/main" id="{5B56FCE9-40A0-6DB6-DE94-BB939049C5E6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gray">
          <a:xfrm>
            <a:off x="2781300" y="5435600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184BDF-1D09-428C-A8F5-9ABEDE668D73}" type="datetime'''''''6''''''''8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6" name="Text Placeholder 3">
            <a:extLst>
              <a:ext uri="{FF2B5EF4-FFF2-40B4-BE49-F238E27FC236}">
                <a16:creationId xmlns:a16="http://schemas.microsoft.com/office/drawing/2014/main" id="{30D492D9-5BDD-171C-A10A-02BDAD3A9C9A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gray">
          <a:xfrm>
            <a:off x="3397250" y="527685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B46553-9DCD-4706-8977-291F7110307D}" type="datetime'''-''''''''''''''''''''''''77'''''''''''''''''''''''">
              <a:rPr lang="zh-CN" altLang="en-US" sz="800" smtClean="0">
                <a:latin typeface="+mn-lt"/>
                <a:cs typeface="+mn-cs"/>
              </a:rPr>
              <a:pPr/>
              <a:t>-7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1" name="Text Placeholder 3">
            <a:extLst>
              <a:ext uri="{FF2B5EF4-FFF2-40B4-BE49-F238E27FC236}">
                <a16:creationId xmlns:a16="http://schemas.microsoft.com/office/drawing/2014/main" id="{08716696-DF0E-ED84-2AFA-2C9F7E84F462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gray">
          <a:xfrm>
            <a:off x="3632200" y="52546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6B7951A-2B17-48AC-8EEE-18A63C432A51}" type="datetime'''''''-''''''''''''''''''''3''4'">
              <a:rPr lang="zh-CN" altLang="en-US" sz="800" smtClean="0">
                <a:latin typeface="+mn-lt"/>
                <a:cs typeface="+mn-cs"/>
              </a:rPr>
              <a:pPr/>
              <a:t>-3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8" name="Text Placeholder 3">
            <a:extLst>
              <a:ext uri="{FF2B5EF4-FFF2-40B4-BE49-F238E27FC236}">
                <a16:creationId xmlns:a16="http://schemas.microsoft.com/office/drawing/2014/main" id="{F7FFD5AC-6408-3AD4-A244-A3C8BA6B9DA4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gray">
          <a:xfrm>
            <a:off x="3632200" y="543877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8CDC54F-8FF2-4A4A-A9A9-0CDF115ECE45}" type="datetime'''''''''''''''-''''''''''''''4''''''''''''''1'">
              <a:rPr lang="zh-CN" altLang="en-US" sz="800" smtClean="0">
                <a:latin typeface="+mn-lt"/>
                <a:cs typeface="+mn-cs"/>
              </a:rPr>
              <a:pPr/>
              <a:t>-4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7" name="Text Placeholder 3">
            <a:extLst>
              <a:ext uri="{FF2B5EF4-FFF2-40B4-BE49-F238E27FC236}">
                <a16:creationId xmlns:a16="http://schemas.microsoft.com/office/drawing/2014/main" id="{151EFE26-6235-2295-A10E-FF7300A2E6EA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gray">
          <a:xfrm>
            <a:off x="3632200" y="49879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0E3407-5712-4C0C-88D8-5293641CC5CE}" type="datetime'''''''''''''''3''3'''''''''''''''''''''''''">
              <a:rPr lang="zh-CN" altLang="en-US" sz="800" smtClean="0">
                <a:latin typeface="+mn-lt"/>
                <a:cs typeface="+mn-cs"/>
              </a:rPr>
              <a:pPr/>
              <a:t>3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4" name="Text Placeholder 3">
            <a:extLst>
              <a:ext uri="{FF2B5EF4-FFF2-40B4-BE49-F238E27FC236}">
                <a16:creationId xmlns:a16="http://schemas.microsoft.com/office/drawing/2014/main" id="{BD8D97C7-D102-EA5B-14FE-83D8616F578E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gray">
          <a:xfrm>
            <a:off x="3632200" y="51212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42F37F9-9629-4E26-9BC0-B7828FA6EB20}" type="datetime'''''''1''''''''''3'''''''''''''''''">
              <a:rPr lang="zh-CN" altLang="en-US" sz="800" smtClean="0">
                <a:latin typeface="+mn-lt"/>
                <a:cs typeface="+mn-cs"/>
              </a:rPr>
              <a:pPr/>
              <a:t>1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7" name="Text Placeholder 3">
            <a:extLst>
              <a:ext uri="{FF2B5EF4-FFF2-40B4-BE49-F238E27FC236}">
                <a16:creationId xmlns:a16="http://schemas.microsoft.com/office/drawing/2014/main" id="{EF6689EC-B591-6AF1-C4EC-3227A6F667A9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gray">
          <a:xfrm>
            <a:off x="4030663" y="53863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474DF7-AB1B-4E24-89F1-D367EBDCA45E}" type="datetime'''''''''-''''''''''''''''''''77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7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8" name="Text Placeholder 3">
            <a:extLst>
              <a:ext uri="{FF2B5EF4-FFF2-40B4-BE49-F238E27FC236}">
                <a16:creationId xmlns:a16="http://schemas.microsoft.com/office/drawing/2014/main" id="{8365F0EE-90DC-3C07-287A-94B206AADA28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gray">
          <a:xfrm>
            <a:off x="4265613" y="54038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0F985BC-F6FB-4ECD-9FD4-D6CD261B8DC6}" type="datetime'''''''''-''4''0'''''''''''''''''''''''''''''''''''''''''''">
              <a:rPr lang="zh-CN" altLang="en-US" sz="800" smtClean="0">
                <a:latin typeface="+mn-lt"/>
                <a:cs typeface="+mn-cs"/>
              </a:rPr>
              <a:pPr/>
              <a:t>-4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2" name="Text Placeholder 3">
            <a:extLst>
              <a:ext uri="{FF2B5EF4-FFF2-40B4-BE49-F238E27FC236}">
                <a16:creationId xmlns:a16="http://schemas.microsoft.com/office/drawing/2014/main" id="{A9B3259F-B65B-1C87-8132-D8E45EDDAC6A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gray">
          <a:xfrm>
            <a:off x="4265613" y="558800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FB7146-B77B-45E1-A15D-FCD387DBF34F}" type="datetime'''-''''''''''6''''''''''''''''''''''''3'''''''''">
              <a:rPr lang="zh-CN" altLang="en-US" sz="800" smtClean="0">
                <a:latin typeface="+mn-lt"/>
                <a:cs typeface="+mn-cs"/>
              </a:rPr>
              <a:pPr/>
              <a:t>-6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1" name="Text Placeholder 3">
            <a:extLst>
              <a:ext uri="{FF2B5EF4-FFF2-40B4-BE49-F238E27FC236}">
                <a16:creationId xmlns:a16="http://schemas.microsoft.com/office/drawing/2014/main" id="{699F3721-4FDE-B4E5-B0C4-A7324B1A6704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gray">
          <a:xfrm>
            <a:off x="4265613" y="52705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41E4850-FEE7-4E7E-8146-5F4C6F80F0A4}" type="datetime'4''''''''''''''''''''''''''''''''''5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0" name="Text Placeholder 3">
            <a:extLst>
              <a:ext uri="{FF2B5EF4-FFF2-40B4-BE49-F238E27FC236}">
                <a16:creationId xmlns:a16="http://schemas.microsoft.com/office/drawing/2014/main" id="{C0C96CC1-849D-C47F-3011-B0A9D1D4E46A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gray">
          <a:xfrm>
            <a:off x="4265613" y="572135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CFE2C4E-4262-4581-B013-8C94902CE8A0}" type="datetime'''''-''''''''''''''''''''9'''''''">
              <a:rPr lang="zh-CN" altLang="en-US" sz="800" smtClean="0"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9" name="Text Placeholder 3">
            <a:extLst>
              <a:ext uri="{FF2B5EF4-FFF2-40B4-BE49-F238E27FC236}">
                <a16:creationId xmlns:a16="http://schemas.microsoft.com/office/drawing/2014/main" id="{8FADCA6A-0D3C-3458-0D6D-4974113153D6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gray">
          <a:xfrm>
            <a:off x="4897438" y="52498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096AA1C-58D6-4345-9C0D-A2C0D6881E43}" type="datetime'''''''''''''''''''''''''''3'">
              <a:rPr lang="zh-CN" altLang="en-US" sz="800" smtClean="0">
                <a:latin typeface="+mn-lt"/>
                <a:cs typeface="+mn-cs"/>
              </a:rPr>
              <a:pPr/>
              <a:t>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1" name="Text Placeholder 3">
            <a:extLst>
              <a:ext uri="{FF2B5EF4-FFF2-40B4-BE49-F238E27FC236}">
                <a16:creationId xmlns:a16="http://schemas.microsoft.com/office/drawing/2014/main" id="{88E6662D-0776-7053-4A00-AC49E629CB98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gray">
          <a:xfrm>
            <a:off x="3000375" y="55959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513EAE-BDEC-4017-9565-99FFD63709B5}" type="datetime'-''''''5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5" name="Text Placeholder 3">
            <a:extLst>
              <a:ext uri="{FF2B5EF4-FFF2-40B4-BE49-F238E27FC236}">
                <a16:creationId xmlns:a16="http://schemas.microsoft.com/office/drawing/2014/main" id="{E7F286C7-2CCE-DF57-5848-56017BDA4A58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gray">
          <a:xfrm>
            <a:off x="4897438" y="53832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3215EC-9A7F-4374-85F3-25D21BE1C569}" type="datetime'''''''''''''''''''''''''''''''''''''''''''''''''''''4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6" name="Text Placeholder 3">
            <a:extLst>
              <a:ext uri="{FF2B5EF4-FFF2-40B4-BE49-F238E27FC236}">
                <a16:creationId xmlns:a16="http://schemas.microsoft.com/office/drawing/2014/main" id="{A0DF08CB-77C3-AF09-DD50-ECBA6C70CD31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gray">
          <a:xfrm>
            <a:off x="8058150" y="53117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385055-2452-45CD-B93A-84B612AF5DD6}" type="datetime'''''0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4" name="Text Placeholder 3">
            <a:extLst>
              <a:ext uri="{FF2B5EF4-FFF2-40B4-BE49-F238E27FC236}">
                <a16:creationId xmlns:a16="http://schemas.microsoft.com/office/drawing/2014/main" id="{8077CC67-114E-440D-72A2-735F5CE7AAD4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gray">
          <a:xfrm>
            <a:off x="7426325" y="53260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CB8DF34-9C27-4085-AC1D-890B6468C2E6}" type="datetime'''''2''''''''''''''''''''''''9'">
              <a:rPr lang="zh-CN" altLang="en-US" sz="800" smtClean="0">
                <a:latin typeface="+mn-lt"/>
                <a:cs typeface="+mn-cs"/>
              </a:rPr>
              <a:pPr/>
              <a:t>2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68" name="Text Placeholder 3">
            <a:extLst>
              <a:ext uri="{FF2B5EF4-FFF2-40B4-BE49-F238E27FC236}">
                <a16:creationId xmlns:a16="http://schemas.microsoft.com/office/drawing/2014/main" id="{D517B235-34AE-0C88-574E-EE674E6E106A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gray">
          <a:xfrm>
            <a:off x="8058150" y="54451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5AF584-144C-4237-976B-6A1D997C44F9}" type="datetime'-''''''1''''''''''''''''''''''''''''''''''0'''">
              <a:rPr lang="zh-CN" altLang="en-US" sz="800" smtClean="0">
                <a:latin typeface="+mn-lt"/>
                <a:cs typeface="+mn-cs"/>
              </a:rPr>
              <a:pPr/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3" name="Text Placeholder 3">
            <a:extLst>
              <a:ext uri="{FF2B5EF4-FFF2-40B4-BE49-F238E27FC236}">
                <a16:creationId xmlns:a16="http://schemas.microsoft.com/office/drawing/2014/main" id="{E0E6EB9C-DE28-14B6-3D4A-624AC9CC823B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6794500" y="53292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F12B4AE-8C15-4B75-AFBB-97E2653A28DD}" type="datetime'''''''''''''''''''''''''''2''''''''''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40" name="Text Placeholder 3">
            <a:extLst>
              <a:ext uri="{FF2B5EF4-FFF2-40B4-BE49-F238E27FC236}">
                <a16:creationId xmlns:a16="http://schemas.microsoft.com/office/drawing/2014/main" id="{5506685F-6CA3-05CA-6610-3EA74C0D2B1B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gray">
          <a:xfrm>
            <a:off x="7823200" y="556260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0D92C4-182D-493C-A3CE-49713A37880C}" type="datetime'''''''''''''''''''''''''-''4''6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4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9" name="Text Placeholder 3">
            <a:extLst>
              <a:ext uri="{FF2B5EF4-FFF2-40B4-BE49-F238E27FC236}">
                <a16:creationId xmlns:a16="http://schemas.microsoft.com/office/drawing/2014/main" id="{7B391AF9-8203-6A30-657C-FBFB56AE25F8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8058150" y="50450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9F21EA4-974A-40E2-8D83-5536191DE1A4}" type="datetime'''''''''''''3''''''''''''''''''9'''''''''''''''''''''''''''''">
              <a:rPr lang="zh-CN" altLang="en-US" sz="800" smtClean="0">
                <a:latin typeface="+mn-lt"/>
                <a:cs typeface="+mn-cs"/>
              </a:rPr>
              <a:pPr/>
              <a:t>3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0" name="Text Placeholder 3">
            <a:extLst>
              <a:ext uri="{FF2B5EF4-FFF2-40B4-BE49-F238E27FC236}">
                <a16:creationId xmlns:a16="http://schemas.microsoft.com/office/drawing/2014/main" id="{A0D250D8-7915-2211-F695-A7C95122C779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gray">
          <a:xfrm>
            <a:off x="7426325" y="57261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2FB32A8-C381-4713-8E2E-DE5832768BC0}" type="datetime'''''''''''''''''''''''-''''''''''''''''''''''''''7'''''''''">
              <a:rPr lang="zh-CN" altLang="en-US" sz="800" smtClean="0">
                <a:latin typeface="+mn-lt"/>
                <a:cs typeface="+mn-cs"/>
              </a:rPr>
              <a:pPr/>
              <a:t>-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8" name="Text Placeholder 3">
            <a:extLst>
              <a:ext uri="{FF2B5EF4-FFF2-40B4-BE49-F238E27FC236}">
                <a16:creationId xmlns:a16="http://schemas.microsoft.com/office/drawing/2014/main" id="{C4488964-0B6C-771A-98DA-3243D06D7B48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8058150" y="517842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FB423D-CB42-4091-9C47-16B9E47A7E28}" type="datetime'''''''''''''''''''''''''''8''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3" name="Text Placeholder 3">
            <a:extLst>
              <a:ext uri="{FF2B5EF4-FFF2-40B4-BE49-F238E27FC236}">
                <a16:creationId xmlns:a16="http://schemas.microsoft.com/office/drawing/2014/main" id="{DF51D229-C6DB-4285-4680-002C8CD3AEEE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6575425" y="5510213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0FE56F-DE74-464F-A88A-9F3F32186FDD}" type="datetime'''''''''''''''''''''''''''5''''''''''''''''''''''''2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0" name="Text Placeholder 3">
            <a:extLst>
              <a:ext uri="{FF2B5EF4-FFF2-40B4-BE49-F238E27FC236}">
                <a16:creationId xmlns:a16="http://schemas.microsoft.com/office/drawing/2014/main" id="{C6E07732-9031-9168-BFB0-CEF03BD54EC3}"/>
              </a:ext>
            </a:extLst>
          </p:cNvPr>
          <p:cNvSpPr>
            <a:spLocks/>
          </p:cNvSpPr>
          <p:nvPr>
            <p:custDataLst>
              <p:tags r:id="rId209"/>
            </p:custDataLst>
          </p:nvPr>
        </p:nvSpPr>
        <p:spPr bwMode="gray">
          <a:xfrm>
            <a:off x="8689975" y="54340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5AB586E-18E1-4201-B794-88CFF86B4F1B}" type="datetime'4''''''''''''''''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9" name="Text Placeholder 3">
            <a:extLst>
              <a:ext uri="{FF2B5EF4-FFF2-40B4-BE49-F238E27FC236}">
                <a16:creationId xmlns:a16="http://schemas.microsoft.com/office/drawing/2014/main" id="{2BA62A35-183B-B661-2347-DD78A0764786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gray">
          <a:xfrm>
            <a:off x="6161088" y="57165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86603B-E1B8-4276-812A-09423E10B3BF}" type="datetime'''''''''-''''''''''''''''''''''''''''''''''''''''''''1'">
              <a:rPr lang="zh-CN" altLang="en-US" sz="800" smtClean="0"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2" name="Text Placeholder 3">
            <a:extLst>
              <a:ext uri="{FF2B5EF4-FFF2-40B4-BE49-F238E27FC236}">
                <a16:creationId xmlns:a16="http://schemas.microsoft.com/office/drawing/2014/main" id="{09AB5DCE-0365-9D0D-3880-236DD3DFA061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8689975" y="57515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B9E4C66-A4C3-4228-A7D0-631D5154F373}" type="datetime'''''''''''''-''''''''''''''''1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7" name="Text Placeholder 3">
            <a:extLst>
              <a:ext uri="{FF2B5EF4-FFF2-40B4-BE49-F238E27FC236}">
                <a16:creationId xmlns:a16="http://schemas.microsoft.com/office/drawing/2014/main" id="{92E78387-A1A9-4B85-85D5-C376AF73F395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gray">
          <a:xfrm>
            <a:off x="7191375" y="5584825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0D650A-218F-4F10-9861-48CCB7262A9C}" type="datetime'''''''''''''''''''-''4''''3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4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B0C8AEF4-39AF-183D-83E0-75D4AEF3F2B2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8689975" y="58848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860551-1711-4BAA-9BB4-CB8D5FE4D86A}" type="datetime'''''''''-''''''''''''''''''''''''4''''''''''''''''5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4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6" name="Text Placeholder 3">
            <a:extLst>
              <a:ext uri="{FF2B5EF4-FFF2-40B4-BE49-F238E27FC236}">
                <a16:creationId xmlns:a16="http://schemas.microsoft.com/office/drawing/2014/main" id="{BD4723EF-B9F8-BE01-6B9B-B7369FFB0132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gray">
          <a:xfrm>
            <a:off x="7426325" y="54594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69E726D-A984-4585-BB0C-E5CE414F3643}" type="datetime'''4''''''''''''''''''''1'''''''''''">
              <a:rPr lang="zh-CN" altLang="en-US" sz="800" smtClean="0">
                <a:latin typeface="+mn-lt"/>
                <a:cs typeface="+mn-cs"/>
              </a:rPr>
              <a:pPr/>
              <a:t>4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406C4F68-E406-2910-B1EB-71C7C57EF1DD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gray">
          <a:xfrm>
            <a:off x="8470900" y="5507038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8C3B7D-5F51-40A2-B71B-4061EF801D06}" type="datetime'''''''''''''''''''''''4''''6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83" name="Text Placeholder 3">
            <a:extLst>
              <a:ext uri="{FF2B5EF4-FFF2-40B4-BE49-F238E27FC236}">
                <a16:creationId xmlns:a16="http://schemas.microsoft.com/office/drawing/2014/main" id="{125A8E3A-1E53-7643-7C89-103156266D85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8689975" y="56181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CA6022-9CB8-4B17-B366-6218F60C341D}" type="datetime'''''''''''''''''7'''''''''''''''''''''">
              <a:rPr lang="zh-CN" altLang="en-US" sz="800" smtClean="0">
                <a:latin typeface="+mn-lt"/>
                <a:cs typeface="+mn-cs"/>
              </a:rPr>
              <a:pPr/>
              <a:t>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2" name="Text Placeholder 3">
            <a:extLst>
              <a:ext uri="{FF2B5EF4-FFF2-40B4-BE49-F238E27FC236}">
                <a16:creationId xmlns:a16="http://schemas.microsoft.com/office/drawing/2014/main" id="{870F128C-4204-436C-15CB-2F061BDDC964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6794500" y="54625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AC271F3-CE3C-4C26-97D6-1366C742CF23}" type="datetime'''''''''''4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4" name="Text Placeholder 3">
            <a:extLst>
              <a:ext uri="{FF2B5EF4-FFF2-40B4-BE49-F238E27FC236}">
                <a16:creationId xmlns:a16="http://schemas.microsoft.com/office/drawing/2014/main" id="{C78E0AD3-36D9-095B-2798-4F5FE0BC4885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gray">
          <a:xfrm>
            <a:off x="9059863" y="5546725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94FC00-0EC2-4DAB-89F5-47C0310A72AB}" type="datetime'-''''1''4''4'''''''''''''''''''''''''''''''''''''''''''">
              <a:rPr lang="zh-CN" altLang="en-US" sz="800" smtClean="0">
                <a:latin typeface="+mn-lt"/>
                <a:cs typeface="+mn-cs"/>
              </a:rPr>
              <a:pPr/>
              <a:t>-1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5" name="Text Placeholder 3">
            <a:extLst>
              <a:ext uri="{FF2B5EF4-FFF2-40B4-BE49-F238E27FC236}">
                <a16:creationId xmlns:a16="http://schemas.microsoft.com/office/drawing/2014/main" id="{0CCFA2B6-0C72-5E6F-55EA-74947500111E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9323388" y="56340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152E88F-3687-48FA-B19C-49B89E11065A}" type="datetime'''''''''''''-''2''''''''''''''''''''''''4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5" name="Text Placeholder 3">
            <a:extLst>
              <a:ext uri="{FF2B5EF4-FFF2-40B4-BE49-F238E27FC236}">
                <a16:creationId xmlns:a16="http://schemas.microsoft.com/office/drawing/2014/main" id="{F78ED92F-515F-C4BF-58DB-998EDD5BE519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gray">
          <a:xfrm>
            <a:off x="7426325" y="55927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2D89918-B088-4281-BFFB-B1432D05AA98}" type="datetime'''''''5'''''''''''''''''''''''''''''''''''''''">
              <a:rPr lang="zh-CN" altLang="en-US" sz="800" smtClean="0">
                <a:latin typeface="+mn-lt"/>
                <a:cs typeface="+mn-cs"/>
              </a:rPr>
              <a:pPr/>
              <a:t>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78057A8B-CABE-ABE5-3079-1741B1A8B335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9059863" y="5856288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AF9142-FDF2-424D-9CAF-79029E99AC66}" type="datetime'''''''''''''''-''''4''0''''''''''''''''''6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40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702CA7B5-A535-FAC0-8440-4BC4CF141BB7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gray">
          <a:xfrm>
            <a:off x="9075738" y="5159375"/>
            <a:ext cx="2000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DB50F6-440E-454B-8615-5EAAE75C55D6}" type="datetime'''''''''''''''''4''3''''''''''''9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43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BDB35F6-6B9A-BF4E-E283-0B21641E0117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9323388" y="54292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F68DFC4-4377-47ED-8803-800D9F7C3BF2}" type="datetime'''8''''''3'''''''''''''''''''''">
              <a:rPr lang="zh-CN" altLang="en-US" sz="800" smtClean="0">
                <a:latin typeface="+mn-lt"/>
                <a:cs typeface="+mn-cs"/>
              </a:rPr>
              <a:pPr/>
              <a:t>8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2" name="Text Placeholder 3">
            <a:extLst>
              <a:ext uri="{FF2B5EF4-FFF2-40B4-BE49-F238E27FC236}">
                <a16:creationId xmlns:a16="http://schemas.microsoft.com/office/drawing/2014/main" id="{C37B7ED7-4EBB-6773-ED9A-6A67640B094A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6794500" y="56467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2CB839C-9105-43E1-9339-E0963EC31E2E}" type="datetime'''-''''''''''''''''''''''''''2''''''''4'''''''''''''''''">
              <a:rPr lang="zh-CN" altLang="en-US" sz="800" smtClean="0">
                <a:latin typeface="+mn-lt"/>
                <a:cs typeface="+mn-cs"/>
              </a:rPr>
              <a:pPr/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0" name="Text Placeholder 3">
            <a:extLst>
              <a:ext uri="{FF2B5EF4-FFF2-40B4-BE49-F238E27FC236}">
                <a16:creationId xmlns:a16="http://schemas.microsoft.com/office/drawing/2014/main" id="{F2909F36-E45F-A4F3-D879-823A37455F98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6161088" y="5316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08A0CB-4589-4F03-88D2-38E0EA5A3044}" type="datetime'''''''''''''''''''''''''''''''''3''''''''''8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1" name="Text Placeholder 3">
            <a:extLst>
              <a:ext uri="{FF2B5EF4-FFF2-40B4-BE49-F238E27FC236}">
                <a16:creationId xmlns:a16="http://schemas.microsoft.com/office/drawing/2014/main" id="{85F6D3EE-7D32-B4F2-506D-26DA59EA740A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gray">
          <a:xfrm>
            <a:off x="5926138" y="554990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826BD8-EA92-4861-B2C7-B986E4C934B3}" type="datetime'''''-''''5''''''''''''''''7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5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1" name="Text Placeholder 3">
            <a:extLst>
              <a:ext uri="{FF2B5EF4-FFF2-40B4-BE49-F238E27FC236}">
                <a16:creationId xmlns:a16="http://schemas.microsoft.com/office/drawing/2014/main" id="{DDB59E46-B3D0-DBF1-3D2D-D4343AC8894F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gray">
          <a:xfrm>
            <a:off x="6161088" y="55832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3A7CF4C-9720-4036-9AFB-86171A8F85F7}" type="datetime'''''''''''''''''''''''''-''''''3''''''''''''''''''''''4'''''''">
              <a:rPr lang="zh-CN" altLang="en-US" sz="800" smtClean="0">
                <a:latin typeface="+mn-lt"/>
                <a:cs typeface="+mn-cs"/>
              </a:rPr>
              <a:pPr/>
              <a:t>-3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9" name="Text Placeholder 3">
            <a:extLst>
              <a:ext uri="{FF2B5EF4-FFF2-40B4-BE49-F238E27FC236}">
                <a16:creationId xmlns:a16="http://schemas.microsoft.com/office/drawing/2014/main" id="{5C1A9586-BBAB-1982-558D-BDE434FF3DE0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gray">
          <a:xfrm>
            <a:off x="6161088" y="54498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EAFFEB-CEF5-4BDF-A334-9CB011E67461}" type="datetime'''''''''''''''''''''''''''-''1''4'''''''''">
              <a:rPr lang="zh-CN" altLang="en-US" sz="800" smtClean="0"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6" name="Text Placeholder 3">
            <a:extLst>
              <a:ext uri="{FF2B5EF4-FFF2-40B4-BE49-F238E27FC236}">
                <a16:creationId xmlns:a16="http://schemas.microsoft.com/office/drawing/2014/main" id="{40A97F92-77F9-D634-083D-B75C1A67E2A8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5529263" y="582930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5C51DE6-F3AE-4858-A3CA-FC804933FE2A}" type="datetime'''''''-''1''''''''''''''''''''''''''0'''''">
              <a:rPr lang="zh-CN" altLang="en-US" sz="800" smtClean="0">
                <a:latin typeface="+mn-lt"/>
                <a:cs typeface="+mn-cs"/>
              </a:rPr>
              <a:pPr/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7" name="Text Placeholder 3">
            <a:extLst>
              <a:ext uri="{FF2B5EF4-FFF2-40B4-BE49-F238E27FC236}">
                <a16:creationId xmlns:a16="http://schemas.microsoft.com/office/drawing/2014/main" id="{4D8A25B8-F747-13B9-00B1-74E9ECE446A3}"/>
              </a:ext>
            </a:extLst>
          </p:cNvPr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5310188" y="5453063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56DA9C-64C0-416D-8DD7-7629204D6588}" type="datetime'''''''''''''4''''''''''''''''''1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8" name="Text Placeholder 3">
            <a:extLst>
              <a:ext uri="{FF2B5EF4-FFF2-40B4-BE49-F238E27FC236}">
                <a16:creationId xmlns:a16="http://schemas.microsoft.com/office/drawing/2014/main" id="{ADE6BD44-08A7-C077-246D-6A1B8E33A367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5529263" y="56959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88498E-5EBC-4FD6-A7D9-E8735B9BE829}" type="datetime'-''''''''''''3''''9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3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7" name="Text Placeholder 3">
            <a:extLst>
              <a:ext uri="{FF2B5EF4-FFF2-40B4-BE49-F238E27FC236}">
                <a16:creationId xmlns:a16="http://schemas.microsoft.com/office/drawing/2014/main" id="{3505B40A-A35F-45C7-8F2D-FD3AF84F0164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5529263" y="55626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055D79-1737-4E1A-8909-8AA322501479}" type="datetime'''-''''''''''''''''''''''''''''''5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6" name="Text Placeholder 3">
            <a:extLst>
              <a:ext uri="{FF2B5EF4-FFF2-40B4-BE49-F238E27FC236}">
                <a16:creationId xmlns:a16="http://schemas.microsoft.com/office/drawing/2014/main" id="{956B8C20-51FE-937D-8B3F-ED50A9704246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gray">
          <a:xfrm>
            <a:off x="5529263" y="53784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BB2D3F-2BC2-48BC-8FCF-D1B11C3BD3EC}" type="datetime'''''''''''''''''''''''''''1''7'''''''''''''">
              <a:rPr lang="zh-CN" altLang="en-US" sz="800" smtClean="0">
                <a:latin typeface="+mn-lt"/>
                <a:cs typeface="+mn-cs"/>
              </a:rPr>
              <a:pPr/>
              <a:t>1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3" name="Text Placeholder 3">
            <a:extLst>
              <a:ext uri="{FF2B5EF4-FFF2-40B4-BE49-F238E27FC236}">
                <a16:creationId xmlns:a16="http://schemas.microsoft.com/office/drawing/2014/main" id="{95028E2A-B9BC-DEC6-9A2E-050FDA19E099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gray">
          <a:xfrm>
            <a:off x="4897438" y="57007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8048CB7-93B5-404F-8B51-AC6008F3DE00}" type="datetime'''''''''''''''''''''''-''''''''3'''''''''''">
              <a:rPr lang="zh-CN" altLang="en-US" sz="800" smtClean="0">
                <a:latin typeface="+mn-lt"/>
                <a:cs typeface="+mn-cs"/>
              </a:rPr>
              <a:pPr/>
              <a:t>-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4" name="Text Placeholder 3">
            <a:extLst>
              <a:ext uri="{FF2B5EF4-FFF2-40B4-BE49-F238E27FC236}">
                <a16:creationId xmlns:a16="http://schemas.microsoft.com/office/drawing/2014/main" id="{90545DD3-659F-D754-8837-27C997A85952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gray">
          <a:xfrm>
            <a:off x="4678363" y="5470525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4D9489-C9AB-4D0F-8DB0-EAC3B422AEAA}" type="datetime'''''''4''''''''''''''''''''9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5" name="Text Placeholder 3">
            <a:extLst>
              <a:ext uri="{FF2B5EF4-FFF2-40B4-BE49-F238E27FC236}">
                <a16:creationId xmlns:a16="http://schemas.microsoft.com/office/drawing/2014/main" id="{3485C98C-7F6A-4103-CB05-09FDBE33F85D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gray">
          <a:xfrm>
            <a:off x="4897438" y="55673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6A66FED-4AA7-4C49-B4CB-CEF2FD3830E2}" type="datetime'''''''''''''''''''''''-''''''''''3''''''2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3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2" name="Text Placeholder 3">
            <a:extLst>
              <a:ext uri="{FF2B5EF4-FFF2-40B4-BE49-F238E27FC236}">
                <a16:creationId xmlns:a16="http://schemas.microsoft.com/office/drawing/2014/main" id="{1018C9FC-2E0F-03E8-DD80-2216768A8CC7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2752725" y="51403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06BB791-6BEF-4520-B8FD-C97DE6DE1290}" type="datetime'''''''''''''''2''''''''''''26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2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4" name="Text Placeholder 3">
            <a:extLst>
              <a:ext uri="{FF2B5EF4-FFF2-40B4-BE49-F238E27FC236}">
                <a16:creationId xmlns:a16="http://schemas.microsoft.com/office/drawing/2014/main" id="{AC51F0AD-1BDA-29CF-4190-73CECF6F9CA3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gray">
          <a:xfrm>
            <a:off x="6794500" y="57800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7CC84A-C0ED-4473-B139-0810E0A72698}" type="datetime'-''''''''''''''''''''''''''''''''''''4''''''''''''7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4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7" name="矩形 1896">
            <a:extLst>
              <a:ext uri="{FF2B5EF4-FFF2-40B4-BE49-F238E27FC236}">
                <a16:creationId xmlns:a16="http://schemas.microsoft.com/office/drawing/2014/main" id="{7E61645E-D4DE-1737-7C85-F151A4F78B3A}"/>
              </a:ext>
            </a:extLst>
          </p:cNvPr>
          <p:cNvSpPr/>
          <p:nvPr>
            <p:custDataLst>
              <p:tags r:id="rId239"/>
            </p:custDataLst>
          </p:nvPr>
        </p:nvSpPr>
        <p:spPr bwMode="auto">
          <a:xfrm>
            <a:off x="554038" y="4881563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8" name="矩形 1897">
            <a:extLst>
              <a:ext uri="{FF2B5EF4-FFF2-40B4-BE49-F238E27FC236}">
                <a16:creationId xmlns:a16="http://schemas.microsoft.com/office/drawing/2014/main" id="{50793C40-3217-B638-6CF8-06766F96E06F}"/>
              </a:ext>
            </a:extLst>
          </p:cNvPr>
          <p:cNvSpPr/>
          <p:nvPr>
            <p:custDataLst>
              <p:tags r:id="rId240"/>
            </p:custDataLst>
          </p:nvPr>
        </p:nvSpPr>
        <p:spPr bwMode="auto">
          <a:xfrm>
            <a:off x="554038" y="5133975"/>
            <a:ext cx="214313" cy="160338"/>
          </a:xfrm>
          <a:prstGeom prst="rect">
            <a:avLst/>
          </a:prstGeom>
          <a:solidFill>
            <a:srgbClr val="D9EEF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0" name="矩形 1979">
            <a:extLst>
              <a:ext uri="{FF2B5EF4-FFF2-40B4-BE49-F238E27FC236}">
                <a16:creationId xmlns:a16="http://schemas.microsoft.com/office/drawing/2014/main" id="{774D4541-7094-3614-1ACD-51F27C222F81}"/>
              </a:ext>
            </a:extLst>
          </p:cNvPr>
          <p:cNvSpPr/>
          <p:nvPr>
            <p:custDataLst>
              <p:tags r:id="rId241"/>
            </p:custDataLst>
          </p:nvPr>
        </p:nvSpPr>
        <p:spPr bwMode="auto">
          <a:xfrm>
            <a:off x="554038" y="5386388"/>
            <a:ext cx="214313" cy="160338"/>
          </a:xfrm>
          <a:prstGeom prst="rect">
            <a:avLst/>
          </a:prstGeom>
          <a:solidFill>
            <a:srgbClr val="EBD0DA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1" name="矩形 1980">
            <a:extLst>
              <a:ext uri="{FF2B5EF4-FFF2-40B4-BE49-F238E27FC236}">
                <a16:creationId xmlns:a16="http://schemas.microsoft.com/office/drawing/2014/main" id="{3682E853-CF7F-8E6C-CDC0-01FE31016B72}"/>
              </a:ext>
            </a:extLst>
          </p:cNvPr>
          <p:cNvSpPr/>
          <p:nvPr>
            <p:custDataLst>
              <p:tags r:id="rId242"/>
            </p:custDataLst>
          </p:nvPr>
        </p:nvSpPr>
        <p:spPr bwMode="auto">
          <a:xfrm>
            <a:off x="554038" y="5638800"/>
            <a:ext cx="214313" cy="160338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2" name="矩形 1981">
            <a:extLst>
              <a:ext uri="{FF2B5EF4-FFF2-40B4-BE49-F238E27FC236}">
                <a16:creationId xmlns:a16="http://schemas.microsoft.com/office/drawing/2014/main" id="{3D7A7767-D695-A3C3-A43D-F11BD7B18C6C}"/>
              </a:ext>
            </a:extLst>
          </p:cNvPr>
          <p:cNvSpPr/>
          <p:nvPr>
            <p:custDataLst>
              <p:tags r:id="rId243"/>
            </p:custDataLst>
          </p:nvPr>
        </p:nvSpPr>
        <p:spPr bwMode="auto">
          <a:xfrm>
            <a:off x="554038" y="5891213"/>
            <a:ext cx="214313" cy="160338"/>
          </a:xfrm>
          <a:prstGeom prst="rect">
            <a:avLst/>
          </a:prstGeom>
          <a:pattFill prst="pct75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9" name="Text Placeholder 3">
            <a:extLst>
              <a:ext uri="{FF2B5EF4-FFF2-40B4-BE49-F238E27FC236}">
                <a16:creationId xmlns:a16="http://schemas.microsoft.com/office/drawing/2014/main" id="{35F861E0-E670-1833-A66F-B9FC34A0216A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819150" y="4862513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CF7E6A-35D0-4E7F-9FA7-C6F840960A9B}" type="datetime'''''''一''''''''''''级''''''''''''''''''''''''''''商'''">
              <a:rPr lang="zh-CN" altLang="en-US" smtClean="0">
                <a:latin typeface="+mn-lt"/>
                <a:cs typeface="+mn-cs"/>
              </a:rPr>
              <a:pPr/>
              <a:t>一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0" name="Text Placeholder 3">
            <a:extLst>
              <a:ext uri="{FF2B5EF4-FFF2-40B4-BE49-F238E27FC236}">
                <a16:creationId xmlns:a16="http://schemas.microsoft.com/office/drawing/2014/main" id="{66A09093-1895-D3C6-4933-8D3795C3DE61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819150" y="5114925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918C20-BC5D-4908-BA8F-CC18152B3AEB}" type="datetime'二''''''''级''''''''商'''''''''''''''''''''''''''''''''''''''">
              <a:rPr lang="zh-CN" altLang="en-US" smtClean="0">
                <a:latin typeface="+mn-lt"/>
                <a:cs typeface="+mn-cs"/>
              </a:rPr>
              <a:pPr/>
              <a:t>二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5" name="Text Placeholder 3">
            <a:extLst>
              <a:ext uri="{FF2B5EF4-FFF2-40B4-BE49-F238E27FC236}">
                <a16:creationId xmlns:a16="http://schemas.microsoft.com/office/drawing/2014/main" id="{4156B008-6D61-B92C-2524-4B32E6E7E8B7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819150" y="5367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C9B028-1B29-4058-8979-E53EDD95E36C}" type="datetime'''''''''零''''''售总仓库存''''变''''''''''''''''''''化'''''''''">
              <a:rPr lang="zh-CN" altLang="en-US" smtClean="0">
                <a:latin typeface="+mn-lt"/>
                <a:cs typeface="+mn-cs"/>
              </a:rPr>
              <a:pPr/>
              <a:t>零售总仓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6" name="Text Placeholder 3">
            <a:extLst>
              <a:ext uri="{FF2B5EF4-FFF2-40B4-BE49-F238E27FC236}">
                <a16:creationId xmlns:a16="http://schemas.microsoft.com/office/drawing/2014/main" id="{0E609E70-D654-E093-CABC-E441DF9087D7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819150" y="561975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B5DAE8-7EE8-4F40-9731-326E4D38AF30}" type="datetime'''辖''''''区''''外''总''''''''''''''''店购''''''''''进'">
              <a:rPr lang="zh-CN" altLang="en-US" smtClean="0">
                <a:latin typeface="+mn-lt"/>
                <a:cs typeface="+mn-cs"/>
              </a:rPr>
              <a:pPr/>
              <a:t>辖区外总店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7" name="Text Placeholder 3">
            <a:extLst>
              <a:ext uri="{FF2B5EF4-FFF2-40B4-BE49-F238E27FC236}">
                <a16:creationId xmlns:a16="http://schemas.microsoft.com/office/drawing/2014/main" id="{48297C37-4A2A-B186-8641-4658A474097B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819150" y="58721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EDFE12-0CCB-4F44-9292-1DAB8E1F45FD}" type="datetime'不可''''''追''''''''''''''''''''''踪''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84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745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63" imgW="426" imgH="426" progId="TCLayout.ActiveDocument.1">
                  <p:embed/>
                </p:oleObj>
              </mc:Choice>
              <mc:Fallback>
                <p:oleObj name="think-cell 幻灯片" r:id="rId263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973416" cy="4800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络活喜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少</a:t>
            </a:r>
            <a:r>
              <a:rPr lang="en-US" altLang="zh-CN" sz="2000" dirty="0"/>
              <a:t>1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-16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309M</a:t>
            </a:r>
            <a:r>
              <a:rPr lang="zh-CN" altLang="en-US" sz="2000" dirty="0"/>
              <a:t>转化为渠道库存的减少，</a:t>
            </a:r>
            <a:r>
              <a:rPr lang="en-US" altLang="zh-CN" sz="2000" dirty="0"/>
              <a:t>293M</a:t>
            </a:r>
            <a:r>
              <a:rPr lang="zh-CN" altLang="en-US" sz="2000" dirty="0"/>
              <a:t>流向经销商和辖区外零售总仓不可追踪部分</a:t>
            </a:r>
          </a:p>
        </p:txBody>
      </p:sp>
      <p:cxnSp>
        <p:nvCxnSpPr>
          <p:cNvPr id="1600" name="直接连接符 1599">
            <a:extLst>
              <a:ext uri="{FF2B5EF4-FFF2-40B4-BE49-F238E27FC236}">
                <a16:creationId xmlns:a16="http://schemas.microsoft.com/office/drawing/2014/main" id="{04D1FAC4-6359-D7AF-AB55-F04359BE2FF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148388" y="420528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987675" y="39687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19500" y="402748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52913" y="41671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42D15B7-5521-12CB-D591-CE08548AB2A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516563" y="413861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7404C743-8614-C318-7925-9AA0F052DF3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781800" y="42021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6E65C362-3D27-0291-6F0A-0BC7EA74309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045450" y="420528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1F8EB092-7E62-EFF7-47DE-ABC13F237CE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884737" y="41354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5E5C19AF-CE0E-D7B3-4DEA-80112F185A2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413624" y="41703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B9ABF089-6C66-E7B1-6BBA-3583B3B368F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212138" y="4205288"/>
            <a:ext cx="1952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AEFA2DE6-C066-5A14-D140-6D96F749632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677274" y="4189413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4" name="直接连接符 1903">
            <a:extLst>
              <a:ext uri="{FF2B5EF4-FFF2-40B4-BE49-F238E27FC236}">
                <a16:creationId xmlns:a16="http://schemas.microsoft.com/office/drawing/2014/main" id="{251A06A5-20E5-A7A4-943D-B7F4B82C42D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981825" y="4202113"/>
            <a:ext cx="161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58" name="Chart 3">
            <a:extLst>
              <a:ext uri="{FF2B5EF4-FFF2-40B4-BE49-F238E27FC236}">
                <a16:creationId xmlns:a16="http://schemas.microsoft.com/office/drawing/2014/main" id="{144BCF39-9B0D-BFF0-E39C-72A812538AE0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20877648"/>
              </p:ext>
            </p:extLst>
          </p:nvPr>
        </p:nvGraphicFramePr>
        <p:xfrm>
          <a:off x="2454275" y="3524250"/>
          <a:ext cx="7119938" cy="130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5"/>
          </a:graphicData>
        </a:graphic>
      </p:graphicFrame>
      <p:sp>
        <p:nvSpPr>
          <p:cNvPr id="1903" name="矩形 1902">
            <a:extLst>
              <a:ext uri="{FF2B5EF4-FFF2-40B4-BE49-F238E27FC236}">
                <a16:creationId xmlns:a16="http://schemas.microsoft.com/office/drawing/2014/main" id="{A18FBB56-B43D-94C1-5785-BE27C90CE3E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412163" y="4162425"/>
            <a:ext cx="260350" cy="1428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02" name="矩形 1901">
            <a:extLst>
              <a:ext uri="{FF2B5EF4-FFF2-40B4-BE49-F238E27FC236}">
                <a16:creationId xmlns:a16="http://schemas.microsoft.com/office/drawing/2014/main" id="{B7DABE4A-2E4E-0D91-AF2E-5FBEDC844CA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780338" y="4141788"/>
            <a:ext cx="260350" cy="23812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5" name="矩形 1894">
            <a:extLst>
              <a:ext uri="{FF2B5EF4-FFF2-40B4-BE49-F238E27FC236}">
                <a16:creationId xmlns:a16="http://schemas.microsoft.com/office/drawing/2014/main" id="{7E1C5523-46FD-60A0-8108-9C93C814C10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148513" y="4156075"/>
            <a:ext cx="260350" cy="206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9" name="矩形 1868">
            <a:extLst>
              <a:ext uri="{FF2B5EF4-FFF2-40B4-BE49-F238E27FC236}">
                <a16:creationId xmlns:a16="http://schemas.microsoft.com/office/drawing/2014/main" id="{17833553-7D8A-745C-76D3-34091837BE5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516688" y="4152900"/>
            <a:ext cx="260350" cy="23813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1" name="矩形 1860">
            <a:extLst>
              <a:ext uri="{FF2B5EF4-FFF2-40B4-BE49-F238E27FC236}">
                <a16:creationId xmlns:a16="http://schemas.microsoft.com/office/drawing/2014/main" id="{B3DDED41-4881-574D-6592-FA76165197B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883275" y="4143375"/>
            <a:ext cx="260350" cy="33338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0" name="矩形 1859">
            <a:extLst>
              <a:ext uri="{FF2B5EF4-FFF2-40B4-BE49-F238E27FC236}">
                <a16:creationId xmlns:a16="http://schemas.microsoft.com/office/drawing/2014/main" id="{61026630-E7F0-42C0-B4F6-742AD3502B0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251450" y="4141788"/>
            <a:ext cx="260350" cy="31750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58" name="矩形 1857">
            <a:extLst>
              <a:ext uri="{FF2B5EF4-FFF2-40B4-BE49-F238E27FC236}">
                <a16:creationId xmlns:a16="http://schemas.microsoft.com/office/drawing/2014/main" id="{894B0C4C-DD76-9364-9623-E19121CFF68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619625" y="4141788"/>
            <a:ext cx="260350" cy="20637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57" name="矩形 1856">
            <a:extLst>
              <a:ext uri="{FF2B5EF4-FFF2-40B4-BE49-F238E27FC236}">
                <a16:creationId xmlns:a16="http://schemas.microsoft.com/office/drawing/2014/main" id="{EFB5A419-2967-731C-FB9F-C690E7F37230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987800" y="4141788"/>
            <a:ext cx="260350" cy="34925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865" name="直接连接符 1864">
            <a:extLst>
              <a:ext uri="{FF2B5EF4-FFF2-40B4-BE49-F238E27FC236}">
                <a16:creationId xmlns:a16="http://schemas.microsoft.com/office/drawing/2014/main" id="{B596BBA7-CFA8-C7CD-A259-A5D704AA331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 flipV="1">
            <a:off x="2952750" y="4002088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9AFFC76A-95C2-7038-5B05-41730F055690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 flipV="1">
            <a:off x="4849813" y="4178300"/>
            <a:ext cx="47625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79955FD4-CA7B-6254-FDB9-81026BCE9368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H="1" flipV="1">
            <a:off x="8642350" y="4221163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A40D63EF-C94A-281F-7D75-446D6A803007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6113463" y="4113214"/>
            <a:ext cx="47625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3" name="直接连接符 1862">
            <a:extLst>
              <a:ext uri="{FF2B5EF4-FFF2-40B4-BE49-F238E27FC236}">
                <a16:creationId xmlns:a16="http://schemas.microsoft.com/office/drawing/2014/main" id="{B8AA131A-CAA6-74F0-35F0-4DD438CF112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3584575" y="3935414"/>
            <a:ext cx="47625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F19C5EC0-0FD3-D98D-2D1A-BCF0CFFDAAA0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 flipV="1">
            <a:off x="7378700" y="4211638"/>
            <a:ext cx="47625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6" name="直接连接符 1865">
            <a:extLst>
              <a:ext uri="{FF2B5EF4-FFF2-40B4-BE49-F238E27FC236}">
                <a16:creationId xmlns:a16="http://schemas.microsoft.com/office/drawing/2014/main" id="{29349289-6412-CAD0-5975-DDD3A3E03B9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4217988" y="40068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33EA418D-69FB-3AD4-B618-C1E52F0CBB7F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 flipH="1">
            <a:off x="6746875" y="423068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9" name="直接连接符 1858">
            <a:extLst>
              <a:ext uri="{FF2B5EF4-FFF2-40B4-BE49-F238E27FC236}">
                <a16:creationId xmlns:a16="http://schemas.microsoft.com/office/drawing/2014/main" id="{D805BE5A-A933-FC63-6668-1686A389508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H="1">
            <a:off x="5481638" y="4046538"/>
            <a:ext cx="47625" cy="682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1" name="直接连接符 1900">
            <a:extLst>
              <a:ext uri="{FF2B5EF4-FFF2-40B4-BE49-F238E27FC236}">
                <a16:creationId xmlns:a16="http://schemas.microsoft.com/office/drawing/2014/main" id="{D17B6818-B762-3B57-676C-96B1EC75F88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8010525" y="41497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397250" y="395922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036E227-9538-477D-963C-827624873E49}" type="datetime'''''''''''''-''''''6''''''''''''1'''''''''''''''''">
              <a:rPr lang="zh-CN" altLang="en-US" sz="800" smtClean="0">
                <a:latin typeface="+mn-lt"/>
                <a:cs typeface="+mn-cs"/>
              </a:rPr>
              <a:pPr/>
              <a:t>-6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632200" y="38687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DD4D164-CCF1-497E-902C-36760A7143CA}" type="datetime'''''''''''''3''''''''''''''0'''''''''''''''''''''''">
              <a:rPr lang="zh-CN" altLang="en-US" sz="800" smtClean="0">
                <a:latin typeface="+mn-lt"/>
                <a:cs typeface="+mn-cs"/>
              </a:rPr>
              <a:pPr/>
              <a:t>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9059863" y="4383088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37211-9986-482E-9F3B-131E6FE6E897}" type="datetime'''''''''''''-''''3''0''9'''''''''''''''''''''">
              <a:rPr lang="zh-CN" altLang="en-US" sz="800" smtClean="0">
                <a:latin typeface="+mn-lt"/>
                <a:cs typeface="+mn-cs"/>
              </a:rPr>
              <a:pPr/>
              <a:t>-30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4265613" y="39401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8CB61BD-BC1F-4EB3-8E4C-E67914AC038F}" type="datetime'''''''''''''''''''''2''''''''''''''''''''2'''''''">
              <a:rPr lang="zh-CN" altLang="en-US" sz="800" smtClean="0">
                <a:latin typeface="+mn-lt"/>
                <a:cs typeface="+mn-cs"/>
              </a:rPr>
              <a:pPr/>
              <a:t>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897438" y="41608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1AC968-EF3F-4A01-9C4D-BE4D69E212C7}" type="datetime'''''''''''''''''''''''-''''''''''''''''''12'''''''''''''">
              <a:rPr lang="zh-CN" altLang="en-US" sz="800" smtClean="0">
                <a:latin typeface="+mn-lt"/>
                <a:cs typeface="+mn-cs"/>
              </a:rPr>
              <a:pPr/>
              <a:t>-1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CB21D502-9241-3FA4-E504-AA9F1B448F9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752725" y="38100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D6D29F-2E3A-487E-BB69-4934524311BA}" type="datetime'''''''''''''''''''''1''''''0''1'''''''''''''''''''''''''''''''">
              <a:rPr lang="zh-CN" altLang="en-US" sz="800" smtClean="0">
                <a:latin typeface="+mn-lt"/>
                <a:cs typeface="+mn-cs"/>
              </a:rPr>
              <a:pPr/>
              <a:t>1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678363" y="4073525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338021-C6CD-4C0B-84A3-D55179540903}" type="datetime'''''''''''''''''29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294313" y="408940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1617A5-B511-44DD-8988-6023AFD57D09}" type="datetime'''''''-2''''''''''''''''''''''''''''''''''''''''''''3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529263" y="39798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C2C6A75-1587-45F6-8271-E79436AE1A0E}" type="datetime'''''''2''''''''''''''''''''''''''''''''''''''''1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926138" y="412432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4F19946-BB50-43A5-8D1F-7AF73238D96A}" type="datetime'''''''''''''''''-''''''''''''''''''''5''''''''''''''''''''7'''">
              <a:rPr lang="zh-CN" altLang="en-US" sz="800" smtClean="0">
                <a:effectLst/>
                <a:latin typeface="+mn-lt"/>
                <a:cs typeface="+mn-cs"/>
              </a:rPr>
              <a:pPr/>
              <a:t>-5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161088" y="4046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DFBBF4E-BE38-4B9C-8185-0CE26C4DF52D}" type="datetime'''2''''''1'''''''''''''''''''''''''''''''''''''''''">
              <a:rPr lang="zh-CN" altLang="en-US" sz="800" smtClean="0">
                <a:latin typeface="+mn-lt"/>
                <a:cs typeface="+mn-cs"/>
              </a:rPr>
              <a:pPr/>
              <a:t>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794500" y="41640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D7A025-DA36-4CC1-8710-009CF5B5B42D}" type="datetime'-''2''''''''''''''''''''''''''''''''''''''''8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575425" y="4110038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C88ACBF-B7E0-40FC-A561-A7709FFC1BFF}" type="datetime'''''''''''''''''''''''''''''''''''''''''''3''''0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426325" y="41957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04B4440-44DE-4D41-921F-27B606A72E1E}" type="datetime'''''''''''''''''''''''-''''1''''''''''''0'''''''''''">
              <a:rPr lang="zh-CN" altLang="en-US" sz="800" smtClean="0">
                <a:latin typeface="+mn-lt"/>
                <a:cs typeface="+mn-cs"/>
              </a:rPr>
              <a:pPr/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823200" y="41417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CF6C2C-ECAD-4C9A-A3D0-60C7BE1A20B6}" type="datetime'''''''''''''''''''''''''-''''''4''''''1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4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8058150" y="40830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5C8CAC8-A0B0-4728-A517-FBA2D664C75E}" type="datetime'''''''''''''''''''''''''''''''''''''''2''''''2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7207250" y="4110038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A44437-BEC3-4AC6-91C5-D35091AA7600}" type="datetime'''''''''''''''''2''''''''''''''''''''''''''7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8689975" y="42148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FA4B7B-0E83-4325-A2EA-1B0D1F5A0C80}" type="datetime'''''''''''''''''''''''''''''''-''''1''''''''''7'''''">
              <a:rPr lang="zh-CN" altLang="en-US" sz="800" smtClean="0">
                <a:latin typeface="+mn-lt"/>
                <a:cs typeface="+mn-cs"/>
              </a:rPr>
              <a:pPr/>
              <a:t>-1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8470900" y="411480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DF2591-01B1-4668-AC41-E026FB749652}" type="datetime'2''''''''''6''''''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4030663" y="40497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39BD62-3551-4B16-86AE-F3281C4CD346}" type="datetime'''''''''''''''''''-''9''''''''''''''5'''''">
              <a:rPr lang="zh-CN" altLang="en-US" sz="800" smtClean="0">
                <a:latin typeface="+mn-lt"/>
                <a:cs typeface="+mn-cs"/>
              </a:rPr>
              <a:pPr/>
              <a:t>-9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9075738" y="38163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E12A56-89B7-456F-A531-15E604354585}" type="datetime'''2''''''''''''''''''''''''''9''''''''''''3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000375" y="39941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CCA8435-2F4C-4853-90BC-2F9697DD4CD7}" type="datetime'''''''3''''''''''''''''''''6'">
              <a:rPr lang="zh-CN" altLang="en-US" sz="800" smtClean="0">
                <a:latin typeface="+mn-lt"/>
                <a:cs typeface="+mn-cs"/>
              </a:rPr>
              <a:pPr/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2781300" y="40306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425459-210E-406F-B158-488BA4BF0B12}" type="datetime'''''''6''''''''''''''5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35A2B46E-1019-A40B-2B7D-CBCE1EB076A7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568214858"/>
              </p:ext>
            </p:extLst>
          </p:nvPr>
        </p:nvGraphicFramePr>
        <p:xfrm>
          <a:off x="2454275" y="1541463"/>
          <a:ext cx="6513513" cy="159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6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2536825" y="1644650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3667125" y="1644650"/>
            <a:ext cx="52181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3275013" y="26876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036042-4645-4C0E-80CD-D3EFE5FDFDEA}" type="datetime'''''''1''''''''''''''9''0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3502025" y="2638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B66E7C-79E8-493F-9FB5-B4C30FC4F95A}" type="datetime'''''2''''21''''''''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2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3316288" y="15398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3B01FA-C48E-4CEF-85CC-CE2B260311DA}" type="datetime'''8''''9''''''''''''''''''''''''''''''''''''%'''''''''''''''''">
              <a:rPr lang="en-US" altLang="en-US" smtClean="0">
                <a:latin typeface="+mn-lt"/>
                <a:cs typeface="+mn-cs"/>
              </a:rPr>
              <a:pPr/>
              <a:t>8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3910013" y="26670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AF433E2-00D0-4EDB-BC9C-0C39687ED0B4}" type="datetime'''''2''''''''''''0''''''3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4137025" y="25511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6495F9-5DA8-4CC9-AA8D-DD0ED4A76312}" type="datetime'''''''''''''''''2''''''''''''''''''''''''''77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7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3908424" y="138112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B2CE44-E93B-456B-83F0-15799A899835}" type="datetime'''''''''''''''''''''''1''''''''0''''''''0%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4545013" y="24479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55E809A-9A2C-4D2F-ACC5-FFDEEA3FE3E8}" type="datetime'''''''''''''''3''''''''''''''''''''''42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4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4772025" y="24749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38E695-292D-4C97-A7F4-A6DE0F5182EE}" type="datetime'''''''''''''''''''''''''''''''''''''''''''''3''2''''''''5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2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4586289" y="140176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518380-835E-4945-9588-57AD99774B6B}" type="datetime'''''''''''''9''''''''''9''''''''''''''%'''''''''''''">
              <a:rPr lang="en-US" altLang="en-US" smtClean="0">
                <a:latin typeface="+mn-lt"/>
                <a:cs typeface="+mn-cs"/>
              </a:rPr>
              <a:pPr/>
              <a:t>9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5180013" y="25177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668098-A24C-4502-B454-486DE0E7748D}" type="datetime'2''9''''''''''''''''''''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5407025" y="25161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91E92A-1C6B-4029-A24A-D249311B3485}" type="datetime'''''''''''''''''''''''''''2''''''9''''''''9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5221289" y="13985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A7FE35-F1CE-4CD1-9CD5-A1F02A3737FA}" type="datetime'9''''9''''''''''''''%'''''''''">
              <a:rPr lang="en-US" altLang="en-US" smtClean="0">
                <a:latin typeface="+mn-lt"/>
                <a:cs typeface="+mn-cs"/>
              </a:rPr>
              <a:pPr/>
              <a:t>9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5815013" y="26876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C25BBF-A1A8-4874-8A40-E2E268B5983C}" type="datetime'''''''''''''''''''''''''''''''''190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2640014" y="22717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C09402-9D9E-45FF-9358-5F18916AE459}" type="datetime'''4''''''''''''''''5''''''4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5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5811837" y="13668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6C8428-6A8B-4DC0-8556-C23DCDC6019C}" type="datetime'''''''''''''''''''''''''''''1''''''''''''''0''''1''''''%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6448425" y="25082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91C7E1-288D-40DA-B334-535EB1885D44}" type="datetime'''''''3''''''''''''''''''''''''''''''''''''''0''4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6675438" y="2511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CAB742-C37D-4AF8-AB61-FCBB0286AB4D}" type="datetime'''''''3''''''''''''0''''''''''''''2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6446837" y="1371600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E5CBA1-DB6E-4DA6-865A-3679F274071C}" type="datetime'''1''''''''''''''''''''''0''''1''''''''''''''''''''%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7083425" y="25685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988C6F-8361-4C0D-AA0D-FE70C38C2276}" type="datetime'''''2''''6''''''''''''''''''''''''''5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6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7310438" y="25955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8A2588-445B-4184-9A62-5A2DAC224236}" type="datetime'''''''''''''''''''''''''2''''''''4''''''9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4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7081837" y="138271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2877E4-AC36-4994-8305-5D4155CD3D33}" type="datetime'''''''''''''''1''''''0''0''''''''''''''''%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7718425" y="25606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6AB97C-1EF1-406E-87CF-D5F8D16DC6BF}" type="datetime'''''''''''''''''''''''2''''''''''''''7''''1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7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7945438" y="25320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646B70-7A3D-4930-A38C-2774B25E14C0}" type="datetime'''''''''''''''''''''''2''''''''''''''''''''''8''''''''''''''9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8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7716837" y="137318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703B49-83DB-46B0-AF1C-B128582423BE}" type="datetime'''''1''''''''''01''''''''''''''%''''''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8353425" y="25082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64BA5E-B0AE-4EAB-9327-D9A15431E955}" type="datetime'''''''''''''3''0''''''''''''4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8580438" y="25225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34EC7F-E479-40B5-BAE8-658F9A810D71}" type="datetime'''2''''''''''''''''''''''''''9''''''''''''''''''''5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8351837" y="13795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042349-5ACE-4572-8D65-0B7934D6525E}" type="datetime'''''''''''1''''''''0''''''''''''''''''1''''''''''%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2867025" y="24320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5FD8B1-1B0F-4B5B-BD2A-53BE1728EF3E}" type="datetime'''''''''''''''''''''''3''5''''3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5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2681288" y="1701800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778CE1-4A18-4B41-ABDA-C75D397FBAC6}" type="datetime'''''''''''7''''''''''''''''''''''8''''''%'''">
              <a:rPr lang="en-US" altLang="en-US" smtClean="0">
                <a:effectLst/>
                <a:latin typeface="+mn-lt"/>
                <a:cs typeface="+mn-cs"/>
              </a:rPr>
              <a:pPr/>
              <a:t>7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6042025" y="26304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B9ECC3-872F-4CF3-8EDC-C947816727D1}" type="datetime'''''''2''''''''''''''''''''''''''2''''''''''''''''''''''''6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2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744012-C30B-4D88-BD6F-028CF4D1BA82}" type="datetime'''D''''''''''''''''''''''DI''直连''''库''''存''变''''''''''化'''''''">
              <a:rPr lang="en-US" altLang="en-US" smtClean="0">
                <a:latin typeface="+mn-lt"/>
                <a:cs typeface="+mn-cs"/>
              </a:rPr>
              <a:pPr/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3372" y="4374047"/>
            <a:ext cx="3105509" cy="320758"/>
            <a:chOff x="366354" y="1228969"/>
            <a:chExt cx="3105556" cy="321645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66354" y="1228969"/>
              <a:ext cx="1618046" cy="26751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和不可追踪拆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9367838" y="179705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9955213" y="2843213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10541000" y="1851025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5" name="Chart 3">
            <a:extLst>
              <a:ext uri="{FF2B5EF4-FFF2-40B4-BE49-F238E27FC236}">
                <a16:creationId xmlns:a16="http://schemas.microsoft.com/office/drawing/2014/main" id="{7678F999-6F6C-2A51-E591-159E380A9D76}"/>
              </a:ext>
            </a:extLst>
          </p:cNvPr>
          <p:cNvGraphicFramePr/>
          <p:nvPr>
            <p:custDataLst>
              <p:tags r:id="rId102"/>
            </p:custDataLst>
            <p:extLst>
              <p:ext uri="{D42A27DB-BD31-4B8C-83A1-F6EECF244321}">
                <p14:modId xmlns:p14="http://schemas.microsoft.com/office/powerpoint/2010/main" val="281103138"/>
              </p:ext>
            </p:extLst>
          </p:nvPr>
        </p:nvGraphicFramePr>
        <p:xfrm>
          <a:off x="8845550" y="1714500"/>
          <a:ext cx="2511425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7"/>
          </a:graphicData>
        </a:graphic>
      </p:graphicFrame>
      <p:sp useBgFill="1">
        <p:nvSpPr>
          <p:cNvPr id="40" name="任意多边形: 形状 39">
            <a:extLst>
              <a:ext uri="{FF2B5EF4-FFF2-40B4-BE49-F238E27FC236}">
                <a16:creationId xmlns:a16="http://schemas.microsoft.com/office/drawing/2014/main" id="{44062965-9F7B-10DA-6410-A5FD233F93E2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9028113" y="2870200"/>
            <a:ext cx="385763" cy="160339"/>
          </a:xfrm>
          <a:custGeom>
            <a:avLst/>
            <a:gdLst/>
            <a:ahLst/>
            <a:cxnLst/>
            <a:rect l="0" t="0" r="0" b="0"/>
            <a:pathLst>
              <a:path w="385763" h="160339">
                <a:moveTo>
                  <a:pt x="0" y="103188"/>
                </a:moveTo>
                <a:lnTo>
                  <a:pt x="385762" y="0"/>
                </a:lnTo>
                <a:lnTo>
                  <a:pt x="385762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46" name="任意多边形: 形状 45">
            <a:extLst>
              <a:ext uri="{FF2B5EF4-FFF2-40B4-BE49-F238E27FC236}">
                <a16:creationId xmlns:a16="http://schemas.microsoft.com/office/drawing/2014/main" id="{F513F91F-6A53-E6AC-C845-C35B619B4DC7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10788650" y="2870200"/>
            <a:ext cx="385764" cy="160339"/>
          </a:xfrm>
          <a:custGeom>
            <a:avLst/>
            <a:gdLst/>
            <a:ahLst/>
            <a:cxnLst/>
            <a:rect l="0" t="0" r="0" b="0"/>
            <a:pathLst>
              <a:path w="385764" h="160339">
                <a:moveTo>
                  <a:pt x="0" y="103188"/>
                </a:moveTo>
                <a:lnTo>
                  <a:pt x="385763" y="0"/>
                </a:lnTo>
                <a:lnTo>
                  <a:pt x="385763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88E1A231-81BD-A7C6-B96A-2F5188C7102D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9028113" y="287020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5C47971A-FB34-0619-AE05-C159F1E1B333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9028113" y="292735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9F401824-FC96-DC5B-FEEA-29FF906AA7FB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10788650" y="287020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E2103FE2-2275-8E70-EEAE-7FC22E9042C8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10788650" y="292735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V="1">
            <a:off x="10980738" y="1601787"/>
            <a:ext cx="0" cy="211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10"/>
            </p:custDataLst>
          </p:nvPr>
        </p:nvCxnSpPr>
        <p:spPr bwMode="auto">
          <a:xfrm flipH="1">
            <a:off x="9220199" y="1601788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>
            <a:off x="9220200" y="1601789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gray">
          <a:xfrm>
            <a:off x="9045575" y="2341563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31EB07-289D-4648-8D51-570E64748A43}" type="datetime'''''''''''''''''''''''''''''2'''',''''8''''''''''''''35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,835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9061450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gray">
          <a:xfrm>
            <a:off x="9664700" y="2235200"/>
            <a:ext cx="287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0D1037-49D0-45A6-843D-FE5C24E7D23B}" type="datetime'''''-''''''''''3''''''''''''''''''''''''''''0''''9'">
              <a:rPr lang="zh-CN" altLang="en-US" sz="1000" smtClean="0">
                <a:latin typeface="+mn-lt"/>
                <a:cs typeface="+mn-cs"/>
              </a:rPr>
              <a:pPr/>
              <a:t>-309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9648825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mtClean="0">
                <a:latin typeface="+mn-lt"/>
                <a:cs typeface="+mn-cs"/>
              </a:rPr>
              <a:pPr/>
              <a:t>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gray">
          <a:xfrm>
            <a:off x="10271125" y="22621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176C70-FB86-4BE7-BE2D-90D7014FBF3D}" type="datetime'2''''''''''''''''''''''9''''3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293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10234613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gray">
          <a:xfrm>
            <a:off x="10806113" y="2368550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78BF621-7282-435A-BF79-6CAE38368E9E}" type="datetime'2,''''''8''''''''''''''''''''1''9''''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,819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10821988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mtClean="0">
                <a:latin typeface="+mn-lt"/>
                <a:cs typeface="+mn-cs"/>
              </a:rPr>
              <a:pPr/>
              <a:t>工厂发货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9917113" y="1482725"/>
            <a:ext cx="365125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834EE6-D20B-48DE-B334-FDD9F5DDA64A}" type="datetime'''''''''''''''''''''+''''''1''''''''''''''%'''''''''''''">
              <a:rPr lang="en-US" altLang="en-US" sz="1000" smtClean="0">
                <a:effectLst/>
                <a:latin typeface="+mn-lt"/>
                <a:cs typeface="+mn-cs"/>
              </a:rPr>
              <a:pPr/>
              <a:t>+1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>
            <a:off x="9317038" y="4164013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auto">
          <a:xfrm>
            <a:off x="9901238" y="4273550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9" name="直接连接符 1718">
            <a:extLst>
              <a:ext uri="{FF2B5EF4-FFF2-40B4-BE49-F238E27FC236}">
                <a16:creationId xmlns:a16="http://schemas.microsoft.com/office/drawing/2014/main" id="{86D50972-24CA-21B3-7A84-225DF0E2D40A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>
            <a:off x="10483850" y="4298950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62" name="Chart 3">
            <a:extLst>
              <a:ext uri="{FF2B5EF4-FFF2-40B4-BE49-F238E27FC236}">
                <a16:creationId xmlns:a16="http://schemas.microsoft.com/office/drawing/2014/main" id="{89726040-AF33-904E-6BAF-FC107599766D}"/>
              </a:ext>
            </a:extLst>
          </p:cNvPr>
          <p:cNvGraphicFramePr/>
          <p:nvPr>
            <p:custDataLst>
              <p:tags r:id="rId124"/>
            </p:custDataLst>
            <p:extLst>
              <p:ext uri="{D42A27DB-BD31-4B8C-83A1-F6EECF244321}">
                <p14:modId xmlns:p14="http://schemas.microsoft.com/office/powerpoint/2010/main" val="2875362776"/>
              </p:ext>
            </p:extLst>
          </p:nvPr>
        </p:nvGraphicFramePr>
        <p:xfrm>
          <a:off x="8815388" y="4081463"/>
          <a:ext cx="2500312" cy="74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8"/>
          </a:graphicData>
        </a:graphic>
      </p:graphicFrame>
      <p:sp>
        <p:nvSpPr>
          <p:cNvPr id="1880" name="Text Placeholder 3">
            <a:extLst>
              <a:ext uri="{FF2B5EF4-FFF2-40B4-BE49-F238E27FC236}">
                <a16:creationId xmlns:a16="http://schemas.microsoft.com/office/drawing/2014/main" id="{4B9753A8-D625-4D4F-29EB-DB60BCAC028E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8910638" y="477520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6775C-240B-4C51-9C42-E019FF05925F}" type="datetime'20''''2''5''''''''''10''''Y''''''''T''''''''''D''''''''''''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gray">
          <a:xfrm>
            <a:off x="9686925" y="4151313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252A9E-5EA8-4D76-BAB1-3098102D4EA0}" type="datetime'''''''''''''-''''''''5''''''''8'''''">
              <a:rPr lang="zh-CN" altLang="en-US" sz="800" smtClean="0">
                <a:latin typeface="+mn-lt"/>
                <a:cs typeface="+mn-cs"/>
              </a:rPr>
              <a:pPr/>
              <a:t>-5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2" name="Text Placeholder 3">
            <a:extLst>
              <a:ext uri="{FF2B5EF4-FFF2-40B4-BE49-F238E27FC236}">
                <a16:creationId xmlns:a16="http://schemas.microsoft.com/office/drawing/2014/main" id="{226A4E37-E112-9678-9034-CF8BCA141FDE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9615488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98A296-3918-4038-AC79-4ECF9DD02FC1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gray">
          <a:xfrm>
            <a:off x="10269538" y="421957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9862D4-48ED-478D-B94B-D4C1F6D8598F}" type="datetime'''''''''''-''''''''''''''''1''''''''''''''''''''4'''''''''">
              <a:rPr lang="zh-CN" altLang="en-US" sz="800" smtClean="0">
                <a:effectLst/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3" name="Text Placeholder 3">
            <a:extLst>
              <a:ext uri="{FF2B5EF4-FFF2-40B4-BE49-F238E27FC236}">
                <a16:creationId xmlns:a16="http://schemas.microsoft.com/office/drawing/2014/main" id="{929925F6-0E93-EC22-B300-E21F72946F4C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10198100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0F996-E231-4B7C-9137-85B53E21A439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5" name="Text Placeholder 3">
            <a:extLst>
              <a:ext uri="{FF2B5EF4-FFF2-40B4-BE49-F238E27FC236}">
                <a16:creationId xmlns:a16="http://schemas.microsoft.com/office/drawing/2014/main" id="{1BE56B6A-3C30-4B59-A6C7-170064E01044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gray">
          <a:xfrm>
            <a:off x="10825163" y="4452938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6A2341-4E2D-4261-B697-03834685D15E}" type="datetime'-''2''''''''''''''''''''''''''''''''3''''''7'''''''''''''">
              <a:rPr lang="zh-CN" altLang="en-US" sz="800" smtClean="0">
                <a:latin typeface="+mn-lt"/>
                <a:cs typeface="+mn-cs"/>
              </a:rPr>
              <a:pPr/>
              <a:t>-2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4" name="Text Placeholder 3">
            <a:extLst>
              <a:ext uri="{FF2B5EF4-FFF2-40B4-BE49-F238E27FC236}">
                <a16:creationId xmlns:a16="http://schemas.microsoft.com/office/drawing/2014/main" id="{7D8DCB6C-4AAA-0195-9FB6-084C41ED8B42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10731500" y="477520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973EDA-4054-487B-BA87-C6E0A39457B5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AA91BECB-5B54-69C8-9FD2-C75EB254549A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>
            <a:off x="8045450" y="559752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直接连接符 139">
            <a:extLst>
              <a:ext uri="{FF2B5EF4-FFF2-40B4-BE49-F238E27FC236}">
                <a16:creationId xmlns:a16="http://schemas.microsoft.com/office/drawing/2014/main" id="{763F88E0-5513-4C71-F9E0-97729260EA72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auto">
          <a:xfrm>
            <a:off x="2987675" y="53609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8D999A4-47CD-480C-D9EB-7552B724F0C4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>
            <a:off x="3619500" y="541972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8" name="直接连接符 1977">
            <a:extLst>
              <a:ext uri="{FF2B5EF4-FFF2-40B4-BE49-F238E27FC236}">
                <a16:creationId xmlns:a16="http://schemas.microsoft.com/office/drawing/2014/main" id="{8C8C90B0-867A-6A74-FA4A-96AD431191E3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>
            <a:off x="5516563" y="55292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3CC97B79-ABD5-FDBF-D366-DA42E71FC9E2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>
            <a:off x="6148387" y="559593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9CDBEADC-815A-1DE7-CA91-4CB63C47DC69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6781800" y="559276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接连接符 142">
            <a:extLst>
              <a:ext uri="{FF2B5EF4-FFF2-40B4-BE49-F238E27FC236}">
                <a16:creationId xmlns:a16="http://schemas.microsoft.com/office/drawing/2014/main" id="{EC6E5469-1FE6-DD66-D4B3-9D848B4C085E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>
            <a:off x="7413624" y="55626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接连接符 159">
            <a:extLst>
              <a:ext uri="{FF2B5EF4-FFF2-40B4-BE49-F238E27FC236}">
                <a16:creationId xmlns:a16="http://schemas.microsoft.com/office/drawing/2014/main" id="{61388DCD-972D-3F96-78FD-210E27BB1B3E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>
            <a:off x="8677275" y="558006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直接连接符 151">
            <a:extLst>
              <a:ext uri="{FF2B5EF4-FFF2-40B4-BE49-F238E27FC236}">
                <a16:creationId xmlns:a16="http://schemas.microsoft.com/office/drawing/2014/main" id="{4E5FB648-7DED-0D69-0553-8D190D762AF1}"/>
              </a:ext>
            </a:extLst>
          </p:cNvPr>
          <p:cNvCxnSpPr/>
          <p:nvPr>
            <p:custDataLst>
              <p:tags r:id="rId140"/>
            </p:custDataLst>
          </p:nvPr>
        </p:nvCxnSpPr>
        <p:spPr bwMode="auto">
          <a:xfrm>
            <a:off x="4252912" y="55578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直接连接符 156">
            <a:extLst>
              <a:ext uri="{FF2B5EF4-FFF2-40B4-BE49-F238E27FC236}">
                <a16:creationId xmlns:a16="http://schemas.microsoft.com/office/drawing/2014/main" id="{13C3D789-C9B8-A6AD-33E8-CE526C2F40EB}"/>
              </a:ext>
            </a:extLst>
          </p:cNvPr>
          <p:cNvCxnSpPr/>
          <p:nvPr>
            <p:custDataLst>
              <p:tags r:id="rId141"/>
            </p:custDataLst>
          </p:nvPr>
        </p:nvCxnSpPr>
        <p:spPr bwMode="auto">
          <a:xfrm>
            <a:off x="4884737" y="55260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直接连接符 160">
            <a:extLst>
              <a:ext uri="{FF2B5EF4-FFF2-40B4-BE49-F238E27FC236}">
                <a16:creationId xmlns:a16="http://schemas.microsoft.com/office/drawing/2014/main" id="{006FB422-0984-BE74-96F7-8FF770DD301C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>
            <a:off x="8188325" y="5597525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直接连接符 161">
            <a:extLst>
              <a:ext uri="{FF2B5EF4-FFF2-40B4-BE49-F238E27FC236}">
                <a16:creationId xmlns:a16="http://schemas.microsoft.com/office/drawing/2014/main" id="{77472D3A-BA7A-69A5-FDF7-C6255E9CA36A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>
            <a:off x="8786813" y="5580063"/>
            <a:ext cx="254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直接连接符 182">
            <a:extLst>
              <a:ext uri="{FF2B5EF4-FFF2-40B4-BE49-F238E27FC236}">
                <a16:creationId xmlns:a16="http://schemas.microsoft.com/office/drawing/2014/main" id="{5A9664C6-2EF0-8BF0-FABC-B0659F9517A5}"/>
              </a:ext>
            </a:extLst>
          </p:cNvPr>
          <p:cNvCxnSpPr/>
          <p:nvPr>
            <p:custDataLst>
              <p:tags r:id="rId144"/>
            </p:custDataLst>
          </p:nvPr>
        </p:nvCxnSpPr>
        <p:spPr bwMode="auto">
          <a:xfrm>
            <a:off x="6924675" y="5592763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65" name="Chart 3">
            <a:extLst>
              <a:ext uri="{FF2B5EF4-FFF2-40B4-BE49-F238E27FC236}">
                <a16:creationId xmlns:a16="http://schemas.microsoft.com/office/drawing/2014/main" id="{A633A5A0-68AF-ABA6-5215-DEA732C2B8A7}"/>
              </a:ext>
            </a:extLst>
          </p:cNvPr>
          <p:cNvGraphicFramePr/>
          <p:nvPr>
            <p:custDataLst>
              <p:tags r:id="rId145"/>
            </p:custDataLst>
            <p:extLst>
              <p:ext uri="{D42A27DB-BD31-4B8C-83A1-F6EECF244321}">
                <p14:modId xmlns:p14="http://schemas.microsoft.com/office/powerpoint/2010/main" val="229942615"/>
              </p:ext>
            </p:extLst>
          </p:nvPr>
        </p:nvGraphicFramePr>
        <p:xfrm>
          <a:off x="2454275" y="4916488"/>
          <a:ext cx="7119938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9"/>
          </a:graphicData>
        </a:graphic>
      </p:graphicFrame>
      <p:sp>
        <p:nvSpPr>
          <p:cNvPr id="180" name="矩形 179">
            <a:extLst>
              <a:ext uri="{FF2B5EF4-FFF2-40B4-BE49-F238E27FC236}">
                <a16:creationId xmlns:a16="http://schemas.microsoft.com/office/drawing/2014/main" id="{6EBAF1EB-C478-FAE7-1B79-CB6304E06118}"/>
              </a:ext>
            </a:extLst>
          </p:cNvPr>
          <p:cNvSpPr/>
          <p:nvPr>
            <p:custDataLst>
              <p:tags r:id="rId146"/>
            </p:custDataLst>
          </p:nvPr>
        </p:nvSpPr>
        <p:spPr bwMode="auto">
          <a:xfrm>
            <a:off x="8412163" y="5553075"/>
            <a:ext cx="260350" cy="1587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BB04A0DE-1C58-1CF8-5850-F0DB032BA1F5}"/>
              </a:ext>
            </a:extLst>
          </p:cNvPr>
          <p:cNvSpPr/>
          <p:nvPr>
            <p:custDataLst>
              <p:tags r:id="rId147"/>
            </p:custDataLst>
          </p:nvPr>
        </p:nvSpPr>
        <p:spPr bwMode="auto">
          <a:xfrm>
            <a:off x="7780338" y="5534025"/>
            <a:ext cx="260350" cy="2222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33921748-8B2C-5AEE-8D96-F689DAED2379}"/>
              </a:ext>
            </a:extLst>
          </p:cNvPr>
          <p:cNvSpPr/>
          <p:nvPr>
            <p:custDataLst>
              <p:tags r:id="rId148"/>
            </p:custDataLst>
          </p:nvPr>
        </p:nvSpPr>
        <p:spPr bwMode="auto">
          <a:xfrm>
            <a:off x="7148513" y="5546725"/>
            <a:ext cx="260350" cy="2222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74" name="矩形 173">
            <a:extLst>
              <a:ext uri="{FF2B5EF4-FFF2-40B4-BE49-F238E27FC236}">
                <a16:creationId xmlns:a16="http://schemas.microsoft.com/office/drawing/2014/main" id="{0546E207-927B-61CF-5D6C-FB8985CB4C29}"/>
              </a:ext>
            </a:extLst>
          </p:cNvPr>
          <p:cNvSpPr/>
          <p:nvPr>
            <p:custDataLst>
              <p:tags r:id="rId149"/>
            </p:custDataLst>
          </p:nvPr>
        </p:nvSpPr>
        <p:spPr bwMode="auto">
          <a:xfrm>
            <a:off x="6516688" y="5543550"/>
            <a:ext cx="260350" cy="25400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1A1A15AD-EC5D-3E5F-21BB-CBC18DC7BC9A}"/>
              </a:ext>
            </a:extLst>
          </p:cNvPr>
          <p:cNvSpPr/>
          <p:nvPr>
            <p:custDataLst>
              <p:tags r:id="rId150"/>
            </p:custDataLst>
          </p:nvPr>
        </p:nvSpPr>
        <p:spPr bwMode="auto">
          <a:xfrm>
            <a:off x="5883275" y="5549900"/>
            <a:ext cx="260350" cy="19050"/>
          </a:xfrm>
          <a:prstGeom prst="rect">
            <a:avLst/>
          </a:prstGeom>
          <a:solidFill>
            <a:srgbClr val="D9EEF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71" name="矩形 170">
            <a:extLst>
              <a:ext uri="{FF2B5EF4-FFF2-40B4-BE49-F238E27FC236}">
                <a16:creationId xmlns:a16="http://schemas.microsoft.com/office/drawing/2014/main" id="{88C64FDB-D3E9-9AE8-3BCB-832D12AE7EA1}"/>
              </a:ext>
            </a:extLst>
          </p:cNvPr>
          <p:cNvSpPr/>
          <p:nvPr>
            <p:custDataLst>
              <p:tags r:id="rId151"/>
            </p:custDataLst>
          </p:nvPr>
        </p:nvSpPr>
        <p:spPr bwMode="auto">
          <a:xfrm>
            <a:off x="5251450" y="5541963"/>
            <a:ext cx="260350" cy="26987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F42B79B8-AD1A-7AB6-6B39-44050B677316}"/>
              </a:ext>
            </a:extLst>
          </p:cNvPr>
          <p:cNvSpPr/>
          <p:nvPr>
            <p:custDataLst>
              <p:tags r:id="rId152"/>
            </p:custDataLst>
          </p:nvPr>
        </p:nvSpPr>
        <p:spPr bwMode="auto">
          <a:xfrm>
            <a:off x="4619625" y="5534025"/>
            <a:ext cx="260350" cy="19050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4AD4E95B-8ED6-1230-331A-F73873FE5053}"/>
              </a:ext>
            </a:extLst>
          </p:cNvPr>
          <p:cNvSpPr/>
          <p:nvPr>
            <p:custDataLst>
              <p:tags r:id="rId153"/>
            </p:custDataLst>
          </p:nvPr>
        </p:nvSpPr>
        <p:spPr bwMode="auto">
          <a:xfrm>
            <a:off x="3987800" y="5538788"/>
            <a:ext cx="260350" cy="30162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965" name="直接连接符 1964">
            <a:extLst>
              <a:ext uri="{FF2B5EF4-FFF2-40B4-BE49-F238E27FC236}">
                <a16:creationId xmlns:a16="http://schemas.microsoft.com/office/drawing/2014/main" id="{9BE48E32-BAF6-B9CC-D505-9C85A23EB2C2}"/>
              </a:ext>
            </a:extLst>
          </p:cNvPr>
          <p:cNvCxnSpPr>
            <a:cxnSpLocks/>
          </p:cNvCxnSpPr>
          <p:nvPr>
            <p:custDataLst>
              <p:tags r:id="rId154"/>
            </p:custDataLst>
          </p:nvPr>
        </p:nvCxnSpPr>
        <p:spPr bwMode="auto">
          <a:xfrm flipH="1" flipV="1">
            <a:off x="6113463" y="5637213"/>
            <a:ext cx="47625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49D63ACB-A030-422B-EE90-7AC4A69D43CA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 flipH="1" flipV="1">
            <a:off x="6746875" y="5632450"/>
            <a:ext cx="47625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4" name="直接连接符 1953">
            <a:extLst>
              <a:ext uri="{FF2B5EF4-FFF2-40B4-BE49-F238E27FC236}">
                <a16:creationId xmlns:a16="http://schemas.microsoft.com/office/drawing/2014/main" id="{20A2C0B9-1883-F3FF-E1DC-752F91EC303A}"/>
              </a:ext>
            </a:extLst>
          </p:cNvPr>
          <p:cNvCxnSpPr/>
          <p:nvPr>
            <p:custDataLst>
              <p:tags r:id="rId156"/>
            </p:custDataLst>
          </p:nvPr>
        </p:nvCxnSpPr>
        <p:spPr bwMode="auto">
          <a:xfrm flipH="1" flipV="1">
            <a:off x="4217988" y="5603875"/>
            <a:ext cx="47625" cy="112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D0706066-60C2-4883-715C-9FC2C4B1684F}"/>
              </a:ext>
            </a:extLst>
          </p:cNvPr>
          <p:cNvCxnSpPr>
            <a:cxnSpLocks/>
          </p:cNvCxnSpPr>
          <p:nvPr>
            <p:custDataLst>
              <p:tags r:id="rId157"/>
            </p:custDataLst>
          </p:nvPr>
        </p:nvCxnSpPr>
        <p:spPr bwMode="auto">
          <a:xfrm flipH="1">
            <a:off x="4849813" y="5367338"/>
            <a:ext cx="47625" cy="123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3" name="直接连接符 1972">
            <a:extLst>
              <a:ext uri="{FF2B5EF4-FFF2-40B4-BE49-F238E27FC236}">
                <a16:creationId xmlns:a16="http://schemas.microsoft.com/office/drawing/2014/main" id="{085651EA-5F71-39DB-DA57-2D49ED431E64}"/>
              </a:ext>
            </a:extLst>
          </p:cNvPr>
          <p:cNvCxnSpPr>
            <a:cxnSpLocks/>
          </p:cNvCxnSpPr>
          <p:nvPr>
            <p:custDataLst>
              <p:tags r:id="rId158"/>
            </p:custDataLst>
          </p:nvPr>
        </p:nvCxnSpPr>
        <p:spPr bwMode="auto">
          <a:xfrm flipH="1" flipV="1">
            <a:off x="7378700" y="5597525"/>
            <a:ext cx="47625" cy="257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1" name="直接连接符 1970">
            <a:extLst>
              <a:ext uri="{FF2B5EF4-FFF2-40B4-BE49-F238E27FC236}">
                <a16:creationId xmlns:a16="http://schemas.microsoft.com/office/drawing/2014/main" id="{C76DB44D-D127-F15A-CD49-74A578661CB9}"/>
              </a:ext>
            </a:extLst>
          </p:cNvPr>
          <p:cNvCxnSpPr>
            <a:cxnSpLocks/>
          </p:cNvCxnSpPr>
          <p:nvPr>
            <p:custDataLst>
              <p:tags r:id="rId159"/>
            </p:custDataLst>
          </p:nvPr>
        </p:nvCxnSpPr>
        <p:spPr bwMode="auto">
          <a:xfrm flipH="1" flipV="1">
            <a:off x="7378700" y="5589588"/>
            <a:ext cx="47625" cy="131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6" name="直接连接符 1975">
            <a:extLst>
              <a:ext uri="{FF2B5EF4-FFF2-40B4-BE49-F238E27FC236}">
                <a16:creationId xmlns:a16="http://schemas.microsoft.com/office/drawing/2014/main" id="{E0490FFC-C605-4FCB-60BE-1EAB7760BB1D}"/>
              </a:ext>
            </a:extLst>
          </p:cNvPr>
          <p:cNvCxnSpPr>
            <a:cxnSpLocks/>
          </p:cNvCxnSpPr>
          <p:nvPr>
            <p:custDataLst>
              <p:tags r:id="rId160"/>
            </p:custDataLst>
          </p:nvPr>
        </p:nvCxnSpPr>
        <p:spPr bwMode="auto">
          <a:xfrm flipH="1" flipV="1">
            <a:off x="8010525" y="5568950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4" name="直接连接符 1863">
            <a:extLst>
              <a:ext uri="{FF2B5EF4-FFF2-40B4-BE49-F238E27FC236}">
                <a16:creationId xmlns:a16="http://schemas.microsoft.com/office/drawing/2014/main" id="{BD434C9F-CE09-2FCC-3558-32D5184CF9A3}"/>
              </a:ext>
            </a:extLst>
          </p:cNvPr>
          <p:cNvCxnSpPr>
            <a:cxnSpLocks/>
          </p:cNvCxnSpPr>
          <p:nvPr>
            <p:custDataLst>
              <p:tags r:id="rId161"/>
            </p:custDataLst>
          </p:nvPr>
        </p:nvCxnSpPr>
        <p:spPr bwMode="auto">
          <a:xfrm flipH="1" flipV="1">
            <a:off x="8010525" y="5584825"/>
            <a:ext cx="47625" cy="111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4" name="直接连接符 1973">
            <a:extLst>
              <a:ext uri="{FF2B5EF4-FFF2-40B4-BE49-F238E27FC236}">
                <a16:creationId xmlns:a16="http://schemas.microsoft.com/office/drawing/2014/main" id="{C67D8BD1-7F82-C908-2853-6E93AA4946A0}"/>
              </a:ext>
            </a:extLst>
          </p:cNvPr>
          <p:cNvCxnSpPr>
            <a:cxnSpLocks/>
          </p:cNvCxnSpPr>
          <p:nvPr>
            <p:custDataLst>
              <p:tags r:id="rId162"/>
            </p:custDataLst>
          </p:nvPr>
        </p:nvCxnSpPr>
        <p:spPr bwMode="auto">
          <a:xfrm flipH="1">
            <a:off x="8010525" y="5495925"/>
            <a:ext cx="47625" cy="65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接连接符 138">
            <a:extLst>
              <a:ext uri="{FF2B5EF4-FFF2-40B4-BE49-F238E27FC236}">
                <a16:creationId xmlns:a16="http://schemas.microsoft.com/office/drawing/2014/main" id="{0F696389-1B0E-632C-5872-FA4364234750}"/>
              </a:ext>
            </a:extLst>
          </p:cNvPr>
          <p:cNvCxnSpPr/>
          <p:nvPr>
            <p:custDataLst>
              <p:tags r:id="rId163"/>
            </p:custDataLst>
          </p:nvPr>
        </p:nvCxnSpPr>
        <p:spPr bwMode="auto">
          <a:xfrm flipH="1" flipV="1">
            <a:off x="8642350" y="5597525"/>
            <a:ext cx="4762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1" name="直接连接符 1960">
            <a:extLst>
              <a:ext uri="{FF2B5EF4-FFF2-40B4-BE49-F238E27FC236}">
                <a16:creationId xmlns:a16="http://schemas.microsoft.com/office/drawing/2014/main" id="{7363D516-3D68-CDA6-D255-19B788285CA6}"/>
              </a:ext>
            </a:extLst>
          </p:cNvPr>
          <p:cNvCxnSpPr/>
          <p:nvPr>
            <p:custDataLst>
              <p:tags r:id="rId164"/>
            </p:custDataLst>
          </p:nvPr>
        </p:nvCxnSpPr>
        <p:spPr bwMode="auto">
          <a:xfrm flipH="1" flipV="1">
            <a:off x="5481638" y="5586413"/>
            <a:ext cx="47625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接连接符 158">
            <a:extLst>
              <a:ext uri="{FF2B5EF4-FFF2-40B4-BE49-F238E27FC236}">
                <a16:creationId xmlns:a16="http://schemas.microsoft.com/office/drawing/2014/main" id="{D7BC6C38-0B7D-990D-6937-E5CAFCC70F67}"/>
              </a:ext>
            </a:extLst>
          </p:cNvPr>
          <p:cNvCxnSpPr>
            <a:cxnSpLocks/>
          </p:cNvCxnSpPr>
          <p:nvPr>
            <p:custDataLst>
              <p:tags r:id="rId165"/>
            </p:custDataLst>
          </p:nvPr>
        </p:nvCxnSpPr>
        <p:spPr bwMode="auto">
          <a:xfrm flipH="1">
            <a:off x="9275763" y="56737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9" name="直接连接符 1948">
            <a:extLst>
              <a:ext uri="{FF2B5EF4-FFF2-40B4-BE49-F238E27FC236}">
                <a16:creationId xmlns:a16="http://schemas.microsoft.com/office/drawing/2014/main" id="{C9EE11E5-6901-6EAB-7E18-5ED9D6913D4C}"/>
              </a:ext>
            </a:extLst>
          </p:cNvPr>
          <p:cNvCxnSpPr>
            <a:cxnSpLocks/>
          </p:cNvCxnSpPr>
          <p:nvPr>
            <p:custDataLst>
              <p:tags r:id="rId166"/>
            </p:custDataLst>
          </p:nvPr>
        </p:nvCxnSpPr>
        <p:spPr bwMode="auto">
          <a:xfrm flipH="1">
            <a:off x="3584575" y="5327651"/>
            <a:ext cx="47625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02D367C-1A02-3459-9C2D-9BD3F848C065}"/>
              </a:ext>
            </a:extLst>
          </p:cNvPr>
          <p:cNvCxnSpPr/>
          <p:nvPr>
            <p:custDataLst>
              <p:tags r:id="rId167"/>
            </p:custDataLst>
          </p:nvPr>
        </p:nvCxnSpPr>
        <p:spPr bwMode="auto">
          <a:xfrm flipH="1" flipV="1">
            <a:off x="2952750" y="5559425"/>
            <a:ext cx="47625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0" name="直接连接符 1969">
            <a:extLst>
              <a:ext uri="{FF2B5EF4-FFF2-40B4-BE49-F238E27FC236}">
                <a16:creationId xmlns:a16="http://schemas.microsoft.com/office/drawing/2014/main" id="{B61163D6-94CA-2F7C-186C-F48DF9E6356C}"/>
              </a:ext>
            </a:extLst>
          </p:cNvPr>
          <p:cNvCxnSpPr>
            <a:cxnSpLocks/>
          </p:cNvCxnSpPr>
          <p:nvPr>
            <p:custDataLst>
              <p:tags r:id="rId168"/>
            </p:custDataLst>
          </p:nvPr>
        </p:nvCxnSpPr>
        <p:spPr bwMode="auto">
          <a:xfrm flipH="1" flipV="1">
            <a:off x="6746875" y="5600700"/>
            <a:ext cx="47625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0" name="直接连接符 1959">
            <a:extLst>
              <a:ext uri="{FF2B5EF4-FFF2-40B4-BE49-F238E27FC236}">
                <a16:creationId xmlns:a16="http://schemas.microsoft.com/office/drawing/2014/main" id="{0D1E6ED6-6DFF-2EDC-F8E8-9FCDE6F4F1B4}"/>
              </a:ext>
            </a:extLst>
          </p:cNvPr>
          <p:cNvCxnSpPr>
            <a:cxnSpLocks/>
          </p:cNvCxnSpPr>
          <p:nvPr>
            <p:custDataLst>
              <p:tags r:id="rId169"/>
            </p:custDataLst>
          </p:nvPr>
        </p:nvCxnSpPr>
        <p:spPr bwMode="auto">
          <a:xfrm flipH="1">
            <a:off x="4849813" y="5434013"/>
            <a:ext cx="47625" cy="63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7" name="直接连接符 1946">
            <a:extLst>
              <a:ext uri="{FF2B5EF4-FFF2-40B4-BE49-F238E27FC236}">
                <a16:creationId xmlns:a16="http://schemas.microsoft.com/office/drawing/2014/main" id="{17B4B5F2-E8FC-ADF3-19A3-A3DB0AB35F4C}"/>
              </a:ext>
            </a:extLst>
          </p:cNvPr>
          <p:cNvCxnSpPr>
            <a:cxnSpLocks/>
          </p:cNvCxnSpPr>
          <p:nvPr>
            <p:custDataLst>
              <p:tags r:id="rId170"/>
            </p:custDataLst>
          </p:nvPr>
        </p:nvCxnSpPr>
        <p:spPr bwMode="auto">
          <a:xfrm flipH="1" flipV="1">
            <a:off x="2952750" y="5572125"/>
            <a:ext cx="47625" cy="214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7" name="直接连接符 1966">
            <a:extLst>
              <a:ext uri="{FF2B5EF4-FFF2-40B4-BE49-F238E27FC236}">
                <a16:creationId xmlns:a16="http://schemas.microsoft.com/office/drawing/2014/main" id="{EDAA4A02-6541-F89F-268C-C83BBCCEE0EC}"/>
              </a:ext>
            </a:extLst>
          </p:cNvPr>
          <p:cNvCxnSpPr>
            <a:cxnSpLocks/>
          </p:cNvCxnSpPr>
          <p:nvPr>
            <p:custDataLst>
              <p:tags r:id="rId171"/>
            </p:custDataLst>
          </p:nvPr>
        </p:nvCxnSpPr>
        <p:spPr bwMode="auto">
          <a:xfrm flipH="1">
            <a:off x="6113463" y="5437188"/>
            <a:ext cx="4762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91E2097A-FBDE-3919-BBD5-CD8987C5B85F}"/>
              </a:ext>
            </a:extLst>
          </p:cNvPr>
          <p:cNvCxnSpPr>
            <a:cxnSpLocks/>
          </p:cNvCxnSpPr>
          <p:nvPr>
            <p:custDataLst>
              <p:tags r:id="rId172"/>
            </p:custDataLst>
          </p:nvPr>
        </p:nvCxnSpPr>
        <p:spPr bwMode="auto">
          <a:xfrm flipH="1" flipV="1">
            <a:off x="8642350" y="5595938"/>
            <a:ext cx="47625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6" name="直接连接符 1945">
            <a:extLst>
              <a:ext uri="{FF2B5EF4-FFF2-40B4-BE49-F238E27FC236}">
                <a16:creationId xmlns:a16="http://schemas.microsoft.com/office/drawing/2014/main" id="{740B77F3-F5EF-99B7-D85D-596545B2F04F}"/>
              </a:ext>
            </a:extLst>
          </p:cNvPr>
          <p:cNvCxnSpPr>
            <a:cxnSpLocks/>
          </p:cNvCxnSpPr>
          <p:nvPr>
            <p:custDataLst>
              <p:tags r:id="rId173"/>
            </p:custDataLst>
          </p:nvPr>
        </p:nvCxnSpPr>
        <p:spPr bwMode="auto">
          <a:xfrm flipH="1">
            <a:off x="2952750" y="5453063"/>
            <a:ext cx="47625" cy="6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5A4BDDAB-C480-572D-E7FF-824340033891}"/>
              </a:ext>
            </a:extLst>
          </p:cNvPr>
          <p:cNvCxnSpPr/>
          <p:nvPr>
            <p:custDataLst>
              <p:tags r:id="rId174"/>
            </p:custDataLst>
          </p:nvPr>
        </p:nvCxnSpPr>
        <p:spPr bwMode="auto">
          <a:xfrm flipH="1" flipV="1">
            <a:off x="4849813" y="5575300"/>
            <a:ext cx="47625" cy="42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8" name="直接连接符 1967">
            <a:extLst>
              <a:ext uri="{FF2B5EF4-FFF2-40B4-BE49-F238E27FC236}">
                <a16:creationId xmlns:a16="http://schemas.microsoft.com/office/drawing/2014/main" id="{A8892081-58E1-8C46-B95A-9A34557F7E70}"/>
              </a:ext>
            </a:extLst>
          </p:cNvPr>
          <p:cNvCxnSpPr>
            <a:cxnSpLocks/>
          </p:cNvCxnSpPr>
          <p:nvPr>
            <p:custDataLst>
              <p:tags r:id="rId175"/>
            </p:custDataLst>
          </p:nvPr>
        </p:nvCxnSpPr>
        <p:spPr bwMode="auto">
          <a:xfrm flipH="1">
            <a:off x="6746875" y="5516563"/>
            <a:ext cx="47625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3EFA5799-B11E-7367-92C5-B2E499273415}"/>
              </a:ext>
            </a:extLst>
          </p:cNvPr>
          <p:cNvCxnSpPr>
            <a:cxnSpLocks/>
          </p:cNvCxnSpPr>
          <p:nvPr>
            <p:custDataLst>
              <p:tags r:id="rId176"/>
            </p:custDataLst>
          </p:nvPr>
        </p:nvCxnSpPr>
        <p:spPr bwMode="auto">
          <a:xfrm flipH="1">
            <a:off x="6113463" y="5503863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6E16BA44-DF5E-92A1-A324-C50C080F024E}"/>
              </a:ext>
            </a:extLst>
          </p:cNvPr>
          <p:cNvCxnSpPr>
            <a:cxnSpLocks/>
          </p:cNvCxnSpPr>
          <p:nvPr>
            <p:custDataLst>
              <p:tags r:id="rId177"/>
            </p:custDataLst>
          </p:nvPr>
        </p:nvCxnSpPr>
        <p:spPr bwMode="auto">
          <a:xfrm flipH="1" flipV="1">
            <a:off x="3584575" y="5419725"/>
            <a:ext cx="47625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接连接符 164">
            <a:extLst>
              <a:ext uri="{FF2B5EF4-FFF2-40B4-BE49-F238E27FC236}">
                <a16:creationId xmlns:a16="http://schemas.microsoft.com/office/drawing/2014/main" id="{CC537BE7-B42B-95C9-047C-9EDA7D9DAE7D}"/>
              </a:ext>
            </a:extLst>
          </p:cNvPr>
          <p:cNvCxnSpPr/>
          <p:nvPr>
            <p:custDataLst>
              <p:tags r:id="rId178"/>
            </p:custDataLst>
          </p:nvPr>
        </p:nvCxnSpPr>
        <p:spPr bwMode="auto">
          <a:xfrm flipH="1" flipV="1">
            <a:off x="2952750" y="5521325"/>
            <a:ext cx="47625" cy="65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8" name="直接连接符 1957">
            <a:extLst>
              <a:ext uri="{FF2B5EF4-FFF2-40B4-BE49-F238E27FC236}">
                <a16:creationId xmlns:a16="http://schemas.microsoft.com/office/drawing/2014/main" id="{81B721B0-A2A5-9559-32BC-23AEA842ABB2}"/>
              </a:ext>
            </a:extLst>
          </p:cNvPr>
          <p:cNvCxnSpPr/>
          <p:nvPr>
            <p:custDataLst>
              <p:tags r:id="rId179"/>
            </p:custDataLst>
          </p:nvPr>
        </p:nvCxnSpPr>
        <p:spPr bwMode="auto">
          <a:xfrm flipH="1" flipV="1">
            <a:off x="4849813" y="5594350"/>
            <a:ext cx="47625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直接连接符 166">
            <a:extLst>
              <a:ext uri="{FF2B5EF4-FFF2-40B4-BE49-F238E27FC236}">
                <a16:creationId xmlns:a16="http://schemas.microsoft.com/office/drawing/2014/main" id="{E3398CCA-D8CA-F9B3-9381-BA6FAD7693BF}"/>
              </a:ext>
            </a:extLst>
          </p:cNvPr>
          <p:cNvCxnSpPr/>
          <p:nvPr>
            <p:custDataLst>
              <p:tags r:id="rId180"/>
            </p:custDataLst>
          </p:nvPr>
        </p:nvCxnSpPr>
        <p:spPr bwMode="auto">
          <a:xfrm flipH="1">
            <a:off x="4217988" y="5332413"/>
            <a:ext cx="47625" cy="619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2" name="直接连接符 1951">
            <a:extLst>
              <a:ext uri="{FF2B5EF4-FFF2-40B4-BE49-F238E27FC236}">
                <a16:creationId xmlns:a16="http://schemas.microsoft.com/office/drawing/2014/main" id="{9F6C5C97-6F97-B3B9-2103-574FFD071DD2}"/>
              </a:ext>
            </a:extLst>
          </p:cNvPr>
          <p:cNvCxnSpPr/>
          <p:nvPr>
            <p:custDataLst>
              <p:tags r:id="rId181"/>
            </p:custDataLst>
          </p:nvPr>
        </p:nvCxnSpPr>
        <p:spPr bwMode="auto">
          <a:xfrm flipH="1" flipV="1">
            <a:off x="3584575" y="5453063"/>
            <a:ext cx="47625" cy="125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直接连接符 169">
            <a:extLst>
              <a:ext uri="{FF2B5EF4-FFF2-40B4-BE49-F238E27FC236}">
                <a16:creationId xmlns:a16="http://schemas.microsoft.com/office/drawing/2014/main" id="{5DD5CA37-62C4-5EF6-4C43-EA9747B75B80}"/>
              </a:ext>
            </a:extLst>
          </p:cNvPr>
          <p:cNvCxnSpPr/>
          <p:nvPr>
            <p:custDataLst>
              <p:tags r:id="rId182"/>
            </p:custDataLst>
          </p:nvPr>
        </p:nvCxnSpPr>
        <p:spPr bwMode="auto">
          <a:xfrm flipH="1">
            <a:off x="5481638" y="5437188"/>
            <a:ext cx="47625" cy="650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7" name="直接连接符 1866">
            <a:extLst>
              <a:ext uri="{FF2B5EF4-FFF2-40B4-BE49-F238E27FC236}">
                <a16:creationId xmlns:a16="http://schemas.microsoft.com/office/drawing/2014/main" id="{5620269F-6135-C4D2-BCC3-936DCB4BB8D3}"/>
              </a:ext>
            </a:extLst>
          </p:cNvPr>
          <p:cNvCxnSpPr>
            <a:cxnSpLocks/>
          </p:cNvCxnSpPr>
          <p:nvPr>
            <p:custDataLst>
              <p:tags r:id="rId183"/>
            </p:custDataLst>
          </p:nvPr>
        </p:nvCxnSpPr>
        <p:spPr bwMode="auto">
          <a:xfrm flipH="1">
            <a:off x="8642350" y="5435600"/>
            <a:ext cx="4762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4D84F74D-BB7B-68B7-5AFC-E61DFCE39ED6}"/>
              </a:ext>
            </a:extLst>
          </p:cNvPr>
          <p:cNvCxnSpPr/>
          <p:nvPr>
            <p:custDataLst>
              <p:tags r:id="rId184"/>
            </p:custDataLst>
          </p:nvPr>
        </p:nvCxnSpPr>
        <p:spPr bwMode="auto">
          <a:xfrm flipH="1">
            <a:off x="6113463" y="5303838"/>
            <a:ext cx="47625" cy="2047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5FD6F803-9FF9-C590-DCAD-BD9BBDABE600}"/>
              </a:ext>
            </a:extLst>
          </p:cNvPr>
          <p:cNvCxnSpPr>
            <a:cxnSpLocks/>
          </p:cNvCxnSpPr>
          <p:nvPr>
            <p:custDataLst>
              <p:tags r:id="rId185"/>
            </p:custDataLst>
          </p:nvPr>
        </p:nvCxnSpPr>
        <p:spPr bwMode="auto">
          <a:xfrm flipH="1">
            <a:off x="5481638" y="5370512"/>
            <a:ext cx="47625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2" name="直接连接符 1861">
            <a:extLst>
              <a:ext uri="{FF2B5EF4-FFF2-40B4-BE49-F238E27FC236}">
                <a16:creationId xmlns:a16="http://schemas.microsoft.com/office/drawing/2014/main" id="{91C00302-45AE-14F2-B541-2E8ED262889F}"/>
              </a:ext>
            </a:extLst>
          </p:cNvPr>
          <p:cNvCxnSpPr>
            <a:cxnSpLocks/>
          </p:cNvCxnSpPr>
          <p:nvPr>
            <p:custDataLst>
              <p:tags r:id="rId186"/>
            </p:custDataLst>
          </p:nvPr>
        </p:nvCxnSpPr>
        <p:spPr bwMode="auto">
          <a:xfrm flipH="1">
            <a:off x="6746875" y="5449888"/>
            <a:ext cx="47625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2788D479-4046-473E-FC4E-5E1F88428FB8}"/>
              </a:ext>
            </a:extLst>
          </p:cNvPr>
          <p:cNvCxnSpPr/>
          <p:nvPr>
            <p:custDataLst>
              <p:tags r:id="rId187"/>
            </p:custDataLst>
          </p:nvPr>
        </p:nvCxnSpPr>
        <p:spPr bwMode="auto">
          <a:xfrm flipH="1">
            <a:off x="3584575" y="5194300"/>
            <a:ext cx="47625" cy="128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3" name="直接连接符 1962">
            <a:extLst>
              <a:ext uri="{FF2B5EF4-FFF2-40B4-BE49-F238E27FC236}">
                <a16:creationId xmlns:a16="http://schemas.microsoft.com/office/drawing/2014/main" id="{4FE9B648-3270-C095-2F9D-1A0856AE5A28}"/>
              </a:ext>
            </a:extLst>
          </p:cNvPr>
          <p:cNvCxnSpPr>
            <a:cxnSpLocks/>
          </p:cNvCxnSpPr>
          <p:nvPr>
            <p:custDataLst>
              <p:tags r:id="rId188"/>
            </p:custDataLst>
          </p:nvPr>
        </p:nvCxnSpPr>
        <p:spPr bwMode="auto">
          <a:xfrm flipH="1" flipV="1">
            <a:off x="5481638" y="5530850"/>
            <a:ext cx="47625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直接连接符 176">
            <a:extLst>
              <a:ext uri="{FF2B5EF4-FFF2-40B4-BE49-F238E27FC236}">
                <a16:creationId xmlns:a16="http://schemas.microsoft.com/office/drawing/2014/main" id="{11400636-14D9-E710-C3C0-83FC4504EFDE}"/>
              </a:ext>
            </a:extLst>
          </p:cNvPr>
          <p:cNvCxnSpPr/>
          <p:nvPr>
            <p:custDataLst>
              <p:tags r:id="rId189"/>
            </p:custDataLst>
          </p:nvPr>
        </p:nvCxnSpPr>
        <p:spPr bwMode="auto">
          <a:xfrm flipH="1">
            <a:off x="8010525" y="5429250"/>
            <a:ext cx="47625" cy="111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E19570DC-5F68-7B15-B82D-8FF823FAA4BF}"/>
              </a:ext>
            </a:extLst>
          </p:cNvPr>
          <p:cNvCxnSpPr/>
          <p:nvPr>
            <p:custDataLst>
              <p:tags r:id="rId190"/>
            </p:custDataLst>
          </p:nvPr>
        </p:nvCxnSpPr>
        <p:spPr bwMode="auto">
          <a:xfrm flipH="1">
            <a:off x="4217988" y="5465763"/>
            <a:ext cx="47625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直接连接符 178">
            <a:extLst>
              <a:ext uri="{FF2B5EF4-FFF2-40B4-BE49-F238E27FC236}">
                <a16:creationId xmlns:a16="http://schemas.microsoft.com/office/drawing/2014/main" id="{E5DE34B9-3553-2E9A-2755-62678F6364E5}"/>
              </a:ext>
            </a:extLst>
          </p:cNvPr>
          <p:cNvCxnSpPr/>
          <p:nvPr>
            <p:custDataLst>
              <p:tags r:id="rId191"/>
            </p:custDataLst>
          </p:nvPr>
        </p:nvCxnSpPr>
        <p:spPr bwMode="auto">
          <a:xfrm flipH="1">
            <a:off x="8642350" y="5502275"/>
            <a:ext cx="4762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7F758961-9016-F5C2-68B7-AAE51E36BFF0}"/>
              </a:ext>
            </a:extLst>
          </p:cNvPr>
          <p:cNvCxnSpPr/>
          <p:nvPr>
            <p:custDataLst>
              <p:tags r:id="rId192"/>
            </p:custDataLst>
          </p:nvPr>
        </p:nvCxnSpPr>
        <p:spPr bwMode="auto">
          <a:xfrm flipH="1">
            <a:off x="7378700" y="5470526"/>
            <a:ext cx="47625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直接连接符 180">
            <a:extLst>
              <a:ext uri="{FF2B5EF4-FFF2-40B4-BE49-F238E27FC236}">
                <a16:creationId xmlns:a16="http://schemas.microsoft.com/office/drawing/2014/main" id="{3C221D33-E05E-7B88-D153-896408781CB2}"/>
              </a:ext>
            </a:extLst>
          </p:cNvPr>
          <p:cNvCxnSpPr/>
          <p:nvPr>
            <p:custDataLst>
              <p:tags r:id="rId193"/>
            </p:custDataLst>
          </p:nvPr>
        </p:nvCxnSpPr>
        <p:spPr bwMode="auto">
          <a:xfrm flipH="1">
            <a:off x="9275763" y="551656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6" name="直接连接符 1955">
            <a:extLst>
              <a:ext uri="{FF2B5EF4-FFF2-40B4-BE49-F238E27FC236}">
                <a16:creationId xmlns:a16="http://schemas.microsoft.com/office/drawing/2014/main" id="{3A4F1EB6-E0BA-9C77-0516-25ED47D332AC}"/>
              </a:ext>
            </a:extLst>
          </p:cNvPr>
          <p:cNvCxnSpPr>
            <a:cxnSpLocks/>
          </p:cNvCxnSpPr>
          <p:nvPr>
            <p:custDataLst>
              <p:tags r:id="rId194"/>
            </p:custDataLst>
          </p:nvPr>
        </p:nvCxnSpPr>
        <p:spPr bwMode="auto">
          <a:xfrm flipH="1" flipV="1">
            <a:off x="4217988" y="5565774"/>
            <a:ext cx="47625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直接连接符 174">
            <a:extLst>
              <a:ext uri="{FF2B5EF4-FFF2-40B4-BE49-F238E27FC236}">
                <a16:creationId xmlns:a16="http://schemas.microsoft.com/office/drawing/2014/main" id="{0AEA339C-6864-A6C8-B6FC-31682720735A}"/>
              </a:ext>
            </a:extLst>
          </p:cNvPr>
          <p:cNvCxnSpPr/>
          <p:nvPr>
            <p:custDataLst>
              <p:tags r:id="rId195"/>
            </p:custDataLst>
          </p:nvPr>
        </p:nvCxnSpPr>
        <p:spPr bwMode="auto">
          <a:xfrm flipH="1" flipV="1">
            <a:off x="7378700" y="5564188"/>
            <a:ext cx="47625" cy="904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35" name="Text Placeholder 3">
            <a:extLst>
              <a:ext uri="{FF2B5EF4-FFF2-40B4-BE49-F238E27FC236}">
                <a16:creationId xmlns:a16="http://schemas.microsoft.com/office/drawing/2014/main" id="{F78ED92F-515F-C4BF-58DB-998EDD5BE519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gray">
          <a:xfrm>
            <a:off x="7426325" y="57213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0D8579-8D1E-46EF-BB04-52B8FA2EF51D}" type="datetime'''''''''''''''''''''''''''''''''4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3" name="Text Placeholder 3">
            <a:extLst>
              <a:ext uri="{FF2B5EF4-FFF2-40B4-BE49-F238E27FC236}">
                <a16:creationId xmlns:a16="http://schemas.microsoft.com/office/drawing/2014/main" id="{EAFD658F-06C7-F532-5625-5D9375F58080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gray">
          <a:xfrm>
            <a:off x="3000375" y="57864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D37222D-40BC-49A7-B8AB-E91A679DA740}" type="datetime'''''''''''''''''''''''-''''5''''''''''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6" name="Text Placeholder 3">
            <a:extLst>
              <a:ext uri="{FF2B5EF4-FFF2-40B4-BE49-F238E27FC236}">
                <a16:creationId xmlns:a16="http://schemas.microsoft.com/office/drawing/2014/main" id="{A0DF08CB-77C3-AF09-DD50-ECBA6C70CD31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gray">
          <a:xfrm>
            <a:off x="8058150" y="55626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D14B90-DECE-4A40-89F2-4C1481AC4C28}" type="datetime'''''''''''''''''-''''''''''''''''''''''''''''8'''''''''''''">
              <a:rPr lang="zh-CN" altLang="en-US" sz="800" smtClean="0">
                <a:latin typeface="+mn-lt"/>
                <a:cs typeface="+mn-cs"/>
              </a:rPr>
              <a:pPr/>
              <a:t>-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2" name="Text Placeholder 3">
            <a:extLst>
              <a:ext uri="{FF2B5EF4-FFF2-40B4-BE49-F238E27FC236}">
                <a16:creationId xmlns:a16="http://schemas.microsoft.com/office/drawing/2014/main" id="{4BA3AAFE-425B-0FE9-F37C-6372EE6EF387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gray">
          <a:xfrm>
            <a:off x="3000375" y="53863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8CDEF81-97AB-4967-B875-BB78322BEED9}" type="datetime'''''''''''''''''''''''''3''''''''''''''4'''''''''">
              <a:rPr lang="zh-CN" altLang="en-US" sz="800" smtClean="0">
                <a:latin typeface="+mn-lt"/>
                <a:cs typeface="+mn-cs"/>
              </a:rPr>
              <a:pPr/>
              <a:t>3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68" name="Text Placeholder 3">
            <a:extLst>
              <a:ext uri="{FF2B5EF4-FFF2-40B4-BE49-F238E27FC236}">
                <a16:creationId xmlns:a16="http://schemas.microsoft.com/office/drawing/2014/main" id="{D517B235-34AE-0C88-574E-EE674E6E106A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gray">
          <a:xfrm>
            <a:off x="8058150" y="569595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A51CAAF-DC50-4E6D-9EFA-1BE8DCA624E5}" type="datetime'''''''''''''''''''''''''''''''''-8'''">
              <a:rPr lang="zh-CN" altLang="en-US" sz="800" smtClean="0">
                <a:latin typeface="+mn-lt"/>
                <a:cs typeface="+mn-cs"/>
              </a:rPr>
              <a:pPr/>
              <a:t>-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1" name="Text Placeholder 3">
            <a:extLst>
              <a:ext uri="{FF2B5EF4-FFF2-40B4-BE49-F238E27FC236}">
                <a16:creationId xmlns:a16="http://schemas.microsoft.com/office/drawing/2014/main" id="{5B56FCE9-40A0-6DB6-DE94-BB939049C5E6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gray">
          <a:xfrm>
            <a:off x="3000375" y="55197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1201DBD-42C8-4DF3-8305-003CE172465E}" type="datetime'''''3''''''''''''''''''2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40" name="Text Placeholder 3">
            <a:extLst>
              <a:ext uri="{FF2B5EF4-FFF2-40B4-BE49-F238E27FC236}">
                <a16:creationId xmlns:a16="http://schemas.microsoft.com/office/drawing/2014/main" id="{5506685F-6CA3-05CA-6610-3EA74C0D2B1B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gray">
          <a:xfrm>
            <a:off x="7823200" y="5548313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85A866-B312-4D72-B3E1-4535EEFBC04B}" type="datetime'''''''''''''-''''''''''''''''''2''5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9" name="Text Placeholder 3">
            <a:extLst>
              <a:ext uri="{FF2B5EF4-FFF2-40B4-BE49-F238E27FC236}">
                <a16:creationId xmlns:a16="http://schemas.microsoft.com/office/drawing/2014/main" id="{7B391AF9-8203-6A30-657C-FBFB56AE25F8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8058150" y="52959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9FF5970-1CDE-4CE0-8DD4-9692CF67770A}" type="datetime'''''''''''''2''''''1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8" name="Text Placeholder 3">
            <a:extLst>
              <a:ext uri="{FF2B5EF4-FFF2-40B4-BE49-F238E27FC236}">
                <a16:creationId xmlns:a16="http://schemas.microsoft.com/office/drawing/2014/main" id="{C4488964-0B6C-771A-98DA-3243D06D7B48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gray">
          <a:xfrm>
            <a:off x="8058150" y="54292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F63FDA-DA07-4EAC-9028-A3A94FB9660C}" type="datetime'''''1''''''''''''''''''''''''''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6" name="Text Placeholder 3">
            <a:extLst>
              <a:ext uri="{FF2B5EF4-FFF2-40B4-BE49-F238E27FC236}">
                <a16:creationId xmlns:a16="http://schemas.microsoft.com/office/drawing/2014/main" id="{30D492D9-5BDD-171C-A10A-02BDAD3A9C9A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3397250" y="531653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023245-748A-41B1-ABD3-D3E90A5F7CBF}" type="datetime'''''''''''''-''''''''''''''2''''''''''''''''''''''''''''5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0" name="Text Placeholder 3">
            <a:extLst>
              <a:ext uri="{FF2B5EF4-FFF2-40B4-BE49-F238E27FC236}">
                <a16:creationId xmlns:a16="http://schemas.microsoft.com/office/drawing/2014/main" id="{C6E07732-9031-9168-BFB0-CEF03BD54EC3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gray">
          <a:xfrm>
            <a:off x="8689975" y="53022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6045F66-36B5-4E5E-85EA-5C0D6747F43B}" type="datetime'''''''''''''''''''''''''''''''''''8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0" name="Text Placeholder 3">
            <a:extLst>
              <a:ext uri="{FF2B5EF4-FFF2-40B4-BE49-F238E27FC236}">
                <a16:creationId xmlns:a16="http://schemas.microsoft.com/office/drawing/2014/main" id="{A0D250D8-7915-2211-F695-A7C95122C779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7426325" y="58547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64A26E-0225-437F-8A61-6EF6DA3A7FDB}" type="datetime'''''''''''''''-''5''''''''''''''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2" name="Text Placeholder 3">
            <a:extLst>
              <a:ext uri="{FF2B5EF4-FFF2-40B4-BE49-F238E27FC236}">
                <a16:creationId xmlns:a16="http://schemas.microsoft.com/office/drawing/2014/main" id="{09AB5DCE-0365-9D0D-3880-236DD3DFA061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8689975" y="57023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B9E4C66-A4C3-4228-A7D0-631D5154F373}" type="datetime'''''''''''''-''''''''''''''''1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1" name="Text Placeholder 3">
            <a:extLst>
              <a:ext uri="{FF2B5EF4-FFF2-40B4-BE49-F238E27FC236}">
                <a16:creationId xmlns:a16="http://schemas.microsoft.com/office/drawing/2014/main" id="{08716696-DF0E-ED84-2AFA-2C9F7E84F462}"/>
              </a:ext>
            </a:extLst>
          </p:cNvPr>
          <p:cNvSpPr>
            <a:spLocks/>
          </p:cNvSpPr>
          <p:nvPr>
            <p:custDataLst>
              <p:tags r:id="rId209"/>
            </p:custDataLst>
          </p:nvPr>
        </p:nvSpPr>
        <p:spPr bwMode="gray">
          <a:xfrm>
            <a:off x="3632200" y="54451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5A4756A-C1C8-4F4F-857D-A5C346B87F53}" type="datetime'-''1''''''''''''4'''''''''''''''''''''''''''''''''''''">
              <a:rPr lang="zh-CN" altLang="en-US" sz="800" smtClean="0"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B0C8AEF4-39AF-183D-83E0-75D4AEF3F2B2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gray">
          <a:xfrm>
            <a:off x="8455025" y="5554663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9CFE9D-BBF8-456F-8D64-40E1D660086A}" type="datetime'''''''-2''''''''''''''''''''''''''''''5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406C4F68-E406-2910-B1EB-71C7C57EF1DD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8689975" y="54356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2F395C5-E52B-4397-AE45-1B0985CD5434}" type="datetime'''''''''''''''''''''''2''''5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83" name="Text Placeholder 3">
            <a:extLst>
              <a:ext uri="{FF2B5EF4-FFF2-40B4-BE49-F238E27FC236}">
                <a16:creationId xmlns:a16="http://schemas.microsoft.com/office/drawing/2014/main" id="{125A8E3A-1E53-7643-7C89-103156266D85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gray">
          <a:xfrm>
            <a:off x="8689975" y="55689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1C77F45-55F9-4173-B168-717BB4303C57}" type="datetime'''''''''''''''''''''''''''''''''''''1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8" name="Text Placeholder 3">
            <a:extLst>
              <a:ext uri="{FF2B5EF4-FFF2-40B4-BE49-F238E27FC236}">
                <a16:creationId xmlns:a16="http://schemas.microsoft.com/office/drawing/2014/main" id="{F7FFD5AC-6408-3AD4-A244-A3C8BA6B9DA4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3632200" y="557847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1F8D79-F632-4F08-9489-0A143FF03A0A}" type="datetime'''''''''''''''''''''''''''-''''2''2'''''''''''''''''">
              <a:rPr lang="zh-CN" altLang="en-US" sz="800" smtClean="0">
                <a:latin typeface="+mn-lt"/>
                <a:cs typeface="+mn-cs"/>
              </a:rPr>
              <a:pPr/>
              <a:t>-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4" name="Text Placeholder 3">
            <a:extLst>
              <a:ext uri="{FF2B5EF4-FFF2-40B4-BE49-F238E27FC236}">
                <a16:creationId xmlns:a16="http://schemas.microsoft.com/office/drawing/2014/main" id="{C78E0AD3-36D9-095B-2798-4F5FE0BC4885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gray">
          <a:xfrm>
            <a:off x="9088438" y="55387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8299969-05A4-4018-9319-C1AF27913589}" type="datetime'''''''''''''''''''''''''''''''''''''''''''-''58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5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5" name="Text Placeholder 3">
            <a:extLst>
              <a:ext uri="{FF2B5EF4-FFF2-40B4-BE49-F238E27FC236}">
                <a16:creationId xmlns:a16="http://schemas.microsoft.com/office/drawing/2014/main" id="{0CCFA2B6-0C72-5E6F-55EA-74947500111E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gray">
          <a:xfrm>
            <a:off x="9323388" y="56070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D22A60-478E-4CD6-9551-73A8DC77025C}" type="datetime'''-''1''''''''''4'''''''''''''''''''''''''''''''''''''''''''">
              <a:rPr lang="zh-CN" altLang="en-US" sz="800" smtClean="0"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7" name="Text Placeholder 3">
            <a:extLst>
              <a:ext uri="{FF2B5EF4-FFF2-40B4-BE49-F238E27FC236}">
                <a16:creationId xmlns:a16="http://schemas.microsoft.com/office/drawing/2014/main" id="{151EFE26-6235-2295-A10E-FF7300A2E6EA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3632200" y="51276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D755ADF-DB59-4A50-8B36-56E5910166E4}" type="datetime'2''''''''''''''1''''''''''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78057A8B-CABE-ABE5-3079-1741B1A8B335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9059863" y="5843588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DAA1B5-CCFD-469F-BBFE-FBC1CF22FB61}" type="datetime'''''''''''''-''''''''2''''''''''''''''''3''''''7'''''''">
              <a:rPr lang="zh-CN" altLang="en-US" sz="800" smtClean="0">
                <a:latin typeface="+mn-lt"/>
                <a:cs typeface="+mn-cs"/>
              </a:rPr>
              <a:pPr/>
              <a:t>-2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702CA7B5-A535-FAC0-8440-4BC4CF141BB7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gray">
          <a:xfrm>
            <a:off x="9075738" y="5173663"/>
            <a:ext cx="2000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48FB70-0A88-43D8-9D18-F39E9804F859}" type="datetime'''''''''''''''''''2''''''''''''5''''6'''''''''">
              <a:rPr lang="zh-CN" altLang="en-US" sz="800" smtClean="0">
                <a:effectLst/>
                <a:latin typeface="+mn-lt"/>
                <a:cs typeface="+mn-cs"/>
              </a:rPr>
              <a:pPr/>
              <a:t>25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BDB35F6-6B9A-BF4E-E283-0B21641E0117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9323388" y="54498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9A55C6-61B2-4862-86D1-C1122E0B33D3}" type="datetime'''''''''''''''''''''''''''''''''3''7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4" name="Text Placeholder 3">
            <a:extLst>
              <a:ext uri="{FF2B5EF4-FFF2-40B4-BE49-F238E27FC236}">
                <a16:creationId xmlns:a16="http://schemas.microsoft.com/office/drawing/2014/main" id="{BD8D97C7-D102-EA5B-14FE-83D8616F578E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gray">
          <a:xfrm>
            <a:off x="3632200" y="52609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D8F9371-7A32-437F-8993-D735B8E00F1D}" type="datetime'''''''''9'''''''''''''''''''''''''''''''">
              <a:rPr lang="zh-CN" altLang="en-US" sz="800" smtClean="0"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7" name="Text Placeholder 3">
            <a:extLst>
              <a:ext uri="{FF2B5EF4-FFF2-40B4-BE49-F238E27FC236}">
                <a16:creationId xmlns:a16="http://schemas.microsoft.com/office/drawing/2014/main" id="{EF6689EC-B591-6AF1-C4EC-3227A6F667A9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4030663" y="538797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4EBB1B-F2DB-477F-870A-8FC910CA84B7}" type="datetime'''''''''''''-''''''''''''''3''''''''''''''''9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3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8" name="Text Placeholder 3">
            <a:extLst>
              <a:ext uri="{FF2B5EF4-FFF2-40B4-BE49-F238E27FC236}">
                <a16:creationId xmlns:a16="http://schemas.microsoft.com/office/drawing/2014/main" id="{8365F0EE-90DC-3C07-287A-94B206AADA28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gray">
          <a:xfrm>
            <a:off x="4265613" y="53990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3EC022-8EA7-4BC1-A5C5-A742E62BA92F}" type="datetime'''''''''''''''''''''''''-2''2'''''''''''''''">
              <a:rPr lang="zh-CN" altLang="en-US" sz="800" smtClean="0">
                <a:latin typeface="+mn-lt"/>
                <a:cs typeface="+mn-cs"/>
              </a:rPr>
              <a:pPr/>
              <a:t>-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2" name="Text Placeholder 3">
            <a:extLst>
              <a:ext uri="{FF2B5EF4-FFF2-40B4-BE49-F238E27FC236}">
                <a16:creationId xmlns:a16="http://schemas.microsoft.com/office/drawing/2014/main" id="{A9B3259F-B65B-1C87-8132-D8E45EDDAC6A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4265613" y="55832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D274F59-237A-4E05-92A0-278650F287E6}" type="datetime'''''''-''''''''''''''''''''''''''''''3''''5'''">
              <a:rPr lang="zh-CN" altLang="en-US" sz="800" smtClean="0">
                <a:latin typeface="+mn-lt"/>
                <a:cs typeface="+mn-cs"/>
              </a:rPr>
              <a:pPr/>
              <a:t>-3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1" name="Text Placeholder 3">
            <a:extLst>
              <a:ext uri="{FF2B5EF4-FFF2-40B4-BE49-F238E27FC236}">
                <a16:creationId xmlns:a16="http://schemas.microsoft.com/office/drawing/2014/main" id="{699F3721-4FDE-B4E5-B0C4-A7324B1A6704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4265613" y="52657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1C9CF5-0F00-45EA-8AAC-7BC8C2930729}" type="datetime'''''''''''''''''''''''2''''''''''7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0" name="Text Placeholder 3">
            <a:extLst>
              <a:ext uri="{FF2B5EF4-FFF2-40B4-BE49-F238E27FC236}">
                <a16:creationId xmlns:a16="http://schemas.microsoft.com/office/drawing/2014/main" id="{C0C96CC1-849D-C47F-3011-B0A9D1D4E46A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4265613" y="57165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3713CD-E793-4BD5-8CDE-DB4B9921A398}" type="datetime'''''''''''''''''''''''''''''''''''''''''''-''''''''''5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9" name="Text Placeholder 3">
            <a:extLst>
              <a:ext uri="{FF2B5EF4-FFF2-40B4-BE49-F238E27FC236}">
                <a16:creationId xmlns:a16="http://schemas.microsoft.com/office/drawing/2014/main" id="{8FADCA6A-0D3C-3458-0D6D-4974113153D6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gray">
          <a:xfrm>
            <a:off x="4897438" y="52339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0883362-64EE-48F5-9296-50AA92889448}" type="datetime'''''''''''''2''''''''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5" name="Text Placeholder 3">
            <a:extLst>
              <a:ext uri="{FF2B5EF4-FFF2-40B4-BE49-F238E27FC236}">
                <a16:creationId xmlns:a16="http://schemas.microsoft.com/office/drawing/2014/main" id="{E7F286C7-2CCE-DF57-5848-56017BDA4A58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gray">
          <a:xfrm>
            <a:off x="4897438" y="53673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71647F1-8E23-413F-955A-574D5013616D}" type="datetime'''''''''''''''''''5'''''''''''''''''''''''''''''''''''''''">
              <a:rPr lang="zh-CN" altLang="en-US" sz="800" smtClean="0">
                <a:latin typeface="+mn-lt"/>
                <a:cs typeface="+mn-cs"/>
              </a:rPr>
              <a:pPr/>
              <a:t>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2" name="Text Placeholder 3">
            <a:extLst>
              <a:ext uri="{FF2B5EF4-FFF2-40B4-BE49-F238E27FC236}">
                <a16:creationId xmlns:a16="http://schemas.microsoft.com/office/drawing/2014/main" id="{1018C9FC-2E0F-03E8-DD80-2216768A8CC7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gray">
          <a:xfrm>
            <a:off x="2752725" y="51752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691110-BE50-45D9-A967-7F86DCC0C24B}" type="datetime'''''''''''''''''''1''''''''''''0''''''''1'''''''''''''''''''">
              <a:rPr lang="zh-CN" altLang="en-US" sz="800" smtClean="0">
                <a:latin typeface="+mn-lt"/>
                <a:cs typeface="+mn-cs"/>
              </a:rPr>
              <a:pPr/>
              <a:t>1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5" name="Text Placeholder 3">
            <a:extLst>
              <a:ext uri="{FF2B5EF4-FFF2-40B4-BE49-F238E27FC236}">
                <a16:creationId xmlns:a16="http://schemas.microsoft.com/office/drawing/2014/main" id="{3485C98C-7F6A-4103-CB05-09FDBE33F85D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4897438" y="55514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91DF99-5C3D-44B5-B3E9-D468850C340E}" type="datetime'''''''''''''''''''-''1''''''''''''''9'''''''''">
              <a:rPr lang="zh-CN" altLang="en-US" sz="800" smtClean="0">
                <a:latin typeface="+mn-lt"/>
                <a:cs typeface="+mn-cs"/>
              </a:rPr>
              <a:pPr/>
              <a:t>-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4" name="Text Placeholder 3">
            <a:extLst>
              <a:ext uri="{FF2B5EF4-FFF2-40B4-BE49-F238E27FC236}">
                <a16:creationId xmlns:a16="http://schemas.microsoft.com/office/drawing/2014/main" id="{90545DD3-659F-D754-8837-27C997A85952}"/>
              </a:ext>
            </a:extLst>
          </p:cNvPr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4678363" y="5464175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1EFC6A-114F-451E-90DF-BF156EE33C6D}" type="datetime'''''''''2''9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2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3" name="Text Placeholder 3">
            <a:extLst>
              <a:ext uri="{FF2B5EF4-FFF2-40B4-BE49-F238E27FC236}">
                <a16:creationId xmlns:a16="http://schemas.microsoft.com/office/drawing/2014/main" id="{95028E2A-B9BC-DEC6-9A2E-050FDA19E099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4897438" y="56848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89254D1-C6B7-48AD-A9D6-2A665EC062B1}" type="datetime'''''''''''''''''''''-''1'''''''''">
              <a:rPr lang="zh-CN" altLang="en-US" sz="800" smtClean="0"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6" name="Text Placeholder 3">
            <a:extLst>
              <a:ext uri="{FF2B5EF4-FFF2-40B4-BE49-F238E27FC236}">
                <a16:creationId xmlns:a16="http://schemas.microsoft.com/office/drawing/2014/main" id="{956B8C20-51FE-937D-8B3F-ED50A9704246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5529263" y="52371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4C1A6F9-4471-49AC-B2B8-36F7613F5DEE}" type="datetime'''''''''''''''''''''''''7'''''''''''''">
              <a:rPr lang="zh-CN" altLang="en-US" sz="800" smtClean="0">
                <a:latin typeface="+mn-lt"/>
                <a:cs typeface="+mn-cs"/>
              </a:rPr>
              <a:pPr/>
              <a:t>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7" name="Text Placeholder 3">
            <a:extLst>
              <a:ext uri="{FF2B5EF4-FFF2-40B4-BE49-F238E27FC236}">
                <a16:creationId xmlns:a16="http://schemas.microsoft.com/office/drawing/2014/main" id="{3505B40A-A35F-45C7-8F2D-FD3AF84F0164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gray">
          <a:xfrm>
            <a:off x="5529263" y="55546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055D79-1737-4E1A-8909-8AA322501479}" type="datetime'''-''''''''''''''''''''''''''''''5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8" name="Text Placeholder 3">
            <a:extLst>
              <a:ext uri="{FF2B5EF4-FFF2-40B4-BE49-F238E27FC236}">
                <a16:creationId xmlns:a16="http://schemas.microsoft.com/office/drawing/2014/main" id="{ADE6BD44-08A7-C077-246D-6A1B8E33A367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gray">
          <a:xfrm>
            <a:off x="5294313" y="549275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1B007C-4B1D-4B36-B17F-0F5E72CD45ED}" type="datetime'''-2''''''''''''''''''''''''''''''5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7" name="Text Placeholder 3">
            <a:extLst>
              <a:ext uri="{FF2B5EF4-FFF2-40B4-BE49-F238E27FC236}">
                <a16:creationId xmlns:a16="http://schemas.microsoft.com/office/drawing/2014/main" id="{4D8A25B8-F747-13B9-00B1-74E9ECE446A3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gray">
          <a:xfrm>
            <a:off x="5529263" y="53705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CA22B3-FE2B-4F84-AED5-53968C73020E}" type="datetime'''''''''''2''''''''''''4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1" name="Text Placeholder 3">
            <a:extLst>
              <a:ext uri="{FF2B5EF4-FFF2-40B4-BE49-F238E27FC236}">
                <a16:creationId xmlns:a16="http://schemas.microsoft.com/office/drawing/2014/main" id="{85F6D3EE-7D32-B4F2-506D-26DA59EA740A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gray">
          <a:xfrm>
            <a:off x="5926138" y="5541963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67958A-B8F5-4D26-BEE8-15D22C65B773}" type="datetime'''''''''''''''''''''''''-''3''0''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6" name="Text Placeholder 3">
            <a:extLst>
              <a:ext uri="{FF2B5EF4-FFF2-40B4-BE49-F238E27FC236}">
                <a16:creationId xmlns:a16="http://schemas.microsoft.com/office/drawing/2014/main" id="{40A97F92-77F9-D634-083D-B75C1A67E2A8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5529263" y="56880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89B3C7D-C5D0-45B0-800D-A0F56CD36BDD}" type="datetime'''''''''-''''''''''''3'''''''">
              <a:rPr lang="zh-CN" altLang="en-US" sz="800" smtClean="0">
                <a:latin typeface="+mn-lt"/>
                <a:cs typeface="+mn-cs"/>
              </a:rPr>
              <a:pPr/>
              <a:t>-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9" name="Text Placeholder 3">
            <a:extLst>
              <a:ext uri="{FF2B5EF4-FFF2-40B4-BE49-F238E27FC236}">
                <a16:creationId xmlns:a16="http://schemas.microsoft.com/office/drawing/2014/main" id="{5C1A9586-BBAB-1982-558D-BDE434FF3DE0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gray">
          <a:xfrm>
            <a:off x="6161088" y="53038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9982F8D-C1BF-42DF-B580-22638AB37BF6}" type="datetime'''''''''''-''''''''''''''''''''''''''''9'''''">
              <a:rPr lang="zh-CN" altLang="en-US" sz="800" smtClean="0"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1" name="Text Placeholder 3">
            <a:extLst>
              <a:ext uri="{FF2B5EF4-FFF2-40B4-BE49-F238E27FC236}">
                <a16:creationId xmlns:a16="http://schemas.microsoft.com/office/drawing/2014/main" id="{DDB59E46-B3D0-DBF1-3D2D-D4343AC8894F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gray">
          <a:xfrm>
            <a:off x="6161088" y="54371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75C0348-E224-4691-9D6E-C2BEC282444C}" type="datetime'''''''''''''''''''-''''1''''8'''''''''">
              <a:rPr lang="zh-CN" altLang="en-US" sz="800" smtClean="0">
                <a:latin typeface="+mn-lt"/>
                <a:cs typeface="+mn-cs"/>
              </a:rPr>
              <a:pPr/>
              <a:t>-1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0" name="Text Placeholder 3">
            <a:extLst>
              <a:ext uri="{FF2B5EF4-FFF2-40B4-BE49-F238E27FC236}">
                <a16:creationId xmlns:a16="http://schemas.microsoft.com/office/drawing/2014/main" id="{F2909F36-E45F-A4F3-D879-823A37455F98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gray">
          <a:xfrm>
            <a:off x="6161088" y="51704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51BF6F8-8C2C-437D-B395-B77BD330D3EB}" type="datetime'''''''''''''''''''''''''''''''''''''2''''''''''2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9" name="Text Placeholder 3">
            <a:extLst>
              <a:ext uri="{FF2B5EF4-FFF2-40B4-BE49-F238E27FC236}">
                <a16:creationId xmlns:a16="http://schemas.microsoft.com/office/drawing/2014/main" id="{2BA62A35-183B-B661-2347-DD78A0764786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gray">
          <a:xfrm>
            <a:off x="6161088" y="56213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86603B-E1B8-4276-812A-09423E10B3BF}" type="datetime'''''''''-''''''''''''''''''''''''''''''''''''''''''''1'">
              <a:rPr lang="zh-CN" altLang="en-US" sz="800" smtClean="0"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2" name="Text Placeholder 3">
            <a:extLst>
              <a:ext uri="{FF2B5EF4-FFF2-40B4-BE49-F238E27FC236}">
                <a16:creationId xmlns:a16="http://schemas.microsoft.com/office/drawing/2014/main" id="{C37B7ED7-4EBB-6773-ED9A-6A67640B094A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gray">
          <a:xfrm>
            <a:off x="6794500" y="55832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D63658E-CEBF-471A-98F3-23C8ADCF4A3F}" type="datetime'''''''''-''''''''''''''''''''''''''''''''''''''''''5''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3" name="Text Placeholder 3">
            <a:extLst>
              <a:ext uri="{FF2B5EF4-FFF2-40B4-BE49-F238E27FC236}">
                <a16:creationId xmlns:a16="http://schemas.microsoft.com/office/drawing/2014/main" id="{E0E6EB9C-DE28-14B6-3D4A-624AC9CC823B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gray">
          <a:xfrm>
            <a:off x="6794500" y="53165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6DE2C55-4BEB-43FC-85CE-55D5224FBC17}" type="datetime'''''''''''''''4''''''''''''''''''''''''''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4" name="Text Placeholder 3">
            <a:extLst>
              <a:ext uri="{FF2B5EF4-FFF2-40B4-BE49-F238E27FC236}">
                <a16:creationId xmlns:a16="http://schemas.microsoft.com/office/drawing/2014/main" id="{AC51F0AD-1BDA-29CF-4190-73CECF6F9CA3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gray">
          <a:xfrm>
            <a:off x="6794500" y="57165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C43260-6640-47AA-BCDB-260110E8F1CB}" type="datetime'''''''''''''''''-''''''''2''7'''''''''''''''''''''">
              <a:rPr lang="zh-CN" altLang="en-US" sz="800" smtClean="0">
                <a:latin typeface="+mn-lt"/>
                <a:cs typeface="+mn-cs"/>
              </a:rPr>
              <a:pPr/>
              <a:t>-2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3" name="Text Placeholder 3">
            <a:extLst>
              <a:ext uri="{FF2B5EF4-FFF2-40B4-BE49-F238E27FC236}">
                <a16:creationId xmlns:a16="http://schemas.microsoft.com/office/drawing/2014/main" id="{DF51D229-C6DB-4285-4680-002C8CD3AEEE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gray">
          <a:xfrm>
            <a:off x="6575425" y="5499100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61B11B-CBD3-4C30-A4BB-986A3B41A63C}" type="datetime'3''''''''''0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2" name="Text Placeholder 3">
            <a:extLst>
              <a:ext uri="{FF2B5EF4-FFF2-40B4-BE49-F238E27FC236}">
                <a16:creationId xmlns:a16="http://schemas.microsoft.com/office/drawing/2014/main" id="{870F128C-4204-436C-15CB-2F061BDDC964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gray">
          <a:xfrm>
            <a:off x="6794500" y="54498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7D878D-DE1E-49A1-8AE8-512C6A5E64C0}" type="datetime'''''''''''1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4" name="Text Placeholder 3">
            <a:extLst>
              <a:ext uri="{FF2B5EF4-FFF2-40B4-BE49-F238E27FC236}">
                <a16:creationId xmlns:a16="http://schemas.microsoft.com/office/drawing/2014/main" id="{8077CC67-114E-440D-72A2-735F5CE7AAD4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gray">
          <a:xfrm>
            <a:off x="7426325" y="54038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BDC991B-5A3F-41B1-B2C7-5F5C716E1664}" type="datetime'''''1''''''''''''9'''''''''''''''''''''''''''''''''">
              <a:rPr lang="zh-CN" altLang="en-US" sz="800" smtClean="0">
                <a:latin typeface="+mn-lt"/>
                <a:cs typeface="+mn-cs"/>
              </a:rPr>
              <a:pPr/>
              <a:t>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1" name="Text Placeholder 3">
            <a:extLst>
              <a:ext uri="{FF2B5EF4-FFF2-40B4-BE49-F238E27FC236}">
                <a16:creationId xmlns:a16="http://schemas.microsoft.com/office/drawing/2014/main" id="{88E6662D-0776-7053-4A00-AC49E629CB98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gray">
          <a:xfrm>
            <a:off x="3000375" y="56530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FF25ED-6539-4C7E-B223-F33459790D36}" type="datetime'''''''''''''''''''-''''''''''''''''''''9'''''''''''''''''">
              <a:rPr lang="zh-CN" altLang="en-US" sz="800" smtClean="0"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3" name="Text Placeholder 3">
            <a:extLst>
              <a:ext uri="{FF2B5EF4-FFF2-40B4-BE49-F238E27FC236}">
                <a16:creationId xmlns:a16="http://schemas.microsoft.com/office/drawing/2014/main" id="{05407D80-E416-6E11-84C7-DD78FC13A95D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gray">
          <a:xfrm>
            <a:off x="2781300" y="5313363"/>
            <a:ext cx="142875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89A5BF-33EC-421E-98B1-0B2732B1B70B}" type="datetime'''''''''''''''''''''''''''''''''''''''''''5''''''0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7" name="Text Placeholder 3">
            <a:extLst>
              <a:ext uri="{FF2B5EF4-FFF2-40B4-BE49-F238E27FC236}">
                <a16:creationId xmlns:a16="http://schemas.microsoft.com/office/drawing/2014/main" id="{92E78387-A1A9-4B85-85D5-C376AF73F395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gray">
          <a:xfrm>
            <a:off x="7191375" y="5557838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BC99A1-60E4-42DA-AC6C-32A3B182B528}" type="datetime'''''''''''''''''''''''''''''''-2''''4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6" name="Text Placeholder 3">
            <a:extLst>
              <a:ext uri="{FF2B5EF4-FFF2-40B4-BE49-F238E27FC236}">
                <a16:creationId xmlns:a16="http://schemas.microsoft.com/office/drawing/2014/main" id="{BD4723EF-B9F8-BE01-6B9B-B7369FFB0132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gray">
          <a:xfrm>
            <a:off x="7426325" y="55880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154391-9123-435D-A339-A3DA6A90DB5C}" type="datetime'''23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7" name="矩形 1896">
            <a:extLst>
              <a:ext uri="{FF2B5EF4-FFF2-40B4-BE49-F238E27FC236}">
                <a16:creationId xmlns:a16="http://schemas.microsoft.com/office/drawing/2014/main" id="{7E61645E-D4DE-1737-7C85-F151A4F78B3A}"/>
              </a:ext>
            </a:extLst>
          </p:cNvPr>
          <p:cNvSpPr/>
          <p:nvPr>
            <p:custDataLst>
              <p:tags r:id="rId252"/>
            </p:custDataLst>
          </p:nvPr>
        </p:nvSpPr>
        <p:spPr bwMode="auto">
          <a:xfrm>
            <a:off x="554038" y="4881563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8" name="矩形 1897">
            <a:extLst>
              <a:ext uri="{FF2B5EF4-FFF2-40B4-BE49-F238E27FC236}">
                <a16:creationId xmlns:a16="http://schemas.microsoft.com/office/drawing/2014/main" id="{50793C40-3217-B638-6CF8-06766F96E06F}"/>
              </a:ext>
            </a:extLst>
          </p:cNvPr>
          <p:cNvSpPr/>
          <p:nvPr>
            <p:custDataLst>
              <p:tags r:id="rId253"/>
            </p:custDataLst>
          </p:nvPr>
        </p:nvSpPr>
        <p:spPr bwMode="auto">
          <a:xfrm>
            <a:off x="554038" y="5133975"/>
            <a:ext cx="214313" cy="160338"/>
          </a:xfrm>
          <a:prstGeom prst="rect">
            <a:avLst/>
          </a:prstGeom>
          <a:solidFill>
            <a:srgbClr val="D9EEF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0" name="矩形 1979">
            <a:extLst>
              <a:ext uri="{FF2B5EF4-FFF2-40B4-BE49-F238E27FC236}">
                <a16:creationId xmlns:a16="http://schemas.microsoft.com/office/drawing/2014/main" id="{774D4541-7094-3614-1ACD-51F27C222F81}"/>
              </a:ext>
            </a:extLst>
          </p:cNvPr>
          <p:cNvSpPr/>
          <p:nvPr>
            <p:custDataLst>
              <p:tags r:id="rId254"/>
            </p:custDataLst>
          </p:nvPr>
        </p:nvSpPr>
        <p:spPr bwMode="auto">
          <a:xfrm>
            <a:off x="554038" y="5386388"/>
            <a:ext cx="214313" cy="160338"/>
          </a:xfrm>
          <a:prstGeom prst="rect">
            <a:avLst/>
          </a:prstGeom>
          <a:solidFill>
            <a:srgbClr val="EBD0DA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1" name="矩形 1980">
            <a:extLst>
              <a:ext uri="{FF2B5EF4-FFF2-40B4-BE49-F238E27FC236}">
                <a16:creationId xmlns:a16="http://schemas.microsoft.com/office/drawing/2014/main" id="{3682E853-CF7F-8E6C-CDC0-01FE31016B72}"/>
              </a:ext>
            </a:extLst>
          </p:cNvPr>
          <p:cNvSpPr/>
          <p:nvPr>
            <p:custDataLst>
              <p:tags r:id="rId255"/>
            </p:custDataLst>
          </p:nvPr>
        </p:nvSpPr>
        <p:spPr bwMode="auto">
          <a:xfrm>
            <a:off x="554038" y="5638800"/>
            <a:ext cx="214313" cy="160338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2" name="矩形 1981">
            <a:extLst>
              <a:ext uri="{FF2B5EF4-FFF2-40B4-BE49-F238E27FC236}">
                <a16:creationId xmlns:a16="http://schemas.microsoft.com/office/drawing/2014/main" id="{3D7A7767-D695-A3C3-A43D-F11BD7B18C6C}"/>
              </a:ext>
            </a:extLst>
          </p:cNvPr>
          <p:cNvSpPr/>
          <p:nvPr>
            <p:custDataLst>
              <p:tags r:id="rId256"/>
            </p:custDataLst>
          </p:nvPr>
        </p:nvSpPr>
        <p:spPr bwMode="auto">
          <a:xfrm>
            <a:off x="554038" y="5891213"/>
            <a:ext cx="214313" cy="160338"/>
          </a:xfrm>
          <a:prstGeom prst="rect">
            <a:avLst/>
          </a:prstGeom>
          <a:pattFill prst="pct75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9" name="Text Placeholder 3">
            <a:extLst>
              <a:ext uri="{FF2B5EF4-FFF2-40B4-BE49-F238E27FC236}">
                <a16:creationId xmlns:a16="http://schemas.microsoft.com/office/drawing/2014/main" id="{35F861E0-E670-1833-A66F-B9FC34A0216A}"/>
              </a:ext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819150" y="4862513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CF7E6A-35D0-4E7F-9FA7-C6F840960A9B}" type="datetime'''''''一''''''''''''级''''''''''''''''''''''''''''商'''">
              <a:rPr lang="zh-CN" altLang="en-US" smtClean="0">
                <a:latin typeface="+mn-lt"/>
                <a:cs typeface="+mn-cs"/>
              </a:rPr>
              <a:pPr/>
              <a:t>一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0" name="Text Placeholder 3">
            <a:extLst>
              <a:ext uri="{FF2B5EF4-FFF2-40B4-BE49-F238E27FC236}">
                <a16:creationId xmlns:a16="http://schemas.microsoft.com/office/drawing/2014/main" id="{66A09093-1895-D3C6-4933-8D3795C3DE61}"/>
              </a:ext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819150" y="5114925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918C20-BC5D-4908-BA8F-CC18152B3AEB}" type="datetime'二''''''''级''''''''商'''''''''''''''''''''''''''''''''''''''">
              <a:rPr lang="zh-CN" altLang="en-US" smtClean="0">
                <a:latin typeface="+mn-lt"/>
                <a:cs typeface="+mn-cs"/>
              </a:rPr>
              <a:pPr/>
              <a:t>二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5" name="Text Placeholder 3">
            <a:extLst>
              <a:ext uri="{FF2B5EF4-FFF2-40B4-BE49-F238E27FC236}">
                <a16:creationId xmlns:a16="http://schemas.microsoft.com/office/drawing/2014/main" id="{4156B008-6D61-B92C-2524-4B32E6E7E8B7}"/>
              </a:ext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819150" y="5367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C9B028-1B29-4058-8979-E53EDD95E36C}" type="datetime'''''''''零''''''售总仓库存''''变''''''''''''''''''''化'''''''''">
              <a:rPr lang="zh-CN" altLang="en-US" smtClean="0">
                <a:latin typeface="+mn-lt"/>
                <a:cs typeface="+mn-cs"/>
              </a:rPr>
              <a:pPr/>
              <a:t>零售总仓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6" name="Text Placeholder 3">
            <a:extLst>
              <a:ext uri="{FF2B5EF4-FFF2-40B4-BE49-F238E27FC236}">
                <a16:creationId xmlns:a16="http://schemas.microsoft.com/office/drawing/2014/main" id="{0E609E70-D654-E093-CABC-E441DF9087D7}"/>
              </a:ext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819150" y="561975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B5DAE8-7EE8-4F40-9731-326E4D38AF30}" type="datetime'''辖''''''区''''外''总''''''''''''''''店购''''''''''进'">
              <a:rPr lang="zh-CN" altLang="en-US" smtClean="0">
                <a:latin typeface="+mn-lt"/>
                <a:cs typeface="+mn-cs"/>
              </a:rPr>
              <a:pPr/>
              <a:t>辖区外总店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7" name="Text Placeholder 3">
            <a:extLst>
              <a:ext uri="{FF2B5EF4-FFF2-40B4-BE49-F238E27FC236}">
                <a16:creationId xmlns:a16="http://schemas.microsoft.com/office/drawing/2014/main" id="{48297C37-4A2A-B186-8641-4658A474097B}"/>
              </a:ext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819150" y="58721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EDFE12-0CCB-4F44-9292-1DAB8E1F45FD}" type="datetime'不可''''''追''''''''''''''''''''''踪''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51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2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68" imgW="426" imgH="426" progId="TCLayout.ActiveDocument.1">
                  <p:embed/>
                </p:oleObj>
              </mc:Choice>
              <mc:Fallback>
                <p:oleObj name="think-cell 幻灯片" r:id="rId268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973416" cy="4800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万艾可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多</a:t>
            </a:r>
            <a:r>
              <a:rPr lang="en-US" altLang="zh-CN" sz="2000" dirty="0"/>
              <a:t>5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71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333M</a:t>
            </a:r>
            <a:r>
              <a:rPr lang="zh-CN" altLang="en-US" sz="2000" dirty="0"/>
              <a:t>转化为渠道库存的减少，</a:t>
            </a:r>
            <a:r>
              <a:rPr lang="en-US" altLang="zh-CN" sz="2000" dirty="0"/>
              <a:t>403M</a:t>
            </a:r>
            <a:r>
              <a:rPr lang="zh-CN" altLang="en-US" sz="2000" dirty="0"/>
              <a:t>流向经销商和辖区外零售总仓不可追踪部分</a:t>
            </a:r>
          </a:p>
        </p:txBody>
      </p:sp>
      <p:cxnSp>
        <p:nvCxnSpPr>
          <p:cNvPr id="1600" name="直接连接符 1599">
            <a:extLst>
              <a:ext uri="{FF2B5EF4-FFF2-40B4-BE49-F238E27FC236}">
                <a16:creationId xmlns:a16="http://schemas.microsoft.com/office/drawing/2014/main" id="{04D1FAC4-6359-D7AF-AB55-F04359BE2FF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148388" y="417830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2" name="直接连接符 1901">
            <a:extLst>
              <a:ext uri="{FF2B5EF4-FFF2-40B4-BE49-F238E27FC236}">
                <a16:creationId xmlns:a16="http://schemas.microsoft.com/office/drawing/2014/main" id="{1AE28530-4A35-9C42-0F37-C31DCDE48C5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924675" y="4133850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1" name="直接连接符 1900">
            <a:extLst>
              <a:ext uri="{FF2B5EF4-FFF2-40B4-BE49-F238E27FC236}">
                <a16:creationId xmlns:a16="http://schemas.microsoft.com/office/drawing/2014/main" id="{3C49EF37-73CE-E54A-B910-26FAA7F7227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994275" y="4125913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52913" y="41910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8" name="直接连接符 1857">
            <a:extLst>
              <a:ext uri="{FF2B5EF4-FFF2-40B4-BE49-F238E27FC236}">
                <a16:creationId xmlns:a16="http://schemas.microsoft.com/office/drawing/2014/main" id="{1B19843D-D65E-D15F-5B22-9AB011E12C2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843963" y="4119563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42D15B7-5521-12CB-D591-CE08548AB2A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516563" y="41084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3" name="直接连接符 1592">
            <a:extLst>
              <a:ext uri="{FF2B5EF4-FFF2-40B4-BE49-F238E27FC236}">
                <a16:creationId xmlns:a16="http://schemas.microsoft.com/office/drawing/2014/main" id="{6BDEA4E6-357A-2358-2347-22267E74416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884738" y="41259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7" name="直接连接符 1856">
            <a:extLst>
              <a:ext uri="{FF2B5EF4-FFF2-40B4-BE49-F238E27FC236}">
                <a16:creationId xmlns:a16="http://schemas.microsoft.com/office/drawing/2014/main" id="{C7F9E70F-4B5C-FBFA-89E8-35BC89BAE3E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580313" y="4151313"/>
            <a:ext cx="1952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6" name="直接连接符 1855">
            <a:extLst>
              <a:ext uri="{FF2B5EF4-FFF2-40B4-BE49-F238E27FC236}">
                <a16:creationId xmlns:a16="http://schemas.microsoft.com/office/drawing/2014/main" id="{B255F6DE-C631-59E5-24C2-F46DF364F21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716588" y="4108450"/>
            <a:ext cx="161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619500" y="4125913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3AB8B903-A16B-BA8C-3D32-0D85BAB2F5B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677275" y="411956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6E65C362-3D27-0291-6F0A-0BC7EA74309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045450" y="41941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CDE96436-D6F8-EA3B-0FB1-E87640B0B6D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413625" y="41513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987675" y="40782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7404C743-8614-C318-7925-9AA0F052DF3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781800" y="41338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59" name="Chart 3">
            <a:extLst>
              <a:ext uri="{FF2B5EF4-FFF2-40B4-BE49-F238E27FC236}">
                <a16:creationId xmlns:a16="http://schemas.microsoft.com/office/drawing/2014/main" id="{F32038EE-CA24-D3C5-45AC-6B43514FD209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67981515"/>
              </p:ext>
            </p:extLst>
          </p:nvPr>
        </p:nvGraphicFramePr>
        <p:xfrm>
          <a:off x="2454275" y="3524250"/>
          <a:ext cx="7119938" cy="130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0"/>
          </a:graphicData>
        </a:graphic>
      </p:graphicFrame>
      <p:sp>
        <p:nvSpPr>
          <p:cNvPr id="1895" name="矩形 1894">
            <a:extLst>
              <a:ext uri="{FF2B5EF4-FFF2-40B4-BE49-F238E27FC236}">
                <a16:creationId xmlns:a16="http://schemas.microsoft.com/office/drawing/2014/main" id="{B532A93C-E6FF-94CD-1FF4-5E77D0FD1E7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780338" y="4211638"/>
            <a:ext cx="260350" cy="34925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9" name="矩形 1868">
            <a:extLst>
              <a:ext uri="{FF2B5EF4-FFF2-40B4-BE49-F238E27FC236}">
                <a16:creationId xmlns:a16="http://schemas.microsoft.com/office/drawing/2014/main" id="{4851ECD7-4DC4-2755-A11D-9C2D6A6ED9A9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883275" y="4211638"/>
            <a:ext cx="260350" cy="25400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61" name="矩形 1860">
            <a:extLst>
              <a:ext uri="{FF2B5EF4-FFF2-40B4-BE49-F238E27FC236}">
                <a16:creationId xmlns:a16="http://schemas.microsoft.com/office/drawing/2014/main" id="{C256AFD5-E90C-A2E8-3EFE-99F09379CB3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987800" y="4211638"/>
            <a:ext cx="260350" cy="34925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865" name="直接连接符 1864">
            <a:extLst>
              <a:ext uri="{FF2B5EF4-FFF2-40B4-BE49-F238E27FC236}">
                <a16:creationId xmlns:a16="http://schemas.microsoft.com/office/drawing/2014/main" id="{B596BBA7-CFA8-C7CD-A259-A5D704AA33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 flipV="1">
            <a:off x="2952750" y="4113213"/>
            <a:ext cx="4762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3" name="直接连接符 1862">
            <a:extLst>
              <a:ext uri="{FF2B5EF4-FFF2-40B4-BE49-F238E27FC236}">
                <a16:creationId xmlns:a16="http://schemas.microsoft.com/office/drawing/2014/main" id="{B8AA131A-CAA6-74F0-35F0-4DD438CF112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3584575" y="40497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6" name="直接连接符 1865">
            <a:extLst>
              <a:ext uri="{FF2B5EF4-FFF2-40B4-BE49-F238E27FC236}">
                <a16:creationId xmlns:a16="http://schemas.microsoft.com/office/drawing/2014/main" id="{29349289-6412-CAD0-5975-DDD3A3E03B9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4217988" y="409098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9AFFC76A-95C2-7038-5B05-41730F055690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4849813" y="41259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23C45A0A-366D-7C03-79DE-77CDCA0DC85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H="1">
            <a:off x="5481638" y="414496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A40D63EF-C94A-281F-7D75-446D6A803007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6113463" y="40751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EF9EBDB4-8B7E-1BAE-BA6D-A82B810740D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8010525" y="411480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79955FD4-CA7B-6254-FDB9-81026BCE9368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>
            <a:off x="8642350" y="413067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7A947B0D-E500-20CD-9A8A-10C2751CA39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6746875" y="418306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547E1370-0168-3711-CD45-887C5646677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7378700" y="410527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9075738" y="38512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35EF02-1659-4A11-B9B8-01C2053893F1}" type="datetime'''''''''''4''0''''''''''3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689975" y="40640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16639B0-5D36-40BB-852E-507FE368C257}" type="datetime'''''''''1''''''5'''''''''''''''''''''''''''''''''">
              <a:rPr lang="zh-CN" altLang="en-US" sz="800" smtClean="0">
                <a:latin typeface="+mn-lt"/>
                <a:cs typeface="+mn-cs"/>
              </a:rPr>
              <a:pPr/>
              <a:t>1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058150" y="40481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B124046-942F-43A4-9EFC-53C66D084ECA}" type="datetime'''''''''''''''''''''''''''''''''''4''''6'''''''''''''">
              <a:rPr lang="zh-CN" altLang="en-US" sz="800" smtClean="0">
                <a:latin typeface="+mn-lt"/>
                <a:cs typeface="+mn-cs"/>
              </a:rPr>
              <a:pPr/>
              <a:t>4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191375" y="41036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1D3AB28-1769-4899-B58E-0937C1CF1979}" type="datetime'''''-''''''''''''''''''''''4''''''''''''''''''''''''''''''''8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4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823200" y="41417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9E88F7-CF45-4AEC-ADB3-A06DF4B7F311}" type="datetime'''''''''''''''''-''''''''''''''''''''''74'''''''''">
              <a:rPr lang="zh-CN" altLang="en-US" sz="800" smtClean="0">
                <a:effectLst/>
                <a:latin typeface="+mn-lt"/>
                <a:cs typeface="+mn-cs"/>
              </a:rPr>
              <a:pPr/>
              <a:t>-7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426325" y="40386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0AB95D2-703C-47B1-B58D-D88A73887637}" type="datetime'''''''''''''''''''''''''''''''''''''''''''''''''''36'''''''''">
              <a:rPr lang="zh-CN" altLang="en-US" sz="800" smtClean="0">
                <a:latin typeface="+mn-lt"/>
                <a:cs typeface="+mn-cs"/>
              </a:rPr>
              <a:pPr/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6575425" y="408305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D296BB-9851-441C-BFBF-FBCCB2CF4087}" type="datetime'''''''''''3''''''6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6794500" y="41163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9B22D7-20BB-441F-BA4F-9429F5CE9BC3}" type="datetime'''''-''''''''''''''''''7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6161088" y="40084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2BA95FB-4CE1-4678-B99C-D66091F168DE}" type="datetime'''''''''''''''''''''4''2'''''''''''''''''''''''''''">
              <a:rPr lang="zh-CN" altLang="en-US" sz="800" smtClean="0">
                <a:latin typeface="+mn-lt"/>
                <a:cs typeface="+mn-cs"/>
              </a:rPr>
              <a:pPr/>
              <a:t>4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926138" y="41084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15452D-60FE-45C1-A0BC-84F5505D7DA6}" type="datetime'-''''''''''''''8''''''7'">
              <a:rPr lang="zh-CN" altLang="en-US" sz="800" smtClean="0">
                <a:effectLst/>
                <a:latin typeface="+mn-lt"/>
                <a:cs typeface="+mn-cs"/>
              </a:rPr>
              <a:pPr/>
              <a:t>-8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310188" y="403225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C99114-ACCF-45C6-985D-4630AA274EF2}" type="datetime'''3''''''''''''''''''''''''''''''''''6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CB21D502-9241-3FA4-E504-AA9F1B448F9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781300" y="3919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F3107E-18A5-4525-BB5D-41FB4C272FEA}" type="datetime'''''''''''''''''''9''''''''''7'''''''''''''''''''''''''''''''">
              <a:rPr lang="zh-CN" altLang="en-US" sz="800" smtClean="0">
                <a:latin typeface="+mn-lt"/>
                <a:cs typeface="+mn-cs"/>
              </a:rPr>
              <a:pPr/>
              <a:t>9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8470900" y="410210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80D69E-3CF5-4CF1-86C1-9E348B9DA1DC}" type="datetime'''''''''''''''''''3''''''''''''''''''''''3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9059863" y="4418013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0B4605-206C-4BC1-AB6D-3DE42B1BBAF8}" type="datetime'-''''''''''''3''3''''3'''''''''''''''''''''''''''''''''">
              <a:rPr lang="zh-CN" altLang="en-US" sz="800" smtClean="0">
                <a:latin typeface="+mn-lt"/>
                <a:cs typeface="+mn-cs"/>
              </a:rPr>
              <a:pPr/>
              <a:t>-33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5529263" y="40782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2074B6-2A52-4AAA-B1FA-F221BDB9772D}" type="datetime'''''''''''''''''-''''''2''''''''''''''''''''''''''''''''4'">
              <a:rPr lang="zh-CN" altLang="en-US" sz="800" smtClean="0">
                <a:latin typeface="+mn-lt"/>
                <a:cs typeface="+mn-cs"/>
              </a:rPr>
              <a:pPr/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678363" y="4092575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E66948B-F24C-4B16-BF51-92BFE6E1FB64}" type="datetime'''''''''''''''''''''''''''''''''''4''''''''''''''''1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030663" y="41259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E01D81-0169-4283-8168-3A943A0AE8B6}" type="datetime'''''''''''''''''''''-''''''''''''''''''''''8''''''6'">
              <a:rPr lang="zh-CN" altLang="en-US" sz="800" smtClean="0">
                <a:latin typeface="+mn-lt"/>
                <a:cs typeface="+mn-cs"/>
              </a:rPr>
              <a:pPr/>
              <a:t>-8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4897438" y="40592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0463657-C694-4201-88F3-3301DAA962AF}" type="datetime'''''''''''''''''''''''''1''''''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265613" y="40243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6A6876A-293B-4B3C-B697-A0C5251A53B0}" type="datetime'''''''''4''''''4'''''''''''''''''''''''''''''''''''''''''''">
              <a:rPr lang="zh-CN" altLang="en-US" sz="800" smtClean="0">
                <a:latin typeface="+mn-lt"/>
                <a:cs typeface="+mn-cs"/>
              </a:rPr>
              <a:pPr/>
              <a:t>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3632200" y="39830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A471888-0425-4560-ADA8-E93F95612856}" type="datetime'3''''''''7'''''''''''''''''''''''''''''''''''''''''''''">
              <a:rPr lang="zh-CN" altLang="en-US" sz="800" smtClean="0">
                <a:latin typeface="+mn-lt"/>
                <a:cs typeface="+mn-cs"/>
              </a:rPr>
              <a:pPr/>
              <a:t>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3397250" y="406400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A9650A0-9F74-4912-9C0A-132358F0804A}" type="datetime'''-''''6''''''8'''''''''''''''''''''''''''''''''''">
              <a:rPr lang="zh-CN" altLang="en-US" sz="800" smtClean="0">
                <a:latin typeface="+mn-lt"/>
                <a:cs typeface="+mn-cs"/>
              </a:rPr>
              <a:pPr/>
              <a:t>-6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2781300" y="412115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5CE3E6-65AF-4B4F-B738-73D9FA9CC183}" type="datetime'''''''''''''''''''''''''''''''''''''''''''''''5''2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3000375" y="41036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60525E9-D83C-4F3E-95E7-81A71BF3FDDC}" type="datetime'''''''''''''''''''''''''''''''''''4''''''''5'''''''''''''">
              <a:rPr lang="zh-CN" altLang="en-US" sz="800" smtClean="0">
                <a:latin typeface="+mn-lt"/>
                <a:cs typeface="+mn-cs"/>
              </a:rPr>
              <a:pPr/>
              <a:t>45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C5F3F312-9D2C-AE50-F84F-17B6A1D6F478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4279346398"/>
              </p:ext>
            </p:extLst>
          </p:nvPr>
        </p:nvGraphicFramePr>
        <p:xfrm>
          <a:off x="2454275" y="1541463"/>
          <a:ext cx="6513513" cy="159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1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2536825" y="1624013"/>
            <a:ext cx="1411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8745538" y="1624013"/>
            <a:ext cx="1397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3359E0E7-BB41-84CF-30C7-F3AFBB30248D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4302125" y="1624013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FFC51CB-B2FE-5A4B-086A-F6BFFB67C7C9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4937125" y="1624013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94465A7F-0CE1-ABFA-4963-BEFF64616AB7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5572125" y="1624013"/>
            <a:ext cx="914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5CC18194-FDC9-A2A7-6B3D-0910DB92134B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6840538" y="1624013"/>
            <a:ext cx="28098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86D8FB34-AF8A-D740-AA8D-A31653B0BB8E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7475538" y="1624013"/>
            <a:ext cx="91598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3951289" y="144303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69D4D4-A013-4B06-A1C3-9683509DC021}" type="datetime'''''9''''''5%''''''''''''''''''''''''''''''''''''''''''''''''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4545013" y="24066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5A4A9AA-F0B0-4D7C-BC11-310FEB35227A}" type="datetime'''''''''''''''''1''''''''9''5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4772025" y="25304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4310EF-4955-4E4E-96B8-295648FD3A44}" type="datetime'''''''''''''''''''''''1''''''''''''''5''''''''4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5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4586289" y="151130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D0C4AE-3622-4284-B868-5F3DC12596D9}" type="datetime'''9''''''''''''''''''''''''0''''''''''''''''''''%'''''''''''''">
              <a:rPr lang="en-US" altLang="en-US" smtClean="0">
                <a:latin typeface="+mn-lt"/>
                <a:cs typeface="+mn-cs"/>
              </a:rPr>
              <a:pPr/>
              <a:t>9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5180013" y="24606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1270E5-656D-4911-BBFB-41B59BA5C540}" type="datetime'''''17''8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7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5407025" y="24955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C90E1D-F235-4A76-9B2D-AD79F9C4C4FA}" type="datetime'''''''''''''''''''1''''''''''''''6''''6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5221289" y="15001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AF95C11-D5A5-4AA2-8ACB-D9BC9D477B3A}" type="datetime'''''''''''''''''''''''''9''''''''''''''''''''1''''''''''%'''''">
              <a:rPr lang="en-US" altLang="en-US" smtClean="0">
                <a:latin typeface="+mn-lt"/>
                <a:cs typeface="+mn-cs"/>
              </a:rPr>
              <a:pPr/>
              <a:t>9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5843588" y="27273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739569-42E5-489D-B265-D81E086D663D}" type="datetime'''''''''''''''''''''''''''8''''''''''8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6042025" y="25939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45B585C-77E7-4A66-8CB7-071894BD1647}" type="datetime'''''''''1''''''''''''32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3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5854701" y="141763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8FE5AE4-F8B6-4E56-B33B-7092A7B16892}" type="datetime'''''''9''''''''''''''''''''''''''''''''''6''''''''''''''''''%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6448425" y="2511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F765C8-EE9A-4F40-89B8-ADD282C2366D}" type="datetime'''''''''''''''1''''''''''''6''''''''1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2640014" y="22717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29054A-6DCB-429D-A43E-BD397D0A1CF2}" type="datetime'2''41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4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6489701" y="14493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F9D555-DA12-4B0A-B3FC-712CBAFEB932}" type="datetime'''''''''''''''''''''''''''''''''''''9''4''''''''''''''''''%'''">
              <a:rPr lang="en-US" altLang="en-US" smtClean="0">
                <a:latin typeface="+mn-lt"/>
                <a:cs typeface="+mn-cs"/>
              </a:rPr>
              <a:pPr/>
              <a:t>9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7083425" y="25527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C4FC28-303B-4EF6-911E-DE3E6ABAC311}" type="datetime'''''''1''''''''''''''4''''''6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7310438" y="25177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9BE7B5-52DF-4D9B-9EE7-08743CED71EC}" type="datetime'''1''''''''''''''''''58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5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7124701" y="14255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FC75D5-3FC4-4FE6-9648-DA27A6E80FF8}" type="datetime'''''''''''''''''''''''''''''96%''''''''''''''''''''''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7718425" y="2511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A845BC-117E-46D3-9F1A-D52E1B966C26}" type="datetime'''''''''1''''''''''6''''''''''''''''''''''''''''0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7945438" y="24272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E89F9D-8511-4F9F-8F63-77AF4F029FA9}" type="datetime'''''''''''1''''''''''''''8''''''''''''''8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8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7759701" y="13906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8EAF03-C259-4339-A4F3-E39AC50F3AC1}" type="datetime'''''''''''''''''9''''''8''''''%''''''''''''''''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8353425" y="24796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9F8053-0C02-4544-9525-F91FE345587B}" type="datetime'''''1''''''''''''''''''71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7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8580438" y="26241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2E322E-6A37-4382-995C-3354DC97E726}" type="datetime'''''''''''''''''''''''''''''''''1''''''''''''''''23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2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8394701" y="143192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0FB94F-8D10-42FC-918B-626B954314CF}" type="datetime'''''9''''''''''''''''5''''''%''''''''''''''''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2867025" y="25606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30CD38-EC65-4FFC-BC20-D320490513B8}" type="datetime'''1''''''''4''4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2681288" y="1944688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10E4B1-524D-40ED-9C41-69894E4FF698}" type="datetime'6''''''''''''''0''''''''''''''''''''''''''''''''%'''">
              <a:rPr lang="en-US" altLang="en-US" smtClean="0">
                <a:effectLst/>
                <a:latin typeface="+mn-lt"/>
                <a:cs typeface="+mn-cs"/>
              </a:rPr>
              <a:pPr/>
              <a:t>6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3275013" y="26511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CBFE13-0508-46B6-816B-E88E7A52C1A4}" type="datetime'''''''''''1''''1''''''''''''''''''3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1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3502025" y="25590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F5A9FD-3FA0-4EDD-8001-3145949D0032}" type="datetime'''''''''''''''''1''''4''''4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3316288" y="16367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6D3E36-57B9-4CDA-8F43-3B996CEB58B0}" type="datetime'''''8''''''''''''1''''''''''''''''''''''''''''''''''''%'''''">
              <a:rPr lang="en-US" altLang="en-US" smtClean="0">
                <a:latin typeface="+mn-lt"/>
                <a:cs typeface="+mn-cs"/>
              </a:rPr>
              <a:pPr/>
              <a:t>8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3910013" y="26717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E25A3D-4CD7-439A-AA43-0F5E22707E3D}" type="datetime'''''''''''1''''''''''06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0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4137025" y="25479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546916-F2C9-4668-B310-5956CA6D7D87}" type="datetime'''''''''''''''''''''''''''1''48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6675438" y="25955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1439A5-00E5-4FC4-988C-6A2C6E1609B3}" type="datetime'''''''''''''''''''''13''''''''''''''''''''''''''''''2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3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744012-C30B-4D88-BD6F-028CF4D1BA82}" type="datetime'''D''''''''''''''''''''''DI''直连''''库''''存''变''''''''''化'''''''">
              <a:rPr lang="en-US" altLang="en-US" smtClean="0">
                <a:latin typeface="+mn-lt"/>
                <a:cs typeface="+mn-cs"/>
              </a:rPr>
              <a:pPr/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3372" y="4374047"/>
            <a:ext cx="3105509" cy="320758"/>
            <a:chOff x="366354" y="1228969"/>
            <a:chExt cx="3105556" cy="321645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66354" y="1228969"/>
              <a:ext cx="1618046" cy="26751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和不可追踪拆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9367838" y="198120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9955213" y="2843213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10541000" y="179705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1DBA4E0C-E08C-CF40-0DD9-6E979E9530D2}"/>
              </a:ext>
            </a:extLst>
          </p:cNvPr>
          <p:cNvGraphicFramePr/>
          <p:nvPr>
            <p:custDataLst>
              <p:tags r:id="rId105"/>
            </p:custDataLst>
            <p:extLst>
              <p:ext uri="{D42A27DB-BD31-4B8C-83A1-F6EECF244321}">
                <p14:modId xmlns:p14="http://schemas.microsoft.com/office/powerpoint/2010/main" val="3284319591"/>
              </p:ext>
            </p:extLst>
          </p:nvPr>
        </p:nvGraphicFramePr>
        <p:xfrm>
          <a:off x="8845550" y="1714500"/>
          <a:ext cx="2511425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2"/>
          </a:graphicData>
        </a:graphic>
      </p:graphicFrame>
      <p:sp useBgFill="1">
        <p:nvSpPr>
          <p:cNvPr id="46" name="任意多边形: 形状 45">
            <a:extLst>
              <a:ext uri="{FF2B5EF4-FFF2-40B4-BE49-F238E27FC236}">
                <a16:creationId xmlns:a16="http://schemas.microsoft.com/office/drawing/2014/main" id="{69F09A07-E7B2-514E-6B64-DB4E6FD98146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9028113" y="2870200"/>
            <a:ext cx="385763" cy="160339"/>
          </a:xfrm>
          <a:custGeom>
            <a:avLst/>
            <a:gdLst/>
            <a:ahLst/>
            <a:cxnLst/>
            <a:rect l="0" t="0" r="0" b="0"/>
            <a:pathLst>
              <a:path w="385763" h="160339">
                <a:moveTo>
                  <a:pt x="0" y="103188"/>
                </a:moveTo>
                <a:lnTo>
                  <a:pt x="385762" y="0"/>
                </a:lnTo>
                <a:lnTo>
                  <a:pt x="385762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52" name="任意多边形: 形状 51">
            <a:extLst>
              <a:ext uri="{FF2B5EF4-FFF2-40B4-BE49-F238E27FC236}">
                <a16:creationId xmlns:a16="http://schemas.microsoft.com/office/drawing/2014/main" id="{F9CC860E-7E24-BCAD-12C7-B922B757E3EA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10788650" y="2870200"/>
            <a:ext cx="385764" cy="160339"/>
          </a:xfrm>
          <a:custGeom>
            <a:avLst/>
            <a:gdLst/>
            <a:ahLst/>
            <a:cxnLst/>
            <a:rect l="0" t="0" r="0" b="0"/>
            <a:pathLst>
              <a:path w="385764" h="160339">
                <a:moveTo>
                  <a:pt x="0" y="103188"/>
                </a:moveTo>
                <a:lnTo>
                  <a:pt x="385763" y="0"/>
                </a:lnTo>
                <a:lnTo>
                  <a:pt x="385763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C9D96E33-CCCC-26CC-CF24-C40C38A88A6A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9028113" y="287020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F6866FA0-0127-F88B-FCB3-88930758BDFA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9028113" y="2927350"/>
            <a:ext cx="385763" cy="103189"/>
          </a:xfrm>
          <a:custGeom>
            <a:avLst/>
            <a:gdLst/>
            <a:ahLst/>
            <a:cxnLst/>
            <a:rect l="0" t="0" r="0" b="0"/>
            <a:pathLst>
              <a:path w="385763" h="103189">
                <a:moveTo>
                  <a:pt x="0" y="103188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C01CD517-3F7B-33D6-C443-588158AD8A09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10788650" y="287020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B36A05EE-7368-64D1-BB0A-65CB63986185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10788650" y="292735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 flipV="1">
            <a:off x="10980738" y="1601788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13"/>
            </p:custDataLst>
          </p:nvPr>
        </p:nvCxnSpPr>
        <p:spPr bwMode="auto">
          <a:xfrm flipH="1">
            <a:off x="9220199" y="1601788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>
            <a:off x="9220200" y="1601788"/>
            <a:ext cx="0" cy="341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gray">
          <a:xfrm>
            <a:off x="9045575" y="2433638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2930A7-13EF-4285-B8EF-575D8C52538A}" type="datetime'''''''1'''''''''''''''''''''',''''''''''''489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489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9061450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9664699" y="2327275"/>
            <a:ext cx="287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2AFC73-1014-40ED-92D0-3C66C16718D3}" type="datetime'''''-''''''''3''3''''''''''''3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-333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9648825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mtClean="0">
                <a:latin typeface="+mn-lt"/>
                <a:cs typeface="+mn-cs"/>
              </a:rPr>
              <a:pPr/>
              <a:t>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gray">
          <a:xfrm>
            <a:off x="10271125" y="223520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883C9C-6C8A-48CA-B728-E3FDBD9A5939}" type="datetime'''4''''0''''''''3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403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0234613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10806113" y="2341563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1205E7-1A0F-4F8B-B7BF-72C5C6564D09}" type="datetime'1'''''''''''',''''''''''''''''''5''''''''''''''''6''''0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560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10821988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mtClean="0">
                <a:latin typeface="+mn-lt"/>
                <a:cs typeface="+mn-cs"/>
              </a:rPr>
              <a:pPr/>
              <a:t>工厂发货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9940925" y="1482725"/>
            <a:ext cx="319088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BE4141-03F8-4162-8998-3C3A1CF0936A}" type="datetime'''''''''''''''''''-''5%'''''''''''''''''''">
              <a:rPr lang="en-US" altLang="en-US" sz="1000" smtClean="0">
                <a:effectLst/>
                <a:latin typeface="+mn-lt"/>
                <a:cs typeface="+mn-cs"/>
              </a:rPr>
              <a:pPr/>
              <a:t>-5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>
            <a:off x="9310688" y="4259263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>
            <a:off x="9894888" y="425291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9" name="直接连接符 1718">
            <a:extLst>
              <a:ext uri="{FF2B5EF4-FFF2-40B4-BE49-F238E27FC236}">
                <a16:creationId xmlns:a16="http://schemas.microsoft.com/office/drawing/2014/main" id="{86D50972-24CA-21B3-7A84-225DF0E2D40A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>
            <a:off x="10477500" y="4241800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42" name="矩形 1941">
            <a:extLst>
              <a:ext uri="{FF2B5EF4-FFF2-40B4-BE49-F238E27FC236}">
                <a16:creationId xmlns:a16="http://schemas.microsoft.com/office/drawing/2014/main" id="{008A2E0B-F658-EC4B-B873-FCC7FA360BB2}"/>
              </a:ext>
            </a:extLst>
          </p:cNvPr>
          <p:cNvSpPr/>
          <p:nvPr>
            <p:custDataLst>
              <p:tags r:id="rId127"/>
            </p:custDataLst>
          </p:nvPr>
        </p:nvSpPr>
        <p:spPr bwMode="auto">
          <a:xfrm>
            <a:off x="9640888" y="4252912"/>
            <a:ext cx="254000" cy="6350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45" name="矩形 1944">
            <a:extLst>
              <a:ext uri="{FF2B5EF4-FFF2-40B4-BE49-F238E27FC236}">
                <a16:creationId xmlns:a16="http://schemas.microsoft.com/office/drawing/2014/main" id="{C175BFEF-F14C-6AC0-9B0B-7038C9216405}"/>
              </a:ext>
            </a:extLst>
          </p:cNvPr>
          <p:cNvSpPr/>
          <p:nvPr>
            <p:custDataLst>
              <p:tags r:id="rId128"/>
            </p:custDataLst>
          </p:nvPr>
        </p:nvSpPr>
        <p:spPr bwMode="auto">
          <a:xfrm>
            <a:off x="10223500" y="4241800"/>
            <a:ext cx="254000" cy="11113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175" name="Chart 3">
            <a:extLst>
              <a:ext uri="{FF2B5EF4-FFF2-40B4-BE49-F238E27FC236}">
                <a16:creationId xmlns:a16="http://schemas.microsoft.com/office/drawing/2014/main" id="{E6687A3B-2632-7B2B-22BE-C99B1935801C}"/>
              </a:ext>
            </a:extLst>
          </p:cNvPr>
          <p:cNvGraphicFramePr/>
          <p:nvPr>
            <p:custDataLst>
              <p:tags r:id="rId129"/>
            </p:custDataLst>
            <p:extLst>
              <p:ext uri="{D42A27DB-BD31-4B8C-83A1-F6EECF244321}">
                <p14:modId xmlns:p14="http://schemas.microsoft.com/office/powerpoint/2010/main" val="1920567282"/>
              </p:ext>
            </p:extLst>
          </p:nvPr>
        </p:nvGraphicFramePr>
        <p:xfrm>
          <a:off x="8809038" y="4159250"/>
          <a:ext cx="2500312" cy="66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3"/>
          </a:graphicData>
        </a:graphic>
      </p:graphicFrame>
      <p:sp>
        <p:nvSpPr>
          <p:cNvPr id="1880" name="Text Placeholder 3">
            <a:extLst>
              <a:ext uri="{FF2B5EF4-FFF2-40B4-BE49-F238E27FC236}">
                <a16:creationId xmlns:a16="http://schemas.microsoft.com/office/drawing/2014/main" id="{4B9753A8-D625-4D4F-29EB-DB60BCAC028E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8904288" y="477520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6775C-240B-4C51-9C42-E019FF05925F}" type="datetime'20''''2''5''''''''''10''''Y''''''''T''''''''''D''''''''''''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gray">
          <a:xfrm>
            <a:off x="9725025" y="4189413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BD811C-66EE-4E32-9D82-C6FBA1F9B447}" type="datetime'''4''''''''''''''''''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2" name="Text Placeholder 3">
            <a:extLst>
              <a:ext uri="{FF2B5EF4-FFF2-40B4-BE49-F238E27FC236}">
                <a16:creationId xmlns:a16="http://schemas.microsoft.com/office/drawing/2014/main" id="{226A4E37-E112-9678-9034-CF8BCA141FDE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9609138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98A296-3918-4038-AC79-4ECF9DD02FC1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gray">
          <a:xfrm>
            <a:off x="10307638" y="417988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A318FF-9F20-4C3E-8C65-CF102EB732C5}" type="datetime'''''''''''''''''''''''''''8'">
              <a:rPr lang="zh-CN" altLang="en-US" sz="800" smtClean="0">
                <a:effectLst/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3" name="Text Placeholder 3">
            <a:extLst>
              <a:ext uri="{FF2B5EF4-FFF2-40B4-BE49-F238E27FC236}">
                <a16:creationId xmlns:a16="http://schemas.microsoft.com/office/drawing/2014/main" id="{929925F6-0E93-EC22-B300-E21F72946F4C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10191750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0F996-E231-4B7C-9137-85B53E21A439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5" name="Text Placeholder 3">
            <a:extLst>
              <a:ext uri="{FF2B5EF4-FFF2-40B4-BE49-F238E27FC236}">
                <a16:creationId xmlns:a16="http://schemas.microsoft.com/office/drawing/2014/main" id="{1BE56B6A-3C30-4B59-A6C7-170064E01044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gray">
          <a:xfrm>
            <a:off x="10818813" y="4424363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496C8C-C7DE-40EC-99EE-B3E83C202B5A}" type="datetime'-''''''''''''''3''''''''''''''''''4''''''''''''''''4'''''''">
              <a:rPr lang="zh-CN" altLang="en-US" sz="800" smtClean="0">
                <a:latin typeface="+mn-lt"/>
                <a:cs typeface="+mn-cs"/>
              </a:rPr>
              <a:pPr/>
              <a:t>-3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4" name="Text Placeholder 3">
            <a:extLst>
              <a:ext uri="{FF2B5EF4-FFF2-40B4-BE49-F238E27FC236}">
                <a16:creationId xmlns:a16="http://schemas.microsoft.com/office/drawing/2014/main" id="{7D8DCB6C-4AAA-0195-9FB6-084C41ED8B42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10725150" y="477520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973EDA-4054-487B-BA87-C6E0A39457B5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41" name="直接连接符 140">
            <a:extLst>
              <a:ext uri="{FF2B5EF4-FFF2-40B4-BE49-F238E27FC236}">
                <a16:creationId xmlns:a16="http://schemas.microsoft.com/office/drawing/2014/main" id="{3BF1E16E-B973-7A15-0FB6-8C5C2D450EEF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4252913" y="55816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直接连接符 170">
            <a:extLst>
              <a:ext uri="{FF2B5EF4-FFF2-40B4-BE49-F238E27FC236}">
                <a16:creationId xmlns:a16="http://schemas.microsoft.com/office/drawing/2014/main" id="{4BCA1803-64DB-6027-9B75-AECE0BB68030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>
            <a:off x="8786813" y="5513388"/>
            <a:ext cx="254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直接连接符 139">
            <a:extLst>
              <a:ext uri="{FF2B5EF4-FFF2-40B4-BE49-F238E27FC236}">
                <a16:creationId xmlns:a16="http://schemas.microsoft.com/office/drawing/2014/main" id="{763F88E0-5513-4C71-F9E0-97729260EA72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>
            <a:off x="2987675" y="54737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8D999A4-47CD-480C-D9EB-7552B724F0C4}"/>
              </a:ext>
            </a:extLst>
          </p:cNvPr>
          <p:cNvCxnSpPr/>
          <p:nvPr>
            <p:custDataLst>
              <p:tags r:id="rId140"/>
            </p:custDataLst>
          </p:nvPr>
        </p:nvCxnSpPr>
        <p:spPr bwMode="auto">
          <a:xfrm>
            <a:off x="3619500" y="55181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直接连接符 150">
            <a:extLst>
              <a:ext uri="{FF2B5EF4-FFF2-40B4-BE49-F238E27FC236}">
                <a16:creationId xmlns:a16="http://schemas.microsoft.com/office/drawing/2014/main" id="{9723B0F6-7B76-18D9-F0D3-32721AEF809A}"/>
              </a:ext>
            </a:extLst>
          </p:cNvPr>
          <p:cNvCxnSpPr/>
          <p:nvPr>
            <p:custDataLst>
              <p:tags r:id="rId141"/>
            </p:custDataLst>
          </p:nvPr>
        </p:nvCxnSpPr>
        <p:spPr bwMode="auto">
          <a:xfrm>
            <a:off x="4884738" y="55197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8" name="直接连接符 1977">
            <a:extLst>
              <a:ext uri="{FF2B5EF4-FFF2-40B4-BE49-F238E27FC236}">
                <a16:creationId xmlns:a16="http://schemas.microsoft.com/office/drawing/2014/main" id="{8C8C90B0-867A-6A74-FA4A-96AD431191E3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>
            <a:off x="5516563" y="550227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0572583-446A-9E12-D592-41BAAB8975DE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>
            <a:off x="6148388" y="55689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3CC97B79-ABD5-FDBF-D366-DA42E71FC9E2}"/>
              </a:ext>
            </a:extLst>
          </p:cNvPr>
          <p:cNvCxnSpPr/>
          <p:nvPr>
            <p:custDataLst>
              <p:tags r:id="rId144"/>
            </p:custDataLst>
          </p:nvPr>
        </p:nvCxnSpPr>
        <p:spPr bwMode="auto">
          <a:xfrm>
            <a:off x="6348413" y="5568950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9CDBEADC-815A-1DE7-CA91-4CB63C47DC69}"/>
              </a:ext>
            </a:extLst>
          </p:cNvPr>
          <p:cNvCxnSpPr/>
          <p:nvPr>
            <p:custDataLst>
              <p:tags r:id="rId145"/>
            </p:custDataLst>
          </p:nvPr>
        </p:nvCxnSpPr>
        <p:spPr bwMode="auto">
          <a:xfrm>
            <a:off x="6781800" y="552608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C0567C39-9F79-6F76-49F7-7CB10EA59979}"/>
              </a:ext>
            </a:extLst>
          </p:cNvPr>
          <p:cNvCxnSpPr/>
          <p:nvPr>
            <p:custDataLst>
              <p:tags r:id="rId146"/>
            </p:custDataLst>
          </p:nvPr>
        </p:nvCxnSpPr>
        <p:spPr bwMode="auto">
          <a:xfrm>
            <a:off x="7413625" y="554355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接连接符 142">
            <a:extLst>
              <a:ext uri="{FF2B5EF4-FFF2-40B4-BE49-F238E27FC236}">
                <a16:creationId xmlns:a16="http://schemas.microsoft.com/office/drawing/2014/main" id="{EC6E5469-1FE6-DD66-D4B3-9D848B4C085E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>
            <a:off x="7523163" y="5543550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AA91BECB-5B54-69C8-9FD2-C75EB254549A}"/>
              </a:ext>
            </a:extLst>
          </p:cNvPr>
          <p:cNvCxnSpPr/>
          <p:nvPr>
            <p:custDataLst>
              <p:tags r:id="rId148"/>
            </p:custDataLst>
          </p:nvPr>
        </p:nvCxnSpPr>
        <p:spPr bwMode="auto">
          <a:xfrm>
            <a:off x="8045450" y="558482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接连接符 159">
            <a:extLst>
              <a:ext uri="{FF2B5EF4-FFF2-40B4-BE49-F238E27FC236}">
                <a16:creationId xmlns:a16="http://schemas.microsoft.com/office/drawing/2014/main" id="{61388DCD-972D-3F96-78FD-210E27BB1B3E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auto">
          <a:xfrm>
            <a:off x="8677275" y="551338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接连接符 164">
            <a:extLst>
              <a:ext uri="{FF2B5EF4-FFF2-40B4-BE49-F238E27FC236}">
                <a16:creationId xmlns:a16="http://schemas.microsoft.com/office/drawing/2014/main" id="{8558838D-6C02-859D-40D5-64BDBEC04D39}"/>
              </a:ext>
            </a:extLst>
          </p:cNvPr>
          <p:cNvCxnSpPr/>
          <p:nvPr>
            <p:custDataLst>
              <p:tags r:id="rId150"/>
            </p:custDataLst>
          </p:nvPr>
        </p:nvCxnSpPr>
        <p:spPr bwMode="auto">
          <a:xfrm>
            <a:off x="3819525" y="5518150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54AAE8C7-4636-3118-012A-66E8B776CDD7}"/>
              </a:ext>
            </a:extLst>
          </p:cNvPr>
          <p:cNvCxnSpPr/>
          <p:nvPr>
            <p:custDataLst>
              <p:tags r:id="rId151"/>
            </p:custDataLst>
          </p:nvPr>
        </p:nvCxnSpPr>
        <p:spPr bwMode="auto">
          <a:xfrm>
            <a:off x="4452938" y="5581650"/>
            <a:ext cx="161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直接连接符 166">
            <a:extLst>
              <a:ext uri="{FF2B5EF4-FFF2-40B4-BE49-F238E27FC236}">
                <a16:creationId xmlns:a16="http://schemas.microsoft.com/office/drawing/2014/main" id="{0CE2EB57-A176-A0FF-7935-BA0A2FCB9DA3}"/>
              </a:ext>
            </a:extLst>
          </p:cNvPr>
          <p:cNvCxnSpPr/>
          <p:nvPr>
            <p:custDataLst>
              <p:tags r:id="rId152"/>
            </p:custDataLst>
          </p:nvPr>
        </p:nvCxnSpPr>
        <p:spPr bwMode="auto">
          <a:xfrm>
            <a:off x="5051425" y="5519738"/>
            <a:ext cx="1952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直接连接符 167">
            <a:extLst>
              <a:ext uri="{FF2B5EF4-FFF2-40B4-BE49-F238E27FC236}">
                <a16:creationId xmlns:a16="http://schemas.microsoft.com/office/drawing/2014/main" id="{1D05D663-35DB-5B26-ACA0-DDC3733284A9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auto">
          <a:xfrm>
            <a:off x="5683250" y="5502275"/>
            <a:ext cx="1952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直接连接符 168">
            <a:extLst>
              <a:ext uri="{FF2B5EF4-FFF2-40B4-BE49-F238E27FC236}">
                <a16:creationId xmlns:a16="http://schemas.microsoft.com/office/drawing/2014/main" id="{75F5B2FC-D8DF-AD0D-CD68-8141AC497DFC}"/>
              </a:ext>
            </a:extLst>
          </p:cNvPr>
          <p:cNvCxnSpPr/>
          <p:nvPr>
            <p:custDataLst>
              <p:tags r:id="rId154"/>
            </p:custDataLst>
          </p:nvPr>
        </p:nvCxnSpPr>
        <p:spPr bwMode="auto">
          <a:xfrm>
            <a:off x="6948488" y="5526088"/>
            <a:ext cx="1952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直接连接符 169">
            <a:extLst>
              <a:ext uri="{FF2B5EF4-FFF2-40B4-BE49-F238E27FC236}">
                <a16:creationId xmlns:a16="http://schemas.microsoft.com/office/drawing/2014/main" id="{6E86B435-9F68-3D23-E4F1-B2A1609059CD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>
            <a:off x="8188325" y="5584825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3" name="Chart 3">
            <a:extLst>
              <a:ext uri="{FF2B5EF4-FFF2-40B4-BE49-F238E27FC236}">
                <a16:creationId xmlns:a16="http://schemas.microsoft.com/office/drawing/2014/main" id="{2E3C6D82-D11A-7348-2FB9-266D41F4851A}"/>
              </a:ext>
            </a:extLst>
          </p:cNvPr>
          <p:cNvGraphicFramePr/>
          <p:nvPr>
            <p:custDataLst>
              <p:tags r:id="rId156"/>
            </p:custDataLst>
            <p:extLst>
              <p:ext uri="{D42A27DB-BD31-4B8C-83A1-F6EECF244321}">
                <p14:modId xmlns:p14="http://schemas.microsoft.com/office/powerpoint/2010/main" val="871123568"/>
              </p:ext>
            </p:extLst>
          </p:nvPr>
        </p:nvGraphicFramePr>
        <p:xfrm>
          <a:off x="2454275" y="4916488"/>
          <a:ext cx="7119938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4"/>
          </a:graphicData>
        </a:graphic>
      </p:graphicFrame>
      <p:sp>
        <p:nvSpPr>
          <p:cNvPr id="164" name="矩形 163">
            <a:extLst>
              <a:ext uri="{FF2B5EF4-FFF2-40B4-BE49-F238E27FC236}">
                <a16:creationId xmlns:a16="http://schemas.microsoft.com/office/drawing/2014/main" id="{0BD41C72-BCE7-CD67-96B0-A62AFCAA62F2}"/>
              </a:ext>
            </a:extLst>
          </p:cNvPr>
          <p:cNvSpPr/>
          <p:nvPr>
            <p:custDataLst>
              <p:tags r:id="rId157"/>
            </p:custDataLst>
          </p:nvPr>
        </p:nvSpPr>
        <p:spPr bwMode="auto">
          <a:xfrm>
            <a:off x="8412163" y="5600700"/>
            <a:ext cx="260350" cy="14288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63" name="矩形 162">
            <a:extLst>
              <a:ext uri="{FF2B5EF4-FFF2-40B4-BE49-F238E27FC236}">
                <a16:creationId xmlns:a16="http://schemas.microsoft.com/office/drawing/2014/main" id="{4E36E030-37B8-CA3A-EDF6-06F3CE44128A}"/>
              </a:ext>
            </a:extLst>
          </p:cNvPr>
          <p:cNvSpPr/>
          <p:nvPr>
            <p:custDataLst>
              <p:tags r:id="rId158"/>
            </p:custDataLst>
          </p:nvPr>
        </p:nvSpPr>
        <p:spPr bwMode="auto">
          <a:xfrm>
            <a:off x="7780338" y="5600700"/>
            <a:ext cx="260350" cy="34925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62" name="矩形 161">
            <a:extLst>
              <a:ext uri="{FF2B5EF4-FFF2-40B4-BE49-F238E27FC236}">
                <a16:creationId xmlns:a16="http://schemas.microsoft.com/office/drawing/2014/main" id="{6047AF59-BC70-A3F7-D6FC-0441F936FA0A}"/>
              </a:ext>
            </a:extLst>
          </p:cNvPr>
          <p:cNvSpPr/>
          <p:nvPr>
            <p:custDataLst>
              <p:tags r:id="rId159"/>
            </p:custDataLst>
          </p:nvPr>
        </p:nvSpPr>
        <p:spPr bwMode="auto">
          <a:xfrm>
            <a:off x="5883275" y="5600700"/>
            <a:ext cx="260350" cy="25400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57" name="矩形 156">
            <a:extLst>
              <a:ext uri="{FF2B5EF4-FFF2-40B4-BE49-F238E27FC236}">
                <a16:creationId xmlns:a16="http://schemas.microsoft.com/office/drawing/2014/main" id="{EE22E366-EF71-CA1B-0254-EF2FB5D294CC}"/>
              </a:ext>
            </a:extLst>
          </p:cNvPr>
          <p:cNvSpPr/>
          <p:nvPr>
            <p:custDataLst>
              <p:tags r:id="rId160"/>
            </p:custDataLst>
          </p:nvPr>
        </p:nvSpPr>
        <p:spPr bwMode="auto">
          <a:xfrm>
            <a:off x="4619625" y="5600700"/>
            <a:ext cx="260350" cy="14288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8AC93658-285F-9E93-75E9-096FA300096A}"/>
              </a:ext>
            </a:extLst>
          </p:cNvPr>
          <p:cNvSpPr/>
          <p:nvPr>
            <p:custDataLst>
              <p:tags r:id="rId161"/>
            </p:custDataLst>
          </p:nvPr>
        </p:nvSpPr>
        <p:spPr bwMode="auto">
          <a:xfrm>
            <a:off x="3987800" y="5600700"/>
            <a:ext cx="260350" cy="34925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D0706066-60C2-4883-715C-9FC2C4B1684F}"/>
              </a:ext>
            </a:extLst>
          </p:cNvPr>
          <p:cNvCxnSpPr>
            <a:cxnSpLocks/>
          </p:cNvCxnSpPr>
          <p:nvPr>
            <p:custDataLst>
              <p:tags r:id="rId162"/>
            </p:custDataLst>
          </p:nvPr>
        </p:nvCxnSpPr>
        <p:spPr bwMode="auto">
          <a:xfrm flipH="1">
            <a:off x="4849813" y="5411788"/>
            <a:ext cx="476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3" name="直接连接符 1972">
            <a:extLst>
              <a:ext uri="{FF2B5EF4-FFF2-40B4-BE49-F238E27FC236}">
                <a16:creationId xmlns:a16="http://schemas.microsoft.com/office/drawing/2014/main" id="{085651EA-5F71-39DB-DA57-2D49ED431E64}"/>
              </a:ext>
            </a:extLst>
          </p:cNvPr>
          <p:cNvCxnSpPr>
            <a:cxnSpLocks/>
          </p:cNvCxnSpPr>
          <p:nvPr>
            <p:custDataLst>
              <p:tags r:id="rId163"/>
            </p:custDataLst>
          </p:nvPr>
        </p:nvCxnSpPr>
        <p:spPr bwMode="auto">
          <a:xfrm flipH="1" flipV="1">
            <a:off x="7378700" y="5534025"/>
            <a:ext cx="47625" cy="115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2" name="直接连接符 1971">
            <a:extLst>
              <a:ext uri="{FF2B5EF4-FFF2-40B4-BE49-F238E27FC236}">
                <a16:creationId xmlns:a16="http://schemas.microsoft.com/office/drawing/2014/main" id="{946F64BB-7EDF-43B9-855E-C56DFD4F7694}"/>
              </a:ext>
            </a:extLst>
          </p:cNvPr>
          <p:cNvCxnSpPr/>
          <p:nvPr>
            <p:custDataLst>
              <p:tags r:id="rId164"/>
            </p:custDataLst>
          </p:nvPr>
        </p:nvCxnSpPr>
        <p:spPr bwMode="auto">
          <a:xfrm flipH="1">
            <a:off x="7378700" y="5383212"/>
            <a:ext cx="47625" cy="115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1" name="直接连接符 1970">
            <a:extLst>
              <a:ext uri="{FF2B5EF4-FFF2-40B4-BE49-F238E27FC236}">
                <a16:creationId xmlns:a16="http://schemas.microsoft.com/office/drawing/2014/main" id="{C76DB44D-D127-F15A-CD49-74A578661CB9}"/>
              </a:ext>
            </a:extLst>
          </p:cNvPr>
          <p:cNvCxnSpPr>
            <a:cxnSpLocks/>
          </p:cNvCxnSpPr>
          <p:nvPr>
            <p:custDataLst>
              <p:tags r:id="rId165"/>
            </p:custDataLst>
          </p:nvPr>
        </p:nvCxnSpPr>
        <p:spPr bwMode="auto">
          <a:xfrm flipH="1">
            <a:off x="7378700" y="5449887"/>
            <a:ext cx="476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6" name="直接连接符 1975">
            <a:extLst>
              <a:ext uri="{FF2B5EF4-FFF2-40B4-BE49-F238E27FC236}">
                <a16:creationId xmlns:a16="http://schemas.microsoft.com/office/drawing/2014/main" id="{E0490FFC-C605-4FCB-60BE-1EAB7760BB1D}"/>
              </a:ext>
            </a:extLst>
          </p:cNvPr>
          <p:cNvCxnSpPr>
            <a:cxnSpLocks/>
          </p:cNvCxnSpPr>
          <p:nvPr>
            <p:custDataLst>
              <p:tags r:id="rId166"/>
            </p:custDataLst>
          </p:nvPr>
        </p:nvCxnSpPr>
        <p:spPr bwMode="auto">
          <a:xfrm flipH="1" flipV="1">
            <a:off x="8010525" y="5548313"/>
            <a:ext cx="47625" cy="55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4" name="直接连接符 1863">
            <a:extLst>
              <a:ext uri="{FF2B5EF4-FFF2-40B4-BE49-F238E27FC236}">
                <a16:creationId xmlns:a16="http://schemas.microsoft.com/office/drawing/2014/main" id="{BD434C9F-CE09-2FCC-3558-32D5184CF9A3}"/>
              </a:ext>
            </a:extLst>
          </p:cNvPr>
          <p:cNvCxnSpPr>
            <a:cxnSpLocks/>
          </p:cNvCxnSpPr>
          <p:nvPr>
            <p:custDataLst>
              <p:tags r:id="rId167"/>
            </p:custDataLst>
          </p:nvPr>
        </p:nvCxnSpPr>
        <p:spPr bwMode="auto">
          <a:xfrm flipH="1" flipV="1">
            <a:off x="8010525" y="5567363"/>
            <a:ext cx="47625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5" name="直接连接符 1974">
            <a:extLst>
              <a:ext uri="{FF2B5EF4-FFF2-40B4-BE49-F238E27FC236}">
                <a16:creationId xmlns:a16="http://schemas.microsoft.com/office/drawing/2014/main" id="{4DA23102-C219-DB2E-2336-133280BA7949}"/>
              </a:ext>
            </a:extLst>
          </p:cNvPr>
          <p:cNvCxnSpPr/>
          <p:nvPr>
            <p:custDataLst>
              <p:tags r:id="rId168"/>
            </p:custDataLst>
          </p:nvPr>
        </p:nvCxnSpPr>
        <p:spPr bwMode="auto">
          <a:xfrm flipH="1">
            <a:off x="8010525" y="5403850"/>
            <a:ext cx="47625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0" name="直接连接符 1969">
            <a:extLst>
              <a:ext uri="{FF2B5EF4-FFF2-40B4-BE49-F238E27FC236}">
                <a16:creationId xmlns:a16="http://schemas.microsoft.com/office/drawing/2014/main" id="{B61163D6-94CA-2F7C-186C-F48DF9E6356C}"/>
              </a:ext>
            </a:extLst>
          </p:cNvPr>
          <p:cNvCxnSpPr>
            <a:cxnSpLocks/>
          </p:cNvCxnSpPr>
          <p:nvPr>
            <p:custDataLst>
              <p:tags r:id="rId169"/>
            </p:custDataLst>
          </p:nvPr>
        </p:nvCxnSpPr>
        <p:spPr bwMode="auto">
          <a:xfrm flipH="1">
            <a:off x="6746875" y="5405438"/>
            <a:ext cx="47625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7" name="直接连接符 1866">
            <a:extLst>
              <a:ext uri="{FF2B5EF4-FFF2-40B4-BE49-F238E27FC236}">
                <a16:creationId xmlns:a16="http://schemas.microsoft.com/office/drawing/2014/main" id="{5620269F-6135-C4D2-BCC3-936DCB4BB8D3}"/>
              </a:ext>
            </a:extLst>
          </p:cNvPr>
          <p:cNvCxnSpPr>
            <a:cxnSpLocks/>
          </p:cNvCxnSpPr>
          <p:nvPr>
            <p:custDataLst>
              <p:tags r:id="rId170"/>
            </p:custDataLst>
          </p:nvPr>
        </p:nvCxnSpPr>
        <p:spPr bwMode="auto">
          <a:xfrm flipH="1">
            <a:off x="8642350" y="5418138"/>
            <a:ext cx="47625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接连接符 138">
            <a:extLst>
              <a:ext uri="{FF2B5EF4-FFF2-40B4-BE49-F238E27FC236}">
                <a16:creationId xmlns:a16="http://schemas.microsoft.com/office/drawing/2014/main" id="{0F696389-1B0E-632C-5872-FA4364234750}"/>
              </a:ext>
            </a:extLst>
          </p:cNvPr>
          <p:cNvCxnSpPr>
            <a:cxnSpLocks/>
          </p:cNvCxnSpPr>
          <p:nvPr>
            <p:custDataLst>
              <p:tags r:id="rId171"/>
            </p:custDataLst>
          </p:nvPr>
        </p:nvCxnSpPr>
        <p:spPr bwMode="auto">
          <a:xfrm flipH="1">
            <a:off x="8642350" y="5484813"/>
            <a:ext cx="47625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直接连接符 137">
            <a:extLst>
              <a:ext uri="{FF2B5EF4-FFF2-40B4-BE49-F238E27FC236}">
                <a16:creationId xmlns:a16="http://schemas.microsoft.com/office/drawing/2014/main" id="{AD6E0703-56E5-AA61-ED7D-BD79A77735E1}"/>
              </a:ext>
            </a:extLst>
          </p:cNvPr>
          <p:cNvCxnSpPr/>
          <p:nvPr>
            <p:custDataLst>
              <p:tags r:id="rId172"/>
            </p:custDataLst>
          </p:nvPr>
        </p:nvCxnSpPr>
        <p:spPr bwMode="auto">
          <a:xfrm flipH="1" flipV="1">
            <a:off x="8642350" y="5602288"/>
            <a:ext cx="47625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91E2097A-FBDE-3919-BBD5-CD8987C5B85F}"/>
              </a:ext>
            </a:extLst>
          </p:cNvPr>
          <p:cNvCxnSpPr>
            <a:cxnSpLocks/>
          </p:cNvCxnSpPr>
          <p:nvPr>
            <p:custDataLst>
              <p:tags r:id="rId173"/>
            </p:custDataLst>
          </p:nvPr>
        </p:nvCxnSpPr>
        <p:spPr bwMode="auto">
          <a:xfrm flipH="1" flipV="1">
            <a:off x="8642350" y="5583239"/>
            <a:ext cx="47625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9" name="直接连接符 1948">
            <a:extLst>
              <a:ext uri="{FF2B5EF4-FFF2-40B4-BE49-F238E27FC236}">
                <a16:creationId xmlns:a16="http://schemas.microsoft.com/office/drawing/2014/main" id="{C9EE11E5-6901-6EAB-7E18-5ED9D6913D4C}"/>
              </a:ext>
            </a:extLst>
          </p:cNvPr>
          <p:cNvCxnSpPr>
            <a:cxnSpLocks/>
          </p:cNvCxnSpPr>
          <p:nvPr>
            <p:custDataLst>
              <p:tags r:id="rId174"/>
            </p:custDataLst>
          </p:nvPr>
        </p:nvCxnSpPr>
        <p:spPr bwMode="auto">
          <a:xfrm flipH="1">
            <a:off x="3584575" y="5411789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02D367C-1A02-3459-9C2D-9BD3F848C065}"/>
              </a:ext>
            </a:extLst>
          </p:cNvPr>
          <p:cNvCxnSpPr>
            <a:cxnSpLocks/>
          </p:cNvCxnSpPr>
          <p:nvPr>
            <p:custDataLst>
              <p:tags r:id="rId175"/>
            </p:custDataLst>
          </p:nvPr>
        </p:nvCxnSpPr>
        <p:spPr bwMode="auto">
          <a:xfrm flipH="1">
            <a:off x="2952750" y="5381625"/>
            <a:ext cx="476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8" name="直接连接符 1967">
            <a:extLst>
              <a:ext uri="{FF2B5EF4-FFF2-40B4-BE49-F238E27FC236}">
                <a16:creationId xmlns:a16="http://schemas.microsoft.com/office/drawing/2014/main" id="{A8892081-58E1-8C46-B95A-9A34557F7E70}"/>
              </a:ext>
            </a:extLst>
          </p:cNvPr>
          <p:cNvCxnSpPr>
            <a:cxnSpLocks/>
          </p:cNvCxnSpPr>
          <p:nvPr>
            <p:custDataLst>
              <p:tags r:id="rId176"/>
            </p:custDataLst>
          </p:nvPr>
        </p:nvCxnSpPr>
        <p:spPr bwMode="auto">
          <a:xfrm flipH="1" flipV="1">
            <a:off x="6746875" y="5567363"/>
            <a:ext cx="47625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4" name="直接连接符 1973">
            <a:extLst>
              <a:ext uri="{FF2B5EF4-FFF2-40B4-BE49-F238E27FC236}">
                <a16:creationId xmlns:a16="http://schemas.microsoft.com/office/drawing/2014/main" id="{C67D8BD1-7F82-C908-2853-6E93AA4946A0}"/>
              </a:ext>
            </a:extLst>
          </p:cNvPr>
          <p:cNvCxnSpPr>
            <a:cxnSpLocks/>
          </p:cNvCxnSpPr>
          <p:nvPr>
            <p:custDataLst>
              <p:tags r:id="rId177"/>
            </p:custDataLst>
          </p:nvPr>
        </p:nvCxnSpPr>
        <p:spPr bwMode="auto">
          <a:xfrm flipH="1">
            <a:off x="8010525" y="5470525"/>
            <a:ext cx="4762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0" name="直接连接符 1959">
            <a:extLst>
              <a:ext uri="{FF2B5EF4-FFF2-40B4-BE49-F238E27FC236}">
                <a16:creationId xmlns:a16="http://schemas.microsoft.com/office/drawing/2014/main" id="{0D1E6ED6-6DFF-2EDC-F8E8-9FCDE6F4F1B4}"/>
              </a:ext>
            </a:extLst>
          </p:cNvPr>
          <p:cNvCxnSpPr>
            <a:cxnSpLocks/>
          </p:cNvCxnSpPr>
          <p:nvPr>
            <p:custDataLst>
              <p:tags r:id="rId178"/>
            </p:custDataLst>
          </p:nvPr>
        </p:nvCxnSpPr>
        <p:spPr bwMode="auto">
          <a:xfrm flipH="1">
            <a:off x="4849813" y="5478463"/>
            <a:ext cx="47625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7" name="直接连接符 1946">
            <a:extLst>
              <a:ext uri="{FF2B5EF4-FFF2-40B4-BE49-F238E27FC236}">
                <a16:creationId xmlns:a16="http://schemas.microsoft.com/office/drawing/2014/main" id="{17B4B5F2-E8FC-ADF3-19A3-A3DB0AB35F4C}"/>
              </a:ext>
            </a:extLst>
          </p:cNvPr>
          <p:cNvCxnSpPr>
            <a:cxnSpLocks/>
          </p:cNvCxnSpPr>
          <p:nvPr>
            <p:custDataLst>
              <p:tags r:id="rId179"/>
            </p:custDataLst>
          </p:nvPr>
        </p:nvCxnSpPr>
        <p:spPr bwMode="auto">
          <a:xfrm flipH="1" flipV="1">
            <a:off x="2952750" y="5632449"/>
            <a:ext cx="47625" cy="133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7" name="直接连接符 1966">
            <a:extLst>
              <a:ext uri="{FF2B5EF4-FFF2-40B4-BE49-F238E27FC236}">
                <a16:creationId xmlns:a16="http://schemas.microsoft.com/office/drawing/2014/main" id="{EDAA4A02-6541-F89F-268C-C83BBCCEE0EC}"/>
              </a:ext>
            </a:extLst>
          </p:cNvPr>
          <p:cNvCxnSpPr>
            <a:cxnSpLocks/>
          </p:cNvCxnSpPr>
          <p:nvPr>
            <p:custDataLst>
              <p:tags r:id="rId180"/>
            </p:custDataLst>
          </p:nvPr>
        </p:nvCxnSpPr>
        <p:spPr bwMode="auto">
          <a:xfrm flipH="1" flipV="1">
            <a:off x="6113463" y="5514974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6" name="直接连接符 1945">
            <a:extLst>
              <a:ext uri="{FF2B5EF4-FFF2-40B4-BE49-F238E27FC236}">
                <a16:creationId xmlns:a16="http://schemas.microsoft.com/office/drawing/2014/main" id="{740B77F3-F5EF-99B7-D85D-596545B2F04F}"/>
              </a:ext>
            </a:extLst>
          </p:cNvPr>
          <p:cNvCxnSpPr>
            <a:cxnSpLocks/>
          </p:cNvCxnSpPr>
          <p:nvPr>
            <p:custDataLst>
              <p:tags r:id="rId181"/>
            </p:custDataLst>
          </p:nvPr>
        </p:nvCxnSpPr>
        <p:spPr bwMode="auto">
          <a:xfrm flipH="1">
            <a:off x="2952750" y="5565776"/>
            <a:ext cx="47625" cy="3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5A4BDDAB-C480-572D-E7FF-824340033891}"/>
              </a:ext>
            </a:extLst>
          </p:cNvPr>
          <p:cNvCxnSpPr/>
          <p:nvPr>
            <p:custDataLst>
              <p:tags r:id="rId182"/>
            </p:custDataLst>
          </p:nvPr>
        </p:nvCxnSpPr>
        <p:spPr bwMode="auto">
          <a:xfrm flipH="1" flipV="1">
            <a:off x="4849813" y="5600699"/>
            <a:ext cx="47625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3EFA5799-B11E-7367-92C5-B2E499273415}"/>
              </a:ext>
            </a:extLst>
          </p:cNvPr>
          <p:cNvCxnSpPr>
            <a:cxnSpLocks/>
          </p:cNvCxnSpPr>
          <p:nvPr>
            <p:custDataLst>
              <p:tags r:id="rId183"/>
            </p:custDataLst>
          </p:nvPr>
        </p:nvCxnSpPr>
        <p:spPr bwMode="auto">
          <a:xfrm flipH="1" flipV="1">
            <a:off x="6113463" y="5546725"/>
            <a:ext cx="47625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6E16BA44-DF5E-92A1-A324-C50C080F024E}"/>
              </a:ext>
            </a:extLst>
          </p:cNvPr>
          <p:cNvCxnSpPr>
            <a:cxnSpLocks/>
          </p:cNvCxnSpPr>
          <p:nvPr>
            <p:custDataLst>
              <p:tags r:id="rId184"/>
            </p:custDataLst>
          </p:nvPr>
        </p:nvCxnSpPr>
        <p:spPr bwMode="auto">
          <a:xfrm flipH="1" flipV="1">
            <a:off x="3584575" y="5510212"/>
            <a:ext cx="47625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8" name="直接连接符 1957">
            <a:extLst>
              <a:ext uri="{FF2B5EF4-FFF2-40B4-BE49-F238E27FC236}">
                <a16:creationId xmlns:a16="http://schemas.microsoft.com/office/drawing/2014/main" id="{81B721B0-A2A5-9559-32BC-23AEA842ABB2}"/>
              </a:ext>
            </a:extLst>
          </p:cNvPr>
          <p:cNvCxnSpPr/>
          <p:nvPr>
            <p:custDataLst>
              <p:tags r:id="rId185"/>
            </p:custDataLst>
          </p:nvPr>
        </p:nvCxnSpPr>
        <p:spPr bwMode="auto">
          <a:xfrm flipH="1" flipV="1">
            <a:off x="4849813" y="5578475"/>
            <a:ext cx="47625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7F758961-9016-F5C2-68B7-AAE51E36BFF0}"/>
              </a:ext>
            </a:extLst>
          </p:cNvPr>
          <p:cNvCxnSpPr>
            <a:cxnSpLocks/>
          </p:cNvCxnSpPr>
          <p:nvPr>
            <p:custDataLst>
              <p:tags r:id="rId186"/>
            </p:custDataLst>
          </p:nvPr>
        </p:nvCxnSpPr>
        <p:spPr bwMode="auto">
          <a:xfrm flipH="1" flipV="1">
            <a:off x="7378700" y="5526088"/>
            <a:ext cx="4762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直接连接符 145">
            <a:extLst>
              <a:ext uri="{FF2B5EF4-FFF2-40B4-BE49-F238E27FC236}">
                <a16:creationId xmlns:a16="http://schemas.microsoft.com/office/drawing/2014/main" id="{D76345C9-1CC6-5057-6787-7CB273D225FB}"/>
              </a:ext>
            </a:extLst>
          </p:cNvPr>
          <p:cNvCxnSpPr/>
          <p:nvPr>
            <p:custDataLst>
              <p:tags r:id="rId187"/>
            </p:custDataLst>
          </p:nvPr>
        </p:nvCxnSpPr>
        <p:spPr bwMode="auto">
          <a:xfrm flipH="1" flipV="1">
            <a:off x="3584575" y="5487988"/>
            <a:ext cx="4762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直接连接符 151">
            <a:extLst>
              <a:ext uri="{FF2B5EF4-FFF2-40B4-BE49-F238E27FC236}">
                <a16:creationId xmlns:a16="http://schemas.microsoft.com/office/drawing/2014/main" id="{017718E6-200F-3E0C-DC1B-F2D0AB5EDCB2}"/>
              </a:ext>
            </a:extLst>
          </p:cNvPr>
          <p:cNvCxnSpPr/>
          <p:nvPr>
            <p:custDataLst>
              <p:tags r:id="rId188"/>
            </p:custDataLst>
          </p:nvPr>
        </p:nvCxnSpPr>
        <p:spPr bwMode="auto">
          <a:xfrm flipH="1" flipV="1">
            <a:off x="4217988" y="5540375"/>
            <a:ext cx="47625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0" name="直接连接符 1949">
            <a:extLst>
              <a:ext uri="{FF2B5EF4-FFF2-40B4-BE49-F238E27FC236}">
                <a16:creationId xmlns:a16="http://schemas.microsoft.com/office/drawing/2014/main" id="{BB5813E0-A557-C003-BCB5-75AD7EDCD463}"/>
              </a:ext>
            </a:extLst>
          </p:cNvPr>
          <p:cNvCxnSpPr/>
          <p:nvPr>
            <p:custDataLst>
              <p:tags r:id="rId189"/>
            </p:custDataLst>
          </p:nvPr>
        </p:nvCxnSpPr>
        <p:spPr bwMode="auto">
          <a:xfrm flipH="1">
            <a:off x="3584575" y="5345114"/>
            <a:ext cx="4762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直接连接符 160">
            <a:extLst>
              <a:ext uri="{FF2B5EF4-FFF2-40B4-BE49-F238E27FC236}">
                <a16:creationId xmlns:a16="http://schemas.microsoft.com/office/drawing/2014/main" id="{6ED86277-EC8D-63E8-8784-3146471A897F}"/>
              </a:ext>
            </a:extLst>
          </p:cNvPr>
          <p:cNvCxnSpPr/>
          <p:nvPr>
            <p:custDataLst>
              <p:tags r:id="rId190"/>
            </p:custDataLst>
          </p:nvPr>
        </p:nvCxnSpPr>
        <p:spPr bwMode="auto">
          <a:xfrm flipH="1">
            <a:off x="5481638" y="5449888"/>
            <a:ext cx="47625" cy="428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5FD6F803-9FF9-C590-DCAD-BD9BBDABE600}"/>
              </a:ext>
            </a:extLst>
          </p:cNvPr>
          <p:cNvCxnSpPr>
            <a:cxnSpLocks/>
          </p:cNvCxnSpPr>
          <p:nvPr>
            <p:custDataLst>
              <p:tags r:id="rId191"/>
            </p:custDataLst>
          </p:nvPr>
        </p:nvCxnSpPr>
        <p:spPr bwMode="auto">
          <a:xfrm flipH="1">
            <a:off x="5481638" y="5383213"/>
            <a:ext cx="47625" cy="71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1" name="直接连接符 1960">
            <a:extLst>
              <a:ext uri="{FF2B5EF4-FFF2-40B4-BE49-F238E27FC236}">
                <a16:creationId xmlns:a16="http://schemas.microsoft.com/office/drawing/2014/main" id="{7363D516-3D68-CDA6-D255-19B788285CA6}"/>
              </a:ext>
            </a:extLst>
          </p:cNvPr>
          <p:cNvCxnSpPr/>
          <p:nvPr>
            <p:custDataLst>
              <p:tags r:id="rId192"/>
            </p:custDataLst>
          </p:nvPr>
        </p:nvCxnSpPr>
        <p:spPr bwMode="auto">
          <a:xfrm flipH="1" flipV="1">
            <a:off x="5481638" y="5576888"/>
            <a:ext cx="47625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接连接符 144">
            <a:extLst>
              <a:ext uri="{FF2B5EF4-FFF2-40B4-BE49-F238E27FC236}">
                <a16:creationId xmlns:a16="http://schemas.microsoft.com/office/drawing/2014/main" id="{86EBE582-576B-1038-7AF2-8B7745F20A85}"/>
              </a:ext>
            </a:extLst>
          </p:cNvPr>
          <p:cNvCxnSpPr/>
          <p:nvPr>
            <p:custDataLst>
              <p:tags r:id="rId193"/>
            </p:custDataLst>
          </p:nvPr>
        </p:nvCxnSpPr>
        <p:spPr bwMode="auto">
          <a:xfrm flipH="1" flipV="1">
            <a:off x="2952750" y="5607050"/>
            <a:ext cx="47625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49D63ACB-A030-422B-EE90-7AC4A69D43CA}"/>
              </a:ext>
            </a:extLst>
          </p:cNvPr>
          <p:cNvCxnSpPr/>
          <p:nvPr>
            <p:custDataLst>
              <p:tags r:id="rId194"/>
            </p:custDataLst>
          </p:nvPr>
        </p:nvCxnSpPr>
        <p:spPr bwMode="auto">
          <a:xfrm flipH="1" flipV="1">
            <a:off x="6746875" y="5589588"/>
            <a:ext cx="47625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3" name="直接连接符 1962">
            <a:extLst>
              <a:ext uri="{FF2B5EF4-FFF2-40B4-BE49-F238E27FC236}">
                <a16:creationId xmlns:a16="http://schemas.microsoft.com/office/drawing/2014/main" id="{4FE9B648-3270-C095-2F9D-1A0856AE5A28}"/>
              </a:ext>
            </a:extLst>
          </p:cNvPr>
          <p:cNvCxnSpPr>
            <a:cxnSpLocks/>
          </p:cNvCxnSpPr>
          <p:nvPr>
            <p:custDataLst>
              <p:tags r:id="rId195"/>
            </p:custDataLst>
          </p:nvPr>
        </p:nvCxnSpPr>
        <p:spPr bwMode="auto">
          <a:xfrm flipH="1" flipV="1">
            <a:off x="5481638" y="5519738"/>
            <a:ext cx="47625" cy="63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E19570DC-5F68-7B15-B82D-8FF823FAA4BF}"/>
              </a:ext>
            </a:extLst>
          </p:cNvPr>
          <p:cNvCxnSpPr>
            <a:cxnSpLocks/>
          </p:cNvCxnSpPr>
          <p:nvPr>
            <p:custDataLst>
              <p:tags r:id="rId196"/>
            </p:custDataLst>
          </p:nvPr>
        </p:nvCxnSpPr>
        <p:spPr bwMode="auto">
          <a:xfrm flipH="1" flipV="1">
            <a:off x="4217988" y="5573713"/>
            <a:ext cx="4762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直接连接符 134">
            <a:extLst>
              <a:ext uri="{FF2B5EF4-FFF2-40B4-BE49-F238E27FC236}">
                <a16:creationId xmlns:a16="http://schemas.microsoft.com/office/drawing/2014/main" id="{22845195-F19E-1E7D-D556-3E518C81794D}"/>
              </a:ext>
            </a:extLst>
          </p:cNvPr>
          <p:cNvCxnSpPr/>
          <p:nvPr>
            <p:custDataLst>
              <p:tags r:id="rId197"/>
            </p:custDataLst>
          </p:nvPr>
        </p:nvCxnSpPr>
        <p:spPr bwMode="auto">
          <a:xfrm flipH="1">
            <a:off x="6113463" y="5373688"/>
            <a:ext cx="47625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2" name="直接连接符 1861">
            <a:extLst>
              <a:ext uri="{FF2B5EF4-FFF2-40B4-BE49-F238E27FC236}">
                <a16:creationId xmlns:a16="http://schemas.microsoft.com/office/drawing/2014/main" id="{91C00302-45AE-14F2-B541-2E8ED262889F}"/>
              </a:ext>
            </a:extLst>
          </p:cNvPr>
          <p:cNvCxnSpPr>
            <a:cxnSpLocks/>
          </p:cNvCxnSpPr>
          <p:nvPr>
            <p:custDataLst>
              <p:tags r:id="rId198"/>
            </p:custDataLst>
          </p:nvPr>
        </p:nvCxnSpPr>
        <p:spPr bwMode="auto">
          <a:xfrm flipH="1">
            <a:off x="6746875" y="5472113"/>
            <a:ext cx="47625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5" name="直接连接符 1964">
            <a:extLst>
              <a:ext uri="{FF2B5EF4-FFF2-40B4-BE49-F238E27FC236}">
                <a16:creationId xmlns:a16="http://schemas.microsoft.com/office/drawing/2014/main" id="{9BE48E32-BAF6-B9CC-D505-9C85A23EB2C2}"/>
              </a:ext>
            </a:extLst>
          </p:cNvPr>
          <p:cNvCxnSpPr>
            <a:cxnSpLocks/>
          </p:cNvCxnSpPr>
          <p:nvPr>
            <p:custDataLst>
              <p:tags r:id="rId199"/>
            </p:custDataLst>
          </p:nvPr>
        </p:nvCxnSpPr>
        <p:spPr bwMode="auto">
          <a:xfrm flipH="1">
            <a:off x="6113463" y="5440363"/>
            <a:ext cx="47625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4" name="直接连接符 1953">
            <a:extLst>
              <a:ext uri="{FF2B5EF4-FFF2-40B4-BE49-F238E27FC236}">
                <a16:creationId xmlns:a16="http://schemas.microsoft.com/office/drawing/2014/main" id="{20A2C0B9-1883-F3FF-E1DC-752F91EC303A}"/>
              </a:ext>
            </a:extLst>
          </p:cNvPr>
          <p:cNvCxnSpPr>
            <a:cxnSpLocks/>
          </p:cNvCxnSpPr>
          <p:nvPr>
            <p:custDataLst>
              <p:tags r:id="rId200"/>
            </p:custDataLst>
          </p:nvPr>
        </p:nvCxnSpPr>
        <p:spPr bwMode="auto">
          <a:xfrm flipH="1">
            <a:off x="4217988" y="5411788"/>
            <a:ext cx="4762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36" name="Text Placeholder 3">
            <a:extLst>
              <a:ext uri="{FF2B5EF4-FFF2-40B4-BE49-F238E27FC236}">
                <a16:creationId xmlns:a16="http://schemas.microsoft.com/office/drawing/2014/main" id="{BD4723EF-B9F8-BE01-6B9B-B7369FFB0132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gray">
          <a:xfrm>
            <a:off x="7426325" y="52498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F606CB6-95B9-4DCB-BF34-EBE4BDE2FBA8}" type="datetime'''3''''''''''''6'''''''''''''''''''''''''''''''''''">
              <a:rPr lang="zh-CN" altLang="en-US" sz="800" smtClean="0">
                <a:latin typeface="+mn-lt"/>
                <a:cs typeface="+mn-cs"/>
              </a:rPr>
              <a:pPr/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3" name="Text Placeholder 3">
            <a:extLst>
              <a:ext uri="{FF2B5EF4-FFF2-40B4-BE49-F238E27FC236}">
                <a16:creationId xmlns:a16="http://schemas.microsoft.com/office/drawing/2014/main" id="{EAFD658F-06C7-F532-5625-5D9375F58080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gray">
          <a:xfrm>
            <a:off x="3000375" y="576580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046A80-D95C-4901-AFF6-89B0D877BCC2}" type="datetime'''''''''''-''''''''''''''1''''''''''''''''''''''''''9'">
              <a:rPr lang="zh-CN" altLang="en-US" sz="800" smtClean="0">
                <a:latin typeface="+mn-lt"/>
                <a:cs typeface="+mn-cs"/>
              </a:rPr>
              <a:pPr/>
              <a:t>-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5" name="Text Placeholder 3">
            <a:extLst>
              <a:ext uri="{FF2B5EF4-FFF2-40B4-BE49-F238E27FC236}">
                <a16:creationId xmlns:a16="http://schemas.microsoft.com/office/drawing/2014/main" id="{F78ED92F-515F-C4BF-58DB-998EDD5BE519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7426325" y="53832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C8A485-6F41-4803-B48F-020CB5C4B61B}" type="datetime'''''''''''''''''0''''''''''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2" name="Text Placeholder 3">
            <a:extLst>
              <a:ext uri="{FF2B5EF4-FFF2-40B4-BE49-F238E27FC236}">
                <a16:creationId xmlns:a16="http://schemas.microsoft.com/office/drawing/2014/main" id="{4BA3AAFE-425B-0FE9-F37C-6372EE6EF387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gray">
          <a:xfrm>
            <a:off x="3000375" y="54991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65A3085-686E-41EE-B6F5-1E2343DD389D}" type="datetime'''''''''''''''''''3''8'''''''''''''''''''''''''''''''''''''">
              <a:rPr lang="zh-CN" altLang="en-US" sz="800" smtClean="0">
                <a:latin typeface="+mn-lt"/>
                <a:cs typeface="+mn-cs"/>
              </a:rPr>
              <a:pPr/>
              <a:t>3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6" name="Text Placeholder 3">
            <a:extLst>
              <a:ext uri="{FF2B5EF4-FFF2-40B4-BE49-F238E27FC236}">
                <a16:creationId xmlns:a16="http://schemas.microsoft.com/office/drawing/2014/main" id="{A0DF08CB-77C3-AF09-DD50-ECBA6C70CD31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8058150" y="55372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5BC7AD-E7B1-4854-9007-8A9E2375AC89}" type="datetime'''''''''''''''-''''''''''''''''''''''''''''''8'">
              <a:rPr lang="zh-CN" altLang="en-US" sz="800" smtClean="0">
                <a:latin typeface="+mn-lt"/>
                <a:cs typeface="+mn-cs"/>
              </a:rPr>
              <a:pPr/>
              <a:t>-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1" name="Text Placeholder 3">
            <a:extLst>
              <a:ext uri="{FF2B5EF4-FFF2-40B4-BE49-F238E27FC236}">
                <a16:creationId xmlns:a16="http://schemas.microsoft.com/office/drawing/2014/main" id="{5B56FCE9-40A0-6DB6-DE94-BB939049C5E6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gray">
          <a:xfrm>
            <a:off x="3000375" y="56324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847FB8A-E112-493C-B6DD-006984C6C384}" type="datetime'''''''''''''''''''''''''''''''''''''''''''''''1''''''''''''5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68" name="Text Placeholder 3">
            <a:extLst>
              <a:ext uri="{FF2B5EF4-FFF2-40B4-BE49-F238E27FC236}">
                <a16:creationId xmlns:a16="http://schemas.microsoft.com/office/drawing/2014/main" id="{D517B235-34AE-0C88-574E-EE674E6E106A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8058150" y="567055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66EA25B-8A1A-40C6-B6E0-490D9CEA629F}" type="datetime'''''''''''''''''''''-''''1''''''''''''''''''''''7'''''''''">
              <a:rPr lang="zh-CN" altLang="en-US" sz="800" smtClean="0">
                <a:latin typeface="+mn-lt"/>
                <a:cs typeface="+mn-cs"/>
              </a:rPr>
              <a:pPr/>
              <a:t>-1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6" name="Text Placeholder 3">
            <a:extLst>
              <a:ext uri="{FF2B5EF4-FFF2-40B4-BE49-F238E27FC236}">
                <a16:creationId xmlns:a16="http://schemas.microsoft.com/office/drawing/2014/main" id="{30D492D9-5BDD-171C-A10A-02BDAD3A9C9A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3632200" y="54784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2156A80-E230-4200-A334-F6748FDEF0C6}" type="datetime'''-''''''''''''''''''''''2''''''1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40" name="Text Placeholder 3">
            <a:extLst>
              <a:ext uri="{FF2B5EF4-FFF2-40B4-BE49-F238E27FC236}">
                <a16:creationId xmlns:a16="http://schemas.microsoft.com/office/drawing/2014/main" id="{5506685F-6CA3-05CA-6610-3EA74C0D2B1B}"/>
              </a:ext>
            </a:extLst>
          </p:cNvPr>
          <p:cNvSpPr>
            <a:spLocks/>
          </p:cNvSpPr>
          <p:nvPr>
            <p:custDataLst>
              <p:tags r:id="rId209"/>
            </p:custDataLst>
          </p:nvPr>
        </p:nvSpPr>
        <p:spPr bwMode="gray">
          <a:xfrm>
            <a:off x="7823200" y="554990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155947-E478-4B0F-9813-023E791DCC65}" type="datetime'''''''''''''''''''''-''''''''''''''''''4''''''''''9'''''''''''">
              <a:rPr lang="zh-CN" altLang="en-US" sz="800" smtClean="0">
                <a:effectLst/>
                <a:latin typeface="+mn-lt"/>
                <a:cs typeface="+mn-cs"/>
              </a:rPr>
              <a:pPr/>
              <a:t>-4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9" name="Text Placeholder 3">
            <a:extLst>
              <a:ext uri="{FF2B5EF4-FFF2-40B4-BE49-F238E27FC236}">
                <a16:creationId xmlns:a16="http://schemas.microsoft.com/office/drawing/2014/main" id="{7B391AF9-8203-6A30-657C-FBFB56AE25F8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gray">
          <a:xfrm>
            <a:off x="8058150" y="52705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AB4FA5-6F46-4B09-93C9-EE1D0A487D12}" type="datetime'4''''''''''''''''''''''''''''''3'''''''''''''''''''''">
              <a:rPr lang="zh-CN" altLang="en-US" sz="800" smtClean="0">
                <a:latin typeface="+mn-lt"/>
                <a:cs typeface="+mn-cs"/>
              </a:rPr>
              <a:pPr/>
              <a:t>4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1" name="Text Placeholder 3">
            <a:extLst>
              <a:ext uri="{FF2B5EF4-FFF2-40B4-BE49-F238E27FC236}">
                <a16:creationId xmlns:a16="http://schemas.microsoft.com/office/drawing/2014/main" id="{08716696-DF0E-ED84-2AFA-2C9F7E84F462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3632200" y="56118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6DEB40-2937-4450-8700-DE035A7D4626}" type="datetime'''''''''-''''''8'''''''''''''''''''''''''''''''''''''''''''">
              <a:rPr lang="zh-CN" altLang="en-US" sz="800" smtClean="0">
                <a:latin typeface="+mn-lt"/>
                <a:cs typeface="+mn-cs"/>
              </a:rPr>
              <a:pPr/>
              <a:t>-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8" name="Text Placeholder 3">
            <a:extLst>
              <a:ext uri="{FF2B5EF4-FFF2-40B4-BE49-F238E27FC236}">
                <a16:creationId xmlns:a16="http://schemas.microsoft.com/office/drawing/2014/main" id="{C4488964-0B6C-771A-98DA-3243D06D7B48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gray">
          <a:xfrm>
            <a:off x="8058150" y="54038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7D897E5-836F-483D-9C80-5B64BC7B5417}" type="datetime'''''''''''''''''''''''''''''4''''''''''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8" name="Text Placeholder 3">
            <a:extLst>
              <a:ext uri="{FF2B5EF4-FFF2-40B4-BE49-F238E27FC236}">
                <a16:creationId xmlns:a16="http://schemas.microsoft.com/office/drawing/2014/main" id="{F7FFD5AC-6408-3AD4-A244-A3C8BA6B9DA4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3397250" y="5478463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0E2B78-D437-4276-82EC-78A5EA8C6531}" type="datetime'''''''''''''''''''''''''''''''''''''''-''39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3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0" name="Text Placeholder 3">
            <a:extLst>
              <a:ext uri="{FF2B5EF4-FFF2-40B4-BE49-F238E27FC236}">
                <a16:creationId xmlns:a16="http://schemas.microsoft.com/office/drawing/2014/main" id="{C6E07732-9031-9168-BFB0-CEF03BD54EC3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gray">
          <a:xfrm>
            <a:off x="8689975" y="52847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2B814B-B484-4019-B311-EEC799BFC3B2}" type="datetime'''''''''''''''''''''''''''''''''''''''''''''''''3''''''0'''">
              <a:rPr lang="zh-CN" altLang="en-US" sz="800" smtClean="0">
                <a:latin typeface="+mn-lt"/>
                <a:cs typeface="+mn-cs"/>
              </a:rPr>
              <a:pPr/>
              <a:t>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7" name="Text Placeholder 3">
            <a:extLst>
              <a:ext uri="{FF2B5EF4-FFF2-40B4-BE49-F238E27FC236}">
                <a16:creationId xmlns:a16="http://schemas.microsoft.com/office/drawing/2014/main" id="{151EFE26-6235-2295-A10E-FF7300A2E6EA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gray">
          <a:xfrm>
            <a:off x="3632200" y="52117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23F062E-8908-4D70-9E04-43215004375A}" type="datetime'''''''''''''''''3''''''''''''''''''''''''''''''''''''''7'">
              <a:rPr lang="zh-CN" altLang="en-US" sz="800" smtClean="0">
                <a:latin typeface="+mn-lt"/>
                <a:cs typeface="+mn-cs"/>
              </a:rPr>
              <a:pPr/>
              <a:t>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2" name="Text Placeholder 3">
            <a:extLst>
              <a:ext uri="{FF2B5EF4-FFF2-40B4-BE49-F238E27FC236}">
                <a16:creationId xmlns:a16="http://schemas.microsoft.com/office/drawing/2014/main" id="{09AB5DCE-0365-9D0D-3880-236DD3DFA061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8689975" y="54181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A3681B-1BF0-4837-B7E7-E00784FAF787}" type="datetime'''''''''''''''''''''''''''''''''''''''''9'''''''''''">
              <a:rPr lang="zh-CN" altLang="en-US" sz="800" smtClean="0"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4" name="Text Placeholder 3">
            <a:extLst>
              <a:ext uri="{FF2B5EF4-FFF2-40B4-BE49-F238E27FC236}">
                <a16:creationId xmlns:a16="http://schemas.microsoft.com/office/drawing/2014/main" id="{BD8D97C7-D102-EA5B-14FE-83D8616F578E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3632200" y="53451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691517B-28ED-47E6-BBFA-1AC14F9DBC44}" type="datetime'''''''''''''''''''''''''''''''''0''''''''''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B0C8AEF4-39AF-183D-83E0-75D4AEF3F2B2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gray">
          <a:xfrm>
            <a:off x="8689975" y="56848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1ECCF5-AFA3-4DED-8D54-8FEB63BEFF79}" type="datetime'''''''-''''''''''''''''''''''2''3'''''">
              <a:rPr lang="zh-CN" altLang="en-US" sz="800" smtClean="0">
                <a:latin typeface="+mn-lt"/>
                <a:cs typeface="+mn-cs"/>
              </a:rPr>
              <a:pPr/>
              <a:t>-2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7" name="Text Placeholder 3">
            <a:extLst>
              <a:ext uri="{FF2B5EF4-FFF2-40B4-BE49-F238E27FC236}">
                <a16:creationId xmlns:a16="http://schemas.microsoft.com/office/drawing/2014/main" id="{EF6689EC-B591-6AF1-C4EC-3227A6F667A9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4265613" y="54784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0B7F25F-8DD0-4E8E-8C5A-0A5EEE522937}" type="datetime'''''''''''''''''''''''''-''''''''''''''''30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406C4F68-E406-2910-B1EB-71C7C57EF1DD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gray">
          <a:xfrm>
            <a:off x="8470900" y="5491163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A9D261-B276-4998-A01E-417EC9086904}" type="datetime'''''''''3''''''''''''''''''''''''''0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3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83" name="Text Placeholder 3">
            <a:extLst>
              <a:ext uri="{FF2B5EF4-FFF2-40B4-BE49-F238E27FC236}">
                <a16:creationId xmlns:a16="http://schemas.microsoft.com/office/drawing/2014/main" id="{125A8E3A-1E53-7643-7C89-103156266D85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8689975" y="55514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C8FBB7-CB9F-4414-982D-1EA3AA1C03F7}" type="datetime'''''''''''''''''''''''''''3'''''''''">
              <a:rPr lang="zh-CN" altLang="en-US" sz="800" smtClean="0">
                <a:latin typeface="+mn-lt"/>
                <a:cs typeface="+mn-cs"/>
              </a:rPr>
              <a:pPr/>
              <a:t>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8" name="Text Placeholder 3">
            <a:extLst>
              <a:ext uri="{FF2B5EF4-FFF2-40B4-BE49-F238E27FC236}">
                <a16:creationId xmlns:a16="http://schemas.microsoft.com/office/drawing/2014/main" id="{8365F0EE-90DC-3C07-287A-94B206AADA28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gray">
          <a:xfrm>
            <a:off x="4265613" y="56118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B166033-9556-400E-8BAB-E9EEB8C37F54}" type="datetime'''''''''-''''''''''''''''''''''''1''4'''''''''">
              <a:rPr lang="zh-CN" altLang="en-US" sz="800" smtClean="0"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4" name="Text Placeholder 3">
            <a:extLst>
              <a:ext uri="{FF2B5EF4-FFF2-40B4-BE49-F238E27FC236}">
                <a16:creationId xmlns:a16="http://schemas.microsoft.com/office/drawing/2014/main" id="{C78E0AD3-36D9-095B-2798-4F5FE0BC4885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9201150" y="4933950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331E9C-2F94-433E-8E3B-1D5E470765CD}" type="datetime'''''''4''''''''''''''''''''''''''''''''''''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5" name="Text Placeholder 3">
            <a:extLst>
              <a:ext uri="{FF2B5EF4-FFF2-40B4-BE49-F238E27FC236}">
                <a16:creationId xmlns:a16="http://schemas.microsoft.com/office/drawing/2014/main" id="{0CCFA2B6-0C72-5E6F-55EA-74947500111E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9066213" y="4941888"/>
            <a:ext cx="85725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11743-DF07-46E0-B139-B812C348F88E}" type="datetime'''''''''''''8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78057A8B-CABE-ABE5-3079-1741B1A8B335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9059863" y="5808663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C8436C-4ED6-4267-A53C-EF5E4332ABE0}" type="datetime'''-''''''''3''''''''''''''''''''''''4''''''''''4'''''''''">
              <a:rPr lang="zh-CN" altLang="en-US" sz="800" smtClean="0">
                <a:latin typeface="+mn-lt"/>
                <a:cs typeface="+mn-cs"/>
              </a:rPr>
              <a:pPr/>
              <a:t>-3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2" name="Text Placeholder 3">
            <a:extLst>
              <a:ext uri="{FF2B5EF4-FFF2-40B4-BE49-F238E27FC236}">
                <a16:creationId xmlns:a16="http://schemas.microsoft.com/office/drawing/2014/main" id="{A9B3259F-B65B-1C87-8132-D8E45EDDAC6A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gray">
          <a:xfrm>
            <a:off x="4030663" y="554990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B8C37B-EC44-4B3D-891E-EAA460898869}" type="datetime'''''''''-''''4''''''''''''''''''2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4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BDB35F6-6B9A-BF4E-E283-0B21641E0117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gray">
          <a:xfrm>
            <a:off x="9104313" y="5527675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C64F79-0E9E-47BE-966D-423B876983B7}" type="datetime'''''''3''''''''3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1" name="Text Placeholder 3">
            <a:extLst>
              <a:ext uri="{FF2B5EF4-FFF2-40B4-BE49-F238E27FC236}">
                <a16:creationId xmlns:a16="http://schemas.microsoft.com/office/drawing/2014/main" id="{699F3721-4FDE-B4E5-B0C4-A7324B1A6704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gray">
          <a:xfrm>
            <a:off x="4046538" y="5416550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F48C81C-6BFE-4FF8-87B1-DE442ACD44AE}" type="datetime'''''4''''''''''''''''''''''''2''''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0" name="Text Placeholder 3">
            <a:extLst>
              <a:ext uri="{FF2B5EF4-FFF2-40B4-BE49-F238E27FC236}">
                <a16:creationId xmlns:a16="http://schemas.microsoft.com/office/drawing/2014/main" id="{C0C96CC1-849D-C47F-3011-B0A9D1D4E46A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4265613" y="53451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AA800-6CFD-4160-9030-5B3F515EC071}" type="datetime'''''''''''''''''''2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9" name="Text Placeholder 3">
            <a:extLst>
              <a:ext uri="{FF2B5EF4-FFF2-40B4-BE49-F238E27FC236}">
                <a16:creationId xmlns:a16="http://schemas.microsoft.com/office/drawing/2014/main" id="{8FADCA6A-0D3C-3458-0D6D-4974113153D6}"/>
              </a:ext>
            </a:extLst>
          </p:cNvPr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4897438" y="52784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AF1D3D6-6794-4627-A999-27229F2191C3}" type="datetime'''''''''''''''9'''''''''''''''''''''''''''''''''''''''''''''''">
              <a:rPr lang="zh-CN" altLang="en-US" sz="800" smtClean="0"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5" name="Text Placeholder 3">
            <a:extLst>
              <a:ext uri="{FF2B5EF4-FFF2-40B4-BE49-F238E27FC236}">
                <a16:creationId xmlns:a16="http://schemas.microsoft.com/office/drawing/2014/main" id="{E7F286C7-2CCE-DF57-5848-56017BDA4A58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4897438" y="54117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8BC86DE-84D5-40E5-8AA8-97105CB7035A}" type="datetime'''''''''''''''''''''''''''''''''1''''''''''''''''''''''7'''''">
              <a:rPr lang="zh-CN" altLang="en-US" sz="800" smtClean="0">
                <a:latin typeface="+mn-lt"/>
                <a:cs typeface="+mn-cs"/>
              </a:rPr>
              <a:pPr/>
              <a:t>1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5" name="Text Placeholder 3">
            <a:extLst>
              <a:ext uri="{FF2B5EF4-FFF2-40B4-BE49-F238E27FC236}">
                <a16:creationId xmlns:a16="http://schemas.microsoft.com/office/drawing/2014/main" id="{3485C98C-7F6A-4103-CB05-09FDBE33F85D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4897438" y="56784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81E5BA-4B79-42F5-8E47-DEA69693702F}" type="datetime'''''-2''''''''''''5'''''''''''''''''''''''''''''''''''''">
              <a:rPr lang="zh-CN" altLang="en-US" sz="800" smtClean="0">
                <a:latin typeface="+mn-lt"/>
                <a:cs typeface="+mn-cs"/>
              </a:rPr>
              <a:pPr/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4" name="Text Placeholder 3">
            <a:extLst>
              <a:ext uri="{FF2B5EF4-FFF2-40B4-BE49-F238E27FC236}">
                <a16:creationId xmlns:a16="http://schemas.microsoft.com/office/drawing/2014/main" id="{90545DD3-659F-D754-8837-27C997A85952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gray">
          <a:xfrm>
            <a:off x="4678363" y="5481638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AB4106-E2FB-4203-9623-2331511C8E9E}" type="datetime'''''''''''''''''''''''''''''''''''''''''''''3''7'''''''''">
              <a:rPr lang="zh-CN" altLang="en-US" sz="800" smtClean="0">
                <a:effectLst/>
                <a:latin typeface="+mn-lt"/>
                <a:cs typeface="+mn-cs"/>
              </a:rPr>
              <a:pPr/>
              <a:t>3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3" name="Text Placeholder 3">
            <a:extLst>
              <a:ext uri="{FF2B5EF4-FFF2-40B4-BE49-F238E27FC236}">
                <a16:creationId xmlns:a16="http://schemas.microsoft.com/office/drawing/2014/main" id="{95028E2A-B9BC-DEC6-9A2E-050FDA19E099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gray">
          <a:xfrm>
            <a:off x="4897438" y="55451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39FFABB-D687-4D7F-8135-683A5401B4CF}" type="datetime'''''''''''''''3'''''''''''''''''''''''''''">
              <a:rPr lang="zh-CN" altLang="en-US" sz="800" smtClean="0">
                <a:latin typeface="+mn-lt"/>
                <a:cs typeface="+mn-cs"/>
              </a:rPr>
              <a:pPr/>
              <a:t>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6" name="Text Placeholder 3">
            <a:extLst>
              <a:ext uri="{FF2B5EF4-FFF2-40B4-BE49-F238E27FC236}">
                <a16:creationId xmlns:a16="http://schemas.microsoft.com/office/drawing/2014/main" id="{956B8C20-51FE-937D-8B3F-ED50A9704246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gray">
          <a:xfrm>
            <a:off x="5529263" y="52498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B281AB-B41A-4E60-B4BD-23E36F259A5B}" type="datetime'''''''''''''''''''1''''''''''''''4'''''''''''''''''''''">
              <a:rPr lang="zh-CN" altLang="en-US" sz="800" smtClean="0">
                <a:latin typeface="+mn-lt"/>
                <a:cs typeface="+mn-cs"/>
              </a:rPr>
              <a:pPr/>
              <a:t>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7" name="Text Placeholder 3">
            <a:extLst>
              <a:ext uri="{FF2B5EF4-FFF2-40B4-BE49-F238E27FC236}">
                <a16:creationId xmlns:a16="http://schemas.microsoft.com/office/drawing/2014/main" id="{3505B40A-A35F-45C7-8F2D-FD3AF84F0164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gray">
          <a:xfrm>
            <a:off x="5529263" y="55165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8736FC-9678-4431-8E80-B33028A6AD61}" type="datetime'''''''''''''''''''''''''''''''''''''''''''''''-''''''''2'">
              <a:rPr lang="zh-CN" altLang="en-US" sz="800" smtClean="0">
                <a:latin typeface="+mn-lt"/>
                <a:cs typeface="+mn-cs"/>
              </a:rPr>
              <a:pPr/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8" name="Text Placeholder 3">
            <a:extLst>
              <a:ext uri="{FF2B5EF4-FFF2-40B4-BE49-F238E27FC236}">
                <a16:creationId xmlns:a16="http://schemas.microsoft.com/office/drawing/2014/main" id="{ADE6BD44-08A7-C077-246D-6A1B8E33A367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5294313" y="5481638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5B61AD-8527-402F-A365-E8B6B4D377A8}" type="datetime'''''''''''''''''-3''6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7" name="Text Placeholder 3">
            <a:extLst>
              <a:ext uri="{FF2B5EF4-FFF2-40B4-BE49-F238E27FC236}">
                <a16:creationId xmlns:a16="http://schemas.microsoft.com/office/drawing/2014/main" id="{4D8A25B8-F747-13B9-00B1-74E9ECE446A3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gray">
          <a:xfrm>
            <a:off x="5529263" y="53832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22CDD94-15E6-42A1-8C2D-10E5FB0D81BB}" type="datetime'''''3''''''''''''6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6" name="Text Placeholder 3">
            <a:extLst>
              <a:ext uri="{FF2B5EF4-FFF2-40B4-BE49-F238E27FC236}">
                <a16:creationId xmlns:a16="http://schemas.microsoft.com/office/drawing/2014/main" id="{40A97F92-77F9-D634-083D-B75C1A67E2A8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gray">
          <a:xfrm>
            <a:off x="5529263" y="56499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A2B3AB6-A763-4872-955E-F1C5F7FC94BD}" type="datetime'''''''''''''''''''0''''''''''''''''''''''''''''''''''''''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2" name="Text Placeholder 3">
            <a:extLst>
              <a:ext uri="{FF2B5EF4-FFF2-40B4-BE49-F238E27FC236}">
                <a16:creationId xmlns:a16="http://schemas.microsoft.com/office/drawing/2014/main" id="{1018C9FC-2E0F-03E8-DD80-2216768A8CC7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gray">
          <a:xfrm>
            <a:off x="2781300" y="52847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488E6D-5C79-4597-AE66-20D43C5C961D}" type="datetime'''''''''''''''''''''''''''9''''''''''7'''''''''''''''''''''">
              <a:rPr lang="zh-CN" altLang="en-US" sz="800" smtClean="0">
                <a:latin typeface="+mn-lt"/>
                <a:cs typeface="+mn-cs"/>
              </a:rPr>
              <a:pPr/>
              <a:t>9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1" name="Text Placeholder 3">
            <a:extLst>
              <a:ext uri="{FF2B5EF4-FFF2-40B4-BE49-F238E27FC236}">
                <a16:creationId xmlns:a16="http://schemas.microsoft.com/office/drawing/2014/main" id="{85F6D3EE-7D32-B4F2-506D-26DA59EA740A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gray">
          <a:xfrm>
            <a:off x="5926138" y="553085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77C8F6-63B6-4C05-BF10-C4EA87F40ECA}" type="datetime'-''''''''4''''''''4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9" name="Text Placeholder 3">
            <a:extLst>
              <a:ext uri="{FF2B5EF4-FFF2-40B4-BE49-F238E27FC236}">
                <a16:creationId xmlns:a16="http://schemas.microsoft.com/office/drawing/2014/main" id="{5C1A9586-BBAB-1982-558D-BDE434FF3DE0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gray">
          <a:xfrm>
            <a:off x="6161088" y="55070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8C8EEF8-E1E4-4EBF-8C7C-BBCA721C460E}" type="datetime'''''''''''''''''-''''''''''''''''''18'''''''''''''''''''">
              <a:rPr lang="zh-CN" altLang="en-US" sz="800" smtClean="0">
                <a:latin typeface="+mn-lt"/>
                <a:cs typeface="+mn-cs"/>
              </a:rPr>
              <a:pPr/>
              <a:t>-1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1" name="Text Placeholder 3">
            <a:extLst>
              <a:ext uri="{FF2B5EF4-FFF2-40B4-BE49-F238E27FC236}">
                <a16:creationId xmlns:a16="http://schemas.microsoft.com/office/drawing/2014/main" id="{DDB59E46-B3D0-DBF1-3D2D-D4343AC8894F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gray">
          <a:xfrm>
            <a:off x="6161088" y="56403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78C6B4-26DC-4DAD-9165-61586544891E}" type="datetime'''''-''''''''''2''''''''5'''''''''''''''''''''''''">
              <a:rPr lang="zh-CN" altLang="en-US" sz="800" smtClean="0">
                <a:latin typeface="+mn-lt"/>
                <a:cs typeface="+mn-cs"/>
              </a:rPr>
              <a:pPr/>
              <a:t>-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0" name="Text Placeholder 3">
            <a:extLst>
              <a:ext uri="{FF2B5EF4-FFF2-40B4-BE49-F238E27FC236}">
                <a16:creationId xmlns:a16="http://schemas.microsoft.com/office/drawing/2014/main" id="{F2909F36-E45F-A4F3-D879-823A37455F98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gray">
          <a:xfrm>
            <a:off x="6161088" y="52403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08A0CB-4589-4F03-88D2-38E0EA5A3044}" type="datetime'''''''''''''''''''''''''''''''''3''''''''''8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9" name="Text Placeholder 3">
            <a:extLst>
              <a:ext uri="{FF2B5EF4-FFF2-40B4-BE49-F238E27FC236}">
                <a16:creationId xmlns:a16="http://schemas.microsoft.com/office/drawing/2014/main" id="{2BA62A35-183B-B661-2347-DD78A0764786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gray">
          <a:xfrm>
            <a:off x="6161088" y="53736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72989B0-B739-4042-903F-D42181A3A463}" type="datetime'''''''''''''''''3'''''''''''''''''''''''''''''">
              <a:rPr lang="zh-CN" altLang="en-US" sz="800" smtClean="0">
                <a:latin typeface="+mn-lt"/>
                <a:cs typeface="+mn-cs"/>
              </a:rPr>
              <a:pPr/>
              <a:t>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2" name="Text Placeholder 3">
            <a:extLst>
              <a:ext uri="{FF2B5EF4-FFF2-40B4-BE49-F238E27FC236}">
                <a16:creationId xmlns:a16="http://schemas.microsoft.com/office/drawing/2014/main" id="{C37B7ED7-4EBB-6773-ED9A-6A67640B094A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gray">
          <a:xfrm>
            <a:off x="6794500" y="52720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544828-A855-421F-BD8F-BBDCF06E33A7}" type="datetime'''''''''''''''''''''''''''''''''''''''''''''8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3" name="Text Placeholder 3">
            <a:extLst>
              <a:ext uri="{FF2B5EF4-FFF2-40B4-BE49-F238E27FC236}">
                <a16:creationId xmlns:a16="http://schemas.microsoft.com/office/drawing/2014/main" id="{E0E6EB9C-DE28-14B6-3D4A-624AC9CC823B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gray">
          <a:xfrm>
            <a:off x="6794500" y="54054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65F76B-6910-440B-8773-F3E310C0291E}" type="datetime'''''''''''''''''''''''1''''''''''''''4'''''''''''''''">
              <a:rPr lang="zh-CN" altLang="en-US" sz="800" smtClean="0">
                <a:latin typeface="+mn-lt"/>
                <a:cs typeface="+mn-cs"/>
              </a:rPr>
              <a:pPr/>
              <a:t>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4" name="Text Placeholder 3">
            <a:extLst>
              <a:ext uri="{FF2B5EF4-FFF2-40B4-BE49-F238E27FC236}">
                <a16:creationId xmlns:a16="http://schemas.microsoft.com/office/drawing/2014/main" id="{AC51F0AD-1BDA-29CF-4190-73CECF6F9CA3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gray">
          <a:xfrm>
            <a:off x="6794500" y="56721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F899BFE-2FC5-4CB0-817A-8FEFFE8816EC}" type="datetime'''''''''''-''''''2''9'''''''''''''''''''''''''''''''''''''''">
              <a:rPr lang="zh-CN" altLang="en-US" sz="800" smtClean="0">
                <a:latin typeface="+mn-lt"/>
                <a:cs typeface="+mn-cs"/>
              </a:rPr>
              <a:pPr/>
              <a:t>-2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3" name="Text Placeholder 3">
            <a:extLst>
              <a:ext uri="{FF2B5EF4-FFF2-40B4-BE49-F238E27FC236}">
                <a16:creationId xmlns:a16="http://schemas.microsoft.com/office/drawing/2014/main" id="{DF51D229-C6DB-4285-4680-002C8CD3AEEE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gray">
          <a:xfrm>
            <a:off x="6575425" y="5473700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1949D3-E4F0-4903-81A8-9446C3E9118D}" type="datetime'''''''3''''''''4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3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2" name="Text Placeholder 3">
            <a:extLst>
              <a:ext uri="{FF2B5EF4-FFF2-40B4-BE49-F238E27FC236}">
                <a16:creationId xmlns:a16="http://schemas.microsoft.com/office/drawing/2014/main" id="{870F128C-4204-436C-15CB-2F061BDDC964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gray">
          <a:xfrm>
            <a:off x="6794500" y="55387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4537721-CAC5-409D-8180-EE8BBF02CD2A}" type="datetime'''''''2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4" name="Text Placeholder 3">
            <a:extLst>
              <a:ext uri="{FF2B5EF4-FFF2-40B4-BE49-F238E27FC236}">
                <a16:creationId xmlns:a16="http://schemas.microsoft.com/office/drawing/2014/main" id="{8077CC67-114E-440D-72A2-735F5CE7AAD4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gray">
          <a:xfrm>
            <a:off x="7426325" y="55165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1DD45A-45C3-466E-A218-6814175632EF}" type="datetime'''''''''''''''''''''''0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1" name="Text Placeholder 3">
            <a:extLst>
              <a:ext uri="{FF2B5EF4-FFF2-40B4-BE49-F238E27FC236}">
                <a16:creationId xmlns:a16="http://schemas.microsoft.com/office/drawing/2014/main" id="{88E6662D-0776-7053-4A00-AC49E629CB98}"/>
              </a:ext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gray">
          <a:xfrm>
            <a:off x="3000375" y="53149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5417DE3-9CA7-494E-861A-6D931E5B3432}" type="datetime'''''''''''''2''''''''''''''''''''''''0'''''''''''''''''''''''">
              <a:rPr lang="zh-CN" altLang="en-US" sz="800" smtClean="0">
                <a:latin typeface="+mn-lt"/>
                <a:cs typeface="+mn-cs"/>
              </a:rPr>
              <a:pPr/>
              <a:t>2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0" name="Text Placeholder 3">
            <a:extLst>
              <a:ext uri="{FF2B5EF4-FFF2-40B4-BE49-F238E27FC236}">
                <a16:creationId xmlns:a16="http://schemas.microsoft.com/office/drawing/2014/main" id="{A0D250D8-7915-2211-F695-A7C95122C779}"/>
              </a:ext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gray">
          <a:xfrm>
            <a:off x="7426325" y="56499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09F5EED-7A11-4952-B83D-42765AB6834C}" type="datetime'''''''''''''''''''''''-''''1''''''''''''1'''''">
              <a:rPr lang="zh-CN" altLang="en-US" sz="800" smtClean="0">
                <a:latin typeface="+mn-lt"/>
                <a:cs typeface="+mn-cs"/>
              </a:rPr>
              <a:pPr/>
              <a:t>-1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3" name="Text Placeholder 3">
            <a:extLst>
              <a:ext uri="{FF2B5EF4-FFF2-40B4-BE49-F238E27FC236}">
                <a16:creationId xmlns:a16="http://schemas.microsoft.com/office/drawing/2014/main" id="{05407D80-E416-6E11-84C7-DD78FC13A95D}"/>
              </a:ext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gray">
          <a:xfrm>
            <a:off x="2781300" y="5440363"/>
            <a:ext cx="142875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3ECB02-CCA6-4585-B675-A51C57A01045}" type="datetime'4''''''''''''''''''''''4'''''''''''">
              <a:rPr lang="zh-CN" altLang="en-US" sz="800" smtClean="0">
                <a:effectLst/>
                <a:latin typeface="+mn-lt"/>
                <a:cs typeface="+mn-cs"/>
              </a:rPr>
              <a:pPr/>
              <a:t>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7" name="Text Placeholder 3">
            <a:extLst>
              <a:ext uri="{FF2B5EF4-FFF2-40B4-BE49-F238E27FC236}">
                <a16:creationId xmlns:a16="http://schemas.microsoft.com/office/drawing/2014/main" id="{92E78387-A1A9-4B85-85D5-C376AF73F395}"/>
              </a:ext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gray">
          <a:xfrm>
            <a:off x="7191375" y="5503863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BB6009-8A68-4153-AE29-AD231D99C3A4}" type="datetime'''-''''''''''''''''''''''3''''''''''6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702CA7B5-A535-FAC0-8440-4BC4CF141BB7}"/>
              </a:ext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gray">
          <a:xfrm>
            <a:off x="9075738" y="5226050"/>
            <a:ext cx="2000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7B93C6-DC3B-4F0F-A7AF-E05B4968E6AB}" type="datetime'''''''3''''''''''''''7''''1''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37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7" name="矩形 1896">
            <a:extLst>
              <a:ext uri="{FF2B5EF4-FFF2-40B4-BE49-F238E27FC236}">
                <a16:creationId xmlns:a16="http://schemas.microsoft.com/office/drawing/2014/main" id="{7E61645E-D4DE-1737-7C85-F151A4F78B3A}"/>
              </a:ext>
            </a:extLst>
          </p:cNvPr>
          <p:cNvSpPr/>
          <p:nvPr>
            <p:custDataLst>
              <p:tags r:id="rId257"/>
            </p:custDataLst>
          </p:nvPr>
        </p:nvSpPr>
        <p:spPr bwMode="auto">
          <a:xfrm>
            <a:off x="554038" y="4881563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8" name="矩形 1897">
            <a:extLst>
              <a:ext uri="{FF2B5EF4-FFF2-40B4-BE49-F238E27FC236}">
                <a16:creationId xmlns:a16="http://schemas.microsoft.com/office/drawing/2014/main" id="{50793C40-3217-B638-6CF8-06766F96E06F}"/>
              </a:ext>
            </a:extLst>
          </p:cNvPr>
          <p:cNvSpPr/>
          <p:nvPr>
            <p:custDataLst>
              <p:tags r:id="rId258"/>
            </p:custDataLst>
          </p:nvPr>
        </p:nvSpPr>
        <p:spPr bwMode="auto">
          <a:xfrm>
            <a:off x="554038" y="5133975"/>
            <a:ext cx="214313" cy="160338"/>
          </a:xfrm>
          <a:prstGeom prst="rect">
            <a:avLst/>
          </a:prstGeom>
          <a:solidFill>
            <a:srgbClr val="D9EEF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0" name="矩形 1979">
            <a:extLst>
              <a:ext uri="{FF2B5EF4-FFF2-40B4-BE49-F238E27FC236}">
                <a16:creationId xmlns:a16="http://schemas.microsoft.com/office/drawing/2014/main" id="{774D4541-7094-3614-1ACD-51F27C222F81}"/>
              </a:ext>
            </a:extLst>
          </p:cNvPr>
          <p:cNvSpPr/>
          <p:nvPr>
            <p:custDataLst>
              <p:tags r:id="rId259"/>
            </p:custDataLst>
          </p:nvPr>
        </p:nvSpPr>
        <p:spPr bwMode="auto">
          <a:xfrm>
            <a:off x="554038" y="5386388"/>
            <a:ext cx="214313" cy="160338"/>
          </a:xfrm>
          <a:prstGeom prst="rect">
            <a:avLst/>
          </a:prstGeom>
          <a:solidFill>
            <a:srgbClr val="EBD0DA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1" name="矩形 1980">
            <a:extLst>
              <a:ext uri="{FF2B5EF4-FFF2-40B4-BE49-F238E27FC236}">
                <a16:creationId xmlns:a16="http://schemas.microsoft.com/office/drawing/2014/main" id="{3682E853-CF7F-8E6C-CDC0-01FE31016B72}"/>
              </a:ext>
            </a:extLst>
          </p:cNvPr>
          <p:cNvSpPr/>
          <p:nvPr>
            <p:custDataLst>
              <p:tags r:id="rId260"/>
            </p:custDataLst>
          </p:nvPr>
        </p:nvSpPr>
        <p:spPr bwMode="auto">
          <a:xfrm>
            <a:off x="554038" y="5638800"/>
            <a:ext cx="214313" cy="160338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2" name="矩形 1981">
            <a:extLst>
              <a:ext uri="{FF2B5EF4-FFF2-40B4-BE49-F238E27FC236}">
                <a16:creationId xmlns:a16="http://schemas.microsoft.com/office/drawing/2014/main" id="{3D7A7767-D695-A3C3-A43D-F11BD7B18C6C}"/>
              </a:ext>
            </a:extLst>
          </p:cNvPr>
          <p:cNvSpPr/>
          <p:nvPr>
            <p:custDataLst>
              <p:tags r:id="rId261"/>
            </p:custDataLst>
          </p:nvPr>
        </p:nvSpPr>
        <p:spPr bwMode="auto">
          <a:xfrm>
            <a:off x="554038" y="5891213"/>
            <a:ext cx="214313" cy="160338"/>
          </a:xfrm>
          <a:prstGeom prst="rect">
            <a:avLst/>
          </a:prstGeom>
          <a:pattFill prst="pct75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9" name="Text Placeholder 3">
            <a:extLst>
              <a:ext uri="{FF2B5EF4-FFF2-40B4-BE49-F238E27FC236}">
                <a16:creationId xmlns:a16="http://schemas.microsoft.com/office/drawing/2014/main" id="{35F861E0-E670-1833-A66F-B9FC34A0216A}"/>
              </a:ext>
            </a:extLst>
          </p:cNvPr>
          <p:cNvSpPr>
            <a:spLocks/>
          </p:cNvSpPr>
          <p:nvPr>
            <p:custDataLst>
              <p:tags r:id="rId262"/>
            </p:custDataLst>
          </p:nvPr>
        </p:nvSpPr>
        <p:spPr bwMode="auto">
          <a:xfrm>
            <a:off x="819150" y="4862513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CF7E6A-35D0-4E7F-9FA7-C6F840960A9B}" type="datetime'''''''一''''''''''''级''''''''''''''''''''''''''''商'''">
              <a:rPr lang="zh-CN" altLang="en-US" smtClean="0">
                <a:latin typeface="+mn-lt"/>
                <a:cs typeface="+mn-cs"/>
              </a:rPr>
              <a:pPr/>
              <a:t>一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0" name="Text Placeholder 3">
            <a:extLst>
              <a:ext uri="{FF2B5EF4-FFF2-40B4-BE49-F238E27FC236}">
                <a16:creationId xmlns:a16="http://schemas.microsoft.com/office/drawing/2014/main" id="{66A09093-1895-D3C6-4933-8D3795C3DE61}"/>
              </a:ext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819150" y="5114925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918C20-BC5D-4908-BA8F-CC18152B3AEB}" type="datetime'二''''''''级''''''''商'''''''''''''''''''''''''''''''''''''''">
              <a:rPr lang="zh-CN" altLang="en-US" smtClean="0">
                <a:latin typeface="+mn-lt"/>
                <a:cs typeface="+mn-cs"/>
              </a:rPr>
              <a:pPr/>
              <a:t>二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5" name="Text Placeholder 3">
            <a:extLst>
              <a:ext uri="{FF2B5EF4-FFF2-40B4-BE49-F238E27FC236}">
                <a16:creationId xmlns:a16="http://schemas.microsoft.com/office/drawing/2014/main" id="{4156B008-6D61-B92C-2524-4B32E6E7E8B7}"/>
              </a:ext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819150" y="5367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C9B028-1B29-4058-8979-E53EDD95E36C}" type="datetime'''''''''零''''''售总仓库存''''变''''''''''''''''''''化'''''''''">
              <a:rPr lang="zh-CN" altLang="en-US" smtClean="0">
                <a:latin typeface="+mn-lt"/>
                <a:cs typeface="+mn-cs"/>
              </a:rPr>
              <a:pPr/>
              <a:t>零售总仓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6" name="Text Placeholder 3">
            <a:extLst>
              <a:ext uri="{FF2B5EF4-FFF2-40B4-BE49-F238E27FC236}">
                <a16:creationId xmlns:a16="http://schemas.microsoft.com/office/drawing/2014/main" id="{0E609E70-D654-E093-CABC-E441DF9087D7}"/>
              </a:ext>
            </a:extLst>
          </p:cNvPr>
          <p:cNvSpPr>
            <a:spLocks/>
          </p:cNvSpPr>
          <p:nvPr>
            <p:custDataLst>
              <p:tags r:id="rId265"/>
            </p:custDataLst>
          </p:nvPr>
        </p:nvSpPr>
        <p:spPr bwMode="auto">
          <a:xfrm>
            <a:off x="819150" y="561975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B5DAE8-7EE8-4F40-9731-326E4D38AF30}" type="datetime'''辖''''''区''''外''总''''''''''''''''店购''''''''''进'">
              <a:rPr lang="zh-CN" altLang="en-US" smtClean="0">
                <a:latin typeface="+mn-lt"/>
                <a:cs typeface="+mn-cs"/>
              </a:rPr>
              <a:pPr/>
              <a:t>辖区外总店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7" name="Text Placeholder 3">
            <a:extLst>
              <a:ext uri="{FF2B5EF4-FFF2-40B4-BE49-F238E27FC236}">
                <a16:creationId xmlns:a16="http://schemas.microsoft.com/office/drawing/2014/main" id="{48297C37-4A2A-B186-8641-4658A474097B}"/>
              </a:ext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819150" y="58721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EDFE12-0CCB-4F44-9292-1DAB8E1F45FD}" type="datetime'不可''''''追''''''''''''''''''''''踪''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62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345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50" imgW="426" imgH="426" progId="TCLayout.ActiveDocument.1">
                  <p:embed/>
                </p:oleObj>
              </mc:Choice>
              <mc:Fallback>
                <p:oleObj name="think-cell 幻灯片" r:id="rId250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973416" cy="4800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西乐葆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多</a:t>
            </a:r>
            <a:r>
              <a:rPr lang="en-US" altLang="zh-CN" sz="2000" dirty="0"/>
              <a:t>3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18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88M</a:t>
            </a:r>
            <a:r>
              <a:rPr lang="zh-CN" altLang="en-US" sz="2000" dirty="0"/>
              <a:t>转化为渠道库存的减少，</a:t>
            </a:r>
            <a:r>
              <a:rPr lang="en-US" altLang="zh-CN" sz="2000" dirty="0"/>
              <a:t>106M</a:t>
            </a:r>
            <a:r>
              <a:rPr lang="zh-CN" altLang="en-US" sz="2000" dirty="0"/>
              <a:t>流向经销商和辖区外零售总仓不可追踪部分</a:t>
            </a: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7404C743-8614-C318-7925-9AA0F052DF3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781800" y="42021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987675" y="40640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3" name="直接连接符 1592">
            <a:extLst>
              <a:ext uri="{FF2B5EF4-FFF2-40B4-BE49-F238E27FC236}">
                <a16:creationId xmlns:a16="http://schemas.microsoft.com/office/drawing/2014/main" id="{6BDEA4E6-357A-2358-2347-22267E74416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884738" y="41751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42D15B7-5521-12CB-D591-CE08548AB2A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516563" y="416877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0" name="直接连接符 1599">
            <a:extLst>
              <a:ext uri="{FF2B5EF4-FFF2-40B4-BE49-F238E27FC236}">
                <a16:creationId xmlns:a16="http://schemas.microsoft.com/office/drawing/2014/main" id="{04D1FAC4-6359-D7AF-AB55-F04359BE2FF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148388" y="421322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CDE96436-D6F8-EA3B-0FB1-E87640B0B6D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413625" y="42052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3AB8B903-A16B-BA8C-3D32-0D85BAB2F5B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677275" y="416560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4" name="直接连接符 1903">
            <a:extLst>
              <a:ext uri="{FF2B5EF4-FFF2-40B4-BE49-F238E27FC236}">
                <a16:creationId xmlns:a16="http://schemas.microsoft.com/office/drawing/2014/main" id="{687D5229-0DEC-F55F-58EC-6890FEC67FB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619499" y="414178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8" name="直接连接符 1907">
            <a:extLst>
              <a:ext uri="{FF2B5EF4-FFF2-40B4-BE49-F238E27FC236}">
                <a16:creationId xmlns:a16="http://schemas.microsoft.com/office/drawing/2014/main" id="{805A13A4-27F7-A418-4F60-374509C0C6E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252912" y="42306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9" name="直接连接符 1908">
            <a:extLst>
              <a:ext uri="{FF2B5EF4-FFF2-40B4-BE49-F238E27FC236}">
                <a16:creationId xmlns:a16="http://schemas.microsoft.com/office/drawing/2014/main" id="{8271C573-6806-3FDB-7367-E1FD2FBC288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659438" y="4168775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0" name="直接连接符 1909">
            <a:extLst>
              <a:ext uri="{FF2B5EF4-FFF2-40B4-BE49-F238E27FC236}">
                <a16:creationId xmlns:a16="http://schemas.microsoft.com/office/drawing/2014/main" id="{BAA735F8-1075-02D4-3F55-C99438C04F0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57925" y="4213225"/>
            <a:ext cx="254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1" name="直接连接符 1940">
            <a:extLst>
              <a:ext uri="{FF2B5EF4-FFF2-40B4-BE49-F238E27FC236}">
                <a16:creationId xmlns:a16="http://schemas.microsoft.com/office/drawing/2014/main" id="{C239C4FC-DBFF-B608-4E98-9E4E9545577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045450" y="41148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7" name="直接连接符 1956">
            <a:extLst>
              <a:ext uri="{FF2B5EF4-FFF2-40B4-BE49-F238E27FC236}">
                <a16:creationId xmlns:a16="http://schemas.microsoft.com/office/drawing/2014/main" id="{80114232-45F0-E7D3-E662-CBC1009B391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924675" y="4202113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59" name="Chart 3">
            <a:extLst>
              <a:ext uri="{FF2B5EF4-FFF2-40B4-BE49-F238E27FC236}">
                <a16:creationId xmlns:a16="http://schemas.microsoft.com/office/drawing/2014/main" id="{E9BB0954-0593-7F51-3478-560A77AD8EF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24583116"/>
              </p:ext>
            </p:extLst>
          </p:nvPr>
        </p:nvGraphicFramePr>
        <p:xfrm>
          <a:off x="2454275" y="3524250"/>
          <a:ext cx="7119938" cy="130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2"/>
          </a:graphicData>
        </a:graphic>
      </p:graphicFrame>
      <p:sp>
        <p:nvSpPr>
          <p:cNvPr id="1951" name="矩形 1950">
            <a:extLst>
              <a:ext uri="{FF2B5EF4-FFF2-40B4-BE49-F238E27FC236}">
                <a16:creationId xmlns:a16="http://schemas.microsoft.com/office/drawing/2014/main" id="{6280A715-C397-A9C9-47DC-666039127C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87800" y="4243388"/>
            <a:ext cx="260350" cy="17462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23C45A0A-366D-7C03-79DE-77CDCA0DC855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>
            <a:off x="5481638" y="41973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9AFFC76A-95C2-7038-5B05-41730F055690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 flipV="1">
            <a:off x="4849813" y="4233863"/>
            <a:ext cx="47625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2" name="直接连接符 1901">
            <a:extLst>
              <a:ext uri="{FF2B5EF4-FFF2-40B4-BE49-F238E27FC236}">
                <a16:creationId xmlns:a16="http://schemas.microsoft.com/office/drawing/2014/main" id="{C5437C24-CCBA-F754-9BC9-B284A3FF396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6746875" y="423703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4" name="直接连接符 1943">
            <a:extLst>
              <a:ext uri="{FF2B5EF4-FFF2-40B4-BE49-F238E27FC236}">
                <a16:creationId xmlns:a16="http://schemas.microsoft.com/office/drawing/2014/main" id="{8352C1F9-09F3-65FC-1219-56588FFFC1D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2952750" y="421163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5" name="直接连接符 1944">
            <a:extLst>
              <a:ext uri="{FF2B5EF4-FFF2-40B4-BE49-F238E27FC236}">
                <a16:creationId xmlns:a16="http://schemas.microsoft.com/office/drawing/2014/main" id="{7E884ECA-02AB-B98F-91F7-5C08D9AEF98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3584575" y="40243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3" name="直接连接符 1952">
            <a:extLst>
              <a:ext uri="{FF2B5EF4-FFF2-40B4-BE49-F238E27FC236}">
                <a16:creationId xmlns:a16="http://schemas.microsoft.com/office/drawing/2014/main" id="{34E75396-F1C2-CE71-A264-774B90A220A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6113463" y="41465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5" name="直接连接符 1954">
            <a:extLst>
              <a:ext uri="{FF2B5EF4-FFF2-40B4-BE49-F238E27FC236}">
                <a16:creationId xmlns:a16="http://schemas.microsoft.com/office/drawing/2014/main" id="{EF0B3A9D-DB92-CDA8-9259-CE4E8AB6C05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8642350" y="40862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8" name="直接连接符 1947">
            <a:extLst>
              <a:ext uri="{FF2B5EF4-FFF2-40B4-BE49-F238E27FC236}">
                <a16:creationId xmlns:a16="http://schemas.microsoft.com/office/drawing/2014/main" id="{228C6F2F-5340-A7A0-E057-2E62D808C70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4217988" y="41243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781300" y="4046538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28656B-2349-4E5A-A81C-B8ED56B2B967}" type="datetime'''''''''''''''''''''''''''''1''''''''8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000375" y="41449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0373FE-E0EA-4CF9-91C7-EA57AC442828}" type="datetime'''''''1''''''''''8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397250" y="40751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9CFA72-502F-4F11-B697-E2B267004E6E}" type="datetime'''''''''-''''''''''''''''2''''9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632200" y="39576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625D26B-9B89-4D1D-87DF-6AB338C20992}" type="datetime'''''''''''''''1''''''''''''''''''''''''''''''4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030663" y="41370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41CF75D-691C-4455-AAC5-9D5A6DFC457F}" type="datetime'''''''-2''''''''''''''''''''''3''''''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9075738" y="39052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A3944C-D3F9-4C96-9B8E-F2B2DF32D411}" type="datetime'''''''''''''''''10''''''''''''''''''''''''6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0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897438" y="4200525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5CF43A1-5996-4497-BD15-466555EB5725}" type="datetime'''''''-''1'''">
              <a:rPr lang="zh-CN" altLang="en-US" sz="800" smtClean="0"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678363" y="4132263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EDBAFF-8288-4BDC-B80E-32407642E6C9}" type="datetime'''''''''1''1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CB21D502-9241-3FA4-E504-AA9F1B448F9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2746375" y="38369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8849E3-61D3-4184-85FC-1F2C3755B390}" type="datetime'''''''''''''''''''''''''3''''''''''''''''''''''''6'''''''''''">
              <a:rPr lang="zh-CN" altLang="en-US" smtClean="0">
                <a:latin typeface="+mn-lt"/>
                <a:cs typeface="+mn-cs"/>
              </a:rPr>
              <a:pPr/>
              <a:t>36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5529263" y="4130675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EAF044-0FED-4CA6-B1C9-C020BC605E7D}" type="datetime'''''''''''''''''''''''''''''''''''''''-''''''''''''8'''''">
              <a:rPr lang="zh-CN" altLang="en-US" sz="800" smtClean="0">
                <a:latin typeface="+mn-lt"/>
                <a:cs typeface="+mn-cs"/>
              </a:rPr>
              <a:pPr/>
              <a:t>-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265613" y="40576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2FEB919-C945-4A29-B93B-07D6DC82E786}" type="datetime'''''6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310188" y="4081463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57CD83-29F5-4E2A-BE46-13BA2BE4ED7F}" type="datetime'''''''''1''''''''''''''''''''''''''''''''''''''''''''''''0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926138" y="4144963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93AD6AA-9955-4D9F-876F-46F544EFCBA7}" type="datetime'''''''''''''''''''''''''''''''-''''''''''''''''''''''''16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6161088" y="40798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D820252-48A8-4443-AEBE-95A3EE860A8D}" type="datetime'''''''''8''''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6794500" y="41703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94FE9F8-E74D-44BC-95DE-DBA44FCDB33E}" type="datetime'''-''''''''''''''''''''''''''''9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575425" y="4116388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6BFCF0-A649-4D63-A939-5CBEF18A2A44}" type="datetime'''''''''''''''''''''1''''''''''1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7153275" y="4159250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CB79CF-AEA0-4F37-B374-29145D54EF5E}" type="datetime'''''''''''''''''''''''''''''''''''''-''''''''9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7935913" y="4068763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67666A-54BF-4F27-BCEF-79B8E174D043}" type="datetime'''''''''''''''''''''''''''''''''''''''''''''''''8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7304088" y="411321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7C17C98-6575-481B-A97F-1992D5C901BD}" type="datetime'''''''''''''''''''8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7800975" y="411321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4B0D03-EF11-4876-A7C0-00D704DBA366}" type="datetime'''''''''''''''''''''''9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8455025" y="4100513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81AC548-2EFA-4F7F-A83A-A3777DC4FF3A}" type="datetime'-''''''''''''''''''''''''''''''''''''2''''0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8689975" y="40195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5E2B272-787D-4561-A232-B3A6C81DF72B}" type="datetime'''''''''''''''''''''''''''''''''''''1''0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9088438" y="44338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84BCD2-E385-41D3-8E47-F533D4A17EC5}" type="datetime'''''''''''''-''''''''8''''''''''''''''''''8'''''''''">
              <a:rPr lang="zh-CN" altLang="en-US" sz="800" smtClean="0">
                <a:latin typeface="+mn-lt"/>
                <a:cs typeface="+mn-cs"/>
              </a:rPr>
              <a:pPr/>
              <a:t>-88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ECFE1E54-60C9-5075-7554-36EA1D01E644}"/>
              </a:ext>
            </a:extLst>
          </p:cNvPr>
          <p:cNvGraphicFramePr/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740556411"/>
              </p:ext>
            </p:extLst>
          </p:nvPr>
        </p:nvGraphicFramePr>
        <p:xfrm>
          <a:off x="2454275" y="1541463"/>
          <a:ext cx="6513513" cy="159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3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536824" y="1624013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8110538" y="1624013"/>
            <a:ext cx="7747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F23AD9AA-813A-98EB-65B4-23E999F031B7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667125" y="1624013"/>
            <a:ext cx="915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C3052AA4-36BA-EAEE-E661-03A4D2718AFB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4937125" y="1624013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BECA6870-55FA-3348-3127-02FF7ACF51E6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572125" y="1624013"/>
            <a:ext cx="2184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938588" y="2649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CE86AD-1472-453A-9337-88472DB97B85}" type="datetime'''''''''''4''8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4165600" y="25336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19036E-9500-41C6-9511-171756BC6332}" type="datetime'''6''''''''''''''''4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3951289" y="14081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36FD1B2-7E85-4921-8184-8B0912272108}" type="datetime'9''''''''''''''''''''''''''''7''''''''''''%'''''''''">
              <a:rPr lang="en-US" altLang="en-US" smtClean="0">
                <a:latin typeface="+mn-lt"/>
                <a:cs typeface="+mn-cs"/>
              </a:rPr>
              <a:pPr/>
              <a:t>97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4573588" y="23828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FD2841-A3F6-4815-95FE-D50FBF6683DF}" type="datetime'''''''''''''''''''8''''''''6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4800600" y="24542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9354B0-D0A2-41D9-8F45-E438884E60C4}" type="datetime'''''''''''''''''''''''''''7''''''''''''''''''''''''''5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4586289" y="144780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28C87C-7AC2-4205-8F8D-DA601216907C}" type="datetime'''''''''''''''9''''''''''''''4''%'''''''''''''''''''">
              <a:rPr lang="en-US" altLang="en-US" smtClean="0">
                <a:latin typeface="+mn-lt"/>
                <a:cs typeface="+mn-cs"/>
              </a:rPr>
              <a:pPr/>
              <a:t>9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5208588" y="24701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50E083-1FB7-43A5-96E9-596E1B54032B}" type="datetime'''''''''''''''''''''''''''''''''''''''''''''7''''''''''''''3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5435600" y="24796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0D8223-96E7-4C4E-8CC0-040105712A21}" type="datetime'''''''''''7''''''''''''''''''''''2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5221289" y="14366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50FD1C-742F-4DB6-9F44-55CAEE0EF2CA}" type="datetime'''9''''''''''''''5%''''''''''''''''''''''''''''''''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5843588" y="26416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19A5E4-B18C-4759-8E17-CB8C1A191F45}" type="datetime'''''''''''''4''''''''''''''''''9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6070600" y="25844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B91E8C-F74E-4D7E-944C-A8CA62E868C2}" type="datetime'''5''''''''''''''''''''''''''''''''7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5854701" y="13985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1B1DC9-863D-46CC-B35A-298CC3F97F05}" type="datetime'''''9''''''''''''8''''''''''''''''''''''''''''''%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2640013" y="22717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54D556-B9FC-4611-A387-7856F5AC1E17}" type="datetime'''''''''''''''''''''''''''''''''''''''''''1''''''''0''1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0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6704013" y="24812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B77F4C-401B-46A3-8FF3-E4FAF15FAEBF}" type="datetime'''''''''''''''''''''7''''''''''''''''''''''''''''2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6489701" y="14001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C7839F-7B15-491D-A8B9-3B653BE4DBFF}" type="datetime'''''''''98''''''''''''''''''''''''''''''''''''''''%''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7112000" y="25463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007E31-1992-429C-955E-63F4204B0058}" type="datetime'''''''''''''''''''''''6''''''''''''''''''''''2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7339013" y="25415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309E10-ABD5-4EF7-A155-97D3BDAF2C77}" type="datetime'''''''''''''''''63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7124701" y="139382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3544DA-27CC-4B7F-9623-BA5587391EB4}" type="datetime'''''9''8''''''''''''''''''''%''''''''''''''''''''''''''''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7747000" y="23923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1F9184-F49F-49A7-983C-C5EABA04B932}" type="datetime'''''''''''''''''''''''''''''''''''''''''8''4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7974013" y="25098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05D1C0-D928-4DAC-B1B4-ED2E7A665FA1}" type="datetime'''''''''''''''''''''''''''''''''''''6''7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759701" y="14287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287E65B-1C58-41AF-BE8A-89AE6D20431F}" type="datetime'''''''''''''''''''9''''''''''''''''''''6''''%''''''''''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8382000" y="26019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58B575-1CAF-40C7-B9E3-73B4D85309AA}" type="datetime'''''5''''5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8609013" y="25352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4BD498-DADE-4A8E-AB4F-65CD8090DC3E}" type="datetime'''''''''''''''''''''''''''''''64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8394701" y="14033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8EE6E1-1DC7-4DFF-B7F9-A802BCB718D7}" type="datetime'''''''''''''''''''''''''9''''''''''''''7%'''''''''''">
              <a:rPr lang="en-US" altLang="en-US" smtClean="0">
                <a:latin typeface="+mn-lt"/>
                <a:cs typeface="+mn-cs"/>
              </a:rPr>
              <a:pPr/>
              <a:t>97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2895600" y="25273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8DEFB5-5F95-401D-9927-62F6522FFD6F}" type="datetime'6''''''''''''''''''''''''''''''''''''''''''''5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2681288" y="1878013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5508ED-FAEB-4046-8716-B1FBB3D5F7F3}" type="datetime'''''6''''''''''''''''''''''''''''''''''''4''%'''''''">
              <a:rPr lang="en-US" altLang="en-US" smtClean="0">
                <a:effectLst/>
                <a:latin typeface="+mn-lt"/>
                <a:cs typeface="+mn-cs"/>
              </a:rPr>
              <a:pPr/>
              <a:t>6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3303588" y="26797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556358-C5BF-467C-8A8A-04BDF506AE0C}" type="datetime'''''''4''''4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3530600" y="25781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139C37-9F14-4697-BD43-AFBC5CB13DEF}" type="datetime'''''''''''''5''''''''''''''''''''''''8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3316288" y="158273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14CBE2-B3FA-406D-B278-C0056834841D}" type="datetime'''''''''8''''5''''''''''%'''''''''''''''''''''''''''''''">
              <a:rPr lang="en-US" altLang="en-US" smtClean="0">
                <a:latin typeface="+mn-lt"/>
                <a:cs typeface="+mn-cs"/>
              </a:rPr>
              <a:pPr/>
              <a:t>8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6477000" y="24669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5783222-9144-4E91-AE35-739D7D4A9B13}" type="datetime'''''7''''''4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744012-C30B-4D88-BD6F-028CF4D1BA82}" type="datetime'''D''''''''''''''''''''''DI''直连''''库''''存''变''''''''''化'''''''">
              <a:rPr lang="en-US" altLang="en-US" smtClean="0">
                <a:latin typeface="+mn-lt"/>
                <a:cs typeface="+mn-cs"/>
              </a:rPr>
              <a:pPr/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3372" y="4374047"/>
            <a:ext cx="3105509" cy="320758"/>
            <a:chOff x="366354" y="1228969"/>
            <a:chExt cx="3105556" cy="321645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66354" y="1228969"/>
              <a:ext cx="1618046" cy="26751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和不可追踪拆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9367838" y="196850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9955213" y="2843213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10541000" y="1797050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60" name="Chart 3">
            <a:extLst>
              <a:ext uri="{FF2B5EF4-FFF2-40B4-BE49-F238E27FC236}">
                <a16:creationId xmlns:a16="http://schemas.microsoft.com/office/drawing/2014/main" id="{2FE22A75-D849-F92E-7DDA-091BA47D319C}"/>
              </a:ext>
            </a:extLst>
          </p:cNvPr>
          <p:cNvGraphicFramePr/>
          <p:nvPr>
            <p:custDataLst>
              <p:tags r:id="rId97"/>
            </p:custDataLst>
            <p:extLst>
              <p:ext uri="{D42A27DB-BD31-4B8C-83A1-F6EECF244321}">
                <p14:modId xmlns:p14="http://schemas.microsoft.com/office/powerpoint/2010/main" val="46388355"/>
              </p:ext>
            </p:extLst>
          </p:nvPr>
        </p:nvGraphicFramePr>
        <p:xfrm>
          <a:off x="8845550" y="1714500"/>
          <a:ext cx="2511425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4"/>
          </a:graphicData>
        </a:graphic>
      </p:graphicFrame>
      <p:sp useBgFill="1">
        <p:nvSpPr>
          <p:cNvPr id="50" name="任意多边形: 形状 49">
            <a:extLst>
              <a:ext uri="{FF2B5EF4-FFF2-40B4-BE49-F238E27FC236}">
                <a16:creationId xmlns:a16="http://schemas.microsoft.com/office/drawing/2014/main" id="{C0C153AD-89E3-909B-795B-347EF8A65110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9028113" y="2870200"/>
            <a:ext cx="385763" cy="160338"/>
          </a:xfrm>
          <a:custGeom>
            <a:avLst/>
            <a:gdLst/>
            <a:ahLst/>
            <a:cxnLst/>
            <a:rect l="0" t="0" r="0" b="0"/>
            <a:pathLst>
              <a:path w="385763" h="160338">
                <a:moveTo>
                  <a:pt x="0" y="103187"/>
                </a:moveTo>
                <a:lnTo>
                  <a:pt x="385762" y="0"/>
                </a:lnTo>
                <a:lnTo>
                  <a:pt x="385762" y="57150"/>
                </a:lnTo>
                <a:lnTo>
                  <a:pt x="0" y="160337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1856" name="任意多边形: 形状 1855">
            <a:extLst>
              <a:ext uri="{FF2B5EF4-FFF2-40B4-BE49-F238E27FC236}">
                <a16:creationId xmlns:a16="http://schemas.microsoft.com/office/drawing/2014/main" id="{01D831BE-A69C-D8D5-0C24-18BF0249D805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10788650" y="2870200"/>
            <a:ext cx="385764" cy="160339"/>
          </a:xfrm>
          <a:custGeom>
            <a:avLst/>
            <a:gdLst/>
            <a:ahLst/>
            <a:cxnLst/>
            <a:rect l="0" t="0" r="0" b="0"/>
            <a:pathLst>
              <a:path w="385764" h="160339">
                <a:moveTo>
                  <a:pt x="0" y="103188"/>
                </a:moveTo>
                <a:lnTo>
                  <a:pt x="385763" y="0"/>
                </a:lnTo>
                <a:lnTo>
                  <a:pt x="385763" y="57150"/>
                </a:lnTo>
                <a:lnTo>
                  <a:pt x="0" y="1603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AC14FFEE-672E-3D83-AC1E-6122CA05202F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9028113" y="2870200"/>
            <a:ext cx="385763" cy="103188"/>
          </a:xfrm>
          <a:custGeom>
            <a:avLst/>
            <a:gdLst/>
            <a:ahLst/>
            <a:cxnLst/>
            <a:rect l="0" t="0" r="0" b="0"/>
            <a:pathLst>
              <a:path w="385763" h="103188">
                <a:moveTo>
                  <a:pt x="0" y="103187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A49B2D25-5934-BE1E-A68F-7AADB8021BB3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9028113" y="2927350"/>
            <a:ext cx="385763" cy="103188"/>
          </a:xfrm>
          <a:custGeom>
            <a:avLst/>
            <a:gdLst/>
            <a:ahLst/>
            <a:cxnLst/>
            <a:rect l="0" t="0" r="0" b="0"/>
            <a:pathLst>
              <a:path w="385763" h="103188">
                <a:moveTo>
                  <a:pt x="0" y="103187"/>
                </a:moveTo>
                <a:lnTo>
                  <a:pt x="385762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11A94E7B-EB25-81FD-6803-F2884722CA3B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10788650" y="287020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50AFB593-18DF-63FB-0651-943A943A0439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10788650" y="2927350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 flipV="1">
            <a:off x="10980738" y="1601789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05"/>
            </p:custDataLst>
          </p:nvPr>
        </p:nvCxnSpPr>
        <p:spPr bwMode="auto">
          <a:xfrm flipH="1">
            <a:off x="9220199" y="1601788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9220200" y="1601788"/>
            <a:ext cx="0" cy="328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gray">
          <a:xfrm>
            <a:off x="9097964" y="24272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66E206-EE89-4D7D-89CC-E051DE06DC5F}" type="datetime'6''''''''''''''''''''''''''''''''''5''''''''''''''''''''''''7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57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061450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9699625" y="2320925"/>
            <a:ext cx="2174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1B3D8E-8ED9-4EAC-9B9D-5BCCF25AEF1B}" type="datetime'''''''''''-''''''''8''''''''''''''''''''''''''''''''''''8'''''">
              <a:rPr lang="zh-CN" altLang="en-US" sz="1000" smtClean="0">
                <a:latin typeface="+mn-lt"/>
                <a:cs typeface="+mn-cs"/>
              </a:rPr>
              <a:pPr/>
              <a:t>-88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9648825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mtClean="0">
                <a:latin typeface="+mn-lt"/>
                <a:cs typeface="+mn-cs"/>
              </a:rPr>
              <a:pPr/>
              <a:t>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gray">
          <a:xfrm>
            <a:off x="10271125" y="223520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EEF2A-8DB1-4B6A-B0D6-BCBB2F652ADF}" type="datetime'''''''''1''''0''''''''''''''6''''''''''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106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10234613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gray">
          <a:xfrm>
            <a:off x="10858501" y="23415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AFFE09-D653-426E-A28F-A4D98157EFC7}" type="datetime'''6''7''''5''''''''''''''''''''''''''''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75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10821988" y="3105150"/>
            <a:ext cx="3175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mtClean="0">
                <a:latin typeface="+mn-lt"/>
                <a:cs typeface="+mn-cs"/>
              </a:rPr>
              <a:pPr/>
              <a:t>工厂发货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9940925" y="1482725"/>
            <a:ext cx="319088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7D9DEA-BD96-4B4F-8922-4CEB236B6C9C}" type="datetime'-''3''''''''''''''''''''''''''''''''''''%'''''''''''''''''''">
              <a:rPr lang="en-US" altLang="en-US" sz="1000" smtClean="0">
                <a:effectLst/>
                <a:latin typeface="+mn-lt"/>
                <a:cs typeface="+mn-cs"/>
              </a:rPr>
              <a:pPr/>
              <a:t>-3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>
            <a:off x="9304338" y="4241800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auto">
          <a:xfrm>
            <a:off x="9888538" y="430053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9" name="直接连接符 1718">
            <a:extLst>
              <a:ext uri="{FF2B5EF4-FFF2-40B4-BE49-F238E27FC236}">
                <a16:creationId xmlns:a16="http://schemas.microsoft.com/office/drawing/2014/main" id="{86D50972-24CA-21B3-7A84-225DF0E2D40A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auto">
          <a:xfrm>
            <a:off x="10471150" y="4322763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2" name="Chart 3">
            <a:extLst>
              <a:ext uri="{FF2B5EF4-FFF2-40B4-BE49-F238E27FC236}">
                <a16:creationId xmlns:a16="http://schemas.microsoft.com/office/drawing/2014/main" id="{E3CF2DE9-8F99-6A45-C62A-8726B2342E7A}"/>
              </a:ext>
            </a:extLst>
          </p:cNvPr>
          <p:cNvGraphicFramePr/>
          <p:nvPr>
            <p:custDataLst>
              <p:tags r:id="rId119"/>
            </p:custDataLst>
            <p:extLst>
              <p:ext uri="{D42A27DB-BD31-4B8C-83A1-F6EECF244321}">
                <p14:modId xmlns:p14="http://schemas.microsoft.com/office/powerpoint/2010/main" val="827320624"/>
              </p:ext>
            </p:extLst>
          </p:nvPr>
        </p:nvGraphicFramePr>
        <p:xfrm>
          <a:off x="8802688" y="4159250"/>
          <a:ext cx="2500312" cy="66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5"/>
          </a:graphicData>
        </a:graphic>
      </p:graphicFrame>
      <p:sp>
        <p:nvSpPr>
          <p:cNvPr id="1880" name="Text Placeholder 3">
            <a:extLst>
              <a:ext uri="{FF2B5EF4-FFF2-40B4-BE49-F238E27FC236}">
                <a16:creationId xmlns:a16="http://schemas.microsoft.com/office/drawing/2014/main" id="{4B9753A8-D625-4D4F-29EB-DB60BCAC028E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8897938" y="477520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6775C-240B-4C51-9C42-E019FF05925F}" type="datetime'20''''2''5''''''''''10''''Y''''''''T''''''''''D''''''''''''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9674225" y="420370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C0D3BB-0BE1-4491-BBB3-F5F7ADDFFD16}" type="datetime'-''''''''''''''''''''1''''''''''''''''''''''''''''''''0'''''''">
              <a:rPr lang="zh-CN" altLang="en-US" sz="800" smtClean="0">
                <a:latin typeface="+mn-lt"/>
                <a:cs typeface="+mn-cs"/>
              </a:rPr>
              <a:pPr/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2" name="Text Placeholder 3">
            <a:extLst>
              <a:ext uri="{FF2B5EF4-FFF2-40B4-BE49-F238E27FC236}">
                <a16:creationId xmlns:a16="http://schemas.microsoft.com/office/drawing/2014/main" id="{226A4E37-E112-9678-9034-CF8BCA141FDE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9602788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98A296-3918-4038-AC79-4ECF9DD02FC1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10285413" y="4244975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51DC2C-35D6-4DEB-BB98-5F03A1D2EC19}" type="datetime'''''''''''''''''''''''''''''''''''''''''-''4'''''''''">
              <a:rPr lang="zh-CN" altLang="en-US" sz="800" smtClean="0">
                <a:effectLst/>
                <a:latin typeface="+mn-lt"/>
                <a:cs typeface="+mn-cs"/>
              </a:rPr>
              <a:pPr/>
              <a:t>-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3" name="Text Placeholder 3">
            <a:extLst>
              <a:ext uri="{FF2B5EF4-FFF2-40B4-BE49-F238E27FC236}">
                <a16:creationId xmlns:a16="http://schemas.microsoft.com/office/drawing/2014/main" id="{929925F6-0E93-EC22-B300-E21F72946F4C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10185400" y="477520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0F996-E231-4B7C-9137-85B53E21A439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5" name="Text Placeholder 3">
            <a:extLst>
              <a:ext uri="{FF2B5EF4-FFF2-40B4-BE49-F238E27FC236}">
                <a16:creationId xmlns:a16="http://schemas.microsoft.com/office/drawing/2014/main" id="{1BE56B6A-3C30-4B59-A6C7-170064E01044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gray">
          <a:xfrm>
            <a:off x="10841038" y="44656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A16D75-CE4F-4630-9E6F-31E46652DF72}" type="datetime'-''''''7''''4'''''''''''''''''''''''''">
              <a:rPr lang="zh-CN" altLang="en-US" sz="800" smtClean="0">
                <a:latin typeface="+mn-lt"/>
                <a:cs typeface="+mn-cs"/>
              </a:rPr>
              <a:pPr/>
              <a:t>-7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4" name="Text Placeholder 3">
            <a:extLst>
              <a:ext uri="{FF2B5EF4-FFF2-40B4-BE49-F238E27FC236}">
                <a16:creationId xmlns:a16="http://schemas.microsoft.com/office/drawing/2014/main" id="{7D8DCB6C-4AAA-0195-9FB6-084C41ED8B42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10718800" y="477520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973EDA-4054-487B-BA87-C6E0A39457B5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73" name="直接连接符 172">
            <a:extLst>
              <a:ext uri="{FF2B5EF4-FFF2-40B4-BE49-F238E27FC236}">
                <a16:creationId xmlns:a16="http://schemas.microsoft.com/office/drawing/2014/main" id="{8C3129E6-FEE7-4314-13E6-9B336F1A3C4D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auto">
          <a:xfrm>
            <a:off x="8786813" y="5557838"/>
            <a:ext cx="254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直接连接符 139">
            <a:extLst>
              <a:ext uri="{FF2B5EF4-FFF2-40B4-BE49-F238E27FC236}">
                <a16:creationId xmlns:a16="http://schemas.microsoft.com/office/drawing/2014/main" id="{763F88E0-5513-4C71-F9E0-97729260EA72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auto">
          <a:xfrm>
            <a:off x="2987675" y="54546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接连接符 142">
            <a:extLst>
              <a:ext uri="{FF2B5EF4-FFF2-40B4-BE49-F238E27FC236}">
                <a16:creationId xmlns:a16="http://schemas.microsoft.com/office/drawing/2014/main" id="{EC6E5469-1FE6-DD66-D4B3-9D848B4C085E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auto">
          <a:xfrm>
            <a:off x="7523163" y="5597525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8D999A4-47CD-480C-D9EB-7552B724F0C4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auto">
          <a:xfrm>
            <a:off x="3619500" y="553243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接连接符 140">
            <a:extLst>
              <a:ext uri="{FF2B5EF4-FFF2-40B4-BE49-F238E27FC236}">
                <a16:creationId xmlns:a16="http://schemas.microsoft.com/office/drawing/2014/main" id="{3BF1E16E-B973-7A15-0FB6-8C5C2D450EE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auto">
          <a:xfrm>
            <a:off x="4252913" y="56213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直接连接符 150">
            <a:extLst>
              <a:ext uri="{FF2B5EF4-FFF2-40B4-BE49-F238E27FC236}">
                <a16:creationId xmlns:a16="http://schemas.microsoft.com/office/drawing/2014/main" id="{9723B0F6-7B76-18D9-F0D3-32721AEF809A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>
            <a:off x="4884738" y="55673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8" name="直接连接符 1977">
            <a:extLst>
              <a:ext uri="{FF2B5EF4-FFF2-40B4-BE49-F238E27FC236}">
                <a16:creationId xmlns:a16="http://schemas.microsoft.com/office/drawing/2014/main" id="{8C8C90B0-867A-6A74-FA4A-96AD431191E3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auto">
          <a:xfrm>
            <a:off x="5516563" y="555942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0572583-446A-9E12-D592-41BAAB8975DE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>
            <a:off x="6148388" y="560546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3CC97B79-ABD5-FDBF-D366-DA42E71FC9E2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>
            <a:off x="6291263" y="5605463"/>
            <a:ext cx="220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9CDBEADC-815A-1DE7-CA91-4CB63C47DC69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>
            <a:off x="6781800" y="559276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C0567C39-9F79-6F76-49F7-7CB10EA59979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7413625" y="5597525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AA91BECB-5B54-69C8-9FD2-C75EB254549A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>
            <a:off x="8045450" y="55070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接连接符 159">
            <a:extLst>
              <a:ext uri="{FF2B5EF4-FFF2-40B4-BE49-F238E27FC236}">
                <a16:creationId xmlns:a16="http://schemas.microsoft.com/office/drawing/2014/main" id="{61388DCD-972D-3F96-78FD-210E27BB1B3E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>
            <a:off x="8677275" y="555783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直接连接符 168">
            <a:extLst>
              <a:ext uri="{FF2B5EF4-FFF2-40B4-BE49-F238E27FC236}">
                <a16:creationId xmlns:a16="http://schemas.microsoft.com/office/drawing/2014/main" id="{972F8186-BF8C-5C98-0E85-B1C4577E46E0}"/>
              </a:ext>
            </a:extLst>
          </p:cNvPr>
          <p:cNvCxnSpPr/>
          <p:nvPr>
            <p:custDataLst>
              <p:tags r:id="rId140"/>
            </p:custDataLst>
          </p:nvPr>
        </p:nvCxnSpPr>
        <p:spPr bwMode="auto">
          <a:xfrm>
            <a:off x="4395788" y="5621338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直接连接符 169">
            <a:extLst>
              <a:ext uri="{FF2B5EF4-FFF2-40B4-BE49-F238E27FC236}">
                <a16:creationId xmlns:a16="http://schemas.microsoft.com/office/drawing/2014/main" id="{999C63D5-7E7C-4C2C-D1E5-2CC2427A60A4}"/>
              </a:ext>
            </a:extLst>
          </p:cNvPr>
          <p:cNvCxnSpPr/>
          <p:nvPr>
            <p:custDataLst>
              <p:tags r:id="rId141"/>
            </p:custDataLst>
          </p:nvPr>
        </p:nvCxnSpPr>
        <p:spPr bwMode="auto">
          <a:xfrm>
            <a:off x="5626100" y="5559425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直接连接符 170">
            <a:extLst>
              <a:ext uri="{FF2B5EF4-FFF2-40B4-BE49-F238E27FC236}">
                <a16:creationId xmlns:a16="http://schemas.microsoft.com/office/drawing/2014/main" id="{62B662F6-D39D-6346-724C-61C62CF0BD6C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>
            <a:off x="6891338" y="5592763"/>
            <a:ext cx="25241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5F940AB6-4A64-5859-EA0D-C3D365546570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>
            <a:off x="8154988" y="5507038"/>
            <a:ext cx="25241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4" name="Chart 3">
            <a:extLst>
              <a:ext uri="{FF2B5EF4-FFF2-40B4-BE49-F238E27FC236}">
                <a16:creationId xmlns:a16="http://schemas.microsoft.com/office/drawing/2014/main" id="{AC332FD3-8E4C-4D46-4C9A-B0A11955ECE3}"/>
              </a:ext>
            </a:extLst>
          </p:cNvPr>
          <p:cNvGraphicFramePr/>
          <p:nvPr>
            <p:custDataLst>
              <p:tags r:id="rId144"/>
            </p:custDataLst>
            <p:extLst>
              <p:ext uri="{D42A27DB-BD31-4B8C-83A1-F6EECF244321}">
                <p14:modId xmlns:p14="http://schemas.microsoft.com/office/powerpoint/2010/main" val="1795921846"/>
              </p:ext>
            </p:extLst>
          </p:nvPr>
        </p:nvGraphicFramePr>
        <p:xfrm>
          <a:off x="2454275" y="4916488"/>
          <a:ext cx="7119938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6"/>
          </a:graphicData>
        </a:graphic>
      </p:graphicFrame>
      <p:sp>
        <p:nvSpPr>
          <p:cNvPr id="166" name="矩形 165">
            <a:extLst>
              <a:ext uri="{FF2B5EF4-FFF2-40B4-BE49-F238E27FC236}">
                <a16:creationId xmlns:a16="http://schemas.microsoft.com/office/drawing/2014/main" id="{FD9E4FA3-C0DB-A6BE-6A8D-B7AFE9819489}"/>
              </a:ext>
            </a:extLst>
          </p:cNvPr>
          <p:cNvSpPr/>
          <p:nvPr>
            <p:custDataLst>
              <p:tags r:id="rId145"/>
            </p:custDataLst>
          </p:nvPr>
        </p:nvSpPr>
        <p:spPr bwMode="auto">
          <a:xfrm>
            <a:off x="7780338" y="5635625"/>
            <a:ext cx="260350" cy="23813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8AC93658-285F-9E93-75E9-096FA300096A}"/>
              </a:ext>
            </a:extLst>
          </p:cNvPr>
          <p:cNvSpPr/>
          <p:nvPr>
            <p:custDataLst>
              <p:tags r:id="rId146"/>
            </p:custDataLst>
          </p:nvPr>
        </p:nvSpPr>
        <p:spPr bwMode="auto">
          <a:xfrm>
            <a:off x="3987800" y="5635625"/>
            <a:ext cx="260350" cy="15875"/>
          </a:xfrm>
          <a:prstGeom prst="rect">
            <a:avLst/>
          </a:prstGeom>
          <a:solidFill>
            <a:srgbClr val="EBD0D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958" name="直接连接符 1957">
            <a:extLst>
              <a:ext uri="{FF2B5EF4-FFF2-40B4-BE49-F238E27FC236}">
                <a16:creationId xmlns:a16="http://schemas.microsoft.com/office/drawing/2014/main" id="{81B721B0-A2A5-9559-32BC-23AEA842ABB2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 flipH="1" flipV="1">
            <a:off x="4849813" y="5614988"/>
            <a:ext cx="47625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E19570DC-5F68-7B15-B82D-8FF823FAA4BF}"/>
              </a:ext>
            </a:extLst>
          </p:cNvPr>
          <p:cNvCxnSpPr>
            <a:cxnSpLocks/>
          </p:cNvCxnSpPr>
          <p:nvPr>
            <p:custDataLst>
              <p:tags r:id="rId148"/>
            </p:custDataLst>
          </p:nvPr>
        </p:nvCxnSpPr>
        <p:spPr bwMode="auto">
          <a:xfrm flipH="1" flipV="1">
            <a:off x="4217988" y="5592763"/>
            <a:ext cx="476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5FD6F803-9FF9-C590-DCAD-BD9BBDABE600}"/>
              </a:ext>
            </a:extLst>
          </p:cNvPr>
          <p:cNvCxnSpPr>
            <a:cxnSpLocks/>
          </p:cNvCxnSpPr>
          <p:nvPr>
            <p:custDataLst>
              <p:tags r:id="rId149"/>
            </p:custDataLst>
          </p:nvPr>
        </p:nvCxnSpPr>
        <p:spPr bwMode="auto">
          <a:xfrm flipH="1">
            <a:off x="5481638" y="5421313"/>
            <a:ext cx="47625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8" name="直接连接符 1967">
            <a:extLst>
              <a:ext uri="{FF2B5EF4-FFF2-40B4-BE49-F238E27FC236}">
                <a16:creationId xmlns:a16="http://schemas.microsoft.com/office/drawing/2014/main" id="{A8892081-58E1-8C46-B95A-9A34557F7E70}"/>
              </a:ext>
            </a:extLst>
          </p:cNvPr>
          <p:cNvCxnSpPr>
            <a:cxnSpLocks/>
          </p:cNvCxnSpPr>
          <p:nvPr>
            <p:custDataLst>
              <p:tags r:id="rId150"/>
            </p:custDataLst>
          </p:nvPr>
        </p:nvCxnSpPr>
        <p:spPr bwMode="auto">
          <a:xfrm flipH="1">
            <a:off x="6746875" y="5589589"/>
            <a:ext cx="47625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7F758961-9016-F5C2-68B7-AAE51E36BFF0}"/>
              </a:ext>
            </a:extLst>
          </p:cNvPr>
          <p:cNvCxnSpPr/>
          <p:nvPr>
            <p:custDataLst>
              <p:tags r:id="rId151"/>
            </p:custDataLst>
          </p:nvPr>
        </p:nvCxnSpPr>
        <p:spPr bwMode="auto">
          <a:xfrm flipH="1">
            <a:off x="7378700" y="5435599"/>
            <a:ext cx="47625" cy="109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2" name="直接连接符 1971">
            <a:extLst>
              <a:ext uri="{FF2B5EF4-FFF2-40B4-BE49-F238E27FC236}">
                <a16:creationId xmlns:a16="http://schemas.microsoft.com/office/drawing/2014/main" id="{946F64BB-7EDF-43B9-855E-C56DFD4F7694}"/>
              </a:ext>
            </a:extLst>
          </p:cNvPr>
          <p:cNvCxnSpPr/>
          <p:nvPr>
            <p:custDataLst>
              <p:tags r:id="rId152"/>
            </p:custDataLst>
          </p:nvPr>
        </p:nvCxnSpPr>
        <p:spPr bwMode="auto">
          <a:xfrm flipH="1">
            <a:off x="7378700" y="55689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1" name="直接连接符 1970">
            <a:extLst>
              <a:ext uri="{FF2B5EF4-FFF2-40B4-BE49-F238E27FC236}">
                <a16:creationId xmlns:a16="http://schemas.microsoft.com/office/drawing/2014/main" id="{C76DB44D-D127-F15A-CD49-74A578661CB9}"/>
              </a:ext>
            </a:extLst>
          </p:cNvPr>
          <p:cNvCxnSpPr>
            <a:cxnSpLocks/>
          </p:cNvCxnSpPr>
          <p:nvPr>
            <p:custDataLst>
              <p:tags r:id="rId153"/>
            </p:custDataLst>
          </p:nvPr>
        </p:nvCxnSpPr>
        <p:spPr bwMode="auto">
          <a:xfrm flipH="1" flipV="1">
            <a:off x="7378700" y="5591175"/>
            <a:ext cx="47625" cy="111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4" name="直接连接符 1863">
            <a:extLst>
              <a:ext uri="{FF2B5EF4-FFF2-40B4-BE49-F238E27FC236}">
                <a16:creationId xmlns:a16="http://schemas.microsoft.com/office/drawing/2014/main" id="{BD434C9F-CE09-2FCC-3558-32D5184CF9A3}"/>
              </a:ext>
            </a:extLst>
          </p:cNvPr>
          <p:cNvCxnSpPr>
            <a:cxnSpLocks/>
          </p:cNvCxnSpPr>
          <p:nvPr>
            <p:custDataLst>
              <p:tags r:id="rId154"/>
            </p:custDataLst>
          </p:nvPr>
        </p:nvCxnSpPr>
        <p:spPr bwMode="auto">
          <a:xfrm flipH="1" flipV="1">
            <a:off x="8010525" y="5607050"/>
            <a:ext cx="47625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0" name="直接连接符 1949">
            <a:extLst>
              <a:ext uri="{FF2B5EF4-FFF2-40B4-BE49-F238E27FC236}">
                <a16:creationId xmlns:a16="http://schemas.microsoft.com/office/drawing/2014/main" id="{BB5813E0-A557-C003-BCB5-75AD7EDCD463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 flipH="1">
            <a:off x="3584575" y="5307014"/>
            <a:ext cx="47625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4" name="直接连接符 1973">
            <a:extLst>
              <a:ext uri="{FF2B5EF4-FFF2-40B4-BE49-F238E27FC236}">
                <a16:creationId xmlns:a16="http://schemas.microsoft.com/office/drawing/2014/main" id="{C67D8BD1-7F82-C908-2853-6E93AA4946A0}"/>
              </a:ext>
            </a:extLst>
          </p:cNvPr>
          <p:cNvCxnSpPr>
            <a:cxnSpLocks/>
          </p:cNvCxnSpPr>
          <p:nvPr>
            <p:custDataLst>
              <p:tags r:id="rId156"/>
            </p:custDataLst>
          </p:nvPr>
        </p:nvCxnSpPr>
        <p:spPr bwMode="auto">
          <a:xfrm flipH="1">
            <a:off x="8010525" y="5588000"/>
            <a:ext cx="47625" cy="6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接连接符 138">
            <a:extLst>
              <a:ext uri="{FF2B5EF4-FFF2-40B4-BE49-F238E27FC236}">
                <a16:creationId xmlns:a16="http://schemas.microsoft.com/office/drawing/2014/main" id="{0F696389-1B0E-632C-5872-FA4364234750}"/>
              </a:ext>
            </a:extLst>
          </p:cNvPr>
          <p:cNvCxnSpPr>
            <a:cxnSpLocks/>
          </p:cNvCxnSpPr>
          <p:nvPr>
            <p:custDataLst>
              <p:tags r:id="rId157"/>
            </p:custDataLst>
          </p:nvPr>
        </p:nvCxnSpPr>
        <p:spPr bwMode="auto">
          <a:xfrm flipH="1">
            <a:off x="8642350" y="5324476"/>
            <a:ext cx="47625" cy="125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直接连接符 137">
            <a:extLst>
              <a:ext uri="{FF2B5EF4-FFF2-40B4-BE49-F238E27FC236}">
                <a16:creationId xmlns:a16="http://schemas.microsoft.com/office/drawing/2014/main" id="{AD6E0703-56E5-AA61-ED7D-BD79A77735E1}"/>
              </a:ext>
            </a:extLst>
          </p:cNvPr>
          <p:cNvCxnSpPr/>
          <p:nvPr>
            <p:custDataLst>
              <p:tags r:id="rId158"/>
            </p:custDataLst>
          </p:nvPr>
        </p:nvCxnSpPr>
        <p:spPr bwMode="auto">
          <a:xfrm flipH="1" flipV="1">
            <a:off x="8642350" y="5597525"/>
            <a:ext cx="47625" cy="127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91E2097A-FBDE-3919-BBD5-CD8987C5B85F}"/>
              </a:ext>
            </a:extLst>
          </p:cNvPr>
          <p:cNvCxnSpPr>
            <a:cxnSpLocks/>
          </p:cNvCxnSpPr>
          <p:nvPr>
            <p:custDataLst>
              <p:tags r:id="rId159"/>
            </p:custDataLst>
          </p:nvPr>
        </p:nvCxnSpPr>
        <p:spPr bwMode="auto">
          <a:xfrm flipH="1" flipV="1">
            <a:off x="8642350" y="5502275"/>
            <a:ext cx="47625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02D367C-1A02-3459-9C2D-9BD3F848C065}"/>
              </a:ext>
            </a:extLst>
          </p:cNvPr>
          <p:cNvCxnSpPr/>
          <p:nvPr>
            <p:custDataLst>
              <p:tags r:id="rId160"/>
            </p:custDataLst>
          </p:nvPr>
        </p:nvCxnSpPr>
        <p:spPr bwMode="auto">
          <a:xfrm flipH="1" flipV="1">
            <a:off x="2952750" y="5468938"/>
            <a:ext cx="47625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接连接符 158">
            <a:extLst>
              <a:ext uri="{FF2B5EF4-FFF2-40B4-BE49-F238E27FC236}">
                <a16:creationId xmlns:a16="http://schemas.microsoft.com/office/drawing/2014/main" id="{D7BC6C38-0B7D-990D-6937-E5CAFCC70F67}"/>
              </a:ext>
            </a:extLst>
          </p:cNvPr>
          <p:cNvCxnSpPr>
            <a:cxnSpLocks/>
          </p:cNvCxnSpPr>
          <p:nvPr>
            <p:custDataLst>
              <p:tags r:id="rId161"/>
            </p:custDataLst>
          </p:nvPr>
        </p:nvCxnSpPr>
        <p:spPr bwMode="auto">
          <a:xfrm flipH="1" flipV="1">
            <a:off x="9275763" y="5719763"/>
            <a:ext cx="47625" cy="47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5" name="直接连接符 1974">
            <a:extLst>
              <a:ext uri="{FF2B5EF4-FFF2-40B4-BE49-F238E27FC236}">
                <a16:creationId xmlns:a16="http://schemas.microsoft.com/office/drawing/2014/main" id="{4DA23102-C219-DB2E-2336-133280BA7949}"/>
              </a:ext>
            </a:extLst>
          </p:cNvPr>
          <p:cNvCxnSpPr/>
          <p:nvPr>
            <p:custDataLst>
              <p:tags r:id="rId162"/>
            </p:custDataLst>
          </p:nvPr>
        </p:nvCxnSpPr>
        <p:spPr bwMode="auto">
          <a:xfrm flipH="1">
            <a:off x="8010525" y="5454650"/>
            <a:ext cx="47625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497CD7EF-2824-5BEF-62B8-0B80F9A1815F}"/>
              </a:ext>
            </a:extLst>
          </p:cNvPr>
          <p:cNvCxnSpPr/>
          <p:nvPr>
            <p:custDataLst>
              <p:tags r:id="rId163"/>
            </p:custDataLst>
          </p:nvPr>
        </p:nvCxnSpPr>
        <p:spPr bwMode="auto">
          <a:xfrm flipH="1">
            <a:off x="4217988" y="5386388"/>
            <a:ext cx="47625" cy="1222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7" name="直接连接符 1966">
            <a:extLst>
              <a:ext uri="{FF2B5EF4-FFF2-40B4-BE49-F238E27FC236}">
                <a16:creationId xmlns:a16="http://schemas.microsoft.com/office/drawing/2014/main" id="{EDAA4A02-6541-F89F-268C-C83BBCCEE0EC}"/>
              </a:ext>
            </a:extLst>
          </p:cNvPr>
          <p:cNvCxnSpPr>
            <a:cxnSpLocks/>
          </p:cNvCxnSpPr>
          <p:nvPr>
            <p:custDataLst>
              <p:tags r:id="rId164"/>
            </p:custDataLst>
          </p:nvPr>
        </p:nvCxnSpPr>
        <p:spPr bwMode="auto">
          <a:xfrm flipH="1" flipV="1">
            <a:off x="6113463" y="5564188"/>
            <a:ext cx="47625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7" name="直接连接符 1946">
            <a:extLst>
              <a:ext uri="{FF2B5EF4-FFF2-40B4-BE49-F238E27FC236}">
                <a16:creationId xmlns:a16="http://schemas.microsoft.com/office/drawing/2014/main" id="{17B4B5F2-E8FC-ADF3-19A3-A3DB0AB35F4C}"/>
              </a:ext>
            </a:extLst>
          </p:cNvPr>
          <p:cNvCxnSpPr>
            <a:cxnSpLocks/>
          </p:cNvCxnSpPr>
          <p:nvPr>
            <p:custDataLst>
              <p:tags r:id="rId165"/>
            </p:custDataLst>
          </p:nvPr>
        </p:nvCxnSpPr>
        <p:spPr bwMode="auto">
          <a:xfrm flipH="1" flipV="1">
            <a:off x="2952750" y="5657849"/>
            <a:ext cx="47625" cy="222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4" name="直接连接符 1953">
            <a:extLst>
              <a:ext uri="{FF2B5EF4-FFF2-40B4-BE49-F238E27FC236}">
                <a16:creationId xmlns:a16="http://schemas.microsoft.com/office/drawing/2014/main" id="{20A2C0B9-1883-F3FF-E1DC-752F91EC303A}"/>
              </a:ext>
            </a:extLst>
          </p:cNvPr>
          <p:cNvCxnSpPr/>
          <p:nvPr>
            <p:custDataLst>
              <p:tags r:id="rId166"/>
            </p:custDataLst>
          </p:nvPr>
        </p:nvCxnSpPr>
        <p:spPr bwMode="auto">
          <a:xfrm flipH="1" flipV="1">
            <a:off x="4217988" y="5662613"/>
            <a:ext cx="47625" cy="123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6" name="直接连接符 1945">
            <a:extLst>
              <a:ext uri="{FF2B5EF4-FFF2-40B4-BE49-F238E27FC236}">
                <a16:creationId xmlns:a16="http://schemas.microsoft.com/office/drawing/2014/main" id="{740B77F3-F5EF-99B7-D85D-596545B2F04F}"/>
              </a:ext>
            </a:extLst>
          </p:cNvPr>
          <p:cNvCxnSpPr>
            <a:cxnSpLocks/>
          </p:cNvCxnSpPr>
          <p:nvPr>
            <p:custDataLst>
              <p:tags r:id="rId167"/>
            </p:custDataLst>
          </p:nvPr>
        </p:nvCxnSpPr>
        <p:spPr bwMode="auto">
          <a:xfrm flipH="1" flipV="1">
            <a:off x="2952750" y="5578475"/>
            <a:ext cx="47625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D0706066-60C2-4883-715C-9FC2C4B1684F}"/>
              </a:ext>
            </a:extLst>
          </p:cNvPr>
          <p:cNvCxnSpPr>
            <a:cxnSpLocks/>
          </p:cNvCxnSpPr>
          <p:nvPr>
            <p:custDataLst>
              <p:tags r:id="rId168"/>
            </p:custDataLst>
          </p:nvPr>
        </p:nvCxnSpPr>
        <p:spPr bwMode="auto">
          <a:xfrm flipH="1">
            <a:off x="4849813" y="5408612"/>
            <a:ext cx="47625" cy="133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直接连接符 133">
            <a:extLst>
              <a:ext uri="{FF2B5EF4-FFF2-40B4-BE49-F238E27FC236}">
                <a16:creationId xmlns:a16="http://schemas.microsoft.com/office/drawing/2014/main" id="{F39DE797-6E83-C6E1-E872-5E203764A14F}"/>
              </a:ext>
            </a:extLst>
          </p:cNvPr>
          <p:cNvCxnSpPr/>
          <p:nvPr>
            <p:custDataLst>
              <p:tags r:id="rId169"/>
            </p:custDataLst>
          </p:nvPr>
        </p:nvCxnSpPr>
        <p:spPr bwMode="auto">
          <a:xfrm flipH="1" flipV="1">
            <a:off x="5481638" y="5597525"/>
            <a:ext cx="47625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6E16BA44-DF5E-92A1-A324-C50C080F024E}"/>
              </a:ext>
            </a:extLst>
          </p:cNvPr>
          <p:cNvCxnSpPr>
            <a:cxnSpLocks/>
          </p:cNvCxnSpPr>
          <p:nvPr>
            <p:custDataLst>
              <p:tags r:id="rId170"/>
            </p:custDataLst>
          </p:nvPr>
        </p:nvCxnSpPr>
        <p:spPr bwMode="auto">
          <a:xfrm flipH="1" flipV="1">
            <a:off x="3584575" y="5549900"/>
            <a:ext cx="47625" cy="746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0" name="直接连接符 1959">
            <a:extLst>
              <a:ext uri="{FF2B5EF4-FFF2-40B4-BE49-F238E27FC236}">
                <a16:creationId xmlns:a16="http://schemas.microsoft.com/office/drawing/2014/main" id="{0D1E6ED6-6DFF-2EDC-F8E8-9FCDE6F4F1B4}"/>
              </a:ext>
            </a:extLst>
          </p:cNvPr>
          <p:cNvCxnSpPr>
            <a:cxnSpLocks/>
          </p:cNvCxnSpPr>
          <p:nvPr>
            <p:custDataLst>
              <p:tags r:id="rId171"/>
            </p:custDataLst>
          </p:nvPr>
        </p:nvCxnSpPr>
        <p:spPr bwMode="auto">
          <a:xfrm flipH="1">
            <a:off x="4849813" y="5475288"/>
            <a:ext cx="47625" cy="746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2" name="直接连接符 1951">
            <a:extLst>
              <a:ext uri="{FF2B5EF4-FFF2-40B4-BE49-F238E27FC236}">
                <a16:creationId xmlns:a16="http://schemas.microsoft.com/office/drawing/2014/main" id="{9F6C5C97-6F97-B3B9-2103-574FFD071DD2}"/>
              </a:ext>
            </a:extLst>
          </p:cNvPr>
          <p:cNvCxnSpPr/>
          <p:nvPr>
            <p:custDataLst>
              <p:tags r:id="rId172"/>
            </p:custDataLst>
          </p:nvPr>
        </p:nvCxnSpPr>
        <p:spPr bwMode="auto">
          <a:xfrm flipH="1" flipV="1">
            <a:off x="3584575" y="5586413"/>
            <a:ext cx="4762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直接连接符 163">
            <a:extLst>
              <a:ext uri="{FF2B5EF4-FFF2-40B4-BE49-F238E27FC236}">
                <a16:creationId xmlns:a16="http://schemas.microsoft.com/office/drawing/2014/main" id="{DAB7F0AC-6E46-96DB-F7DC-457F9A78F6E5}"/>
              </a:ext>
            </a:extLst>
          </p:cNvPr>
          <p:cNvCxnSpPr/>
          <p:nvPr>
            <p:custDataLst>
              <p:tags r:id="rId173"/>
            </p:custDataLst>
          </p:nvPr>
        </p:nvCxnSpPr>
        <p:spPr bwMode="auto">
          <a:xfrm flipH="1" flipV="1">
            <a:off x="2952750" y="5627688"/>
            <a:ext cx="47625" cy="1190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接连接符 164">
            <a:extLst>
              <a:ext uri="{FF2B5EF4-FFF2-40B4-BE49-F238E27FC236}">
                <a16:creationId xmlns:a16="http://schemas.microsoft.com/office/drawing/2014/main" id="{6FC779B6-D6D2-E737-8D24-6B8770318291}"/>
              </a:ext>
            </a:extLst>
          </p:cNvPr>
          <p:cNvCxnSpPr/>
          <p:nvPr>
            <p:custDataLst>
              <p:tags r:id="rId174"/>
            </p:custDataLst>
          </p:nvPr>
        </p:nvCxnSpPr>
        <p:spPr bwMode="auto">
          <a:xfrm flipH="1">
            <a:off x="4217988" y="5519738"/>
            <a:ext cx="47625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直接连接符 134">
            <a:extLst>
              <a:ext uri="{FF2B5EF4-FFF2-40B4-BE49-F238E27FC236}">
                <a16:creationId xmlns:a16="http://schemas.microsoft.com/office/drawing/2014/main" id="{22845195-F19E-1E7D-D556-3E518C81794D}"/>
              </a:ext>
            </a:extLst>
          </p:cNvPr>
          <p:cNvCxnSpPr/>
          <p:nvPr>
            <p:custDataLst>
              <p:tags r:id="rId175"/>
            </p:custDataLst>
          </p:nvPr>
        </p:nvCxnSpPr>
        <p:spPr bwMode="auto">
          <a:xfrm flipH="1">
            <a:off x="6113463" y="5459412"/>
            <a:ext cx="476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直接连接符 166">
            <a:extLst>
              <a:ext uri="{FF2B5EF4-FFF2-40B4-BE49-F238E27FC236}">
                <a16:creationId xmlns:a16="http://schemas.microsoft.com/office/drawing/2014/main" id="{0BD76998-9CDB-1757-0321-4AEA26B31DB8}"/>
              </a:ext>
            </a:extLst>
          </p:cNvPr>
          <p:cNvCxnSpPr/>
          <p:nvPr>
            <p:custDataLst>
              <p:tags r:id="rId176"/>
            </p:custDataLst>
          </p:nvPr>
        </p:nvCxnSpPr>
        <p:spPr bwMode="auto">
          <a:xfrm flipH="1">
            <a:off x="8642350" y="5457825"/>
            <a:ext cx="47625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直接连接符 167">
            <a:extLst>
              <a:ext uri="{FF2B5EF4-FFF2-40B4-BE49-F238E27FC236}">
                <a16:creationId xmlns:a16="http://schemas.microsoft.com/office/drawing/2014/main" id="{6646AA18-5D8D-1C76-0A59-6BB9F3AEA6DA}"/>
              </a:ext>
            </a:extLst>
          </p:cNvPr>
          <p:cNvCxnSpPr/>
          <p:nvPr>
            <p:custDataLst>
              <p:tags r:id="rId177"/>
            </p:custDataLst>
          </p:nvPr>
        </p:nvCxnSpPr>
        <p:spPr bwMode="auto">
          <a:xfrm flipH="1">
            <a:off x="9275763" y="5634038"/>
            <a:ext cx="47625" cy="460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5" name="直接连接符 1964">
            <a:extLst>
              <a:ext uri="{FF2B5EF4-FFF2-40B4-BE49-F238E27FC236}">
                <a16:creationId xmlns:a16="http://schemas.microsoft.com/office/drawing/2014/main" id="{9BE48E32-BAF6-B9CC-D505-9C85A23EB2C2}"/>
              </a:ext>
            </a:extLst>
          </p:cNvPr>
          <p:cNvCxnSpPr>
            <a:cxnSpLocks/>
          </p:cNvCxnSpPr>
          <p:nvPr>
            <p:custDataLst>
              <p:tags r:id="rId178"/>
            </p:custDataLst>
          </p:nvPr>
        </p:nvCxnSpPr>
        <p:spPr bwMode="auto">
          <a:xfrm flipH="1" flipV="1">
            <a:off x="6113463" y="5648325"/>
            <a:ext cx="47625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49D63ACB-A030-422B-EE90-7AC4A69D43CA}"/>
              </a:ext>
            </a:extLst>
          </p:cNvPr>
          <p:cNvCxnSpPr/>
          <p:nvPr>
            <p:custDataLst>
              <p:tags r:id="rId179"/>
            </p:custDataLst>
          </p:nvPr>
        </p:nvCxnSpPr>
        <p:spPr bwMode="auto">
          <a:xfrm flipH="1" flipV="1">
            <a:off x="6746875" y="5632450"/>
            <a:ext cx="47625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2" name="直接连接符 1861">
            <a:extLst>
              <a:ext uri="{FF2B5EF4-FFF2-40B4-BE49-F238E27FC236}">
                <a16:creationId xmlns:a16="http://schemas.microsoft.com/office/drawing/2014/main" id="{91C00302-45AE-14F2-B541-2E8ED262889F}"/>
              </a:ext>
            </a:extLst>
          </p:cNvPr>
          <p:cNvCxnSpPr>
            <a:cxnSpLocks/>
          </p:cNvCxnSpPr>
          <p:nvPr>
            <p:custDataLst>
              <p:tags r:id="rId180"/>
            </p:custDataLst>
          </p:nvPr>
        </p:nvCxnSpPr>
        <p:spPr bwMode="auto">
          <a:xfrm flipH="1">
            <a:off x="6746875" y="5456237"/>
            <a:ext cx="47625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9" name="直接连接符 1948">
            <a:extLst>
              <a:ext uri="{FF2B5EF4-FFF2-40B4-BE49-F238E27FC236}">
                <a16:creationId xmlns:a16="http://schemas.microsoft.com/office/drawing/2014/main" id="{C9EE11E5-6901-6EAB-7E18-5ED9D6913D4C}"/>
              </a:ext>
            </a:extLst>
          </p:cNvPr>
          <p:cNvCxnSpPr>
            <a:cxnSpLocks/>
          </p:cNvCxnSpPr>
          <p:nvPr>
            <p:custDataLst>
              <p:tags r:id="rId181"/>
            </p:custDataLst>
          </p:nvPr>
        </p:nvCxnSpPr>
        <p:spPr bwMode="auto">
          <a:xfrm flipH="1" flipV="1">
            <a:off x="3584575" y="5438775"/>
            <a:ext cx="47625" cy="1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1" name="直接连接符 1960">
            <a:extLst>
              <a:ext uri="{FF2B5EF4-FFF2-40B4-BE49-F238E27FC236}">
                <a16:creationId xmlns:a16="http://schemas.microsoft.com/office/drawing/2014/main" id="{7363D516-3D68-CDA6-D255-19B788285CA6}"/>
              </a:ext>
            </a:extLst>
          </p:cNvPr>
          <p:cNvCxnSpPr>
            <a:cxnSpLocks/>
          </p:cNvCxnSpPr>
          <p:nvPr>
            <p:custDataLst>
              <p:tags r:id="rId182"/>
            </p:custDataLst>
          </p:nvPr>
        </p:nvCxnSpPr>
        <p:spPr bwMode="auto">
          <a:xfrm flipH="1">
            <a:off x="5481638" y="5554663"/>
            <a:ext cx="47625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71" name="Text Placeholder 3">
            <a:extLst>
              <a:ext uri="{FF2B5EF4-FFF2-40B4-BE49-F238E27FC236}">
                <a16:creationId xmlns:a16="http://schemas.microsoft.com/office/drawing/2014/main" id="{88E6662D-0776-7053-4A00-AC49E629CB98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gray">
          <a:xfrm>
            <a:off x="3000375" y="54800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2AB78A-B2C4-4C2C-BFBD-EA7CE8F14C30}" type="datetime'''''''''''''''''''''''''''''''''''''''''''9'">
              <a:rPr lang="zh-CN" altLang="en-US" sz="800" smtClean="0"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3" name="Text Placeholder 3">
            <a:extLst>
              <a:ext uri="{FF2B5EF4-FFF2-40B4-BE49-F238E27FC236}">
                <a16:creationId xmlns:a16="http://schemas.microsoft.com/office/drawing/2014/main" id="{05407D80-E416-6E11-84C7-DD78FC13A95D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gray">
          <a:xfrm>
            <a:off x="2781300" y="5457825"/>
            <a:ext cx="142875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AA42E3-412F-40E1-997C-0F3CB47ABEF4}" type="datetime'''''''''''''''''''''''''''''''''11'''''''''">
              <a:rPr lang="zh-CN" altLang="en-US" sz="800" smtClean="0">
                <a:effectLst/>
                <a:latin typeface="+mn-lt"/>
                <a:cs typeface="+mn-cs"/>
              </a:rPr>
              <a:pPr/>
              <a:t>1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4" name="Text Placeholder 3">
            <a:extLst>
              <a:ext uri="{FF2B5EF4-FFF2-40B4-BE49-F238E27FC236}">
                <a16:creationId xmlns:a16="http://schemas.microsoft.com/office/drawing/2014/main" id="{8077CC67-114E-440D-72A2-735F5CE7AAD4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gray">
          <a:xfrm>
            <a:off x="7426325" y="536892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D02A8A7-B165-431D-B495-CA72E3BB1981}" type="datetime'''''''''''''''''1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3" name="Text Placeholder 3">
            <a:extLst>
              <a:ext uri="{FF2B5EF4-FFF2-40B4-BE49-F238E27FC236}">
                <a16:creationId xmlns:a16="http://schemas.microsoft.com/office/drawing/2014/main" id="{EAFD658F-06C7-F532-5625-5D9375F58080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gray">
          <a:xfrm>
            <a:off x="3000375" y="588010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363B53-9D08-4E78-BA09-47F77BFEE4EF}" type="datetime'''''''''-''2'''''''''''''''''''''''''''''''''''''''''''''''''">
              <a:rPr lang="zh-CN" altLang="en-US" sz="800" smtClean="0">
                <a:latin typeface="+mn-lt"/>
                <a:cs typeface="+mn-cs"/>
              </a:rPr>
              <a:pPr/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0" name="Text Placeholder 3">
            <a:extLst>
              <a:ext uri="{FF2B5EF4-FFF2-40B4-BE49-F238E27FC236}">
                <a16:creationId xmlns:a16="http://schemas.microsoft.com/office/drawing/2014/main" id="{A0D250D8-7915-2211-F695-A7C95122C779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gray">
          <a:xfrm>
            <a:off x="7288213" y="5529263"/>
            <a:ext cx="119063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ED2E3E-B8CB-4177-9B88-AA6A52EBC5AA}" type="datetime'''''-''''''''''''''''''''''''''1''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7" name="Text Placeholder 3">
            <a:extLst>
              <a:ext uri="{FF2B5EF4-FFF2-40B4-BE49-F238E27FC236}">
                <a16:creationId xmlns:a16="http://schemas.microsoft.com/office/drawing/2014/main" id="{92E78387-A1A9-4B85-85D5-C376AF73F395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gray">
          <a:xfrm>
            <a:off x="7153275" y="5556250"/>
            <a:ext cx="11906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4BF17C-1833-4AB4-960B-0056298570DA}" type="datetime'''''''''''''''''''''''-''''''''''''''''9'''''">
              <a:rPr lang="zh-CN" altLang="en-US" sz="800" smtClean="0">
                <a:effectLst/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6" name="Text Placeholder 3">
            <a:extLst>
              <a:ext uri="{FF2B5EF4-FFF2-40B4-BE49-F238E27FC236}">
                <a16:creationId xmlns:a16="http://schemas.microsoft.com/office/drawing/2014/main" id="{BD4723EF-B9F8-BE01-6B9B-B7369FFB0132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gray">
          <a:xfrm>
            <a:off x="7426325" y="55022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4739F7-0758-4F87-9E51-BE6BD1341DB2}" type="datetime'''''''''''''''''''''''''''''''''''8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2" name="Text Placeholder 3">
            <a:extLst>
              <a:ext uri="{FF2B5EF4-FFF2-40B4-BE49-F238E27FC236}">
                <a16:creationId xmlns:a16="http://schemas.microsoft.com/office/drawing/2014/main" id="{4BA3AAFE-425B-0FE9-F37C-6372EE6EF387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gray">
          <a:xfrm>
            <a:off x="3000375" y="561340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7002B5-36AF-48D2-9DF5-A2DA0C0A605B}" type="datetime'''''''''''''''''''''''8''''''''''''''''''''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5" name="Text Placeholder 3">
            <a:extLst>
              <a:ext uri="{FF2B5EF4-FFF2-40B4-BE49-F238E27FC236}">
                <a16:creationId xmlns:a16="http://schemas.microsoft.com/office/drawing/2014/main" id="{F78ED92F-515F-C4BF-58DB-998EDD5BE519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gray">
          <a:xfrm>
            <a:off x="7426325" y="563562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B54CE4E-3392-42E9-9AFF-8D7CBCBC5040}" type="datetime'''''''''''''''''''''''''''''''''''''''1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1" name="Text Placeholder 3">
            <a:extLst>
              <a:ext uri="{FF2B5EF4-FFF2-40B4-BE49-F238E27FC236}">
                <a16:creationId xmlns:a16="http://schemas.microsoft.com/office/drawing/2014/main" id="{5B56FCE9-40A0-6DB6-DE94-BB939049C5E6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gray">
          <a:xfrm>
            <a:off x="3000375" y="57467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CFF3DE-6E80-4AA6-83D1-3E932015B146}" type="datetime'''''''9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6" name="Text Placeholder 3">
            <a:extLst>
              <a:ext uri="{FF2B5EF4-FFF2-40B4-BE49-F238E27FC236}">
                <a16:creationId xmlns:a16="http://schemas.microsoft.com/office/drawing/2014/main" id="{A0DF08CB-77C3-AF09-DD50-ECBA6C70CD31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gray">
          <a:xfrm>
            <a:off x="7839075" y="5426075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A732FA-89C1-423B-8C37-0CB750B414C5}" type="datetime'''''''''''''''''''2''''''''''''''0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68" name="Text Placeholder 3">
            <a:extLst>
              <a:ext uri="{FF2B5EF4-FFF2-40B4-BE49-F238E27FC236}">
                <a16:creationId xmlns:a16="http://schemas.microsoft.com/office/drawing/2014/main" id="{D517B235-34AE-0C88-574E-EE674E6E106A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gray">
          <a:xfrm>
            <a:off x="8058150" y="5654675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27152E-1199-4A57-8540-C099122546D0}" type="datetime'''''''''''''-''''''''3'''''''''">
              <a:rPr lang="zh-CN" altLang="en-US" sz="800" smtClean="0">
                <a:latin typeface="+mn-lt"/>
                <a:cs typeface="+mn-cs"/>
              </a:rPr>
              <a:pPr/>
              <a:t>-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6" name="Text Placeholder 3">
            <a:extLst>
              <a:ext uri="{FF2B5EF4-FFF2-40B4-BE49-F238E27FC236}">
                <a16:creationId xmlns:a16="http://schemas.microsoft.com/office/drawing/2014/main" id="{30D492D9-5BDD-171C-A10A-02BDAD3A9C9A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gray">
          <a:xfrm>
            <a:off x="3397250" y="5429250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4CA308-9E25-423C-803A-A30A75FC7512}" type="datetime'''''''''''-''''''''''''''''1''''''''5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1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40" name="Text Placeholder 3">
            <a:extLst>
              <a:ext uri="{FF2B5EF4-FFF2-40B4-BE49-F238E27FC236}">
                <a16:creationId xmlns:a16="http://schemas.microsoft.com/office/drawing/2014/main" id="{5506685F-6CA3-05CA-6610-3EA74C0D2B1B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gray">
          <a:xfrm>
            <a:off x="7851775" y="5573713"/>
            <a:ext cx="11906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1D3482-9340-408E-911D-2B848F492F1A}" type="datetime'''''''''''''-''''9'''">
              <a:rPr lang="zh-CN" altLang="en-US" sz="800" smtClean="0">
                <a:effectLst/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9" name="Text Placeholder 3">
            <a:extLst>
              <a:ext uri="{FF2B5EF4-FFF2-40B4-BE49-F238E27FC236}">
                <a16:creationId xmlns:a16="http://schemas.microsoft.com/office/drawing/2014/main" id="{7B391AF9-8203-6A30-657C-FBFB56AE25F8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gray">
          <a:xfrm>
            <a:off x="8058150" y="53879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91C34CB-5F29-4FFC-98B1-A0F5D8B15580}" type="datetime'''8''''''''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1" name="Text Placeholder 3">
            <a:extLst>
              <a:ext uri="{FF2B5EF4-FFF2-40B4-BE49-F238E27FC236}">
                <a16:creationId xmlns:a16="http://schemas.microsoft.com/office/drawing/2014/main" id="{08716696-DF0E-ED84-2AFA-2C9F7E84F462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gray">
          <a:xfrm>
            <a:off x="3632200" y="55578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0B1A769-C6B2-4F47-BC29-BD0DF0E4A07B}" type="datetime'''-''''''5'''''''">
              <a:rPr lang="zh-CN" altLang="en-US" sz="800" smtClean="0">
                <a:latin typeface="+mn-lt"/>
                <a:cs typeface="+mn-cs"/>
              </a:rPr>
              <a:pPr/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8" name="Text Placeholder 3">
            <a:extLst>
              <a:ext uri="{FF2B5EF4-FFF2-40B4-BE49-F238E27FC236}">
                <a16:creationId xmlns:a16="http://schemas.microsoft.com/office/drawing/2014/main" id="{C4488964-0B6C-771A-98DA-3243D06D7B48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gray">
          <a:xfrm>
            <a:off x="8058150" y="552132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609B1F5-E420-4B07-B2EE-8615B1B002AC}" type="datetime'''1''''''''''''''''''''''''''''''''''''''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8" name="Text Placeholder 3">
            <a:extLst>
              <a:ext uri="{FF2B5EF4-FFF2-40B4-BE49-F238E27FC236}">
                <a16:creationId xmlns:a16="http://schemas.microsoft.com/office/drawing/2014/main" id="{F7FFD5AC-6408-3AD4-A244-A3C8BA6B9DA4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gray">
          <a:xfrm>
            <a:off x="3632200" y="56911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BADD43-B7F4-45A2-A905-B2654FE6469D}" type="datetime'''''''''-''''''''''''''''''''''''''''''''''''''''''''''''''9'">
              <a:rPr lang="zh-CN" altLang="en-US" sz="800" smtClean="0"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0" name="Text Placeholder 3">
            <a:extLst>
              <a:ext uri="{FF2B5EF4-FFF2-40B4-BE49-F238E27FC236}">
                <a16:creationId xmlns:a16="http://schemas.microsoft.com/office/drawing/2014/main" id="{C6E07732-9031-9168-BFB0-CEF03BD54EC3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gray">
          <a:xfrm>
            <a:off x="8455025" y="54752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26798C-E2EB-4EA1-A9CC-9AC12393FD79}" type="datetime'''''''''''-''''''''''''''''''''''1''''''''''''3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2" name="Text Placeholder 3">
            <a:extLst>
              <a:ext uri="{FF2B5EF4-FFF2-40B4-BE49-F238E27FC236}">
                <a16:creationId xmlns:a16="http://schemas.microsoft.com/office/drawing/2014/main" id="{09AB5DCE-0365-9D0D-3880-236DD3DFA061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gray">
          <a:xfrm>
            <a:off x="8689975" y="525780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21365D9-A4C4-4EC3-8FD6-419E0435C223}" type="datetime'''''''''1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7" name="Text Placeholder 3">
            <a:extLst>
              <a:ext uri="{FF2B5EF4-FFF2-40B4-BE49-F238E27FC236}">
                <a16:creationId xmlns:a16="http://schemas.microsoft.com/office/drawing/2014/main" id="{151EFE26-6235-2295-A10E-FF7300A2E6EA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3632200" y="52403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98B224-1540-4352-A9A2-421E362C6EED}" type="datetime'''''8''''''''''''''''''''''''''''''''''''''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B0C8AEF4-39AF-183D-83E0-75D4AEF3F2B2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gray">
          <a:xfrm>
            <a:off x="8689975" y="565785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679F7F-69C0-48BA-84CB-8ACAF6D0024E}" type="datetime'''''''''''''''''''''-''''''''''''''''''''''''''''''''''7'''">
              <a:rPr lang="zh-CN" altLang="en-US" sz="800" smtClean="0">
                <a:latin typeface="+mn-lt"/>
                <a:cs typeface="+mn-cs"/>
              </a:rPr>
              <a:pPr/>
              <a:t>-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14" name="Text Placeholder 3">
            <a:extLst>
              <a:ext uri="{FF2B5EF4-FFF2-40B4-BE49-F238E27FC236}">
                <a16:creationId xmlns:a16="http://schemas.microsoft.com/office/drawing/2014/main" id="{BD8D97C7-D102-EA5B-14FE-83D8616F578E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3632200" y="53736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046C22-89C0-46C6-B44D-9B2210530DF9}" type="datetime'''''''''''''''''''''''''''''''''''''''''''''''''6'''''''''''">
              <a:rPr lang="zh-CN" altLang="en-US" sz="800" smtClean="0">
                <a:latin typeface="+mn-lt"/>
                <a:cs typeface="+mn-cs"/>
              </a:rPr>
              <a:pPr/>
              <a:t>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406C4F68-E406-2910-B1EB-71C7C57EF1DD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gray">
          <a:xfrm>
            <a:off x="8689975" y="53911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2CD90C-3C64-437A-9C62-0BE8BEE24542}" type="datetime'''''''''''''''9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83" name="Text Placeholder 3">
            <a:extLst>
              <a:ext uri="{FF2B5EF4-FFF2-40B4-BE49-F238E27FC236}">
                <a16:creationId xmlns:a16="http://schemas.microsoft.com/office/drawing/2014/main" id="{125A8E3A-1E53-7643-7C89-103156266D85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8689975" y="552450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FB730F-7B38-4FAE-AA14-4685878F8FC8}" type="datetime'''''''1''''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7" name="Text Placeholder 3">
            <a:extLst>
              <a:ext uri="{FF2B5EF4-FFF2-40B4-BE49-F238E27FC236}">
                <a16:creationId xmlns:a16="http://schemas.microsoft.com/office/drawing/2014/main" id="{EF6689EC-B591-6AF1-C4EC-3227A6F667A9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4265613" y="54530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5C2A5A0-3BD0-422E-B936-E1229B1B87BC}" type="datetime'''''''''-''''''''''''''''''''9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4" name="Text Placeholder 3">
            <a:extLst>
              <a:ext uri="{FF2B5EF4-FFF2-40B4-BE49-F238E27FC236}">
                <a16:creationId xmlns:a16="http://schemas.microsoft.com/office/drawing/2014/main" id="{C78E0AD3-36D9-095B-2798-4F5FE0BC4885}"/>
              </a:ext>
            </a:extLst>
          </p:cNvPr>
          <p:cNvSpPr>
            <a:spLocks/>
          </p:cNvSpPr>
          <p:nvPr>
            <p:custDataLst>
              <p:tags r:id="rId209"/>
            </p:custDataLst>
          </p:nvPr>
        </p:nvSpPr>
        <p:spPr bwMode="gray">
          <a:xfrm>
            <a:off x="9323388" y="55673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E192CEE-33C8-4A72-BDAF-8FFCC89D48A7}" type="datetime'-''''''''1''0''''''''''''''''''''''''''''''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8" name="Text Placeholder 3">
            <a:extLst>
              <a:ext uri="{FF2B5EF4-FFF2-40B4-BE49-F238E27FC236}">
                <a16:creationId xmlns:a16="http://schemas.microsoft.com/office/drawing/2014/main" id="{8365F0EE-90DC-3C07-287A-94B206AADA28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gray">
          <a:xfrm>
            <a:off x="4265613" y="55864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9D8C30D-A6FA-43EA-BC14-FF9B0FC70E3D}" type="datetime'''''''''''''''''''''''''''''''''''''''''-''''''''''''''4'''''">
              <a:rPr lang="zh-CN" altLang="en-US" sz="800" smtClean="0">
                <a:latin typeface="+mn-lt"/>
                <a:cs typeface="+mn-cs"/>
              </a:rPr>
              <a:pPr/>
              <a:t>-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2" name="Text Placeholder 3">
            <a:extLst>
              <a:ext uri="{FF2B5EF4-FFF2-40B4-BE49-F238E27FC236}">
                <a16:creationId xmlns:a16="http://schemas.microsoft.com/office/drawing/2014/main" id="{A9B3259F-B65B-1C87-8132-D8E45EDDAC6A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4030663" y="5562600"/>
            <a:ext cx="17621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B4EDAD-31AF-4020-A829-4FF02B190C8A}" type="datetime'''''-''''''''''''''''''''''''''1''0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78057A8B-CABE-ABE5-3079-1741B1A8B335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gray">
          <a:xfrm>
            <a:off x="9088438" y="58658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036236-9B5C-4E83-B95E-64003D0646C5}" type="datetime'''''''''''''''''''''-''''7''''''4'''''''''''">
              <a:rPr lang="zh-CN" altLang="en-US" sz="800" smtClean="0">
                <a:latin typeface="+mn-lt"/>
                <a:cs typeface="+mn-cs"/>
              </a:rPr>
              <a:pPr/>
              <a:t>-7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702CA7B5-A535-FAC0-8440-4BC4CF141BB7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9104313" y="5245100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78C5D0-3C0C-4BE7-A173-E4D5A4215BC3}" type="datetime'''''''''''''''''''''''''8''''''''''''6'''''''''''">
              <a:rPr lang="zh-CN" altLang="en-US" sz="800" smtClean="0">
                <a:effectLst/>
                <a:latin typeface="+mn-lt"/>
                <a:cs typeface="+mn-cs"/>
              </a:rPr>
              <a:pPr/>
              <a:t>8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BDB35F6-6B9A-BF4E-E283-0B21641E0117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gray">
          <a:xfrm>
            <a:off x="9104313" y="5532438"/>
            <a:ext cx="14287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9548EC-17AD-4363-AEAC-ABFAD0F350C9}" type="datetime'''''''''''''''1''''''9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1" name="Text Placeholder 3">
            <a:extLst>
              <a:ext uri="{FF2B5EF4-FFF2-40B4-BE49-F238E27FC236}">
                <a16:creationId xmlns:a16="http://schemas.microsoft.com/office/drawing/2014/main" id="{699F3721-4FDE-B4E5-B0C4-A7324B1A6704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gray">
          <a:xfrm>
            <a:off x="4265613" y="53197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858E51-8AC9-470B-B8B9-6E94CA1AD915}" type="datetime'''''''''''''''''''''''''''''''''''9'''''''''''''''">
              <a:rPr lang="zh-CN" altLang="en-US" sz="800" smtClean="0"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0" name="Text Placeholder 3">
            <a:extLst>
              <a:ext uri="{FF2B5EF4-FFF2-40B4-BE49-F238E27FC236}">
                <a16:creationId xmlns:a16="http://schemas.microsoft.com/office/drawing/2014/main" id="{C0C96CC1-849D-C47F-3011-B0A9D1D4E46A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4265613" y="57197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315FB5-002A-4ED1-B0F7-D645CCEE5540}" type="datetime'''''''''''-2'''''''''''''''''''''''">
              <a:rPr lang="zh-CN" altLang="en-US" sz="800" smtClean="0">
                <a:latin typeface="+mn-lt"/>
                <a:cs typeface="+mn-cs"/>
              </a:rPr>
              <a:pPr/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9" name="Text Placeholder 3">
            <a:extLst>
              <a:ext uri="{FF2B5EF4-FFF2-40B4-BE49-F238E27FC236}">
                <a16:creationId xmlns:a16="http://schemas.microsoft.com/office/drawing/2014/main" id="{8FADCA6A-0D3C-3458-0D6D-4974113153D6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4897438" y="52752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FDFD0C4-FBB0-4294-A2F0-48D6BD780B48}" type="datetime'''''''''''''''''''''''''''''''''''''''''''''''''''''0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5" name="Text Placeholder 3">
            <a:extLst>
              <a:ext uri="{FF2B5EF4-FFF2-40B4-BE49-F238E27FC236}">
                <a16:creationId xmlns:a16="http://schemas.microsoft.com/office/drawing/2014/main" id="{E7F286C7-2CCE-DF57-5848-56017BDA4A58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gray">
          <a:xfrm>
            <a:off x="4897438" y="54086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F83E7E9-E960-4070-9FAC-01E064D2CB7F}" type="datetime'''''''''''''''3'''''''''''''''''''''">
              <a:rPr lang="zh-CN" altLang="en-US" sz="800" smtClean="0">
                <a:latin typeface="+mn-lt"/>
                <a:cs typeface="+mn-cs"/>
              </a:rPr>
              <a:pPr/>
              <a:t>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5" name="Text Placeholder 3">
            <a:extLst>
              <a:ext uri="{FF2B5EF4-FFF2-40B4-BE49-F238E27FC236}">
                <a16:creationId xmlns:a16="http://schemas.microsoft.com/office/drawing/2014/main" id="{3485C98C-7F6A-4103-CB05-09FDBE33F85D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4624388" y="5567363"/>
            <a:ext cx="11906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8822A0-39C7-4CF9-A649-0383CD8CD594}" type="datetime'''''''''''''''''''-''5''''''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4" name="Text Placeholder 3">
            <a:extLst>
              <a:ext uri="{FF2B5EF4-FFF2-40B4-BE49-F238E27FC236}">
                <a16:creationId xmlns:a16="http://schemas.microsoft.com/office/drawing/2014/main" id="{90545DD3-659F-D754-8837-27C997A85952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gray">
          <a:xfrm>
            <a:off x="4775200" y="5518150"/>
            <a:ext cx="857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7C6C9C-4256-438D-A109-FD66072D87AD}" type="datetime'''''''''''''''''''''''''''''9'''''''''''">
              <a:rPr lang="zh-CN" altLang="en-US" sz="800" smtClean="0"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3" name="Text Placeholder 3">
            <a:extLst>
              <a:ext uri="{FF2B5EF4-FFF2-40B4-BE49-F238E27FC236}">
                <a16:creationId xmlns:a16="http://schemas.microsoft.com/office/drawing/2014/main" id="{95028E2A-B9BC-DEC6-9A2E-050FDA19E099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4897438" y="55927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15B84E-F04B-4180-B763-F980A52EB707}" type="datetime'''''2''''''''''''''''''''''''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6" name="Text Placeholder 3">
            <a:extLst>
              <a:ext uri="{FF2B5EF4-FFF2-40B4-BE49-F238E27FC236}">
                <a16:creationId xmlns:a16="http://schemas.microsoft.com/office/drawing/2014/main" id="{956B8C20-51FE-937D-8B3F-ED50A9704246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gray">
          <a:xfrm>
            <a:off x="5529263" y="53546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DD03E9-A6FC-48CD-BE13-9965A95CD549}" type="datetime'''''''''''''''''''''''''''''''''''''''''''''''1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7" name="Text Placeholder 3">
            <a:extLst>
              <a:ext uri="{FF2B5EF4-FFF2-40B4-BE49-F238E27FC236}">
                <a16:creationId xmlns:a16="http://schemas.microsoft.com/office/drawing/2014/main" id="{3505B40A-A35F-45C7-8F2D-FD3AF84F0164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5256213" y="5505450"/>
            <a:ext cx="119063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964D479-31A8-4BE5-9654-89FE5197160B}" type="datetime'''-''''''''''''''''''''''2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2" name="Text Placeholder 3">
            <a:extLst>
              <a:ext uri="{FF2B5EF4-FFF2-40B4-BE49-F238E27FC236}">
                <a16:creationId xmlns:a16="http://schemas.microsoft.com/office/drawing/2014/main" id="{870F128C-4204-436C-15CB-2F061BDDC964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6794500" y="552291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DF3E1E-D6D7-4227-8D7A-E0BA33D8E05F}" type="datetime'''1''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8" name="Text Placeholder 3">
            <a:extLst>
              <a:ext uri="{FF2B5EF4-FFF2-40B4-BE49-F238E27FC236}">
                <a16:creationId xmlns:a16="http://schemas.microsoft.com/office/drawing/2014/main" id="{ADE6BD44-08A7-C077-246D-6A1B8E33A367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5529263" y="56213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2EFAB2B-2CA7-4E12-AAE2-0C08710147F9}" type="datetime'''''''''''''''''''''''''''''''''''-''''''''7'''">
              <a:rPr lang="zh-CN" altLang="en-US" sz="800" smtClean="0">
                <a:latin typeface="+mn-lt"/>
                <a:cs typeface="+mn-cs"/>
              </a:rPr>
              <a:pPr/>
              <a:t>-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7" name="Text Placeholder 3">
            <a:extLst>
              <a:ext uri="{FF2B5EF4-FFF2-40B4-BE49-F238E27FC236}">
                <a16:creationId xmlns:a16="http://schemas.microsoft.com/office/drawing/2014/main" id="{4D8A25B8-F747-13B9-00B1-74E9ECE446A3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gray">
          <a:xfrm>
            <a:off x="5407025" y="5470525"/>
            <a:ext cx="857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61ADEC-23E6-4D64-A271-84F87C6D44EF}" type="datetime'''''''''''''''''''''''''''''9'''''''''">
              <a:rPr lang="zh-CN" altLang="en-US" sz="800" smtClean="0"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2" name="Text Placeholder 3">
            <a:extLst>
              <a:ext uri="{FF2B5EF4-FFF2-40B4-BE49-F238E27FC236}">
                <a16:creationId xmlns:a16="http://schemas.microsoft.com/office/drawing/2014/main" id="{1018C9FC-2E0F-03E8-DD80-2216768A8CC7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gray">
          <a:xfrm>
            <a:off x="2746375" y="521811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3E9B9B-2E19-47E9-858B-2B0872256764}" type="datetime'''''''''36'''''''''''''''''''''''''''''''''''''''">
              <a:rPr lang="zh-CN" altLang="en-US" smtClean="0">
                <a:latin typeface="+mn-lt"/>
                <a:cs typeface="+mn-cs"/>
              </a:rPr>
              <a:pPr/>
              <a:t>36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26" name="Text Placeholder 3">
            <a:extLst>
              <a:ext uri="{FF2B5EF4-FFF2-40B4-BE49-F238E27FC236}">
                <a16:creationId xmlns:a16="http://schemas.microsoft.com/office/drawing/2014/main" id="{40A97F92-77F9-D634-083D-B75C1A67E2A8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gray">
          <a:xfrm>
            <a:off x="5529263" y="54879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C5B1F8F-BE99-4997-BC99-077085D0B2BF}" type="datetime'''''''''''''''''''''''''''''''''''''''''''''1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89" name="Text Placeholder 3">
            <a:extLst>
              <a:ext uri="{FF2B5EF4-FFF2-40B4-BE49-F238E27FC236}">
                <a16:creationId xmlns:a16="http://schemas.microsoft.com/office/drawing/2014/main" id="{5C1A9586-BBAB-1982-558D-BDE434FF3DE0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6161088" y="552608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957163C-2C28-4907-A861-63F7F950CD09}" type="datetime'''''''''''''-''''''''''''''''''''''''''''''''2'">
              <a:rPr lang="zh-CN" altLang="en-US" sz="800" smtClean="0">
                <a:latin typeface="+mn-lt"/>
                <a:cs typeface="+mn-cs"/>
              </a:rPr>
              <a:pPr/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1" name="Text Placeholder 3">
            <a:extLst>
              <a:ext uri="{FF2B5EF4-FFF2-40B4-BE49-F238E27FC236}">
                <a16:creationId xmlns:a16="http://schemas.microsoft.com/office/drawing/2014/main" id="{DDB59E46-B3D0-DBF1-3D2D-D4343AC8894F}"/>
              </a:ext>
            </a:extLst>
          </p:cNvPr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6022975" y="5516563"/>
            <a:ext cx="119063" cy="133350"/>
          </a:xfrm>
          <a:prstGeom prst="rect">
            <a:avLst/>
          </a:prstGeom>
          <a:solidFill>
            <a:srgbClr val="D9EEF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9B31471-36DC-4659-8717-4088C03E94B3}" type="datetime'''''''-''''''''''''''5''''''''''''''''''''''''''''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1" name="Text Placeholder 3">
            <a:extLst>
              <a:ext uri="{FF2B5EF4-FFF2-40B4-BE49-F238E27FC236}">
                <a16:creationId xmlns:a16="http://schemas.microsoft.com/office/drawing/2014/main" id="{85F6D3EE-7D32-B4F2-506D-26DA59EA740A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5888038" y="5554663"/>
            <a:ext cx="119063" cy="133350"/>
          </a:xfrm>
          <a:prstGeom prst="rect">
            <a:avLst/>
          </a:prstGeom>
          <a:solidFill>
            <a:srgbClr val="EBD0DA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1D91AD-9B2C-41FE-B4A2-9EF9A9A513C2}" type="datetime'''''''''''''''''''''''''''''''''-''''''9'''">
              <a:rPr lang="zh-CN" altLang="en-US" sz="800" smtClean="0">
                <a:effectLst/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0" name="Text Placeholder 3">
            <a:extLst>
              <a:ext uri="{FF2B5EF4-FFF2-40B4-BE49-F238E27FC236}">
                <a16:creationId xmlns:a16="http://schemas.microsoft.com/office/drawing/2014/main" id="{F2909F36-E45F-A4F3-D879-823A37455F98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6161088" y="53927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AA1922A-2467-431A-9DF7-3E490B4B4AA8}" type="datetime'''''''''''''''''''''''''''''''''''''''''''''''''8'''''''''''''">
              <a:rPr lang="zh-CN" altLang="en-US" sz="800" smtClean="0"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29" name="Text Placeholder 3">
            <a:extLst>
              <a:ext uri="{FF2B5EF4-FFF2-40B4-BE49-F238E27FC236}">
                <a16:creationId xmlns:a16="http://schemas.microsoft.com/office/drawing/2014/main" id="{2BA62A35-183B-B661-2347-DD78A0764786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gray">
          <a:xfrm>
            <a:off x="6161088" y="5659438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86603B-E1B8-4276-812A-09423E10B3BF}" type="datetime'''''''''-''''''''''''''''''''''''''''''''''''''''''''1'">
              <a:rPr lang="zh-CN" altLang="en-US" sz="800" smtClean="0"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2" name="Text Placeholder 3">
            <a:extLst>
              <a:ext uri="{FF2B5EF4-FFF2-40B4-BE49-F238E27FC236}">
                <a16:creationId xmlns:a16="http://schemas.microsoft.com/office/drawing/2014/main" id="{C37B7ED7-4EBB-6773-ED9A-6A67640B094A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gray">
          <a:xfrm>
            <a:off x="6521450" y="5541963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F20E86-0C31-4610-9460-9DB244169A56}" type="datetime'''''''''''''''''''''''''''''''''-''''''2'''''''">
              <a:rPr lang="zh-CN" altLang="en-US" sz="800" smtClean="0"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3" name="Text Placeholder 3">
            <a:extLst>
              <a:ext uri="{FF2B5EF4-FFF2-40B4-BE49-F238E27FC236}">
                <a16:creationId xmlns:a16="http://schemas.microsoft.com/office/drawing/2014/main" id="{E0E6EB9C-DE28-14B6-3D4A-624AC9CC823B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gray">
          <a:xfrm>
            <a:off x="6794500" y="53895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9F003A-160C-4B87-AD1B-F34DB3011371}" type="datetime'''''''''''''''''''''''''''''''0'''''''''''''''''''''''''''''">
              <a:rPr lang="zh-CN" altLang="en-US" sz="800" smtClean="0"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4" name="Text Placeholder 3">
            <a:extLst>
              <a:ext uri="{FF2B5EF4-FFF2-40B4-BE49-F238E27FC236}">
                <a16:creationId xmlns:a16="http://schemas.microsoft.com/office/drawing/2014/main" id="{AC51F0AD-1BDA-29CF-4190-73CECF6F9CA3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gray">
          <a:xfrm>
            <a:off x="6794500" y="565626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CA8A00-0959-4E95-A8CF-F8BAF5069BEC}" type="datetime'''''''''''''''''''''''''''''''''''''''''-''''''''''''''''7'''">
              <a:rPr lang="zh-CN" altLang="en-US" sz="800" smtClean="0">
                <a:latin typeface="+mn-lt"/>
                <a:cs typeface="+mn-cs"/>
              </a:rPr>
              <a:pPr/>
              <a:t>-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933" name="Text Placeholder 3">
            <a:extLst>
              <a:ext uri="{FF2B5EF4-FFF2-40B4-BE49-F238E27FC236}">
                <a16:creationId xmlns:a16="http://schemas.microsoft.com/office/drawing/2014/main" id="{DF51D229-C6DB-4285-4680-002C8CD3AEEE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6672263" y="5505450"/>
            <a:ext cx="85725" cy="133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E6D0A2-7BFF-4B87-AEA7-1F51034B18DF}" type="datetime'''''''''''''''''''''''''''9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75" name="Text Placeholder 3">
            <a:extLst>
              <a:ext uri="{FF2B5EF4-FFF2-40B4-BE49-F238E27FC236}">
                <a16:creationId xmlns:a16="http://schemas.microsoft.com/office/drawing/2014/main" id="{0CCFA2B6-0C72-5E6F-55EA-74947500111E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gray">
          <a:xfrm>
            <a:off x="9323388" y="5700713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0DC9F0-4E4E-4F8F-BE0E-5EE8A68C0AEF}" type="datetime'''''''''''''''''''''''''''''-''''''4'''''''''''''''''''''''''">
              <a:rPr lang="zh-CN" altLang="en-US" sz="800" smtClean="0">
                <a:latin typeface="+mn-lt"/>
                <a:cs typeface="+mn-cs"/>
              </a:rPr>
              <a:pPr/>
              <a:t>-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97" name="矩形 1896">
            <a:extLst>
              <a:ext uri="{FF2B5EF4-FFF2-40B4-BE49-F238E27FC236}">
                <a16:creationId xmlns:a16="http://schemas.microsoft.com/office/drawing/2014/main" id="{7E61645E-D4DE-1737-7C85-F151A4F78B3A}"/>
              </a:ext>
            </a:extLst>
          </p:cNvPr>
          <p:cNvSpPr/>
          <p:nvPr>
            <p:custDataLst>
              <p:tags r:id="rId239"/>
            </p:custDataLst>
          </p:nvPr>
        </p:nvSpPr>
        <p:spPr bwMode="auto">
          <a:xfrm>
            <a:off x="554038" y="4881563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8" name="矩形 1897">
            <a:extLst>
              <a:ext uri="{FF2B5EF4-FFF2-40B4-BE49-F238E27FC236}">
                <a16:creationId xmlns:a16="http://schemas.microsoft.com/office/drawing/2014/main" id="{50793C40-3217-B638-6CF8-06766F96E06F}"/>
              </a:ext>
            </a:extLst>
          </p:cNvPr>
          <p:cNvSpPr/>
          <p:nvPr>
            <p:custDataLst>
              <p:tags r:id="rId240"/>
            </p:custDataLst>
          </p:nvPr>
        </p:nvSpPr>
        <p:spPr bwMode="auto">
          <a:xfrm>
            <a:off x="554038" y="5133975"/>
            <a:ext cx="214313" cy="160338"/>
          </a:xfrm>
          <a:prstGeom prst="rect">
            <a:avLst/>
          </a:prstGeom>
          <a:solidFill>
            <a:srgbClr val="D9EEF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0" name="矩形 1979">
            <a:extLst>
              <a:ext uri="{FF2B5EF4-FFF2-40B4-BE49-F238E27FC236}">
                <a16:creationId xmlns:a16="http://schemas.microsoft.com/office/drawing/2014/main" id="{774D4541-7094-3614-1ACD-51F27C222F81}"/>
              </a:ext>
            </a:extLst>
          </p:cNvPr>
          <p:cNvSpPr/>
          <p:nvPr>
            <p:custDataLst>
              <p:tags r:id="rId241"/>
            </p:custDataLst>
          </p:nvPr>
        </p:nvSpPr>
        <p:spPr bwMode="auto">
          <a:xfrm>
            <a:off x="554038" y="5386388"/>
            <a:ext cx="214313" cy="160338"/>
          </a:xfrm>
          <a:prstGeom prst="rect">
            <a:avLst/>
          </a:prstGeom>
          <a:solidFill>
            <a:srgbClr val="EBD0DA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1" name="矩形 1980">
            <a:extLst>
              <a:ext uri="{FF2B5EF4-FFF2-40B4-BE49-F238E27FC236}">
                <a16:creationId xmlns:a16="http://schemas.microsoft.com/office/drawing/2014/main" id="{3682E853-CF7F-8E6C-CDC0-01FE31016B72}"/>
              </a:ext>
            </a:extLst>
          </p:cNvPr>
          <p:cNvSpPr/>
          <p:nvPr>
            <p:custDataLst>
              <p:tags r:id="rId242"/>
            </p:custDataLst>
          </p:nvPr>
        </p:nvSpPr>
        <p:spPr bwMode="auto">
          <a:xfrm>
            <a:off x="554038" y="5638800"/>
            <a:ext cx="214313" cy="160338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982" name="矩形 1981">
            <a:extLst>
              <a:ext uri="{FF2B5EF4-FFF2-40B4-BE49-F238E27FC236}">
                <a16:creationId xmlns:a16="http://schemas.microsoft.com/office/drawing/2014/main" id="{3D7A7767-D695-A3C3-A43D-F11BD7B18C6C}"/>
              </a:ext>
            </a:extLst>
          </p:cNvPr>
          <p:cNvSpPr/>
          <p:nvPr>
            <p:custDataLst>
              <p:tags r:id="rId243"/>
            </p:custDataLst>
          </p:nvPr>
        </p:nvSpPr>
        <p:spPr bwMode="auto">
          <a:xfrm>
            <a:off x="554038" y="5891213"/>
            <a:ext cx="214313" cy="160338"/>
          </a:xfrm>
          <a:prstGeom prst="rect">
            <a:avLst/>
          </a:prstGeom>
          <a:pattFill prst="pct75">
            <a:fgClr>
              <a:schemeClr val="tx1"/>
            </a:fgClr>
            <a:bgClr>
              <a:schemeClr val="bg1"/>
            </a:bgClr>
          </a:patt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99" name="Text Placeholder 3">
            <a:extLst>
              <a:ext uri="{FF2B5EF4-FFF2-40B4-BE49-F238E27FC236}">
                <a16:creationId xmlns:a16="http://schemas.microsoft.com/office/drawing/2014/main" id="{35F861E0-E670-1833-A66F-B9FC34A0216A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819150" y="4862513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CF7E6A-35D0-4E7F-9FA7-C6F840960A9B}" type="datetime'''''''一''''''''''''级''''''''''''''''''''''''''''商'''">
              <a:rPr lang="zh-CN" altLang="en-US" smtClean="0">
                <a:latin typeface="+mn-lt"/>
                <a:cs typeface="+mn-cs"/>
              </a:rPr>
              <a:pPr/>
              <a:t>一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0" name="Text Placeholder 3">
            <a:extLst>
              <a:ext uri="{FF2B5EF4-FFF2-40B4-BE49-F238E27FC236}">
                <a16:creationId xmlns:a16="http://schemas.microsoft.com/office/drawing/2014/main" id="{66A09093-1895-D3C6-4933-8D3795C3DE61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819150" y="5114925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918C20-BC5D-4908-BA8F-CC18152B3AEB}" type="datetime'二''''''''级''''''''商'''''''''''''''''''''''''''''''''''''''">
              <a:rPr lang="zh-CN" altLang="en-US" smtClean="0">
                <a:latin typeface="+mn-lt"/>
                <a:cs typeface="+mn-cs"/>
              </a:rPr>
              <a:pPr/>
              <a:t>二级商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5" name="Text Placeholder 3">
            <a:extLst>
              <a:ext uri="{FF2B5EF4-FFF2-40B4-BE49-F238E27FC236}">
                <a16:creationId xmlns:a16="http://schemas.microsoft.com/office/drawing/2014/main" id="{4156B008-6D61-B92C-2524-4B32E6E7E8B7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819150" y="5367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C9B028-1B29-4058-8979-E53EDD95E36C}" type="datetime'''''''''零''''''售总仓库存''''变''''''''''''''''''''化'''''''''">
              <a:rPr lang="zh-CN" altLang="en-US" smtClean="0">
                <a:latin typeface="+mn-lt"/>
                <a:cs typeface="+mn-cs"/>
              </a:rPr>
              <a:pPr/>
              <a:t>零售总仓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6" name="Text Placeholder 3">
            <a:extLst>
              <a:ext uri="{FF2B5EF4-FFF2-40B4-BE49-F238E27FC236}">
                <a16:creationId xmlns:a16="http://schemas.microsoft.com/office/drawing/2014/main" id="{0E609E70-D654-E093-CABC-E441DF9087D7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819150" y="561975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B5DAE8-7EE8-4F40-9731-326E4D38AF30}" type="datetime'''辖''''''区''''外''总''''''''''''''''店购''''''''''进'">
              <a:rPr lang="zh-CN" altLang="en-US" smtClean="0">
                <a:latin typeface="+mn-lt"/>
                <a:cs typeface="+mn-cs"/>
              </a:rPr>
              <a:pPr/>
              <a:t>辖区外总店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907" name="Text Placeholder 3">
            <a:extLst>
              <a:ext uri="{FF2B5EF4-FFF2-40B4-BE49-F238E27FC236}">
                <a16:creationId xmlns:a16="http://schemas.microsoft.com/office/drawing/2014/main" id="{48297C37-4A2A-B186-8641-4658A474097B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819150" y="58721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EDFE12-0CCB-4F44-9292-1DAB8E1F45FD}" type="datetime'不可''''''追''''''''''''''''''''''踪''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82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41BBF53-6821-87F8-C638-20E9CA2440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831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2" imgW="473" imgH="476" progId="TCLayout.ActiveDocument.1">
                  <p:embed/>
                </p:oleObj>
              </mc:Choice>
              <mc:Fallback>
                <p:oleObj name="think-cell 幻灯片" r:id="rId52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BBF53-6821-87F8-C638-20E9CA244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260AD85-A093-F255-29AF-98CEE1B52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生意增长的最大贡献仍然来自</a:t>
            </a:r>
            <a:r>
              <a:rPr lang="en-US" altLang="zh-CN" sz="2000" dirty="0"/>
              <a:t>CV</a:t>
            </a:r>
            <a:r>
              <a:rPr lang="zh-CN" altLang="en-US" sz="2000" dirty="0"/>
              <a:t>，</a:t>
            </a:r>
            <a:r>
              <a:rPr lang="en-US" altLang="zh-CN" sz="2000" dirty="0"/>
              <a:t>CV YTD</a:t>
            </a:r>
            <a:r>
              <a:rPr lang="zh-CN" altLang="en-US" sz="2000" dirty="0"/>
              <a:t>增长</a:t>
            </a:r>
            <a:r>
              <a:rPr lang="en-US" altLang="zh-CN" sz="2000" dirty="0"/>
              <a:t>5.4%</a:t>
            </a:r>
            <a:r>
              <a:rPr lang="zh-CN" altLang="en-US" sz="2000" dirty="0"/>
              <a:t>（立</a:t>
            </a:r>
            <a:r>
              <a:rPr lang="en-US" altLang="zh-CN" sz="2000" dirty="0"/>
              <a:t>5.9%</a:t>
            </a:r>
            <a:r>
              <a:rPr lang="zh-CN" altLang="en-US" sz="2000" dirty="0"/>
              <a:t>、络</a:t>
            </a:r>
            <a:r>
              <a:rPr lang="en-US" altLang="zh-CN" sz="2000" dirty="0"/>
              <a:t>4.3%</a:t>
            </a:r>
            <a:r>
              <a:rPr lang="zh-CN" altLang="en-US" sz="2000" dirty="0"/>
              <a:t>），拉动整体生意</a:t>
            </a:r>
            <a:r>
              <a:rPr lang="en-US" altLang="zh-CN" sz="2000" dirty="0"/>
              <a:t>3.7%</a:t>
            </a:r>
            <a:r>
              <a:rPr lang="zh-CN" altLang="en-US" sz="2000" dirty="0"/>
              <a:t>增长</a:t>
            </a:r>
            <a:br>
              <a:rPr lang="en-US" altLang="zh-CN" sz="2000" dirty="0"/>
            </a:br>
            <a:r>
              <a:rPr lang="en-US" altLang="zh-CN" sz="2000" dirty="0"/>
              <a:t>Non-VBP</a:t>
            </a:r>
            <a:r>
              <a:rPr lang="zh-CN" altLang="en-US" sz="2000" dirty="0"/>
              <a:t>产品继续保持</a:t>
            </a:r>
            <a:r>
              <a:rPr lang="en-US" altLang="zh-CN" sz="2000" dirty="0"/>
              <a:t>20%</a:t>
            </a:r>
            <a:r>
              <a:rPr lang="zh-CN" altLang="en-US" sz="2000" dirty="0"/>
              <a:t>以上增长，拉动整体生意</a:t>
            </a:r>
            <a:r>
              <a:rPr lang="en-US" altLang="zh-CN" sz="2000" dirty="0"/>
              <a:t>1.9%</a:t>
            </a:r>
            <a:r>
              <a:rPr lang="zh-CN" altLang="en-US" sz="2000" dirty="0"/>
              <a:t>增长</a:t>
            </a:r>
            <a:br>
              <a:rPr lang="en-US" altLang="zh-CN" sz="2000" dirty="0"/>
            </a:br>
            <a:r>
              <a:rPr lang="en-US" altLang="zh-CN" sz="2000" dirty="0"/>
              <a:t>CV</a:t>
            </a:r>
            <a:r>
              <a:rPr lang="zh-CN" altLang="en-US" sz="2000" dirty="0"/>
              <a:t>和</a:t>
            </a:r>
            <a:r>
              <a:rPr lang="en-US" altLang="zh-CN" sz="2000" dirty="0"/>
              <a:t>Non-VBP</a:t>
            </a:r>
            <a:r>
              <a:rPr lang="zh-CN" altLang="en-US" sz="2000" dirty="0"/>
              <a:t>产品增长贡献较</a:t>
            </a:r>
            <a:r>
              <a:rPr lang="en-US" altLang="zh-CN" sz="2000" dirty="0"/>
              <a:t>9</a:t>
            </a:r>
            <a:r>
              <a:rPr lang="zh-CN" altLang="en-US" sz="2000" dirty="0"/>
              <a:t>月</a:t>
            </a:r>
            <a:r>
              <a:rPr lang="en-US" altLang="zh-CN" sz="2000" dirty="0"/>
              <a:t>YTD</a:t>
            </a:r>
            <a:r>
              <a:rPr lang="zh-CN" altLang="en-US" sz="2000" dirty="0"/>
              <a:t>进一步扩大</a:t>
            </a:r>
            <a:endParaRPr lang="en-US" sz="2000" dirty="0"/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683830DE-EACC-FB5A-4393-56B7300839B6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824913" y="225425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82E05BD-C0DD-0BB1-BAE5-4BF06AC1BCC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092200" y="42005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FBC43A04-1111-A5DD-160E-982FB399D77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795463" y="30749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E31E111A-8741-939C-9453-657B7F8EB85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497138" y="27066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C3A9570C-E34E-5562-413D-1029E9DBFD6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200400" y="284797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C965C546-ABFE-7774-C63F-3FF1E3FD332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903663" y="29003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5F845711-8F8B-586E-ED39-0DCF88A6BA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606925" y="28416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FD04714B-84BF-846B-016B-902763B19A8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10188" y="28114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FF4CE60-27EE-6F7D-7AAE-BD745A17539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013450" y="27781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5CE318FF-429B-B32E-87E2-DEC4B6BA389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715125" y="275272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18314241-E1F1-0AE7-C24E-CCDEDE6BE0A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418388" y="2697163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7F4EE3E8-EE87-F538-289C-5E8D768E001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8121650" y="240665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6CE8E4A5-3FA5-59E4-D363-B3C8C48B093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528175" y="1943100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E3F2FA70-5DF5-58AC-9F3B-CC113ED715D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229850" y="1857375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F99CFA1A-CB5F-F34F-EEEA-0C582B01987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933113" y="1957388"/>
            <a:ext cx="3111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1970D199-547D-ACF0-C54A-C5843E0581E1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6738976"/>
              </p:ext>
            </p:extLst>
          </p:nvPr>
        </p:nvGraphicFramePr>
        <p:xfrm>
          <a:off x="461963" y="1774825"/>
          <a:ext cx="114125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BDE7D-080B-328D-F0DC-DCB7C0AD1BB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456363" y="2665413"/>
            <a:ext cx="128588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711769-2083-44E2-837A-4E32E7131265}" type="datetime'''''''''''''''8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94088D1-A9F9-204F-7F99-5BBAE6ADBA2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8491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A610A6-D828-43C7-A6A8-A2C550152C12}" type="datetime'''''万''''''''''''''''艾''''''''''''''''''''''''''''''''''可'">
              <a:rPr lang="zh-CN" altLang="en-US" smtClean="0">
                <a:latin typeface="+mn-lt"/>
                <a:cs typeface="+mn-cs"/>
              </a:rPr>
              <a:pPr/>
              <a:t>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88ECE33-AFE1-3699-2522-E2FBEC1E0A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15175" y="26241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6290BB-706E-467D-A928-326B675E3AE1}" type="datetime'''''''''''''''1''''''''''''''''''''8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AE46AC2-2296-FB9E-2A80-FBC2A14D05E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18438" y="24511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12CFAF-9420-49D7-B89C-1E4393A626BB}" type="datetime'''''9''''''''''''''''''''''''''''''''''''2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9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ED4E39C-6809-37EB-6C58-B9900263FD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68985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CB0559-9F32-451D-B382-EC42E132A46D}" type="datetime'''可''''''多''''''''''''''''''''''''''''''''''''''''''''''华'''">
              <a:rPr lang="zh-CN" altLang="en-US" smtClean="0">
                <a:latin typeface="+mn-lt"/>
                <a:cs typeface="+mn-cs"/>
              </a:rPr>
              <a:pPr/>
              <a:t>可多华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2E9B96A2-A425-18B3-1E20-7BEC4A1AF4C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521700" y="22304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A89D2D-4207-4F66-827C-483F1E09FD58}" type="datetime'''4''''''''''''''''''''8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CA30A7E-AADF-1E96-E9E9-6A99419D308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39311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525901-0C5F-4A97-BBAA-81ED3BA40D07}" type="datetime'爱宁达'''''''''">
              <a:rPr lang="zh-CN" altLang="en-US" smtClean="0">
                <a:latin typeface="+mn-lt"/>
                <a:cs typeface="+mn-cs"/>
              </a:rPr>
              <a:pPr/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669BA855-E23A-5BB8-5D43-41D3641770A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224963" y="19986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61A4B8-B603-49B1-B091-9AFE998F0514}" type="datetime'''''''''9''''''''''''''''''9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9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D5C54A0-1704-CBDF-39BB-89DA96DB902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76860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7D1F6C5-4C82-46FE-9B8C-662DB0C371FB}" type="datetime'''西''''''''''''''乐''''葆'''''''">
              <a:rPr lang="zh-CN" altLang="en-US" smtClean="0">
                <a:latin typeface="+mn-lt"/>
                <a:cs typeface="+mn-cs"/>
              </a:rPr>
              <a:pPr/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86AD5039-7B40-87A7-2C4C-C38E98A57D8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928225" y="1800225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4A0664-B037-4449-86D8-5D05D4EFEE7A}" type="datetime'''''''''''''''''''''''''''''2''''''''''''''''''7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7BC8CE3-355B-2AAF-7DD8-C2A313E4B84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799638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3FAD60-C59B-4A52-B834-6E1FC5D7543A}" type="datetime'''''''''''''''''''''''''''''''''''''''迪敏''''''''''''思'''''">
              <a:rPr lang="zh-CN" altLang="en-US" smtClean="0">
                <a:latin typeface="+mn-lt"/>
                <a:cs typeface="+mn-cs"/>
              </a:rPr>
              <a:pPr/>
              <a:t>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A13E476B-F12C-EE1E-0ADC-4EC55FD6F5C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29900" y="1806575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07336AA-44BB-42B7-AD3C-EF089BB86568}" type="datetime'''''''''''''''''''3''''''''''''''''''2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34348B-7DF6-B39F-E353-4627F274F0A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577513" y="4765675"/>
            <a:ext cx="3175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E0BF3A-9B63-4550-B1E1-9ADFE0DC0DD3}" type="datetime'''''''''''''其''''''''''''''''''他'''''''''''">
              <a:rPr lang="zh-CN" altLang="en-US" smtClean="0">
                <a:latin typeface="+mn-lt"/>
                <a:cs typeface="+mn-cs"/>
              </a:rPr>
              <a:pPr/>
              <a:t>其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E1D8E54-85B5-95FA-B7A7-FC3DA9B4E94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112500" y="47656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6D6E1B-82D1-47B1-B3D6-67E4778D9E50}" type="datetime'''''''2''''5''''''''1''''0''Y''''T''D''''''''''''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BB315B8-6FC5-256F-F590-7266A31874A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9637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A34AED-A685-458D-B7C0-06B052AC8294}" type="datetime'利''''''加''''''''''''''''隆'''''''''''''''''''''''''''''''''">
              <a:rPr lang="zh-CN" altLang="en-US" smtClean="0">
                <a:latin typeface="+mn-lt"/>
                <a:cs typeface="+mn-cs"/>
              </a:rPr>
              <a:pPr/>
              <a:t>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D01AAF-6D8E-7132-9D26-C190B28AD55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68325" y="47656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B18720-94F5-4A99-9E33-800DB7B767A8}" type="datetime'''''''2''''''''4''''''''''''''1''0''''''YT''''''D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5F51C474-FC4A-CB2B-81A0-2361479586A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450975" y="353695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92E7D0-0935-412E-A5F5-974418ED3721}" type="datetime'''''''''''''''''3''''''5''''''''''''''''''''''7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5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8278491-5B37-4D80-9C24-C0EF40F19F2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36366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7D461F-C254-4C12-980C-9398DB0E10F9}" type="datetime'立''''''''''''''''''''''''''''''''''普''''''''''''妥'">
              <a:rPr lang="zh-CN" altLang="en-US" smtClean="0">
                <a:latin typeface="+mn-lt"/>
                <a:cs typeface="+mn-cs"/>
              </a:rPr>
              <a:pPr/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EAEC9EA8-FFDC-EFC9-24CB-BBCCF5654D4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58999" y="2790825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A4F4FB-3B76-46D0-A2F1-9698AC07D54C}" type="datetime'1''''''1''''''''''''''''''''''''''''''7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7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CD64E76-2DC5-A0B5-6283-F0A83F0DD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06692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51F8E7-986E-4951-A5D9-CC8856E45C3B}" type="datetime'''''''络活''''喜'''''''''''''''''''">
              <a:rPr lang="zh-CN" altLang="en-US" smtClean="0">
                <a:latin typeface="+mn-lt"/>
                <a:cs typeface="+mn-cs"/>
              </a:rPr>
              <a:pPr/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D2DC0E44-A3A9-AC35-D89B-E6C4CEC8C99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97188" y="2676525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7CAE8D-7E31-428E-BB39-52F507F29845}" type="datetime'''''''''''''''''''''''4''''''''''''''''''''''''''''''5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1E42E93E-736F-9049-8290-B8F5BE4AD14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600450" y="2773363"/>
            <a:ext cx="212725" cy="201613"/>
          </a:xfrm>
          <a:prstGeom prst="rect">
            <a:avLst/>
          </a:prstGeom>
          <a:solidFill>
            <a:srgbClr val="C4130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F3B902-7FED-49F1-A6B4-13C2A679052B}" type="datetime'''''''''''''''1''''''''''6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02F7274-5954-7104-7ED3-0307B1A25A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471863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305CE8-6A71-4544-B637-118CC804519A}" type="datetime'乐''瑞''''''''''''''''卡'''''''''''''''''''''''">
              <a:rPr lang="zh-CN" altLang="en-US" smtClean="0">
                <a:latin typeface="+mn-lt"/>
                <a:cs typeface="+mn-cs"/>
              </a:rPr>
              <a:pPr/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DC94E67-346E-31AC-62D8-6F0C7314FA3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303713" y="277018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E51C29-DF39-4913-9289-22319D5683DD}" type="datetime'''''''''''''1''''''''''''''''''''''8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CD878F8-3CB4-29E6-B884-A9F7A03FC6B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175125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73B978-B030-43E1-9BE3-82D5026547DB}" type="datetime'''''''''左''''''洛''复'''''''''''''''''''''''''''''''''''''">
              <a:rPr lang="zh-CN" altLang="en-US" smtClean="0">
                <a:latin typeface="+mn-lt"/>
                <a:cs typeface="+mn-cs"/>
              </a:rPr>
              <a:pPr/>
              <a:t>左洛复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DFF3E04-646E-9876-B57D-D70DC4DC2A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910388" y="4765675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0A0621-665B-474F-B30D-4C13E2D47812}" type="datetime'''''他''''达''''''''''''''''拉''''''非'">
              <a:rPr lang="zh-CN" altLang="en-US" smtClean="0">
                <a:latin typeface="+mn-lt"/>
                <a:cs typeface="+mn-cs"/>
              </a:rPr>
              <a:pPr/>
              <a:t>他达拉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54C4289-2782-9191-0F3B-66F6A5E1E88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006975" y="2725738"/>
            <a:ext cx="212725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7F878F-29AD-4830-85D3-DC184EF02293}" type="datetime'''1''''''''''''''''''''''0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5C416CB-5F7E-F1E2-F920-DD765E842F9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878388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772A6D-E1EC-487D-87E5-367EFF3D764B}" type="datetime'''''''''怡''诺''''''''思'''''''">
              <a:rPr lang="zh-CN" altLang="en-US" smtClean="0">
                <a:latin typeface="+mn-lt"/>
                <a:cs typeface="+mn-cs"/>
              </a:rPr>
              <a:pPr/>
              <a:t>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810DE28-8088-3B27-7541-4204BCAB17F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716588" y="2693988"/>
            <a:ext cx="201613" cy="201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8AB815-6571-4074-8756-C813E915AABA}" type="datetime'''''''''''''''''''''''''''''''''1''''''''''''1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483789DC-A167-CA55-00A7-A61DA216B3E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41350" y="397351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837296C-6190-444D-8101-D90863C2DD09}" type="datetime'''''''1''''''''''''''''''''''''''''''''2,''''''66''''4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98DF5DE4-1650-E9F4-9C78-C8693368214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185525" y="1730375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410A79-453E-4119-BD01-B7BDB6E7E7F4}" type="datetime'''''1''''''3,''''''''''''''''''''''3''''''''75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54E1A72-3970-D613-1ABE-7F609E8ACC4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581650" y="4765675"/>
            <a:ext cx="4699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BCE4C6-7CA3-42BC-A0B2-753F93F5A1CA}" type="datetime'''''''''''''''维''''''''''''''''''''''''固''''''''''''''力'''''">
              <a:rPr lang="zh-CN" altLang="en-US" smtClean="0">
                <a:latin typeface="+mn-lt"/>
                <a:cs typeface="+mn-cs"/>
              </a:rPr>
              <a:pPr/>
              <a:t>维固力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50" name="表格 149">
            <a:extLst>
              <a:ext uri="{FF2B5EF4-FFF2-40B4-BE49-F238E27FC236}">
                <a16:creationId xmlns:a16="http://schemas.microsoft.com/office/drawing/2014/main" id="{536AA08A-F01E-75E3-80BE-231F14381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32608"/>
              </p:ext>
            </p:extLst>
          </p:nvPr>
        </p:nvGraphicFramePr>
        <p:xfrm>
          <a:off x="399316" y="5081588"/>
          <a:ext cx="10707568" cy="86042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703112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5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拉动增长率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2868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量贡献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</a:tbl>
          </a:graphicData>
        </a:graphic>
      </p:graphicFrame>
      <p:sp>
        <p:nvSpPr>
          <p:cNvPr id="156" name="矩形 155">
            <a:extLst>
              <a:ext uri="{FF2B5EF4-FFF2-40B4-BE49-F238E27FC236}">
                <a16:creationId xmlns:a16="http://schemas.microsoft.com/office/drawing/2014/main" id="{6A90D04E-AFF0-A530-4C42-7FE457531D14}"/>
              </a:ext>
            </a:extLst>
          </p:cNvPr>
          <p:cNvSpPr/>
          <p:nvPr/>
        </p:nvSpPr>
        <p:spPr>
          <a:xfrm>
            <a:off x="7937" y="1468041"/>
            <a:ext cx="3101976" cy="329406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chemeClr val="bg1"/>
                </a:solidFill>
              </a:rPr>
              <a:t>2025010YTD</a:t>
            </a:r>
            <a:r>
              <a:rPr lang="zh-CN" altLang="en-US" sz="1200" b="1" dirty="0">
                <a:solidFill>
                  <a:schemeClr val="bg1"/>
                </a:solidFill>
              </a:rPr>
              <a:t>渠道购进增长贡献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2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5B5CA95-ECCE-EB50-DD56-79CAD703FD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9" imgW="473" imgH="476" progId="TCLayout.ActiveDocument.1">
                  <p:embed/>
                </p:oleObj>
              </mc:Choice>
              <mc:Fallback>
                <p:oleObj name="think-cell 幻灯片" r:id="rId79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B5CA95-ECCE-EB50-DD56-79CAD703F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6443FED-FD0D-DC17-31B8-E4DA4C086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b="1" dirty="0"/>
              <a:t>品类分布：</a:t>
            </a:r>
            <a:r>
              <a:rPr lang="en-US" altLang="zh-CN" sz="2000" dirty="0"/>
              <a:t>CV</a:t>
            </a:r>
            <a:r>
              <a:rPr lang="zh-CN" altLang="en-US" sz="2000" dirty="0"/>
              <a:t>占比和去年基本持平；</a:t>
            </a:r>
            <a:r>
              <a:rPr lang="en-US" altLang="zh-CN" sz="2000" dirty="0"/>
              <a:t>Non-VBP</a:t>
            </a:r>
            <a:r>
              <a:rPr lang="zh-CN" altLang="en-US" sz="2000" dirty="0"/>
              <a:t>生意占比提升，同时</a:t>
            </a:r>
            <a:r>
              <a:rPr lang="en-US" altLang="zh-CN" sz="2000" dirty="0"/>
              <a:t>Pain</a:t>
            </a:r>
            <a:r>
              <a:rPr lang="zh-CN" altLang="en-US" sz="2000" dirty="0"/>
              <a:t>产品生意占比显著下降</a:t>
            </a:r>
            <a:br>
              <a:rPr lang="en-US" altLang="zh-CN" sz="2000" dirty="0"/>
            </a:br>
            <a:r>
              <a:rPr lang="zh-CN" altLang="en-US" sz="2000" b="1" dirty="0"/>
              <a:t>渠道分布：</a:t>
            </a:r>
            <a:r>
              <a:rPr lang="zh-CN" altLang="en-US" sz="2000" dirty="0"/>
              <a:t>民营整体增长疲软，生意占比不断下降；公立二三级和电商生意占比均显著提升</a:t>
            </a:r>
            <a:endParaRPr lang="en-US" sz="2000" dirty="0"/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2B9C982E-D1CD-E000-73E0-A0C90EA3DB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217016"/>
              </p:ext>
            </p:extLst>
          </p:nvPr>
        </p:nvGraphicFramePr>
        <p:xfrm>
          <a:off x="325438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1B5EAE37-2991-E288-66B2-751F51554891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112838" y="2038350"/>
            <a:ext cx="0" cy="315913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4840EEC2-27E6-7D90-3DCC-7F49E8B2818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112838" y="2038350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D4F8FE18-0750-3353-068A-388205AC1C9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520950" y="2038350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743D03B1-5AC9-0E8D-5737-877D4598E3DC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1428750" y="2566988"/>
            <a:ext cx="95250" cy="666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1B122B5D-47CF-69CB-80F8-B316CD38B19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 flipV="1">
            <a:off x="1428750" y="2678113"/>
            <a:ext cx="95250" cy="9048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C4A47111-37E3-6353-7D5A-DE648D2F826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 flipV="1">
            <a:off x="1428750" y="2709863"/>
            <a:ext cx="95250" cy="1603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9B60F73E-5671-E2CD-3DC5-870648574E0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 flipV="1">
            <a:off x="2836863" y="2479675"/>
            <a:ext cx="95250" cy="873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2A3B443B-D82A-90C4-3B8B-781298476BA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 flipV="1">
            <a:off x="2836863" y="2570163"/>
            <a:ext cx="95250" cy="1984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714E7D5-9892-6632-3199-747D40696A0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524000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52CE69B-0A5B-4491-8EAF-EC9C2F358138}" type="datetime'''1''''''''''''.''''''''''''''1''''''%'''">
              <a:rPr lang="en-US" altLang="en-US" smtClean="0">
                <a:latin typeface="+mn-lt"/>
                <a:cs typeface="+mn-cs"/>
              </a:rPr>
              <a:pPr/>
              <a:t>1.1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1BF01B-877C-7019-2DB4-11835F8E22C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24000" y="266858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CE441F4-B9F4-4C34-AA2E-4AB918738D40}" type="datetime'''''''''''2''''''''''.''''''''3''''''''''''''%'''''''''''''''">
              <a:rPr lang="en-US" altLang="en-US" smtClean="0">
                <a:latin typeface="+mn-lt"/>
                <a:cs typeface="+mn-cs"/>
              </a:rPr>
              <a:pPr/>
              <a:t>2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9579A60-33DA-EFDE-88A2-38B29FFD4E5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24000" y="28702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952205D-6216-4051-8450-1A4F1FA0DBFB}" type="datetime'''''''''0''''''''.0''%'''''''''">
              <a:rPr lang="en-US" altLang="en-US" smtClean="0">
                <a:latin typeface="+mn-lt"/>
                <a:cs typeface="+mn-cs"/>
              </a:rPr>
              <a:pPr/>
              <a:t>0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B7CCEC5-3C5A-ED80-902C-9A2438DCEE4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2313" y="2665413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C1B2BB-33AC-4819-AFD6-036DFCD7461F}" type="datetime'''''4''''.''''''''1''%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0BCF451-911F-1D2A-4E63-00D8C1AF70E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14425" y="2774950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0E81B1-8067-48A7-A50D-69C1918A5160}" type="datetime'''''3''''''''''''''''''''''''''.''''''''''''''''''9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2FE366-B49F-4806-DF1D-F061D88151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2313" y="292735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F570C9-D48A-4D4E-B1B1-E209561BCFC9}" type="datetime'''''''''''''''''''''''7.''''''''''''''''''''3%'''''''''''''">
              <a:rPr lang="en-US" altLang="en-US" smtClean="0">
                <a:latin typeface="+mn-lt"/>
                <a:cs typeface="+mn-cs"/>
              </a:rPr>
              <a:pPr/>
              <a:t>7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D2C4A28-CF5A-5CF4-4FF8-1F47C9F9F22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81063" y="31845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E49EA8-FFE2-454A-AA3B-F48CDA84B223}" type="datetime'''''''''''''''''''''''''1''1''.''''''''''''7''%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7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BB7F63E-EAAF-87C5-3A15-A78E5476572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76300" y="4283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FB5D43-E2F5-4E15-B180-330DBF50F8BB}" type="datetime'''''''''''''''''''6''9''.5''''''''''''''''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CBC75D5-9947-393A-32A4-67A1443536E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581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79583B-94C2-4C8B-83A7-294601A05D32}" type="datetime'2''4''''''''''''1''0''Y''''''''''''TD''''''''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FCA0A87C-1C6B-BFA7-9D48-5A56757E48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32113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1104F85-C45F-4CA9-9D17-18365ECDB03E}" type="datetime'''''''''''''''''0''''''''''''''''''''.''9''''''%'''''''">
              <a:rPr lang="en-US" altLang="en-US" smtClean="0">
                <a:latin typeface="+mn-lt"/>
                <a:cs typeface="+mn-cs"/>
              </a:rPr>
              <a:pPr/>
              <a:t>0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82BEB0F-8F52-39A0-AFDE-DDC409B4B6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22538" y="2430463"/>
            <a:ext cx="390525" cy="201613"/>
          </a:xfrm>
          <a:prstGeom prst="rect">
            <a:avLst/>
          </a:prstGeom>
          <a:solidFill>
            <a:srgbClr val="005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8F40DA-D2A3-48E9-BD80-4E827A525DDC}" type="datetime'2''''''''''''''.''''''''''''6''''''%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2A774E-0221-5AC7-2DA2-F02757E45FC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932113" y="266858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D0A7300-34AC-4021-A689-A6BD2D61BCF1}" type="datetime'''''''''''''''''''''0''''.''''''2''%'''''''''''''''''''">
              <a:rPr lang="en-US" altLang="en-US" smtClean="0">
                <a:latin typeface="+mn-lt"/>
                <a:cs typeface="+mn-cs"/>
              </a:rPr>
              <a:pPr/>
              <a:t>0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F725E83-64D2-51A8-3A35-7F2D3B61066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30425" y="2549525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9831CC-85B1-4D0D-A1E0-35943594B827}" type="datetime'''5.''''''''''''''''''3''%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747B6B7-45AC-9105-EDB8-B7558EE2604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522538" y="2681288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43463F-944F-4D20-BC24-6CF323CADB69}" type="datetime'''''''''''''''3''.''''''''''''''''''9''%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1500145-8EBF-0567-0D08-B5C362C4430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130425" y="28305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510B95-8E1B-4B6A-855B-C0F3C1513EF0}" type="datetime'''''''6''''''''''.''5''''''%'''''''''''''''">
              <a:rPr lang="en-US" altLang="en-US" smtClean="0">
                <a:latin typeface="+mn-lt"/>
                <a:cs typeface="+mn-cs"/>
              </a:rPr>
              <a:pPr/>
              <a:t>6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2A12C4D-776E-B909-6C93-3AA55E2D80A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89175" y="30829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6946CC-9352-4FEC-8EA1-BD756DA963C6}" type="datetime'''''''''''''''''''1''1.''''''''''''''''1''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5EF1C3A3-CAC3-70DF-B0E8-778CABBEC01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84413" y="42322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09032-A8E6-4058-BFFC-A03F2CC0DF30}" type="datetime'''6''''''9''''''''''''''''''''.''''''''''''''4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D9A3430-D7A5-1E2E-4F83-3678F5A5D5D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193925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C70BC2-E99A-4533-B7DF-AFB4630D7EB4}" type="datetime'''''2''''''5''''''''''''''''''''1''0''''YT''''''''''''''''''D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D6D42341-3911-A45E-6249-9A2DDC258DE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5883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6EBBE4-15E8-4300-BC6E-F69DEDAD0C0B}" type="datetime'''''''''''''12'''',''''''66''''''''''''''''''''''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92F588D-9EDE-A165-C962-04D121028ED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266950" y="2228850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C9663F-B923-4D12-8E1F-F13C161F941D}" type="datetime'''13,''''3''7''''''''''''5''''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55C3843E-B667-4CB0-0BAD-4C660B2C1D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08125" y="1895474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7022425-A471-45E6-AF97-56C9F155968D}" type="datetime'''''''''''''''''''+''''''''5''''''''.''''''6''''''''''''''%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C43AF161-62C3-8A94-D135-75120A1175FE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935207530"/>
              </p:ext>
            </p:extLst>
          </p:nvPr>
        </p:nvGraphicFramePr>
        <p:xfrm>
          <a:off x="64912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6BD47B67-A5D7-0163-BD79-5C6B9C3215A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V="1">
            <a:off x="7278688" y="2049463"/>
            <a:ext cx="0" cy="3048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C635AE8F-0039-D7EA-E856-75F94FA5F11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72786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A643D541-8243-C309-788C-EA99A1F01D93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86883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AE6845E2-EDBC-8D2A-F46F-A65037936D6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042150" y="28797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45E643-9D58-41FD-A159-997AB0236F25}" type="datetime'''''2''''''''''''''''6''''''''''''''''''''''''''.''6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6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C8FA23E7-1954-535F-167C-B22C7080094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042150" y="33861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150805-8BD0-48B5-A53A-64FC564AF187}" type="datetime'''''1''0''''''''''''''''''''''''''.''''''''9''''''%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771EEA91-D085-6321-84F5-87A71F520D9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042150" y="38036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D2A51D-7B02-4106-9106-6A9AD9583675}" type="datetime'2''''''''''''''''''''0''.''''''0''''''''''''''''''%'''''''''">
              <a:rPr lang="en-US" altLang="en-US" smtClean="0">
                <a:latin typeface="+mn-lt"/>
                <a:cs typeface="+mn-cs"/>
              </a:rPr>
              <a:pPr/>
              <a:t>20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25E348C1-2A17-012D-4E60-303EE0E6BB7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042150" y="45640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EE9181-3CA0-4871-AD17-BE022F19265C}" type="datetime'''''''''''''3''''''''6''.2''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6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EA1C72A7-76CB-A34B-4CA0-D444C92149E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083425" y="513873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43D23C-E4FA-436C-A8CE-365065EC1920}" type="datetime'''''''''''''''''''''''''6''''''''''''''''.3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C8927A0A-99E8-29F6-F9E2-8BE439DE115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95166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88C728-B8E1-4736-9802-05CFF979C370}" type="datetime'''''2''''''''''''''''''''41''''0''''''Y''''T''''''''''''''D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88BFF69C-67DE-55EE-77EF-C44A279EA19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451850" y="2759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D14747-003C-4855-BED9-547974170266}" type="datetime'''''''''''''2''7''''''''''''''.''''5''''''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7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1CDCE2EF-567A-3C91-39D3-A63357A6FAD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451850" y="33051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821449-3B6E-49D0-B0CE-47F75E274B20}" type="datetime'''''''''''''''''''''''''''1''''0''''''.8''''''%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8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DE592CC-8D65-22C9-3EB4-20D94764C7D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51850" y="37258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6DF880-ED03-47FD-A49E-5AB129001E45}" type="datetime'18''''''''''''''.7''''''''''''''''''''''''''%'''''">
              <a:rPr lang="en-US" altLang="en-US" smtClean="0">
                <a:latin typeface="+mn-lt"/>
                <a:cs typeface="+mn-cs"/>
              </a:rPr>
              <a:pPr/>
              <a:t>18.7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F9047896-EDBB-AA6E-56FB-79808C1CFAA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451850" y="44926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B00B5A-9A9A-4C19-8823-FCB03EE73281}" type="datetime'3''''''5''''''''''''''''''''''.''''''''''''''''''0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5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89DB4891-2500-E430-AD73-AC415FFBC83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493125" y="51085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CDA0AA-B8EC-43B9-9862-1031E0573B9A}" type="datetime'''''''''''''''''''8.''''''''1''''''''''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3127D0B9-C711-7C74-2BC3-FAFF8C3014C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36136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443B9D-8EE6-4845-9F1C-45B92D9CCD7F}" type="datetime'2''''5''''1''''''''''''''0''''''''''Y''''''''''T''D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BD08D012-DA9B-4087-D308-23F58F7EAD8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02468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4334F8-7516-48A4-9A63-D0B568903D6E}" type="datetime'''''''''''''''''''''''12'''''''''',''''66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C229F3EC-FAD2-78F0-E710-E98B2D7CC01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34388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709236-0E13-43BC-9CD5-8177168F6F3C}" type="datetime'''''''''''''''''1''''3'''''''''''''''''',3''75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E42A8CD2-EC16-3A24-2012-0961E847DB7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6755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2F04AA-A2AE-4D4F-96C8-B0BD969F64B1}" type="datetime'''''+''5''.''''''''''''''6''%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197BEDFD-06CE-2217-A7B3-13B157E0E5A0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53563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D01B7963-E67D-A423-8FF7-16E42B4B86E2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9453563" y="2798763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9601CE43-9B9F-6999-011E-8591BC57F39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453563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23A3B88A-F154-5D22-247F-0F950D7C12C7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9453563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5E5CCC8B-E673-2657-F769-A9408472F896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9453563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DE5B07B7-E510-9377-DF49-9E965BF92BB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718675" y="25273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20D4EE7-A469-4E53-89DA-464E44B90606}" type="datetime'''''公立''''''''''''''''''''''''''''''二''三''''级''''''医''''院'''''">
              <a:rPr lang="zh-CN" altLang="en-US" smtClean="0">
                <a:latin typeface="+mn-lt"/>
                <a:cs typeface="+mn-cs"/>
              </a:rPr>
              <a:pPr/>
              <a:t>公立二三级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0A39C8B-D806-47B0-3C39-34F79B4AD03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718675" y="2779713"/>
            <a:ext cx="12858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4CB3BE-C85C-4A81-A86A-17C87E11CC27}" type="datetime'''''''''公''''''立''一级医''院''/''''CH''''''C'''''''''''''''''">
              <a:rPr lang="zh-CN" altLang="en-US" smtClean="0">
                <a:latin typeface="+mn-lt"/>
                <a:cs typeface="+mn-cs"/>
              </a:rPr>
              <a:pPr/>
              <a:t>公立一级医院/CHC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BB07258B-35C6-C6D0-E0B0-F3D41C98BBC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718675" y="3032125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B1F55A1-AC91-4EA3-87CA-C20D05A39218}" type="datetime'民''''''''''''''''''''''''''营''''''医''''''''院'''">
              <a:rPr lang="zh-CN" altLang="en-US" smtClean="0">
                <a:latin typeface="+mn-lt"/>
                <a:cs typeface="+mn-cs"/>
              </a:rPr>
              <a:pPr/>
              <a:t>民营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035B6720-AB37-565D-1AF1-BF601F11F89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718675" y="328453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DF892D-4A41-4C95-BD37-FDCCD292020A}" type="datetime'线''''''''''''下零''''''''''''''''''''''''''''''售'''''''''''">
              <a:rPr lang="zh-CN" altLang="en-US" smtClean="0">
                <a:latin typeface="+mn-lt"/>
                <a:cs typeface="+mn-cs"/>
              </a:rPr>
              <a:pPr/>
              <a:t>线下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7" name="Text Placeholder 3">
            <a:extLst>
              <a:ext uri="{FF2B5EF4-FFF2-40B4-BE49-F238E27FC236}">
                <a16:creationId xmlns:a16="http://schemas.microsoft.com/office/drawing/2014/main" id="{E8A397CB-F924-C9DD-1E4C-C86476911E8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718675" y="3536950"/>
            <a:ext cx="304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F6B96ED-3523-4553-B556-83FB1E5DE8E9}" type="datetime'电''''''''''''''''商'''''''''''''''''''''''''''''''''''">
              <a:rPr lang="zh-CN" altLang="en-US" smtClean="0">
                <a:latin typeface="+mn-lt"/>
                <a:cs typeface="+mn-cs"/>
              </a:rPr>
              <a:pPr/>
              <a:t>电商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41341B5E-7290-A5BC-D177-CFB53DDB7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154366"/>
              </p:ext>
            </p:extLst>
          </p:nvPr>
        </p:nvGraphicFramePr>
        <p:xfrm>
          <a:off x="3321050" y="2108830"/>
          <a:ext cx="2772000" cy="380173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772000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977508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3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40318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47329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39178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82013036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AB2724A2-0DAF-4C97-F933-61D4107DE3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701912"/>
              </p:ext>
            </p:extLst>
          </p:nvPr>
        </p:nvGraphicFramePr>
        <p:xfrm>
          <a:off x="9507538" y="2131853"/>
          <a:ext cx="2303463" cy="162221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303463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271025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DD391F86-DA93-AABD-672C-E4C2B02A9D78}"/>
              </a:ext>
            </a:extLst>
          </p:cNvPr>
          <p:cNvSpPr/>
          <p:nvPr/>
        </p:nvSpPr>
        <p:spPr>
          <a:xfrm>
            <a:off x="431799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品类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532D764F-858C-BA72-A9BC-8552B0331330}"/>
              </a:ext>
            </a:extLst>
          </p:cNvPr>
          <p:cNvSpPr/>
          <p:nvPr/>
        </p:nvSpPr>
        <p:spPr>
          <a:xfrm>
            <a:off x="6900863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渠道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65F6B28F-6BAE-58F0-D8DA-2044FA7934A0}"/>
              </a:ext>
            </a:extLst>
          </p:cNvPr>
          <p:cNvCxnSpPr>
            <a:cxnSpLocks/>
          </p:cNvCxnSpPr>
          <p:nvPr/>
        </p:nvCxnSpPr>
        <p:spPr>
          <a:xfrm>
            <a:off x="385764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CD65E4C7-3010-9375-2004-B79B428E8C51}"/>
              </a:ext>
            </a:extLst>
          </p:cNvPr>
          <p:cNvCxnSpPr>
            <a:cxnSpLocks/>
          </p:cNvCxnSpPr>
          <p:nvPr/>
        </p:nvCxnSpPr>
        <p:spPr>
          <a:xfrm>
            <a:off x="6759575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矩形 237">
            <a:extLst>
              <a:ext uri="{FF2B5EF4-FFF2-40B4-BE49-F238E27FC236}">
                <a16:creationId xmlns:a16="http://schemas.microsoft.com/office/drawing/2014/main" id="{0DC74E1D-B0AB-2B92-392F-342520BC3CDA}"/>
              </a:ext>
            </a:extLst>
          </p:cNvPr>
          <p:cNvSpPr/>
          <p:nvPr/>
        </p:nvSpPr>
        <p:spPr>
          <a:xfrm>
            <a:off x="414338" y="6009062"/>
            <a:ext cx="560704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Others</a:t>
            </a:r>
            <a:r>
              <a:rPr lang="zh-CN" altLang="en-US" sz="1100" dirty="0">
                <a:solidFill>
                  <a:schemeClr val="tx1"/>
                </a:solidFill>
              </a:rPr>
              <a:t>包括卓乐定、耐较咛、爱赛平</a:t>
            </a:r>
            <a:r>
              <a:rPr lang="en-US" altLang="zh-CN" sz="1100" dirty="0">
                <a:solidFill>
                  <a:schemeClr val="tx1"/>
                </a:solidFill>
              </a:rPr>
              <a:t>NS</a:t>
            </a:r>
            <a:r>
              <a:rPr lang="zh-CN" altLang="en-US" sz="1100" dirty="0">
                <a:solidFill>
                  <a:schemeClr val="tx1"/>
                </a:solidFill>
              </a:rPr>
              <a:t>、友来特长尾产品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A96AD27-770D-1604-5C10-D0E8E2ACC7CB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3286125" y="2546350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6FA2D864-C595-D53B-EBD6-D991E359B8ED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3286125" y="2798763"/>
            <a:ext cx="214313" cy="160338"/>
          </a:xfrm>
          <a:prstGeom prst="rect">
            <a:avLst/>
          </a:prstGeom>
          <a:solidFill>
            <a:srgbClr val="005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524E1A60-8D8D-8573-0C84-4D08538F1BF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3286125" y="3252788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0B6995E-AAA1-9007-4B22-D422E929C909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3286125" y="37068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DDE99BF2-A0C2-AAAC-8B6F-EF39A5879B7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3286125" y="4160838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873F987F-6241-337D-893B-A05A9B5185CA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3286125" y="461486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382C2D33-B6C1-73D0-4E2C-A6C7069B9509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286125" y="50688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8A11D334-71EC-5BA0-E4B0-6C4C715875FF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3286125" y="5522913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DC9A1BE-9AA0-1C8C-7A3F-1D0DD8777E0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551238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110CA44-1A87-4339-82A2-45D6EFD01925}" type="datetime'O''''''''t''''''''h''''e''''''''r''''''''''''''''s'''''''''">
              <a:rPr lang="en-US" altLang="en-US" smtClean="0">
                <a:latin typeface="+mn-lt"/>
                <a:cs typeface="+mn-cs"/>
              </a:rPr>
              <a:pPr/>
              <a:t>Others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3064D15-7E1B-5E62-2E30-AC6C66B51D5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551238" y="277971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FC6F4AA-08F3-48C9-A2D4-BCC5D10CF121}" type="datetime'''''医疗自''''''诊''''''''''双属性''&#10;''爱''宁达、''''维''''''''固''''''力'">
              <a:rPr lang="zh-CN" altLang="en-US" smtClean="0">
                <a:latin typeface="+mn-lt"/>
                <a:cs typeface="+mn-cs"/>
              </a:rPr>
              <a:pPr/>
              <a:t>医疗自诊双属性
爱宁达、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55C64BA-A0B9-C05A-3633-7D3FDA3294F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551238" y="3233738"/>
            <a:ext cx="80486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12A585-4373-4B97-9633-722995D62ADB}" type="datetime'''''''新''兴''''''/''''''''''新''''''''''上''''''市&#10;迪''''''''敏思'''">
              <a:rPr lang="zh-CN" altLang="en-US" smtClean="0">
                <a:latin typeface="+mn-lt"/>
                <a:cs typeface="+mn-cs"/>
              </a:rPr>
              <a:pPr/>
              <a:t>新兴/新上市
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69C7873-BE91-B253-DC9C-489D16FD64A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551238" y="368776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81784E3-8137-443B-A7A5-ECAE266FEFAE}" type="datetime'N''''on''''''-''''V''BP''''''&#10;''''''可''''多华、''''''利''''''加''隆'">
              <a:rPr lang="en-US" altLang="en-US" smtClean="0">
                <a:latin typeface="+mn-lt"/>
                <a:cs typeface="+mn-cs"/>
              </a:rPr>
              <a:pPr/>
              <a:t>Non-VBP
可多华、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A7B12D6-922A-4601-3B99-646531F3C22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551238" y="4141788"/>
            <a:ext cx="16764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8E3068-A0C5-4681-99BE-B1B7DDBAC3BF}" type="datetime'''''C''NS&#10;''''''''左''洛''复''、''怡诺''''''''''''''思''、''''卓乐定'">
              <a:rPr lang="en-US" altLang="en-US" smtClean="0">
                <a:latin typeface="+mn-lt"/>
                <a:cs typeface="+mn-cs"/>
              </a:rPr>
              <a:pPr/>
              <a:t>CNS
左洛复、怡诺思、卓乐定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F36B3C0-7F01-131F-23AA-CD9F5F6F6F5C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551238" y="459581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02C633-FE3D-45FC-922B-F00571629C03}" type="datetime'P''''''''''a''i''''''''n''''''''&#10;''''''西''''乐葆''、乐瑞卡'''''''">
              <a:rPr lang="en-US" altLang="en-US" smtClean="0">
                <a:latin typeface="+mn-lt"/>
                <a:cs typeface="+mn-cs"/>
              </a:rPr>
              <a:pPr/>
              <a:t>Pain
西乐葆、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521A423-3549-2919-98B1-C36EBE9E6FE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551238" y="5049838"/>
            <a:ext cx="4572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2E5C304-A91C-4BAF-90D2-4A159C2A557C}" type="datetime'E''''''''''''''''D''''''''''&#10;''''万艾''''''''可'''''">
              <a:rPr lang="en-US" altLang="en-US" smtClean="0">
                <a:latin typeface="+mn-lt"/>
                <a:cs typeface="+mn-cs"/>
              </a:rPr>
              <a:pPr/>
              <a:t>ED
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7E40A6D-AD41-984B-2BEC-00627D82E49E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551238" y="5503863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BB39A4-3EB6-44E0-92DB-98A226B34020}" type="datetime'''''''C''V&#10;''''立''普''''''''''''''妥''、''''络活''''''''''喜'''">
              <a:rPr lang="en-US" altLang="en-US" smtClean="0">
                <a:latin typeface="+mn-lt"/>
                <a:cs typeface="+mn-cs"/>
              </a:rPr>
              <a:pPr/>
              <a:t>CV
立普妥、络活喜</a:t>
            </a:fld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6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48CD85-80E2-3D52-4532-66257E3E1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8942CFD7-34E4-FCB6-B23A-45126ABAC8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818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2" imgW="473" imgH="476" progId="TCLayout.ActiveDocument.1">
                  <p:embed/>
                </p:oleObj>
              </mc:Choice>
              <mc:Fallback>
                <p:oleObj name="think-cell 幻灯片" r:id="rId72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2CFD7-34E4-FCB6-B23A-45126ABAC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EF827EB1-8B3E-15EC-6D27-7199C273A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sz="2000" dirty="0"/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94D643E3-AD8D-3558-EC83-43E123925BD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004690"/>
              </p:ext>
            </p:extLst>
          </p:nvPr>
        </p:nvGraphicFramePr>
        <p:xfrm>
          <a:off x="325438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DDA9C43F-300F-C244-B518-B9572F3123C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112838" y="2003426"/>
            <a:ext cx="0" cy="309563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F1392CDD-C776-74B7-E3E7-CF51E02E673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112838" y="2003425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65E51F99-40E3-36BA-6DE9-88252C28E8B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520950" y="2003425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C297F3C5-D9A0-5DCA-2872-D91A3FEFC79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1428750" y="2635250"/>
            <a:ext cx="95250" cy="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8BA22BF7-1526-7870-2CD2-FA63B3D2563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 flipV="1">
            <a:off x="2836863" y="2479675"/>
            <a:ext cx="95250" cy="873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3EE5BB7-3102-5868-653B-8D0223F492D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524000" y="2535238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08C96E-C734-4230-8541-E36169216BB8}" type="datetime'''''''''''1''''''''''.2''''''''''''%'''''''''''''''''">
              <a:rPr lang="en-US" altLang="en-US" smtClean="0">
                <a:latin typeface="+mn-lt"/>
                <a:cs typeface="+mn-cs"/>
              </a:rPr>
              <a:pPr/>
              <a:t>1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8ABE05-A9E5-8CF6-DA4E-7802B287E5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14425" y="2552700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6F7627-2188-488C-8F79-59731B528730}" type="datetime'''''''''''''0''''.''''''''''''''''''''''''''''''0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64BC61D-FB73-E3DC-8BBE-4681D77FA2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2313" y="2628900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249C4F-768F-4694-9DB4-2536894B227E}" type="datetime'''''''''''''5''''''''''''''''''''''.''''''''6''''''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5D0FAEE-58AD-C5AC-6CF7-63FFEAA3609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81062" y="2862263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A6A495-9B80-4B73-9AF7-54F47B2879F0}" type="datetime'''''1''''''''''''''''''''''''''''1''''''''.7''''''''''''%'''">
              <a:rPr lang="en-US" altLang="en-US" smtClean="0">
                <a:latin typeface="+mn-lt"/>
                <a:cs typeface="+mn-cs"/>
              </a:rPr>
              <a:pPr/>
              <a:t>11.7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4FCAF79-A649-6495-DA66-E931BE1C762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1062" y="3181350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DF1278-CE5A-4BC1-B35D-234943373E2E}" type="datetime'''1''''''''''''''1.''9''''''''''''''''''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BC465C6-F86D-C40A-F7B6-82CD00B5AAC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76300" y="42830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6A7D5AF-A8E7-49A4-8FC5-EA74AAA1A4B9}" type="datetime'''''''''''6''9''''''''''''''''''.''5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69D9F1E-8FC8-E71B-72D0-1AF1290A2A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5813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13256E-6EBF-40C7-9621-47E0FE44F25D}" type="datetime'''''2''41''''''''''0''Y''''''T''''''''''D''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8C6B2AD-9A15-5247-9D21-D73EDEDFCFD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32113" y="246697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8ADCBAC-44F0-447F-A983-934E93FDEE47}" type="datetime'''''''''''''''''0''''''''''''''''''''.''9''''''%'''''''">
              <a:rPr lang="en-US" altLang="en-US" smtClean="0">
                <a:latin typeface="+mn-lt"/>
                <a:cs typeface="+mn-cs"/>
              </a:rPr>
              <a:pPr/>
              <a:t>0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465CC20-AB97-7597-F850-34FA5C4FA6E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22538" y="2395538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9DE897A-5A10-43F4-9865-16408A737239}" type="datetime'''''''''''0''''''.2''''''''''''''%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8F9345-DE60-DCB2-33F9-FD5956AD8F0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30425" y="25003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FBF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332EC8-5CED-4AA9-8B5E-509D69D77CAD}" type="datetime'7''''''''''''''''''.1''''''''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D87C531-FBB9-3BEC-2DBB-34D8B8C593D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289174" y="2763838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9433F0C-CF94-45D7-B455-9F77BE754C7F}" type="datetime'''''''''''''1''1''''''''.''''''''''''''''''''''3''''''%'">
              <a:rPr lang="en-US" altLang="en-US" smtClean="0">
                <a:latin typeface="+mn-lt"/>
                <a:cs typeface="+mn-cs"/>
              </a:rPr>
              <a:pPr/>
              <a:t>11.3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0149F21-47A0-3A2B-0381-301B245955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9174" y="3082925"/>
            <a:ext cx="463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9218B80-174A-465B-8502-B24DE1F0004B}" type="datetime'''''''''1''''1.''''''''''''''''1''''%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DEFB97E-AE34-FCC9-D92D-75D4B188EB9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284413" y="42322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E7AA20-9579-49AC-9C06-A3A5E6DDF20F}" type="datetime'''''''''''''''''6''''''''''''''''9''''''''.''''''''4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9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5F41E36-2010-F6EC-8376-5C5B59FAEFD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193925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53E2A-025D-45ED-B0A0-67B9EBE68A5A}" type="datetime'''''2''''''''''''''''''5''''1''0''''''''YTD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3E83A37-2AAA-8D28-40B3-DB98F3EF701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8838" y="2351088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2AE110-3147-41AA-B3A6-0E0DEB13512C}" type="datetime'''''''''''''12'''',''''''66''''''''''''''''''''''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D3CB925-0765-BC32-9FC8-324956E52D4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266950" y="2193925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0ADC97F-428B-4A6A-9BD6-CB33B1911F9A}" type="datetime'''13,''''3''7''''''''''''5''''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47814182-7D76-64A4-933E-BEE92D5A3C2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508125" y="1860550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6D0174-4E44-4750-9741-0415DCB21A12}" type="datetime'''''''''''''''''''+''''''''5''''''''.''''''6''''''''''''''%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ABB7FBE1-E6E2-3477-3F8F-2B0D8AE41219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370028774"/>
              </p:ext>
            </p:extLst>
          </p:nvPr>
        </p:nvGraphicFramePr>
        <p:xfrm>
          <a:off x="64912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1561A093-01E9-B26D-B5F6-5B8D9ACC39C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7278688" y="2049463"/>
            <a:ext cx="0" cy="3048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2D54986-8E29-793D-4A16-0D566F266C8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2786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9D17D95F-9273-45DB-6D14-7CDFBCFB0CAC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86883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0288F4D8-8ACE-4D7F-AB02-9C95C6F921B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042150" y="28670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30CC65-58F3-4863-96CB-A164F8E8EB04}" type="datetime'''''2''''''''5''''''.''''''''8''%'''''">
              <a:rPr lang="en-US" altLang="en-US" smtClean="0">
                <a:latin typeface="+mn-lt"/>
                <a:cs typeface="+mn-cs"/>
              </a:rPr>
              <a:pPr/>
              <a:t>25.8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8A685CE3-3AA8-512C-ADCE-D7DC792AC56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083425" y="334486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DC6D14-9B4B-44D6-B392-066ABB55EFFD}" type="datetime'''''''''''''''''9''''''''''''''''''.''''6''''''''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9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9CDA0D0B-7D86-7D59-DF73-3EA4C48C79E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042150" y="36988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50F5EED-E48F-44BF-8CE7-29AD54A3EFC9}" type="datetime'''''''''''''''''''''''''''''''''''16''''.''''''''''5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6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55B81F4D-93E1-8D70-4335-D8C708933B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042150" y="441166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8A7B8F-2667-4725-A48B-B14C162C6FE2}" type="datetime'''''''''''''3''''''''6''.2''%'''''''''''''''">
              <a:rPr lang="en-US" altLang="en-US" smtClean="0">
                <a:latin typeface="+mn-lt"/>
                <a:cs typeface="+mn-cs"/>
              </a:rPr>
              <a:pPr/>
              <a:t>36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8E873A77-360B-E7EB-5A16-8B21DDA8407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280275" y="49879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891ECF-7BB6-4356-8DFC-7246F5AE07E8}" type="datetime'''''''''''''''''''''''''6''''''''''''''''.3''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9" name="Text Placeholder 3">
            <a:extLst>
              <a:ext uri="{FF2B5EF4-FFF2-40B4-BE49-F238E27FC236}">
                <a16:creationId xmlns:a16="http://schemas.microsoft.com/office/drawing/2014/main" id="{885A18A9-7940-F158-31E1-2F68AD70E9F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888163" y="5148263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95623F5-7D22-4F48-BE5A-F3F6DA59BBB5}" type="datetime'5''''''''''''.''''''''''''''''''''6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A65B85F6-0D9A-C6B8-91DC-9FB296D252B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951663" y="5437188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7C0880-A6D0-4600-982E-CAFCABE800C2}" type="datetime'''''''2''''''41''''''''0''''''''''''''''''''''Y''T''''D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92D71912-E81E-AC68-F12D-4242D343442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451850" y="27511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39E88F-00C7-4281-BECE-839FB9EF2647}" type="datetime'''''''''''''''''''26''''''.''''''''''''''9%'''''''">
              <a:rPr lang="en-US" altLang="en-US" smtClean="0">
                <a:latin typeface="+mn-lt"/>
                <a:cs typeface="+mn-cs"/>
              </a:rPr>
              <a:pPr/>
              <a:t>26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BB48C049-F87D-2570-628B-4EDDAC57BDA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451850" y="32781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EF0436-9735-4B46-BFC4-6CA7DD5019A6}" type="datetime'''''''''''''''10''''''''''''.''''''''''''''''''0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0.0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17E1A7B-130E-8A38-E554-BC2862E364E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451850" y="366712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2B695B-7D89-48D7-ABB0-B5596F4577DB}" type="datetime'''''''''17''''''''''''''''''.''''''2''''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7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AF995D7A-89B5-3E52-624D-90709DC2F23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451850" y="44132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79D4EFB-2289-4ACD-B2B1-1AF63C849D51}" type="datetime'3''''''5''''''''''''''''''''''.''''''''''''''''''0%'''">
              <a:rPr lang="en-US" altLang="en-US" smtClean="0">
                <a:latin typeface="+mn-lt"/>
                <a:cs typeface="+mn-cs"/>
              </a:rPr>
              <a:pPr/>
              <a:t>35.0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28C17417-D901-B5AE-6A27-140B1E371AC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689975" y="50292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6124BD-2FAF-420E-9F75-06A9A4FF3EEC}" type="datetime'''''''''''''''''''8.''''''''1''''''''''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60" name="Text Placeholder 3">
            <a:extLst>
              <a:ext uri="{FF2B5EF4-FFF2-40B4-BE49-F238E27FC236}">
                <a16:creationId xmlns:a16="http://schemas.microsoft.com/office/drawing/2014/main" id="{8DB74715-D2FA-B9F1-B3C2-B73C782487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297863" y="5184775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730EB4-FB23-48D1-AF5E-C38C08D71722}" type="datetime'''''''''''''2.''''''''''8''''''''''''''''''''''''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.8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2DC73AD9-0CB3-CF37-7894-4AB1C59A912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361363" y="5437188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83C5FC-73A9-4797-A64A-A5839A0C8952}" type="datetime'''''''2''''''510''''''''''''YT''''''D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B12833B9-C2C7-47D4-C144-08A9CAC87D4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024688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F6E615-4D68-4072-B6C0-0766444858D5}" type="datetime'''''''''''''''''''''''12'''''''''',''''66''''''''4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E8976CB7-CFD3-27C8-602C-07FE685DE6B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34388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2B1029-CB9E-4C38-A721-E236EE09189E}" type="datetime'''''''''''''''''1''''3'''''''''''''''''',3''75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362C2E1D-F123-1560-C87B-3E5FB176F6C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6755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E899D4-0C1E-40D0-AFFE-ABBC4F882FC6}" type="datetime'''''+''5''.''''''''''''''6''%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B9F90135-EE27-C14C-47EE-90C914E3701F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453563" y="2546350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1A9F7D60-12C1-5401-2842-63F70432401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453563" y="279876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8C8487C6-E4C3-9100-F8C4-9C8BC5FFE7D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453563" y="3051175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054119D2-B65C-6D85-4EDF-5669B67546F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453563" y="3303588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B0767968-8A44-A1E1-70A8-605492EE2456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453563" y="35560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4" name="矩形 163">
            <a:extLst>
              <a:ext uri="{FF2B5EF4-FFF2-40B4-BE49-F238E27FC236}">
                <a16:creationId xmlns:a16="http://schemas.microsoft.com/office/drawing/2014/main" id="{A45DEC8D-506C-D780-D568-43A23B1D1D0F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53563" y="3808413"/>
            <a:ext cx="214312" cy="160337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41B51256-9EB6-A09A-ADDC-FD4B3D65E74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718675" y="25273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985FA8-346D-4706-B2C2-FA0B96B556BD}" type="datetime'''公''立''''''二''''''三''''''''''''''''''级''''''医''''''''''''院'''">
              <a:rPr lang="zh-CN" altLang="en-US" smtClean="0">
                <a:latin typeface="+mn-lt"/>
                <a:cs typeface="+mn-cs"/>
              </a:rPr>
              <a:pPr/>
              <a:t>公立二三级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886257FF-2484-EE84-E99C-9E9B3314B32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718675" y="2779713"/>
            <a:ext cx="12858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FE7B0AB-9BAB-440C-A81E-B63778814C40}" type="datetime'''''''''''''''''''''''''''公''立一''''级医院''/''''''CHC'''''''''">
              <a:rPr lang="zh-CN" altLang="en-US" smtClean="0">
                <a:latin typeface="+mn-lt"/>
                <a:cs typeface="+mn-cs"/>
              </a:rPr>
              <a:pPr/>
              <a:t>公立一级医院/CHC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59D8A832-0883-5ED2-0859-0AFDF1A9827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718675" y="3032125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50B47B6-3F94-41F2-A887-3B04A18A67AF}" type="datetime'''''''''''''''''''''民''营医''''''''''''''''院'''''''''''''">
              <a:rPr lang="zh-CN" altLang="en-US" smtClean="0">
                <a:latin typeface="+mn-lt"/>
                <a:cs typeface="+mn-cs"/>
              </a:rPr>
              <a:pPr/>
              <a:t>民营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9FE30C96-9FD8-03B0-6680-8C5C81588C0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718675" y="328453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604BE86-0BCB-4CDD-A70F-C20BBDFAD7C8}" type="datetime'线''''''''''''''下''''''''''''''''''''零''''''''''''售'">
              <a:rPr lang="zh-CN" altLang="en-US" smtClean="0">
                <a:latin typeface="+mn-lt"/>
                <a:cs typeface="+mn-cs"/>
              </a:rPr>
              <a:pPr/>
              <a:t>线下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7" name="Text Placeholder 3">
            <a:extLst>
              <a:ext uri="{FF2B5EF4-FFF2-40B4-BE49-F238E27FC236}">
                <a16:creationId xmlns:a16="http://schemas.microsoft.com/office/drawing/2014/main" id="{676220BC-41A2-97C6-CE7C-96C25CC186A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718675" y="3536950"/>
            <a:ext cx="304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FD6EB44-ECEA-4227-BB71-5654266355CB}" type="datetime'''''''''''''''''电''''商'''''''''''''''''''''''''''''''''''''">
              <a:rPr lang="zh-CN" altLang="en-US" smtClean="0">
                <a:latin typeface="+mn-lt"/>
                <a:cs typeface="+mn-cs"/>
              </a:rPr>
              <a:pPr/>
              <a:t>电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AC9425F2-4488-B5F5-0B82-E6957EA31CE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718675" y="378936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412D5F7-B2A4-494E-8F7A-5B7E81EDF647}" type="datetime'''基''''''''层及''''''''其''''''''''''''''''''''他'''''">
              <a:rPr lang="zh-CN" altLang="en-US" smtClean="0">
                <a:latin typeface="+mn-lt"/>
                <a:cs typeface="+mn-cs"/>
              </a:rPr>
              <a:pPr/>
              <a:t>基层及其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D2ED8A93-A64F-842C-9362-B936615B95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617276"/>
              </p:ext>
            </p:extLst>
          </p:nvPr>
        </p:nvGraphicFramePr>
        <p:xfrm>
          <a:off x="3321050" y="2120260"/>
          <a:ext cx="2772000" cy="311773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772000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977508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4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70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40318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47329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D9801C33-6079-305D-D6C9-6FA181383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423282"/>
              </p:ext>
            </p:extLst>
          </p:nvPr>
        </p:nvGraphicFramePr>
        <p:xfrm>
          <a:off x="9507538" y="2131853"/>
          <a:ext cx="2303463" cy="1871982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303463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271025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%</a:t>
                      </a:r>
                    </a:p>
                  </a:txBody>
                  <a:tcPr marL="7620" marR="7620" marT="762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965697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7.2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293E5EAB-9897-53B8-CA79-F72C2974461D}"/>
              </a:ext>
            </a:extLst>
          </p:cNvPr>
          <p:cNvSpPr/>
          <p:nvPr/>
        </p:nvSpPr>
        <p:spPr>
          <a:xfrm>
            <a:off x="431799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品类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ADD7E32B-9B7B-83D7-95EF-2A06B8DAAE95}"/>
              </a:ext>
            </a:extLst>
          </p:cNvPr>
          <p:cNvSpPr/>
          <p:nvPr/>
        </p:nvSpPr>
        <p:spPr>
          <a:xfrm>
            <a:off x="6900863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渠道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DA362408-D075-4A20-6545-487AB4E7D63A}"/>
              </a:ext>
            </a:extLst>
          </p:cNvPr>
          <p:cNvCxnSpPr>
            <a:cxnSpLocks/>
          </p:cNvCxnSpPr>
          <p:nvPr/>
        </p:nvCxnSpPr>
        <p:spPr>
          <a:xfrm>
            <a:off x="385764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F53C3740-50A0-C913-EB10-F57942B9DD43}"/>
              </a:ext>
            </a:extLst>
          </p:cNvPr>
          <p:cNvCxnSpPr>
            <a:cxnSpLocks/>
          </p:cNvCxnSpPr>
          <p:nvPr/>
        </p:nvCxnSpPr>
        <p:spPr>
          <a:xfrm>
            <a:off x="6759575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矩形 237">
            <a:extLst>
              <a:ext uri="{FF2B5EF4-FFF2-40B4-BE49-F238E27FC236}">
                <a16:creationId xmlns:a16="http://schemas.microsoft.com/office/drawing/2014/main" id="{7BDF4C2D-F3BF-9D11-A519-5543E8E4F8A0}"/>
              </a:ext>
            </a:extLst>
          </p:cNvPr>
          <p:cNvSpPr/>
          <p:nvPr/>
        </p:nvSpPr>
        <p:spPr>
          <a:xfrm>
            <a:off x="414338" y="6009062"/>
            <a:ext cx="560704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Others</a:t>
            </a:r>
            <a:r>
              <a:rPr lang="zh-CN" altLang="en-US" sz="1100" dirty="0">
                <a:solidFill>
                  <a:schemeClr val="tx1"/>
                </a:solidFill>
              </a:rPr>
              <a:t>包括卓乐定、耐较咛、爱赛平</a:t>
            </a:r>
            <a:r>
              <a:rPr lang="en-US" altLang="zh-CN" sz="1100" dirty="0">
                <a:solidFill>
                  <a:schemeClr val="tx1"/>
                </a:solidFill>
              </a:rPr>
              <a:t>NS</a:t>
            </a:r>
            <a:r>
              <a:rPr lang="zh-CN" altLang="en-US" sz="1100" dirty="0">
                <a:solidFill>
                  <a:schemeClr val="tx1"/>
                </a:solidFill>
              </a:rPr>
              <a:t>、友来特长尾产品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C75AB386-E421-ADC1-639D-C3396010E0E2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3286125" y="2546350"/>
            <a:ext cx="214313" cy="160338"/>
          </a:xfrm>
          <a:prstGeom prst="rect">
            <a:avLst/>
          </a:prstGeom>
          <a:solidFill>
            <a:srgbClr val="BFBF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6FDC2A2F-A9B2-DD3D-F833-58C71A3A5E8B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3286125" y="279876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546A5674-3916-B0E8-D452-E5B9AB9F078E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286125" y="3252788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9C30E9B6-62E4-5E4E-FAFB-43B3988D8EAF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3286125" y="37068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884CECB-5CCD-924D-3413-E06E3E128A64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3286125" y="41608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971643F-F89A-CF6D-A2B2-A972464B5D02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3286125" y="4816475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1168A9D-D8E5-6780-B420-5ADC9BC269E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551238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E9F029B-2888-4D35-AE6F-EC2591A832DE}" type="datetime'Ot''''''h''''''''''''''ers'''''''''''''''''">
              <a:rPr lang="en-US" altLang="en-US" smtClean="0">
                <a:latin typeface="+mn-lt"/>
                <a:cs typeface="+mn-cs"/>
              </a:rPr>
              <a:pPr/>
              <a:t>Others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F55E82B-D7B5-1B1A-F01C-40BF6D72BC4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551238" y="2779713"/>
            <a:ext cx="86995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F0A028-E6AA-4338-B7B9-2EB97EF98D01}" type="datetime'N''''ew'''' ''P''ro''''''''''d''u''''''c''''''''t&#10;''迪''''敏思'''">
              <a:rPr lang="en-US" altLang="en-US" smtClean="0">
                <a:latin typeface="+mn-lt"/>
                <a:cs typeface="+mn-cs"/>
              </a:rPr>
              <a:pPr/>
              <a:t>New Product
迪敏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27CAE76-D2DA-D7F0-DBF1-ED96C62A6343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551237" y="3233738"/>
            <a:ext cx="16764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52CE55A-9A24-43EE-96F4-7961828DBC0C}" type="datetime'''G''''''r''ow''''t''h'''' ''- Others&#10;''可多华、爱''宁达、利加''''''隆'">
              <a:rPr lang="en-US" altLang="en-US" smtClean="0">
                <a:latin typeface="+mn-lt"/>
                <a:cs typeface="+mn-cs"/>
              </a:rPr>
              <a:pPr/>
              <a:t>Growth - Others
可多华、爱宁达、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1419304-BF4C-2D37-987D-A5627D77668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551238" y="3687763"/>
            <a:ext cx="12192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368877E-85C3-4601-A799-B8863FCAD795}" type="datetime'''G''''''''row''t''h ''''- ED&#10;万艾''''''可''''、他达拉''非'''''''">
              <a:rPr lang="en-US" altLang="en-US" smtClean="0">
                <a:latin typeface="+mn-lt"/>
                <a:cs typeface="+mn-cs"/>
              </a:rPr>
              <a:pPr/>
              <a:t>Growth - ED
万艾可、他达拉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A6112D8-BC20-6BF8-05DB-D0684F4664EE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551238" y="4141787"/>
            <a:ext cx="1676400" cy="604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A15F737-9C8B-4B80-8BCC-95765D2053A5}" type="datetime'V''BP'' ''-'' O''t''hers&#10;西乐''''葆、乐瑞卡、''维''固''''''''力&#10;左洛复、怡诺思'">
              <a:rPr lang="en-US" altLang="en-US" smtClean="0">
                <a:latin typeface="+mn-lt"/>
                <a:cs typeface="+mn-cs"/>
              </a:rPr>
              <a:pPr/>
              <a:t>VBP - Others
西乐葆、乐瑞卡、维固力
左洛复、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53F0E0-EF86-D294-15EF-A6A0151708C9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551237" y="4797425"/>
            <a:ext cx="10668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183460-7FE0-45C7-BD5F-1BB0EC612EBB}" type="datetime'''V''''''BP - Cor''''''e'''''''' ''''''''''C''''V&#10;立普妥、络活喜'">
              <a:rPr lang="en-US" altLang="en-US" smtClean="0">
                <a:latin typeface="+mn-lt"/>
                <a:cs typeface="+mn-cs"/>
              </a:rPr>
              <a:pPr/>
              <a:t>VBP - Core CV
立普妥、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A380B36-B163-1730-F306-E37B050DCBB3}"/>
              </a:ext>
            </a:extLst>
          </p:cNvPr>
          <p:cNvSpPr/>
          <p:nvPr/>
        </p:nvSpPr>
        <p:spPr>
          <a:xfrm>
            <a:off x="-27464" y="821370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产品和渠道份额类</a:t>
            </a:r>
            <a:r>
              <a:rPr lang="en-US" altLang="zh-CN" sz="1200" b="1" dirty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3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2FD22-9C77-EE54-9E93-21E2A70C3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94CFC1D-F52B-2E3B-7AE0-EE8808DCB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25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2" imgW="473" imgH="476" progId="TCLayout.ActiveDocument.1">
                  <p:embed/>
                </p:oleObj>
              </mc:Choice>
              <mc:Fallback>
                <p:oleObj name="think-cell 幻灯片" r:id="rId62" imgW="473" imgH="47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CFC1D-F52B-2E3B-7AE0-EE8808DCB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78A37AC-AD05-C7F5-1FDA-4C86873D8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400" dirty="0"/>
              <a:t>业务中心和电商团队业绩整体均达成，类消费品团队</a:t>
            </a:r>
            <a:r>
              <a:rPr lang="en-US" altLang="zh-CN" sz="2400" dirty="0"/>
              <a:t>10</a:t>
            </a:r>
            <a:r>
              <a:rPr lang="zh-CN" altLang="en-US" sz="2400" dirty="0"/>
              <a:t>月业绩有所下滑（</a:t>
            </a:r>
            <a:r>
              <a:rPr lang="en-US" altLang="zh-CN" sz="2400" dirty="0"/>
              <a:t>vs 9</a:t>
            </a:r>
            <a:r>
              <a:rPr lang="zh-CN" altLang="en-US" sz="2400" dirty="0"/>
              <a:t>月</a:t>
            </a:r>
            <a:r>
              <a:rPr lang="en-US" altLang="zh-CN" sz="2400" dirty="0"/>
              <a:t>YTD</a:t>
            </a:r>
            <a:r>
              <a:rPr lang="zh-CN" altLang="en-US" sz="2400" dirty="0"/>
              <a:t>同比</a:t>
            </a:r>
            <a:r>
              <a:rPr lang="en-US" altLang="zh-CN" sz="2400" dirty="0"/>
              <a:t> -1.5%</a:t>
            </a:r>
            <a:r>
              <a:rPr lang="zh-CN" altLang="en-US" sz="2400" dirty="0"/>
              <a:t>）</a:t>
            </a:r>
            <a:endParaRPr lang="en-US" sz="24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C02CD86E-2385-E5F6-B2B3-207825E07B0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134068"/>
              </p:ext>
            </p:extLst>
          </p:nvPr>
        </p:nvGraphicFramePr>
        <p:xfrm>
          <a:off x="195263" y="2384425"/>
          <a:ext cx="298291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6396FC13-4F90-DC6F-4C39-0C1F5B8E018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982663" y="2033589"/>
            <a:ext cx="0" cy="320675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BED14E0F-3895-23D5-35B3-235C1DF911F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82663" y="2033588"/>
            <a:ext cx="14081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46C388D3-7051-46D8-C2FB-BA466BE5CC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390775" y="2033588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9" name="Text Placeholder 3">
            <a:extLst>
              <a:ext uri="{FF2B5EF4-FFF2-40B4-BE49-F238E27FC236}">
                <a16:creationId xmlns:a16="http://schemas.microsoft.com/office/drawing/2014/main" id="{C777A144-5DAB-9761-177B-11390B1A57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4250" y="2614613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9426A85-AC36-4AFB-B420-7D496717CB57}" type="datetime'''''''''''''''''''''''7''''''''.1''''''''''''%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0" name="Text Placeholder 3">
            <a:extLst>
              <a:ext uri="{FF2B5EF4-FFF2-40B4-BE49-F238E27FC236}">
                <a16:creationId xmlns:a16="http://schemas.microsoft.com/office/drawing/2014/main" id="{3336E68E-4BFB-ECC2-3996-CBC2F52632A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92138" y="2786063"/>
            <a:ext cx="390525" cy="201613"/>
          </a:xfrm>
          <a:prstGeom prst="rect">
            <a:avLst/>
          </a:prstGeom>
          <a:solidFill>
            <a:srgbClr val="6464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9CB9E8-1EEC-4499-9539-BB1D39E959B5}" type="datetime'''''''''''''''''''''''5''''''''.''''6''''''%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1" name="Text Placeholder 3">
            <a:extLst>
              <a:ext uri="{FF2B5EF4-FFF2-40B4-BE49-F238E27FC236}">
                <a16:creationId xmlns:a16="http://schemas.microsoft.com/office/drawing/2014/main" id="{947CDD78-E4F5-07DD-09A6-2256315B3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84250" y="2862263"/>
            <a:ext cx="3905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7632BB-1355-45CD-9B94-B0BCADD29406}" type="datetime'''0''''.''''''''''''''''''''''1''''''''''''''%'''''''''''''''">
              <a:rPr lang="en-US" altLang="en-US" smtClean="0">
                <a:effectLst/>
                <a:latin typeface="+mn-lt"/>
                <a:cs typeface="+mn-cs"/>
              </a:rPr>
              <a:pPr/>
              <a:t>0.1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2" name="Text Placeholder 3">
            <a:extLst>
              <a:ext uri="{FF2B5EF4-FFF2-40B4-BE49-F238E27FC236}">
                <a16:creationId xmlns:a16="http://schemas.microsoft.com/office/drawing/2014/main" id="{C4CA2FBA-28FE-4223-4BE4-33583552196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2138" y="29813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A838EB-C411-4685-8025-0C9BD5AD97F0}" type="datetime'''''''''''''8''''''''''''''''''.7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.7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3" name="Text Placeholder 3">
            <a:extLst>
              <a:ext uri="{FF2B5EF4-FFF2-40B4-BE49-F238E27FC236}">
                <a16:creationId xmlns:a16="http://schemas.microsoft.com/office/drawing/2014/main" id="{B7595E2C-2748-256D-05CC-F146CACDC0D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6125" y="41608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552E01-B057-4A34-AF46-A1206C4EE1E8}" type="datetime'''78''''''''.''6%''''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8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43A72A9-B431-42E3-5480-AF874F40CF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5638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7EF5B7-B52E-472B-9607-1ACAB4EC2200}" type="datetime'''2''''''''4''''''''''''''''1''0Y''T''''''''''''''''''''''D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6" name="Text Placeholder 3">
            <a:extLst>
              <a:ext uri="{FF2B5EF4-FFF2-40B4-BE49-F238E27FC236}">
                <a16:creationId xmlns:a16="http://schemas.microsoft.com/office/drawing/2014/main" id="{BCEDCD3B-CAE7-85CC-E3AB-16390C4502D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92363" y="2425700"/>
            <a:ext cx="390525" cy="20161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75AD0E-EB35-410F-A52E-06DAE7BB2540}" type="datetime'''''''''''4''.''''''''''''''''2''''''''''''''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7" name="Text Placeholder 3">
            <a:extLst>
              <a:ext uri="{FF2B5EF4-FFF2-40B4-BE49-F238E27FC236}">
                <a16:creationId xmlns:a16="http://schemas.microsoft.com/office/drawing/2014/main" id="{DB3BE6E2-E313-A686-7EF6-122DB5314A8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00250" y="2590800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1AF2BB-3F59-4019-A32C-6A31A5D5F269}" type="datetime'''''''''''''''''''''7''''''''''''.''''''''4''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8" name="Text Placeholder 3">
            <a:extLst>
              <a:ext uri="{FF2B5EF4-FFF2-40B4-BE49-F238E27FC236}">
                <a16:creationId xmlns:a16="http://schemas.microsoft.com/office/drawing/2014/main" id="{885B4C29-6FB3-744B-93C5-7EFCFF1EDD5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92363" y="2700338"/>
            <a:ext cx="3905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68415C-0AB0-4DC3-BC7E-162D15288192}" type="datetime'0''''''''''''''''''''''''''.''''''2''''%'''''''''''">
              <a:rPr lang="en-US" altLang="en-US" smtClean="0">
                <a:effectLst/>
                <a:latin typeface="+mn-lt"/>
                <a:cs typeface="+mn-cs"/>
              </a:rPr>
              <a:pPr/>
              <a:t>0.2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9" name="Text Placeholder 3">
            <a:extLst>
              <a:ext uri="{FF2B5EF4-FFF2-40B4-BE49-F238E27FC236}">
                <a16:creationId xmlns:a16="http://schemas.microsoft.com/office/drawing/2014/main" id="{FF2B5B09-4C0F-6FAD-B29D-2798B57F4F3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00250" y="2816225"/>
            <a:ext cx="390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890DB8-3FE0-4715-8B04-8E2870831C04}" type="datetime'''''''''7''''.''''''''9''''%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.9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0" name="Text Placeholder 3">
            <a:extLst>
              <a:ext uri="{FF2B5EF4-FFF2-40B4-BE49-F238E27FC236}">
                <a16:creationId xmlns:a16="http://schemas.microsoft.com/office/drawing/2014/main" id="{BCC93580-63DA-4DCD-63BB-741C17F1F9E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54238" y="407670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E13297-AD27-4226-B80B-4B4FA017C718}" type="datetime'''''''''''''''''8''''0.''''''''''''''''''''3''''%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0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6A5E9AF-F9C5-5B0B-BC41-15D6BC59E67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63750" y="5375275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7CDDE3-3F8C-4A38-9E44-1DDFF7A6717A}" type="datetime'''2''''''''''5''''''''1''''''''''0''Y''''''''''''T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5" name="Text Placeholder 3">
            <a:extLst>
              <a:ext uri="{FF2B5EF4-FFF2-40B4-BE49-F238E27FC236}">
                <a16:creationId xmlns:a16="http://schemas.microsoft.com/office/drawing/2014/main" id="{35E32FB4-95D3-BF63-2B56-864881595B5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28663" y="23923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A2A68A-01E5-4DE3-B160-FB7F4F11E7B3}" type="datetime'''''''''12'',''''''''''6''''''''6''4'''''''''''''''''''''''''">
              <a:rPr lang="en-US" altLang="en-US" smtClean="0">
                <a:latin typeface="+mn-lt"/>
                <a:cs typeface="+mn-cs"/>
              </a:rPr>
              <a:pPr/>
              <a:t>12,66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2" name="Text Placeholder 3">
            <a:extLst>
              <a:ext uri="{FF2B5EF4-FFF2-40B4-BE49-F238E27FC236}">
                <a16:creationId xmlns:a16="http://schemas.microsoft.com/office/drawing/2014/main" id="{049A0AEC-2F3B-1A15-A2B2-05710674AB1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36775" y="2224088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7BD932-96F5-417B-87BF-B628CD98A664}" type="datetime'''''''1''''''''''''''3'''''''''''',3''7''''''''''5'''''''''">
              <a:rPr lang="en-US" altLang="en-US" smtClean="0">
                <a:latin typeface="+mn-lt"/>
                <a:cs typeface="+mn-cs"/>
              </a:rPr>
              <a:pPr/>
              <a:t>13,3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6" name="Text Placeholder 3">
            <a:extLst>
              <a:ext uri="{FF2B5EF4-FFF2-40B4-BE49-F238E27FC236}">
                <a16:creationId xmlns:a16="http://schemas.microsoft.com/office/drawing/2014/main" id="{DC20FA80-A269-2DF3-92C3-D523233343C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77950" y="1890713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05B627-F9A8-45F1-A07A-2B76E897D9F9}" type="datetime'''''''''''+''''5''''''''.''''6''''''''''''''''''''''%'''''">
              <a:rPr lang="en-US" altLang="en-US" b="1" smtClean="0">
                <a:effectLst/>
                <a:latin typeface="+mn-lt"/>
                <a:cs typeface="+mn-cs"/>
              </a:rPr>
              <a:pPr/>
              <a:t>+5.6%</a:t>
            </a:fld>
            <a:endParaRPr lang="en-US" b="1" dirty="0">
              <a:latin typeface="+mn-lt"/>
              <a:cs typeface="+mn-cs"/>
            </a:endParaRPr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6B1D8DA8-F3BF-2BAF-7CF7-B4448F8A5BE5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22970449"/>
              </p:ext>
            </p:extLst>
          </p:nvPr>
        </p:nvGraphicFramePr>
        <p:xfrm>
          <a:off x="6338888" y="2384425"/>
          <a:ext cx="2984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CE4630F9-A19E-9EE0-147D-18AAB147382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V="1">
            <a:off x="7126288" y="2049462"/>
            <a:ext cx="0" cy="36195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AD927E6-F63F-7BF4-F968-0E0E95D8797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7126288" y="2049463"/>
            <a:ext cx="1409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210C6D30-8ADF-1C24-5F67-EBCEF938DDE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8535988" y="2049463"/>
            <a:ext cx="0" cy="1524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34D9A0B1-FF50-257D-B1A5-FA7C8FD5D2B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89750" y="29797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01EA97-E1D9-4957-AB7F-EF29B2B34277}" type="datetime'''3''''''''''''0''''''''''''.4''''''''''''%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0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F984D200-FDB2-821F-0AD5-3AAD7577E47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89750" y="37544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6B1422-DDA6-41B5-821C-FB34821E49CB}" type="datetime'''2''''''''''''''8''''''''''''.''''''''2%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8.2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E576F83E-556F-04A1-DDDD-BED5A3F1365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889750" y="4430713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8C5B72-47D3-4908-B0E9-EA1D9E63D872}" type="datetime'''''''''''''2''''''''2.''''''''''''''''''''''''''''9%'''''">
              <a:rPr lang="en-US" altLang="en-US" smtClean="0">
                <a:latin typeface="+mn-lt"/>
                <a:cs typeface="+mn-cs"/>
              </a:rPr>
              <a:pPr/>
              <a:t>22.9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ED28E0D5-1846-3991-0F70-92C5B61AB65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889750" y="497363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CD61C2-807F-4EC7-B8CC-FFFFFF374898}" type="datetime'''''''''1''8''''''.''''''''''''''''''''''''''''1''''%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BB386973-F59D-476F-5ED2-8B7B1FB4DF1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931025" y="5218113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949DB53-6121-404F-9B54-06D538C8684A}" type="datetime'''''''''''0''''''''''''''''''''.4''''''''''''''''''%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4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1783964A-FCA7-51DE-0480-6C903FB8E5C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99263" y="547370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467FAF-3DCF-401D-9ED6-50963D7A5FF7}" type="datetime'''''''2''''''''4''''1''''''''0''''YT''''''''D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E465AA34-ACC2-C212-CBB5-608E3E73AD9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99450" y="2784475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EB18D1-59AC-4EF8-81E4-7589D9DC925E}" type="datetime'''''''2''''''''''''''9.''3''''''''''''''''''%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9.3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626DAB8F-F3A2-D383-4A40-5358F6A8CA7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99450" y="3625850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4840ED-4E99-4DFB-A83B-911D88216AAE}" type="datetime'''''''''''''''''''''''29''''.''''''''''''''6''''%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9.6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CFB05BAF-8E1A-BAD6-1F75-F1CA3103EB1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99450" y="43703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F7DC24-218D-4E0B-B1D6-5FF4F908F454}" type="datetime'2''''''2''''''''''''.5%'''''''''''''">
              <a:rPr lang="en-US" altLang="en-US" smtClean="0">
                <a:latin typeface="+mn-lt"/>
                <a:cs typeface="+mn-cs"/>
              </a:rPr>
              <a:pPr/>
              <a:t>22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2047E2BE-3D52-36B3-9736-2F615626D64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299450" y="4954588"/>
            <a:ext cx="474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36382F-7B0E-46C7-9C99-4459D19648E3}" type="datetime'''''''''''''''1''''''''''''''8''''''.5''''''''''%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.5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D5CF4083-6A60-3A60-56C1-B2C05CC2214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340725" y="5221288"/>
            <a:ext cx="390525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0C3DF9-EC4B-446F-A040-9FFE4434EF02}" type="datetime'''0''''.''''''''''''''1''''''''''''''''''''%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1%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A63880FC-DA7D-DE51-3A30-A5271227E1A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08963" y="547370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A90728-79F1-4918-A315-F41849C77A1D}" type="datetime'''''''''25''''1''0''''''''''Y''''TD''''''''''''''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D2938EFF-8EED-1D65-B92E-A7976F23ABD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915150" y="244951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E02053-2821-4E9B-BA56-93A06C878F74}" type="datetime'''''''''''''''''''''9'''''''''',9''''''''5''''''''1'''''''">
              <a:rPr lang="en-US" altLang="en-US" smtClean="0">
                <a:latin typeface="+mn-lt"/>
                <a:cs typeface="+mn-cs"/>
              </a:rPr>
              <a:pPr/>
              <a:t>9,9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18E54252-72A2-EF4C-580D-B136FA25CE8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281987" y="2239963"/>
            <a:ext cx="508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525BD0-7CAF-4D4A-84ED-2C9BF172A8EF}" type="datetime'''1''''''''''''''''''''''''''''''0'''''''''''''',''73''9'">
              <a:rPr lang="en-US" altLang="en-US" smtClean="0">
                <a:latin typeface="+mn-lt"/>
                <a:cs typeface="+mn-cs"/>
              </a:rPr>
              <a:pPr/>
              <a:t>10,73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5FC4F210-5D86-0AB8-BE66-4E8A84ECBAA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23163" y="1906588"/>
            <a:ext cx="615950" cy="2857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7DB4C8-E95E-4D47-BF1E-E520F92E6100}" type="datetime'+7.''''9%'''''''''''''''''''''''''''''''''''''''''">
              <a:rPr lang="en-US" altLang="en-US" b="1" smtClean="0">
                <a:effectLst/>
                <a:latin typeface="+mn-lt"/>
                <a:cs typeface="+mn-cs"/>
              </a:rPr>
              <a:pPr/>
              <a:t>+7.9%</a:t>
            </a:fld>
            <a:endParaRPr lang="en-US" b="1" dirty="0">
              <a:latin typeface="+mn-lt"/>
              <a:cs typeface="+mn-cs"/>
            </a:endParaRP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CC2E9F28-58F2-0808-F3D1-5D257566720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01163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92E2C93A-0B06-EA2B-6C20-A4739F0C2BF3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301163" y="2798763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93D6BC83-E867-D33E-8328-44DD43431A3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301163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F670F7CA-C795-80D3-C2E0-A6299000B47D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301163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51D1EA3-CFE3-EEEA-E714-45C6DB4A937E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301163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2BC05C50-9D1E-4A9A-319A-E066D3415B5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566275" y="252730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5BCCAB-DCAC-44C9-B06B-E3BDA9B2D77A}" type="datetime'全''''''''''渠''''''''道''''''北''''''''''''区'''''''''''''''">
              <a:rPr lang="zh-CN" altLang="en-US" smtClean="0">
                <a:latin typeface="+mn-lt"/>
                <a:cs typeface="+mn-cs"/>
              </a:rPr>
              <a:pPr/>
              <a:t>全渠道北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F08EC7B1-9694-D47B-253D-9B958C33ED5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566275" y="27797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67CE9B5-6694-4ABA-95A7-0A4C9441FB2E}" type="datetime'''全''''''''''渠''''''道东''''''区'">
              <a:rPr lang="zh-CN" altLang="en-US" smtClean="0">
                <a:latin typeface="+mn-lt"/>
                <a:cs typeface="+mn-cs"/>
              </a:rPr>
              <a:pPr/>
              <a:t>全渠道东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F9D56110-1671-5B97-CA27-C2B6D88D52D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566275" y="30321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0BEC4B2-3A57-453F-BC28-C526B5516D2A}" type="datetime'''''全''''''''''渠''''''道''''''南''''''''''''''''''''''''''''区'">
              <a:rPr lang="zh-CN" altLang="en-US" smtClean="0">
                <a:latin typeface="+mn-lt"/>
                <a:cs typeface="+mn-cs"/>
              </a:rPr>
              <a:pPr/>
              <a:t>全渠道南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6" name="Text Placeholder 3">
            <a:extLst>
              <a:ext uri="{FF2B5EF4-FFF2-40B4-BE49-F238E27FC236}">
                <a16:creationId xmlns:a16="http://schemas.microsoft.com/office/drawing/2014/main" id="{9A973DB6-B33D-9FEA-0E31-C92560C794CC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566275" y="3284538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432C6E-78F1-4986-A60E-9EAE71C835CB}" type="datetime'全''''渠''''''道''''''''''''''''''''中''''''区'''">
              <a:rPr lang="zh-CN" altLang="en-US" smtClean="0">
                <a:latin typeface="+mn-lt"/>
                <a:cs typeface="+mn-cs"/>
              </a:rPr>
              <a:pPr/>
              <a:t>全渠道中区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F1216DB-C5F1-D7C8-4CC7-BCA2F1019C7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566275" y="3536950"/>
            <a:ext cx="6000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EF6018-2B6E-4049-B18C-E0A9702A7C8A}" type="datetime'''B''''''''''2C''药''''''''''''''''''''''''''''''''''''店'''''">
              <a:rPr lang="en-US" altLang="en-US" smtClean="0">
                <a:latin typeface="+mn-lt"/>
                <a:cs typeface="+mn-cs"/>
              </a:rPr>
              <a:pPr/>
              <a:t>B2C药店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68" name="表格 167">
            <a:extLst>
              <a:ext uri="{FF2B5EF4-FFF2-40B4-BE49-F238E27FC236}">
                <a16:creationId xmlns:a16="http://schemas.microsoft.com/office/drawing/2014/main" id="{934DADF8-0A9C-CD15-F81E-00C06E089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42843"/>
              </p:ext>
            </p:extLst>
          </p:nvPr>
        </p:nvGraphicFramePr>
        <p:xfrm>
          <a:off x="3248026" y="2501344"/>
          <a:ext cx="2735262" cy="126000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871495">
                  <a:extLst>
                    <a:ext uri="{9D8B030D-6E8A-4147-A177-3AD203B41FA5}">
                      <a16:colId xmlns:a16="http://schemas.microsoft.com/office/drawing/2014/main" val="3505404300"/>
                    </a:ext>
                  </a:extLst>
                </a:gridCol>
                <a:gridCol w="863767">
                  <a:extLst>
                    <a:ext uri="{9D8B030D-6E8A-4147-A177-3AD203B41FA5}">
                      <a16:colId xmlns:a16="http://schemas.microsoft.com/office/drawing/2014/main" val="174733889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7.6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8598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952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2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3.5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73044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7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7530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391780"/>
                  </a:ext>
                </a:extLst>
              </a:tr>
            </a:tbl>
          </a:graphicData>
        </a:graphic>
      </p:graphicFrame>
      <p:graphicFrame>
        <p:nvGraphicFramePr>
          <p:cNvPr id="170" name="表格 169">
            <a:extLst>
              <a:ext uri="{FF2B5EF4-FFF2-40B4-BE49-F238E27FC236}">
                <a16:creationId xmlns:a16="http://schemas.microsoft.com/office/drawing/2014/main" id="{E54797A4-E7A7-4CEF-4F8B-D52CF73CB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601071"/>
              </p:ext>
            </p:extLst>
          </p:nvPr>
        </p:nvGraphicFramePr>
        <p:xfrm>
          <a:off x="9413876" y="2515684"/>
          <a:ext cx="2411412" cy="124883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3614">
                  <a:extLst>
                    <a:ext uri="{9D8B030D-6E8A-4147-A177-3AD203B41FA5}">
                      <a16:colId xmlns:a16="http://schemas.microsoft.com/office/drawing/2014/main" val="1129469883"/>
                    </a:ext>
                  </a:extLst>
                </a:gridCol>
                <a:gridCol w="827798">
                  <a:extLst>
                    <a:ext uri="{9D8B030D-6E8A-4147-A177-3AD203B41FA5}">
                      <a16:colId xmlns:a16="http://schemas.microsoft.com/office/drawing/2014/main" val="1283414145"/>
                    </a:ext>
                  </a:extLst>
                </a:gridCol>
              </a:tblGrid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8.9%</a:t>
                      </a:r>
                    </a:p>
                  </a:txBody>
                  <a:tcPr marL="7620" marR="7620" marT="7620" marB="0" anchor="ctr"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70648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0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752253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8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913451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.6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427609"/>
                  </a:ext>
                </a:extLst>
              </a:tr>
              <a:tr h="24976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4.8%</a:t>
                      </a: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18586"/>
                  </a:ext>
                </a:extLst>
              </a:tr>
            </a:tbl>
          </a:graphicData>
        </a:graphic>
      </p:graphicFrame>
      <p:sp>
        <p:nvSpPr>
          <p:cNvPr id="171" name="矩形 170">
            <a:extLst>
              <a:ext uri="{FF2B5EF4-FFF2-40B4-BE49-F238E27FC236}">
                <a16:creationId xmlns:a16="http://schemas.microsoft.com/office/drawing/2014/main" id="{51A010F1-CBBA-2FF7-5F55-08C24B4BAFF8}"/>
              </a:ext>
            </a:extLst>
          </p:cNvPr>
          <p:cNvSpPr/>
          <p:nvPr/>
        </p:nvSpPr>
        <p:spPr>
          <a:xfrm>
            <a:off x="212725" y="114300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分团队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488F4B9C-2DC6-91A7-BFC3-39A4292C7601}"/>
              </a:ext>
            </a:extLst>
          </p:cNvPr>
          <p:cNvSpPr/>
          <p:nvPr/>
        </p:nvSpPr>
        <p:spPr>
          <a:xfrm>
            <a:off x="6681788" y="1143000"/>
            <a:ext cx="2732088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渠道购进毛销售额全渠道团队</a:t>
            </a:r>
            <a:r>
              <a:rPr lang="en-US" altLang="zh-CN" sz="1200" b="1" dirty="0">
                <a:solidFill>
                  <a:schemeClr val="tx2"/>
                </a:solidFill>
              </a:rPr>
              <a:t>SG</a:t>
            </a:r>
            <a:r>
              <a:rPr lang="zh-CN" altLang="en-US" sz="1200" b="1" dirty="0">
                <a:solidFill>
                  <a:schemeClr val="tx2"/>
                </a:solidFill>
              </a:rPr>
              <a:t>分布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F734EDEE-81E2-BE77-7EA6-2DCF6F3365B3}"/>
              </a:ext>
            </a:extLst>
          </p:cNvPr>
          <p:cNvSpPr/>
          <p:nvPr/>
        </p:nvSpPr>
        <p:spPr>
          <a:xfrm>
            <a:off x="419100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比增长率</a:t>
            </a:r>
            <a:endParaRPr lang="en-US" altLang="zh-CN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cxnSp>
        <p:nvCxnSpPr>
          <p:cNvPr id="176" name="直接连接符 175">
            <a:extLst>
              <a:ext uri="{FF2B5EF4-FFF2-40B4-BE49-F238E27FC236}">
                <a16:creationId xmlns:a16="http://schemas.microsoft.com/office/drawing/2014/main" id="{7B4158EF-BE8C-B4A5-FE80-91D74D7232D6}"/>
              </a:ext>
            </a:extLst>
          </p:cNvPr>
          <p:cNvCxnSpPr>
            <a:cxnSpLocks/>
          </p:cNvCxnSpPr>
          <p:nvPr/>
        </p:nvCxnSpPr>
        <p:spPr>
          <a:xfrm>
            <a:off x="166688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4DA69E04-DF07-462E-3DFA-239CA89B0699}"/>
              </a:ext>
            </a:extLst>
          </p:cNvPr>
          <p:cNvCxnSpPr>
            <a:cxnSpLocks/>
          </p:cNvCxnSpPr>
          <p:nvPr/>
        </p:nvCxnSpPr>
        <p:spPr>
          <a:xfrm>
            <a:off x="6540500" y="1485900"/>
            <a:ext cx="3059113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矩形 219">
            <a:extLst>
              <a:ext uri="{FF2B5EF4-FFF2-40B4-BE49-F238E27FC236}">
                <a16:creationId xmlns:a16="http://schemas.microsoft.com/office/drawing/2014/main" id="{84B30B41-3D63-110D-C6C4-D92405FC5F3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3155950" y="2546350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1" name="矩形 220">
            <a:extLst>
              <a:ext uri="{FF2B5EF4-FFF2-40B4-BE49-F238E27FC236}">
                <a16:creationId xmlns:a16="http://schemas.microsoft.com/office/drawing/2014/main" id="{17A21362-DFA2-107E-17F3-A10741F34C7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3155950" y="2798762"/>
            <a:ext cx="214313" cy="160338"/>
          </a:xfrm>
          <a:prstGeom prst="rect">
            <a:avLst/>
          </a:prstGeom>
          <a:solidFill>
            <a:srgbClr val="64646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2" name="矩形 221">
            <a:extLst>
              <a:ext uri="{FF2B5EF4-FFF2-40B4-BE49-F238E27FC236}">
                <a16:creationId xmlns:a16="http://schemas.microsoft.com/office/drawing/2014/main" id="{98CA396F-DF7D-5CFC-4635-434CD910594D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3155950" y="3051175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3" name="矩形 222">
            <a:extLst>
              <a:ext uri="{FF2B5EF4-FFF2-40B4-BE49-F238E27FC236}">
                <a16:creationId xmlns:a16="http://schemas.microsoft.com/office/drawing/2014/main" id="{6A483516-4D5B-3D59-58D5-573AC158F4D1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3155950" y="330358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4" name="矩形 223">
            <a:extLst>
              <a:ext uri="{FF2B5EF4-FFF2-40B4-BE49-F238E27FC236}">
                <a16:creationId xmlns:a16="http://schemas.microsoft.com/office/drawing/2014/main" id="{266E575C-98F1-D09E-CAA3-94D0AAF3ED38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3155950" y="3556000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2" name="Text Placeholder 3">
            <a:extLst>
              <a:ext uri="{FF2B5EF4-FFF2-40B4-BE49-F238E27FC236}">
                <a16:creationId xmlns:a16="http://schemas.microsoft.com/office/drawing/2014/main" id="{E4C6BDE5-1543-ACA6-9466-24BA187A93D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421063" y="2527300"/>
            <a:ext cx="457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07484F-8C57-4900-83BF-EEC28BE9DF7F}" type="datetime'''''''''''''''''非''''''''目''''''''''''标'''''''''''''''''''''''">
              <a:rPr lang="zh-CN" altLang="en-US" smtClean="0">
                <a:latin typeface="+mn-lt"/>
                <a:cs typeface="+mn-cs"/>
              </a:rPr>
              <a:pPr/>
              <a:t>非目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4" name="Text Placeholder 3">
            <a:extLst>
              <a:ext uri="{FF2B5EF4-FFF2-40B4-BE49-F238E27FC236}">
                <a16:creationId xmlns:a16="http://schemas.microsoft.com/office/drawing/2014/main" id="{266BEFE0-2BAE-FE9D-74EC-BB45B975B5A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421063" y="277971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2C8B480-E827-4AA5-9136-B3926A000C3D}" type="datetime'''''''电商''''''''''''''''''''''''''''''''业''''''务''''''团''队'">
              <a:rPr lang="zh-CN" altLang="en-US" smtClean="0">
                <a:latin typeface="+mn-lt"/>
                <a:cs typeface="+mn-cs"/>
              </a:rPr>
              <a:pPr/>
              <a:t>电商业务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6" name="Text Placeholder 3">
            <a:extLst>
              <a:ext uri="{FF2B5EF4-FFF2-40B4-BE49-F238E27FC236}">
                <a16:creationId xmlns:a16="http://schemas.microsoft.com/office/drawing/2014/main" id="{A61E0BF6-F585-DE2F-B5B8-7293EEC9963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421063" y="3032126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D6C585-71A0-4BBA-8667-1460DC0BE37D}" type="datetime'''''''''新兴''''''''''''''产品''''团''''''''队'''''''''''''''''">
              <a:rPr lang="zh-CN" altLang="en-US" smtClean="0">
                <a:latin typeface="+mn-lt"/>
                <a:cs typeface="+mn-cs"/>
              </a:rPr>
              <a:pPr/>
              <a:t>新兴产品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7" name="Text Placeholder 3">
            <a:extLst>
              <a:ext uri="{FF2B5EF4-FFF2-40B4-BE49-F238E27FC236}">
                <a16:creationId xmlns:a16="http://schemas.microsoft.com/office/drawing/2014/main" id="{A0B501F8-03F1-0A38-EA9D-A17C6A0A335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421063" y="32845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74F2CF-5677-446D-975E-00D1EED3D5C8}" type="datetime'''类''''''''''消''''''''''''''''''费''''品''''团队'">
              <a:rPr lang="zh-CN" altLang="en-US" smtClean="0">
                <a:latin typeface="+mn-lt"/>
                <a:cs typeface="+mn-cs"/>
              </a:rPr>
              <a:pPr/>
              <a:t>类消费品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8" name="Text Placeholder 3">
            <a:extLst>
              <a:ext uri="{FF2B5EF4-FFF2-40B4-BE49-F238E27FC236}">
                <a16:creationId xmlns:a16="http://schemas.microsoft.com/office/drawing/2014/main" id="{1915A7A8-2846-7EDC-0E54-BF7262428E4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421063" y="3536951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4CBE3FD-A732-4A0F-9390-D30E4705FC9F}" type="datetime'''全''''''''''''''渠''''道''业务''团队'''''''''''''">
              <a:rPr lang="zh-CN" altLang="en-US" smtClean="0">
                <a:latin typeface="+mn-lt"/>
                <a:cs typeface="+mn-cs"/>
              </a:rPr>
              <a:pPr/>
              <a:t>全渠道业务团队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A103377-C801-2B61-AF0A-2BF9A7099C61}"/>
              </a:ext>
            </a:extLst>
          </p:cNvPr>
          <p:cNvSpPr/>
          <p:nvPr/>
        </p:nvSpPr>
        <p:spPr>
          <a:xfrm>
            <a:off x="514350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/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CC49587-17C7-53E2-2433-687864B39EE6}"/>
              </a:ext>
            </a:extLst>
          </p:cNvPr>
          <p:cNvSpPr/>
          <p:nvPr/>
        </p:nvSpPr>
        <p:spPr>
          <a:xfrm>
            <a:off x="1015365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比增长率</a:t>
            </a:r>
            <a:endParaRPr lang="en-US" altLang="zh-CN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B0118694-CC71-4015-7662-0E2E6C66C639}"/>
              </a:ext>
            </a:extLst>
          </p:cNvPr>
          <p:cNvSpPr/>
          <p:nvPr/>
        </p:nvSpPr>
        <p:spPr>
          <a:xfrm>
            <a:off x="10991850" y="2126179"/>
            <a:ext cx="12001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/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10YTD</a:t>
            </a:r>
          </a:p>
        </p:txBody>
      </p:sp>
    </p:spTree>
    <p:extLst>
      <p:ext uri="{BB962C8B-B14F-4D97-AF65-F5344CB8AC3E}">
        <p14:creationId xmlns:p14="http://schemas.microsoft.com/office/powerpoint/2010/main" val="382958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305DA93-495D-3429-0D23-05A991A8D5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31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473" imgH="476" progId="TCLayout.ActiveDocument.1">
                  <p:embed/>
                </p:oleObj>
              </mc:Choice>
              <mc:Fallback>
                <p:oleObj name="think-cell 幻灯片" r:id="rId45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5DA93-495D-3429-0D23-05A991A8D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5FB879D-49C4-3AD6-1024-6EF4C4A1F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西乐葆、乐瑞卡渠道购进和市场份额较去年均下跌</a:t>
            </a:r>
            <a:b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洛复、立普妥、万艾可、怡诺思市场份额较去年有所下滑</a:t>
            </a:r>
            <a:b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65" name="直接连接符 464">
            <a:extLst>
              <a:ext uri="{FF2B5EF4-FFF2-40B4-BE49-F238E27FC236}">
                <a16:creationId xmlns:a16="http://schemas.microsoft.com/office/drawing/2014/main" id="{7EF523CD-E21C-FAAD-5B43-E08707863EA9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675063" y="1990725"/>
            <a:ext cx="0" cy="3875088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1" name="直接连接符 470">
            <a:extLst>
              <a:ext uri="{FF2B5EF4-FFF2-40B4-BE49-F238E27FC236}">
                <a16:creationId xmlns:a16="http://schemas.microsoft.com/office/drawing/2014/main" id="{1C276F67-F41B-7B92-73E6-D386EA641E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005888" y="1990725"/>
            <a:ext cx="0" cy="3875088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1" name="直接连接符 530">
            <a:extLst>
              <a:ext uri="{FF2B5EF4-FFF2-40B4-BE49-F238E27FC236}">
                <a16:creationId xmlns:a16="http://schemas.microsoft.com/office/drawing/2014/main" id="{17AFF1CF-EAF7-C1F8-E9A5-F96D165B9F2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913063" y="1990725"/>
            <a:ext cx="60928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直接连接符 529">
            <a:extLst>
              <a:ext uri="{FF2B5EF4-FFF2-40B4-BE49-F238E27FC236}">
                <a16:creationId xmlns:a16="http://schemas.microsoft.com/office/drawing/2014/main" id="{C29C918B-6808-5F67-A303-F181759D99B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13063" y="3540125"/>
            <a:ext cx="60928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3B0927C8-10EE-0FE9-B833-967FC9C5CEE8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54257828"/>
              </p:ext>
            </p:extLst>
          </p:nvPr>
        </p:nvGraphicFramePr>
        <p:xfrm>
          <a:off x="2249488" y="1809750"/>
          <a:ext cx="709136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AB2A5072-E632-FCC3-F826-8D05FBF057E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033838" y="3189288"/>
            <a:ext cx="22225" cy="1412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CFC315E-47AA-6D52-E4C3-39950139881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448050" y="3187700"/>
            <a:ext cx="38100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578AB30D-B6D8-0C42-7925-70EF2EFA45F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103688" y="4148138"/>
            <a:ext cx="0" cy="1031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DFA6C1C3-A3FE-C172-B390-D9D771E3D6A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 flipV="1">
            <a:off x="4264025" y="3719513"/>
            <a:ext cx="333375" cy="333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F46581F4-0480-37A7-F254-684219AFF67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4621213" y="3228975"/>
            <a:ext cx="30162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3ABC07-BAC6-D2CF-C122-D311E39F42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280525" y="576580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E1EEC3-903B-43E8-9328-0872CB891DBE}" type="datetime'''毛''销''''''售额增''''''长''''''''''''''''''''率'''''''''''''''''''">
              <a:rPr lang="zh-CN" altLang="en-US" smtClean="0">
                <a:latin typeface="+mn-lt"/>
                <a:cs typeface="+mn-cs"/>
              </a:rPr>
              <a:pPr/>
              <a:t>毛销售额增长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CF938BD-1A32-283E-FFB3-7F782FE332A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608263" y="156210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8C1109-40C1-46D9-B160-CC82D7D2CEB7}" type="datetime'''''''''''''''''''''份''''''额变化'''''''''">
              <a:rPr lang="zh-CN" altLang="en-US" smtClean="0">
                <a:latin typeface="+mn-lt"/>
                <a:cs typeface="+mn-cs"/>
              </a:rPr>
              <a:pPr/>
              <a:t>份额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4" name="Text Placeholder 3">
            <a:extLst>
              <a:ext uri="{FF2B5EF4-FFF2-40B4-BE49-F238E27FC236}">
                <a16:creationId xmlns:a16="http://schemas.microsoft.com/office/drawing/2014/main" id="{42D37D27-F5B5-79CC-237C-0FE97EE503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513263" y="39830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0E3ABE2-9185-42A5-81BE-2A54E67E6D76}" type="datetime'''''''''''''''''''''''''立''''普''妥'''''">
              <a:rPr lang="zh-CN" altLang="en-US" smtClean="0">
                <a:latin typeface="+mn-lt"/>
                <a:cs typeface="+mn-cs"/>
              </a:rPr>
              <a:pPr/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3" name="Text Placeholder 3">
            <a:extLst>
              <a:ext uri="{FF2B5EF4-FFF2-40B4-BE49-F238E27FC236}">
                <a16:creationId xmlns:a16="http://schemas.microsoft.com/office/drawing/2014/main" id="{17F3B7F0-5584-8227-872C-6509F8A69F5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13263" y="4184650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DA82724-5B87-4B49-8D91-038B8CA29F79}" type="datetime'''5''''''''''''''''''''''.''''''''''''''''9''''''''%'''">
              <a:rPr lang="en-US" altLang="en-US" sz="1000" smtClean="0">
                <a:latin typeface="+mn-lt"/>
                <a:cs typeface="+mn-cs"/>
              </a:rPr>
              <a:pPr/>
              <a:t>5.9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D8B500BB-0670-4F7B-A76E-84F4D7C72361}" type="datetime'''''-''''''''''''''''''''0.''''''''''''''''''2%'">
              <a:rPr lang="en-US" altLang="en-US" sz="1000" smtClean="0">
                <a:latin typeface="+mn-lt"/>
                <a:cs typeface="+mn-cs"/>
              </a:rPr>
              <a:pPr/>
              <a:t>-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5" name="Text Placeholder 3">
            <a:extLst>
              <a:ext uri="{FF2B5EF4-FFF2-40B4-BE49-F238E27FC236}">
                <a16:creationId xmlns:a16="http://schemas.microsoft.com/office/drawing/2014/main" id="{5FB799B1-0A35-BC5A-A1E2-F73DABAC4F8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60788" y="281940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05909A-6C58-48A6-97DE-80469F4BCA4B}" type="datetime'''''''''络''''''''活喜'''''''''''''''''''''''">
              <a:rPr lang="zh-CN" altLang="en-US" smtClean="0">
                <a:latin typeface="+mn-lt"/>
                <a:cs typeface="+mn-cs"/>
              </a:rPr>
              <a:pPr/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7" name="Text Placeholder 3">
            <a:extLst>
              <a:ext uri="{FF2B5EF4-FFF2-40B4-BE49-F238E27FC236}">
                <a16:creationId xmlns:a16="http://schemas.microsoft.com/office/drawing/2014/main" id="{CF5E2072-AED3-420D-DCA4-97F70D26F37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760788" y="3021013"/>
            <a:ext cx="644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E398A57-C952-4BBC-93FA-EA116E02265F}" type="datetime'4''''''''''.3''''''%'''''''''''''''''''">
              <a:rPr lang="en-US" altLang="en-US" sz="1000" smtClean="0">
                <a:latin typeface="+mn-lt"/>
                <a:cs typeface="+mn-cs"/>
              </a:rPr>
              <a:pPr/>
              <a:t>4.3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50B23BC8-6868-4BC5-AA7C-9390DD26F1DC}" type="datetime'0''''''''''''''''''''''''.0''''''''''''%'''''''''''''''''''">
              <a:rPr lang="en-US" altLang="en-US" sz="1000" smtClean="0">
                <a:latin typeface="+mn-lt"/>
                <a:cs typeface="+mn-cs"/>
              </a:rPr>
              <a:pPr/>
              <a:t>0.0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6" name="Text Placeholder 3">
            <a:extLst>
              <a:ext uri="{FF2B5EF4-FFF2-40B4-BE49-F238E27FC236}">
                <a16:creationId xmlns:a16="http://schemas.microsoft.com/office/drawing/2014/main" id="{E3DAA97C-387C-68CA-023E-5F36FDA219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05138" y="28178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87AAB51-A169-4D78-BDC0-707DB483E6FB}" type="datetime'''''''''''''''''''''''''''''''''''万''艾可'''''''''''''">
              <a:rPr lang="zh-CN" altLang="en-US" smtClean="0">
                <a:latin typeface="+mn-lt"/>
                <a:cs typeface="+mn-cs"/>
              </a:rPr>
              <a:pPr/>
              <a:t>万艾可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418" name="Text Placeholder 3">
            <a:extLst>
              <a:ext uri="{FF2B5EF4-FFF2-40B4-BE49-F238E27FC236}">
                <a16:creationId xmlns:a16="http://schemas.microsoft.com/office/drawing/2014/main" id="{6490860E-ADED-5197-D44B-4EDC913D076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05138" y="3019425"/>
            <a:ext cx="687388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A7DA6D-6538-4AF9-A42B-ED777FFC964D}" type="datetime'''''''''''''''''0''.''''5''''%'''''''''''">
              <a:rPr lang="en-US" altLang="en-US" sz="1000" smtClean="0">
                <a:effectLst/>
                <a:latin typeface="+mn-lt"/>
                <a:cs typeface="+mn-cs"/>
              </a:rPr>
              <a:pPr/>
              <a:t>0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EB958FD0-440A-4016-A877-12BC2BDA5BAB}" type="datetime'''''''''''''''''''''''''''''''-''''''''0''''.1''''%'''''''">
              <a:rPr lang="en-US" altLang="en-US" sz="1000" smtClean="0">
                <a:effectLst/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7" name="Text Placeholder 3">
            <a:extLst>
              <a:ext uri="{FF2B5EF4-FFF2-40B4-BE49-F238E27FC236}">
                <a16:creationId xmlns:a16="http://schemas.microsoft.com/office/drawing/2014/main" id="{00CCF0FF-677C-9338-B2D6-90E0C0B9787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30525" y="42148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28406E9-EA0C-476B-B7CE-A390A0737DFA}" type="datetime'''''''''''''''西''''''''''''''''''''''乐''''葆'">
              <a:rPr lang="zh-CN" altLang="en-US" smtClean="0">
                <a:latin typeface="+mn-lt"/>
                <a:cs typeface="+mn-cs"/>
              </a:rPr>
              <a:pPr/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9" name="Text Placeholder 3">
            <a:extLst>
              <a:ext uri="{FF2B5EF4-FFF2-40B4-BE49-F238E27FC236}">
                <a16:creationId xmlns:a16="http://schemas.microsoft.com/office/drawing/2014/main" id="{79CF372C-5DD3-74C1-81D8-E66DACA9B57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930525" y="4416425"/>
            <a:ext cx="730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055197-E988-4AE4-974E-C97AE331F4F0}" type="datetime'''''''''''''''''''''''''''''-''6''''.''''''''4''%'''''''''''">
              <a:rPr lang="en-US" altLang="en-US" sz="1000" smtClean="0">
                <a:latin typeface="+mn-lt"/>
                <a:cs typeface="+mn-cs"/>
              </a:rPr>
              <a:pPr/>
              <a:t>-6.4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074620EC-601B-4619-9C48-AC687F1B549C}" type="datetime'''''''''''''''-''''''0.2''''''''''%'''''''''''''''''''">
              <a:rPr lang="en-US" altLang="en-US" sz="1000" smtClean="0">
                <a:latin typeface="+mn-lt"/>
                <a:cs typeface="+mn-cs"/>
              </a:rPr>
              <a:pPr/>
              <a:t>-0.2%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268" name="Text Placeholder 3">
            <a:extLst>
              <a:ext uri="{FF2B5EF4-FFF2-40B4-BE49-F238E27FC236}">
                <a16:creationId xmlns:a16="http://schemas.microsoft.com/office/drawing/2014/main" id="{B1F67D94-A55F-6E87-F56B-AA047B69AA3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475038" y="5330825"/>
            <a:ext cx="501650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7814916-0579-4701-BA7E-D2FB648BAD3D}" type="datetime'''''''''''''''''''''''''''''''''''''''乐''''''瑞卡'''''''''''">
              <a:rPr lang="zh-CN" altLang="en-US" smtClean="0">
                <a:effectLst/>
                <a:latin typeface="+mn-lt"/>
                <a:cs typeface="+mn-cs"/>
              </a:rPr>
              <a:pPr/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420" name="Text Placeholder 3">
            <a:extLst>
              <a:ext uri="{FF2B5EF4-FFF2-40B4-BE49-F238E27FC236}">
                <a16:creationId xmlns:a16="http://schemas.microsoft.com/office/drawing/2014/main" id="{FF50771F-D43A-AB6A-733E-9A2A14FF01A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475038" y="5532438"/>
            <a:ext cx="730250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CC6911-3A3F-405F-8DF0-F869867EA2CA}" type="datetime'-''''''''''''''''7''''''''''.''''''''1''%'''''">
              <a:rPr lang="en-US" altLang="en-US" sz="1000" smtClean="0">
                <a:effectLst/>
                <a:latin typeface="+mn-lt"/>
                <a:cs typeface="+mn-cs"/>
              </a:rPr>
              <a:pPr/>
              <a:t>-7.1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D3C27369-7F9E-410E-8F4D-A48A7337FC6B}" type="datetime'''-''''''''''''''''''''''''''''''''''''1.''''3%'''''''">
              <a:rPr lang="en-US" altLang="en-US" sz="1000" smtClean="0">
                <a:effectLst/>
                <a:latin typeface="+mn-lt"/>
                <a:cs typeface="+mn-cs"/>
              </a:rPr>
              <a:pPr/>
              <a:t>-1.3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9" name="Text Placeholder 3">
            <a:extLst>
              <a:ext uri="{FF2B5EF4-FFF2-40B4-BE49-F238E27FC236}">
                <a16:creationId xmlns:a16="http://schemas.microsoft.com/office/drawing/2014/main" id="{CCD82100-CFBF-6D5A-1C7B-EB538DAF629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760788" y="425132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8A43D06-C182-4A67-A6F4-80198AF982E4}" type="datetime'''''''''''''''''''''''''''''''''''''''''''''左''洛''''复'">
              <a:rPr lang="zh-CN" altLang="en-US" smtClean="0">
                <a:latin typeface="+mn-lt"/>
                <a:cs typeface="+mn-cs"/>
              </a:rPr>
              <a:pPr/>
              <a:t>左洛复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0" name="Text Placeholder 3">
            <a:extLst>
              <a:ext uri="{FF2B5EF4-FFF2-40B4-BE49-F238E27FC236}">
                <a16:creationId xmlns:a16="http://schemas.microsoft.com/office/drawing/2014/main" id="{F212CDA8-C9F1-586D-4BF6-0BAAE3E9060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597400" y="36020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D0B1F02-E106-40AA-A836-03707E6572C1}" type="datetime'''''''''怡诺思'''''''''''">
              <a:rPr lang="zh-CN" altLang="en-US" smtClean="0">
                <a:latin typeface="+mn-lt"/>
                <a:cs typeface="+mn-cs"/>
              </a:rPr>
              <a:pPr/>
              <a:t>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2" name="Text Placeholder 3">
            <a:extLst>
              <a:ext uri="{FF2B5EF4-FFF2-40B4-BE49-F238E27FC236}">
                <a16:creationId xmlns:a16="http://schemas.microsoft.com/office/drawing/2014/main" id="{222F8A2A-0A36-A85E-9EFA-93443FE189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597400" y="3803650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E1856D1-14B1-454B-92A3-881BD97671B8}" type="datetime'''''6''''.2''''''''''''''''''''''''''''''''%'''''''''''''''''">
              <a:rPr lang="en-US" altLang="en-US" sz="1000" smtClean="0">
                <a:latin typeface="+mn-lt"/>
                <a:cs typeface="+mn-cs"/>
              </a:rPr>
              <a:pPr/>
              <a:t>6.2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EE2A58FB-9EC8-4DAC-A192-9542C78EE935}" type="datetime'''''''''''-''0.''''''''''''''''''1''''''%'">
              <a:rPr lang="en-US" altLang="en-US" sz="1000" smtClean="0"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1" name="Text Placeholder 3">
            <a:extLst>
              <a:ext uri="{FF2B5EF4-FFF2-40B4-BE49-F238E27FC236}">
                <a16:creationId xmlns:a16="http://schemas.microsoft.com/office/drawing/2014/main" id="{781F84A9-0E53-0126-5FAF-B7CFE5A6728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892800" y="306070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2FEB7A-7E91-417A-B891-DF1FE19BD9BD}" type="datetime'''''''''''''可''多''''''''''''''''''''''''''''''''''''华'''''">
              <a:rPr lang="zh-CN" altLang="en-US" smtClean="0">
                <a:latin typeface="+mn-lt"/>
                <a:cs typeface="+mn-cs"/>
              </a:rPr>
              <a:pPr/>
              <a:t>可多华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3" name="Text Placeholder 3">
            <a:extLst>
              <a:ext uri="{FF2B5EF4-FFF2-40B4-BE49-F238E27FC236}">
                <a16:creationId xmlns:a16="http://schemas.microsoft.com/office/drawing/2014/main" id="{2B883216-9479-468A-72D0-F2F15B88F25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92801" y="3262313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6A7D8D-EEAC-4683-8289-53BC2A68D0DC}" type="datetime'''''''''''''2''''4''''.''7''''''''''''''''''%'''''''''''">
              <a:rPr lang="en-US" altLang="en-US" sz="1000" smtClean="0">
                <a:latin typeface="+mn-lt"/>
                <a:cs typeface="+mn-cs"/>
              </a:rPr>
              <a:pPr/>
              <a:t>24.7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A0CA0A94-4180-4E97-8B22-9335A572B3AC}" type="datetime'0''''''.''''''2''''''%'''''">
              <a:rPr lang="en-US" altLang="en-US" sz="1000" smtClean="0">
                <a:latin typeface="+mn-lt"/>
                <a:cs typeface="+mn-cs"/>
              </a:rPr>
              <a:pPr/>
              <a:t>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2" name="Text Placeholder 3">
            <a:extLst>
              <a:ext uri="{FF2B5EF4-FFF2-40B4-BE49-F238E27FC236}">
                <a16:creationId xmlns:a16="http://schemas.microsoft.com/office/drawing/2014/main" id="{4BCC02E0-7A1B-A9E8-B374-610A79F00D1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718425" y="218916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423AB03-B2C4-4A52-AF49-5FF81E79239D}" type="datetime'''''''''''''''''''''''''利''''''''''''''''加''''''''隆'''''''''">
              <a:rPr lang="zh-CN" altLang="en-US" smtClean="0">
                <a:latin typeface="+mn-lt"/>
                <a:cs typeface="+mn-cs"/>
              </a:rPr>
              <a:pPr/>
              <a:t>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4" name="Text Placeholder 3">
            <a:extLst>
              <a:ext uri="{FF2B5EF4-FFF2-40B4-BE49-F238E27FC236}">
                <a16:creationId xmlns:a16="http://schemas.microsoft.com/office/drawing/2014/main" id="{AC38DB3E-0982-3AF6-4ACF-3772ADA5FE1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18425" y="2390775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30FBD2-B170-4910-901E-A413A550A572}" type="datetime'''6''''''''''''''''''''5''''.''''''''''''''''''''8''''%'''">
              <a:rPr lang="en-US" altLang="en-US" sz="1000" smtClean="0">
                <a:latin typeface="+mn-lt"/>
                <a:cs typeface="+mn-cs"/>
              </a:rPr>
              <a:pPr/>
              <a:t>65.8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22366859-C1D1-4060-B550-7351ED5776E0}" type="datetime'0''''.''''''''''''''''''''''8''''''''''''''%'">
              <a:rPr lang="en-US" altLang="en-US" sz="1000" smtClean="0">
                <a:latin typeface="+mn-lt"/>
                <a:cs typeface="+mn-cs"/>
              </a:rPr>
              <a:pPr/>
              <a:t>0.8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3" name="Text Placeholder 3">
            <a:extLst>
              <a:ext uri="{FF2B5EF4-FFF2-40B4-BE49-F238E27FC236}">
                <a16:creationId xmlns:a16="http://schemas.microsoft.com/office/drawing/2014/main" id="{E4AB7981-F4E2-70D2-6383-5142E58AF47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294313" y="359727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FE94100-5C4F-4B2D-98BF-7EBEE13A631B}" type="datetime'''''''爱''''''''''宁''''达'''''''">
              <a:rPr lang="zh-CN" altLang="en-US" smtClean="0">
                <a:latin typeface="+mn-lt"/>
                <a:cs typeface="+mn-cs"/>
              </a:rPr>
              <a:pPr/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5" name="Text Placeholder 3">
            <a:extLst>
              <a:ext uri="{FF2B5EF4-FFF2-40B4-BE49-F238E27FC236}">
                <a16:creationId xmlns:a16="http://schemas.microsoft.com/office/drawing/2014/main" id="{213CB26B-BD65-6613-AFAD-5C24261206F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294313" y="3798888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C38508-658D-484E-B2B5-D1E9DA5E1A65}" type="datetime'''''''''''''''''2''''5''''''''''''''''''''''''''''.5''''''''%'">
              <a:rPr lang="en-US" altLang="en-US" sz="1000" smtClean="0">
                <a:latin typeface="+mn-lt"/>
                <a:cs typeface="+mn-cs"/>
              </a:rPr>
              <a:pPr/>
              <a:t>25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F0AF5043-5558-41E3-AC09-C5DC6B99E4FB}" type="datetime'''0''''''''''''''''''''''''''''''''''''''''''.''1%'''">
              <a:rPr lang="en-US" altLang="en-US" sz="1000" smtClean="0"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4" name="Text Placeholder 3">
            <a:extLst>
              <a:ext uri="{FF2B5EF4-FFF2-40B4-BE49-F238E27FC236}">
                <a16:creationId xmlns:a16="http://schemas.microsoft.com/office/drawing/2014/main" id="{CFB7C5EB-6C59-BF57-D4E2-2885D5174A8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418013" y="285908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A0B7927-E058-4700-BA09-745B9102D526}" type="datetime'''''维''''''''''''''''固''''''''''力'''''''''''''''''''''">
              <a:rPr lang="zh-CN" altLang="en-US" smtClean="0">
                <a:latin typeface="+mn-lt"/>
                <a:cs typeface="+mn-cs"/>
              </a:rPr>
              <a:pPr/>
              <a:t>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6" name="Text Placeholder 3">
            <a:extLst>
              <a:ext uri="{FF2B5EF4-FFF2-40B4-BE49-F238E27FC236}">
                <a16:creationId xmlns:a16="http://schemas.microsoft.com/office/drawing/2014/main" id="{1AE7992E-D6A9-0457-1738-E4059D76E0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18013" y="3060700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202278B-703A-4457-9E20-3E2954C9E546}" type="datetime'''''1''''''''''1.''''2''''''''''''''''''''''''''''%'''">
              <a:rPr lang="en-US" altLang="en-US" sz="1000" smtClean="0">
                <a:latin typeface="+mn-lt"/>
                <a:cs typeface="+mn-cs"/>
              </a:rPr>
              <a:pPr/>
              <a:t>11.2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5C4FB252-EFBE-4929-A3ED-67D93CB15241}" type="datetime'''''''''''''0''''.''''1''''''''''''''''%'''''''''''''''''''''">
              <a:rPr lang="en-US" altLang="en-US" sz="1000" smtClean="0"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1" name="Text Placeholder 3">
            <a:extLst>
              <a:ext uri="{FF2B5EF4-FFF2-40B4-BE49-F238E27FC236}">
                <a16:creationId xmlns:a16="http://schemas.microsoft.com/office/drawing/2014/main" id="{C1AA4B55-1758-5947-0740-4D60275A18E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760788" y="4452938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347083-51FE-47E8-86A5-A1EE2BE377AF}" type="datetime'''''''5''''.''''''6''%'''''''''''''''''''''''">
              <a:rPr lang="en-US" altLang="en-US" sz="1000" smtClean="0">
                <a:latin typeface="+mn-lt"/>
                <a:cs typeface="+mn-cs"/>
              </a:rPr>
              <a:pPr/>
              <a:t>5.6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43DF32BC-5CBB-45F5-A316-9359707EB23D}" type="datetime'''''-''''''''''''''''''''''0.''''''''''3''''''''''''%'''''''">
              <a:rPr lang="en-US" altLang="en-US" sz="1000" smtClean="0">
                <a:latin typeface="+mn-lt"/>
                <a:cs typeface="+mn-cs"/>
              </a:rPr>
              <a:pPr/>
              <a:t>-0.3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24" name="椭圆 123">
            <a:extLst>
              <a:ext uri="{FF2B5EF4-FFF2-40B4-BE49-F238E27FC236}">
                <a16:creationId xmlns:a16="http://schemas.microsoft.com/office/drawing/2014/main" id="{73F51571-3D31-BB8F-096E-3CC0B86B3E5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091613" y="2068513"/>
            <a:ext cx="161925" cy="161925"/>
          </a:xfrm>
          <a:prstGeom prst="ellipse">
            <a:avLst/>
          </a:prstGeom>
          <a:solidFill>
            <a:srgbClr val="B78FCA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5" name="椭圆 124">
            <a:extLst>
              <a:ext uri="{FF2B5EF4-FFF2-40B4-BE49-F238E27FC236}">
                <a16:creationId xmlns:a16="http://schemas.microsoft.com/office/drawing/2014/main" id="{0343D8F9-65A3-A260-B28A-B492B220201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091613" y="2320925"/>
            <a:ext cx="161925" cy="161925"/>
          </a:xfrm>
          <a:prstGeom prst="ellipse">
            <a:avLst/>
          </a:prstGeom>
          <a:solidFill>
            <a:srgbClr val="703E97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6" name="椭圆 125">
            <a:extLst>
              <a:ext uri="{FF2B5EF4-FFF2-40B4-BE49-F238E27FC236}">
                <a16:creationId xmlns:a16="http://schemas.microsoft.com/office/drawing/2014/main" id="{BA8B0477-AD56-8E70-0395-1ADF15E447F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091613" y="2573338"/>
            <a:ext cx="161925" cy="161925"/>
          </a:xfrm>
          <a:prstGeom prst="ellipse">
            <a:avLst/>
          </a:prstGeom>
          <a:solidFill>
            <a:srgbClr val="2A276E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0" name="Text Placeholder 3">
            <a:extLst>
              <a:ext uri="{FF2B5EF4-FFF2-40B4-BE49-F238E27FC236}">
                <a16:creationId xmlns:a16="http://schemas.microsoft.com/office/drawing/2014/main" id="{69FF4D9B-F53F-ACB4-166C-D14DB4F0F50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331325" y="2051050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C16784-EFF4-4D2A-81B8-3AE3A1AD672F}" type="datetime'''购进''''''''''''增长''''''''''，份''''''''额''下''''''''跌''''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BBA79E20-9229-BDDD-5D71-AC278B3550B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331325" y="2303463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1393842-E549-4BB6-B1E8-BF64C4034C90}" type="datetime'''购''进''和份''''''''''''''''''额双''''''''''跌''''''''''''''''''''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0845FA76-57BF-1C64-D308-80DEBA64A5D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331325" y="255587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00690B-185B-47E5-9F52-4C5C084BD3AD}" type="datetime'''''购''''''进和''''''''份''''额''''双''''''''''''''''''''增''''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7" name="椭圆 556">
            <a:extLst>
              <a:ext uri="{FF2B5EF4-FFF2-40B4-BE49-F238E27FC236}">
                <a16:creationId xmlns:a16="http://schemas.microsoft.com/office/drawing/2014/main" id="{F9A5B3FB-2117-EDB9-3358-ABAA8B800EF7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067800" y="2879725"/>
            <a:ext cx="488950" cy="488950"/>
          </a:xfrm>
          <a:prstGeom prst="ellipse">
            <a:avLst/>
          </a:prstGeom>
          <a:noFill/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55" name="Text Placeholder 3">
            <a:extLst>
              <a:ext uri="{FF2B5EF4-FFF2-40B4-BE49-F238E27FC236}">
                <a16:creationId xmlns:a16="http://schemas.microsoft.com/office/drawing/2014/main" id="{6F0A8082-0442-A78D-992A-1F295229106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609138" y="3025775"/>
            <a:ext cx="8032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zh-CN" altLang="en-US">
                <a:latin typeface="+mn-lt"/>
                <a:cs typeface="+mn-cs"/>
              </a:rPr>
              <a:t>份额：</a:t>
            </a:r>
            <a:fld id="{970B0269-96A5-49CB-BE3F-49F3BCB562DD}" type="datetime'''''''2.''''''''''5''''''''''%'''''''''''''''''''''''''">
              <a:rPr lang="en-US" altLang="en-US" smtClean="0">
                <a:latin typeface="+mn-lt"/>
                <a:cs typeface="+mn-cs"/>
              </a:rPr>
              <a:pPr/>
              <a:t>2.5%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76" name="矩形 575">
            <a:extLst>
              <a:ext uri="{FF2B5EF4-FFF2-40B4-BE49-F238E27FC236}">
                <a16:creationId xmlns:a16="http://schemas.microsoft.com/office/drawing/2014/main" id="{31A080CC-9697-5E52-78B5-505FD44A5672}"/>
              </a:ext>
            </a:extLst>
          </p:cNvPr>
          <p:cNvSpPr/>
          <p:nvPr/>
        </p:nvSpPr>
        <p:spPr>
          <a:xfrm>
            <a:off x="1" y="1060662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品牌全渠道毛销售额增长率（</a:t>
            </a:r>
            <a:r>
              <a:rPr lang="en-US" altLang="zh-CN" sz="1200" b="1" dirty="0">
                <a:solidFill>
                  <a:schemeClr val="bg1"/>
                </a:solidFill>
              </a:rPr>
              <a:t>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r>
              <a:rPr lang="en-US" altLang="zh-CN" sz="1200" b="1" dirty="0">
                <a:solidFill>
                  <a:schemeClr val="bg1"/>
                </a:solidFill>
              </a:rPr>
              <a:t>vs </a:t>
            </a:r>
            <a:r>
              <a:rPr lang="zh-CN" altLang="en-US" sz="1200" b="1" dirty="0">
                <a:solidFill>
                  <a:schemeClr val="bg1"/>
                </a:solidFill>
              </a:rPr>
              <a:t>市场份额（</a:t>
            </a:r>
            <a:r>
              <a:rPr lang="en-US" altLang="zh-CN" sz="1200" b="1" dirty="0">
                <a:solidFill>
                  <a:schemeClr val="bg1"/>
                </a:solidFill>
              </a:rPr>
              <a:t>2508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0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1AC66D-0F4F-7CDE-C2E8-C4ABB068A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E17C21E-ECC8-37E3-B26B-91098A452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318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8" imgW="473" imgH="476" progId="TCLayout.ActiveDocument.1">
                  <p:embed/>
                </p:oleObj>
              </mc:Choice>
              <mc:Fallback>
                <p:oleObj name="think-cell 幻灯片" r:id="rId68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17C21E-ECC8-37E3-B26B-91098A452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BD38918C-EFCC-7B67-EE50-F432F3464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院：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洛复、乐瑞卡渠道购进和市场份额较去年均下跌，怡诺思市场份额有所下滑</a:t>
            </a:r>
            <a:b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零售：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产品市场份额均下滑（除左洛复等未采购外部数据），万艾可、西乐葆、乐瑞卡渠道购进和市场份额双跌，立普妥、络活喜虽然购进正增长但市场份额下滑</a:t>
            </a:r>
            <a:endParaRPr 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2CF63915-CF1E-6744-5BB0-9429E9F10607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323975" y="1990725"/>
            <a:ext cx="0" cy="371475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44102B21-6090-E1BB-E6F2-0261060C0253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884863" y="1990725"/>
            <a:ext cx="0" cy="371475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F5965719-FE68-9436-86EC-4D109ABB9B7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73101" y="1990725"/>
            <a:ext cx="521176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直接连接符 529">
            <a:extLst>
              <a:ext uri="{FF2B5EF4-FFF2-40B4-BE49-F238E27FC236}">
                <a16:creationId xmlns:a16="http://schemas.microsoft.com/office/drawing/2014/main" id="{79DACFC3-83CE-BB70-639D-AF6CD439146B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73101" y="4219575"/>
            <a:ext cx="521176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C9B996B6-C85C-34DD-74B9-8032263C7D6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92499327"/>
              </p:ext>
            </p:extLst>
          </p:nvPr>
        </p:nvGraphicFramePr>
        <p:xfrm>
          <a:off x="9525" y="1809750"/>
          <a:ext cx="6210300" cy="4348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DA86B465-304F-52E9-1037-6DCCE692AAE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 flipV="1">
            <a:off x="1676400" y="4451350"/>
            <a:ext cx="147638" cy="2762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8A4E6140-6446-0727-C98D-580655B26F1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931863" y="3627438"/>
            <a:ext cx="23812" cy="682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A1D9C61A-3AB3-5321-FF51-FC0FA193E7B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 flipV="1">
            <a:off x="1463675" y="5027613"/>
            <a:ext cx="95250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E86B7782-BF70-3725-90DB-94D0DB03957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109663" y="4916488"/>
            <a:ext cx="55562" cy="273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5909B629-4727-CD22-651A-67AD2560301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625600" y="3492500"/>
            <a:ext cx="620713" cy="7556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40FADC7B-55F7-6296-1867-E1BA8D04D79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 flipV="1">
            <a:off x="2749550" y="4197350"/>
            <a:ext cx="227013" cy="136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99C9C772-4FA2-6740-881E-2CE22300D7F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 flipV="1">
            <a:off x="2179638" y="4318000"/>
            <a:ext cx="61912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CFA277C-F515-D84A-79B6-072ADED5189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970463" y="6116638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9544A3A-AD2A-4ABC-B68C-7167FA008C1B}" type="datetime'''毛''销''''''售额增''''''长''''''''''''''''''''率'''''''''''''''''''">
              <a:rPr lang="zh-CN" altLang="en-US" smtClean="0">
                <a:latin typeface="+mn-lt"/>
                <a:cs typeface="+mn-cs"/>
              </a:rPr>
              <a:pPr/>
              <a:t>毛销售额增长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F92E850-F4E8-E38F-4FC1-FCEE80088F3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68300" y="156210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8C14551-247C-4268-A2F8-6EFFE4C03870}" type="datetime'''''''''''''''''''''份''''''额变化'''''''''">
              <a:rPr lang="zh-CN" altLang="en-US" smtClean="0">
                <a:latin typeface="+mn-lt"/>
                <a:cs typeface="+mn-cs"/>
              </a:rPr>
              <a:pPr/>
              <a:t>份额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64" name="Text Placeholder 3">
            <a:extLst>
              <a:ext uri="{FF2B5EF4-FFF2-40B4-BE49-F238E27FC236}">
                <a16:creationId xmlns:a16="http://schemas.microsoft.com/office/drawing/2014/main" id="{B34B2A8E-A725-BE3F-060A-3339ADC8BA2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377950" y="336867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406654B-F25C-451F-A331-71CDAB11FEFF}" type="datetime'立''''''''''''''''''''''普''''''''''妥'''''''''''''''''''''''">
              <a:rPr lang="zh-CN" altLang="en-US" smtClean="0">
                <a:latin typeface="+mn-lt"/>
                <a:cs typeface="+mn-cs"/>
              </a:rPr>
              <a:pPr/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3" name="Text Placeholder 3">
            <a:extLst>
              <a:ext uri="{FF2B5EF4-FFF2-40B4-BE49-F238E27FC236}">
                <a16:creationId xmlns:a16="http://schemas.microsoft.com/office/drawing/2014/main" id="{9DC6F429-0799-5BAE-3FF6-F54953BB158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77950" y="3570288"/>
            <a:ext cx="644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B8BF0D8-9E84-49B6-93C8-512C88B7D06D}" type="datetime'''''3''''''''''''''''''''.''''''''''''2%'''''''">
              <a:rPr lang="en-US" altLang="en-US" sz="1000" smtClean="0">
                <a:latin typeface="+mn-lt"/>
                <a:cs typeface="+mn-cs"/>
              </a:rPr>
              <a:pPr/>
              <a:t>3.2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85FD45E4-CCAE-4D03-9A3A-CD675A724DDB}" type="datetime'0.''''0''%'''''''''''''''''''''''''''">
              <a:rPr lang="en-US" altLang="en-US" sz="1000" smtClean="0">
                <a:latin typeface="+mn-lt"/>
                <a:cs typeface="+mn-cs"/>
              </a:rPr>
              <a:pPr/>
              <a:t>0.0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5" name="Text Placeholder 3">
            <a:extLst>
              <a:ext uri="{FF2B5EF4-FFF2-40B4-BE49-F238E27FC236}">
                <a16:creationId xmlns:a16="http://schemas.microsoft.com/office/drawing/2014/main" id="{E5B99CB0-AF35-9523-CCD8-5D460F1EFB1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600200" y="472757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CCC956-FB5B-4030-B11F-6F2AFD9336A2}" type="datetime'''''''''''''''''''''''''络''''活喜'''''''">
              <a:rPr lang="zh-CN" altLang="en-US" smtClean="0">
                <a:latin typeface="+mn-lt"/>
                <a:cs typeface="+mn-cs"/>
              </a:rPr>
              <a:pPr/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7" name="Text Placeholder 3">
            <a:extLst>
              <a:ext uri="{FF2B5EF4-FFF2-40B4-BE49-F238E27FC236}">
                <a16:creationId xmlns:a16="http://schemas.microsoft.com/office/drawing/2014/main" id="{33541444-D47B-FA07-37CE-40BBBC0C220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00200" y="4929188"/>
            <a:ext cx="644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50C7F11-E083-4F4A-BFC6-D81E1371BB86}" type="datetime'''''''3''.5''''''''''''''''''''''''''%'''''''''''''''''''">
              <a:rPr lang="en-US" altLang="en-US" sz="1000" smtClean="0">
                <a:latin typeface="+mn-lt"/>
                <a:cs typeface="+mn-cs"/>
              </a:rPr>
              <a:pPr/>
              <a:t>3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1003148F-4F87-4270-A9A6-15113B221DB7}" type="datetime'''''''''''''''''''''''0.''''''''''''''''''''0''''''%'''''">
              <a:rPr lang="en-US" altLang="en-US" sz="1000" smtClean="0">
                <a:latin typeface="+mn-lt"/>
                <a:cs typeface="+mn-cs"/>
              </a:rPr>
              <a:pPr/>
              <a:t>0.0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6" name="Text Placeholder 3">
            <a:extLst>
              <a:ext uri="{FF2B5EF4-FFF2-40B4-BE49-F238E27FC236}">
                <a16:creationId xmlns:a16="http://schemas.microsoft.com/office/drawing/2014/main" id="{D906B5B5-3D0F-0804-8B67-6298CB7CDEF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7863" y="325755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B76CBA5-D22D-4AB2-BDAB-B121899E691E}" type="datetime'西乐''''''''''''''''''''''''''''''''葆'''''''''''''''''">
              <a:rPr lang="zh-CN" altLang="en-US" smtClean="0">
                <a:latin typeface="+mn-lt"/>
                <a:cs typeface="+mn-cs"/>
              </a:rPr>
              <a:pPr/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418" name="Text Placeholder 3">
            <a:extLst>
              <a:ext uri="{FF2B5EF4-FFF2-40B4-BE49-F238E27FC236}">
                <a16:creationId xmlns:a16="http://schemas.microsoft.com/office/drawing/2014/main" id="{EC311788-AD45-DFF5-F28E-3258868CB46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7863" y="3459163"/>
            <a:ext cx="687388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8BE0C54-249E-4778-AE75-EDCAA2673BD3}" type="datetime'''''''-''8''''''''''''''.''''''''1''''%'">
              <a:rPr lang="en-US" altLang="en-US" sz="1000" smtClean="0">
                <a:effectLst/>
                <a:latin typeface="+mn-lt"/>
                <a:cs typeface="+mn-cs"/>
              </a:rPr>
              <a:pPr/>
              <a:t>-8.1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02CA784E-AC31-4755-B4B8-57E7E4CC3B4A}" type="datetime'''0''''''''''''''''''''''''''''.''1%'''''''''''''''''''">
              <a:rPr lang="en-US" altLang="en-US" sz="1000" smtClean="0">
                <a:effectLst/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7" name="Text Placeholder 3">
            <a:extLst>
              <a:ext uri="{FF2B5EF4-FFF2-40B4-BE49-F238E27FC236}">
                <a16:creationId xmlns:a16="http://schemas.microsoft.com/office/drawing/2014/main" id="{7FD5C2D1-065C-BE54-58E9-72570F54E09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443038" y="509746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CAEFA3C-10A4-4CC8-9823-FC1F95F2438B}" type="datetime'''''''''''''''''''''''''''''乐''''瑞''''''''''''''''''''''卡'''">
              <a:rPr lang="zh-CN" altLang="en-US" smtClean="0">
                <a:latin typeface="+mn-lt"/>
                <a:cs typeface="+mn-cs"/>
              </a:rPr>
              <a:pPr/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19" name="Text Placeholder 3">
            <a:extLst>
              <a:ext uri="{FF2B5EF4-FFF2-40B4-BE49-F238E27FC236}">
                <a16:creationId xmlns:a16="http://schemas.microsoft.com/office/drawing/2014/main" id="{034011CC-7BFF-86F2-5385-73633A5DEC9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443038" y="5299075"/>
            <a:ext cx="730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B53090-6ED0-4012-857A-EDBB85E91781}" type="datetime'''''''''''''''''''-''''''''''2''''''.3''''''%'''">
              <a:rPr lang="en-US" altLang="en-US" sz="1000" smtClean="0">
                <a:latin typeface="+mn-lt"/>
                <a:cs typeface="+mn-cs"/>
              </a:rPr>
              <a:pPr/>
              <a:t>-2.3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9C1A3FD9-FC99-4AF0-A7B6-B886087CCD39}" type="datetime'''''''''''-''''0.''4''''''''''''''''''''''''''''''''%'''">
              <a:rPr lang="en-US" altLang="en-US" sz="1000" smtClean="0">
                <a:latin typeface="+mn-lt"/>
                <a:cs typeface="+mn-cs"/>
              </a:rPr>
              <a:pPr/>
              <a:t>-0.4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8" name="Text Placeholder 3">
            <a:extLst>
              <a:ext uri="{FF2B5EF4-FFF2-40B4-BE49-F238E27FC236}">
                <a16:creationId xmlns:a16="http://schemas.microsoft.com/office/drawing/2014/main" id="{EFFF287C-BADC-E8CA-196C-D0E14F6D375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8025" y="51895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C4FD772-6A07-44A0-B1A3-CED14F2EC791}" type="datetime'''''''''''左洛''''''''''''''''''''''''复'''''''''''''''''">
              <a:rPr lang="zh-CN" altLang="en-US" smtClean="0">
                <a:latin typeface="+mn-lt"/>
                <a:cs typeface="+mn-cs"/>
              </a:rPr>
              <a:pPr/>
              <a:t>左洛复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420" name="Text Placeholder 3">
            <a:extLst>
              <a:ext uri="{FF2B5EF4-FFF2-40B4-BE49-F238E27FC236}">
                <a16:creationId xmlns:a16="http://schemas.microsoft.com/office/drawing/2014/main" id="{D2565CDF-0DF9-5B2E-3ED0-1D0598F9335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08025" y="5391150"/>
            <a:ext cx="730250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492A6E-1434-46C9-B9E7-880798BBD84D}" type="datetime'-''''''''''''''''''1''''''''.''''''''''7''''''''%'''''''">
              <a:rPr lang="en-US" altLang="en-US" sz="1000" smtClean="0">
                <a:effectLst/>
                <a:latin typeface="+mn-lt"/>
                <a:cs typeface="+mn-cs"/>
              </a:rPr>
              <a:pPr/>
              <a:t>-1.7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8E0D274B-B10F-44AF-8B15-A3DA0EAB2C25}" type="datetime'''''''''''''''-''''''''''''''''''''''''''0.''3''''''''%'''''">
              <a:rPr lang="en-US" altLang="en-US" sz="1000" smtClean="0">
                <a:effectLst/>
                <a:latin typeface="+mn-lt"/>
                <a:cs typeface="+mn-cs"/>
              </a:rPr>
              <a:pPr/>
              <a:t>-0.3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69" name="Text Placeholder 3">
            <a:extLst>
              <a:ext uri="{FF2B5EF4-FFF2-40B4-BE49-F238E27FC236}">
                <a16:creationId xmlns:a16="http://schemas.microsoft.com/office/drawing/2014/main" id="{C6777B5C-8847-92DC-3D4C-B6C57AC72D8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054225" y="31226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C571A59-8A71-43F7-9E38-56A54DFBAF18}" type="datetime'''''''''怡''''''''''''''''诺''思'''''''''''''''''''">
              <a:rPr lang="zh-CN" altLang="en-US" smtClean="0">
                <a:latin typeface="+mn-lt"/>
                <a:cs typeface="+mn-cs"/>
              </a:rPr>
              <a:pPr/>
              <a:t>怡诺思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70" name="Text Placeholder 3">
            <a:extLst>
              <a:ext uri="{FF2B5EF4-FFF2-40B4-BE49-F238E27FC236}">
                <a16:creationId xmlns:a16="http://schemas.microsoft.com/office/drawing/2014/main" id="{D213B181-0FDA-BDF9-BCD2-A25001A6327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224213" y="373856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88099D7-C166-4109-A9CB-5DFDC0671F97}" type="datetime'可''''''''''''''''''多''华'">
              <a:rPr lang="zh-CN" altLang="en-US" smtClean="0">
                <a:latin typeface="+mn-lt"/>
                <a:cs typeface="+mn-cs"/>
              </a:rPr>
              <a:pPr/>
              <a:t>可多华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2" name="Text Placeholder 3">
            <a:extLst>
              <a:ext uri="{FF2B5EF4-FFF2-40B4-BE49-F238E27FC236}">
                <a16:creationId xmlns:a16="http://schemas.microsoft.com/office/drawing/2014/main" id="{265EF44E-B098-70C9-648C-D982B56BB57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24213" y="3940175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F62F554-D01D-412F-B101-9A14471F6D95}" type="datetime'''''''''''''''''''''''''2''''2''''''''''''''.''5''%'''''''''''">
              <a:rPr lang="en-US" altLang="en-US" sz="1000" smtClean="0">
                <a:latin typeface="+mn-lt"/>
                <a:cs typeface="+mn-cs"/>
              </a:rPr>
              <a:pPr/>
              <a:t>22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9C899366-7456-42CA-B26E-9FB3152B7D03}" type="datetime'''''''0.''''''''''''''''''''2''''''''''''''%'''''''''''">
              <a:rPr lang="en-US" altLang="en-US" sz="1000" smtClean="0">
                <a:latin typeface="+mn-lt"/>
                <a:cs typeface="+mn-cs"/>
              </a:rPr>
              <a:pPr/>
              <a:t>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1" name="Text Placeholder 3">
            <a:extLst>
              <a:ext uri="{FF2B5EF4-FFF2-40B4-BE49-F238E27FC236}">
                <a16:creationId xmlns:a16="http://schemas.microsoft.com/office/drawing/2014/main" id="{55188C7E-0C5C-8780-C3D5-62E2134CB47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19675" y="2967038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5D7C88-D3A4-42ED-AB19-38417B0E05E4}" type="datetime'''''''''''''''''利''''''''''''''''''加''''隆'''''''''">
              <a:rPr lang="zh-CN" altLang="en-US" smtClean="0">
                <a:latin typeface="+mn-lt"/>
                <a:cs typeface="+mn-cs"/>
              </a:rPr>
              <a:pPr/>
              <a:t>利加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3" name="Text Placeholder 3">
            <a:extLst>
              <a:ext uri="{FF2B5EF4-FFF2-40B4-BE49-F238E27FC236}">
                <a16:creationId xmlns:a16="http://schemas.microsoft.com/office/drawing/2014/main" id="{140845F2-BC93-FAF1-9D0B-6D2336EADF5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19675" y="3168650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8C180F2-FBDD-45AA-857D-633BACC41789}" type="datetime'''6''''''''''''2''''''''''''''.''''''''''''''''2''%'">
              <a:rPr lang="en-US" altLang="en-US" sz="1000" smtClean="0">
                <a:latin typeface="+mn-lt"/>
                <a:cs typeface="+mn-cs"/>
              </a:rPr>
              <a:pPr/>
              <a:t>62.2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E053F808-A749-46B2-8284-E7607EC8871B}" type="datetime'''''''''''''''''''1''''''''''''''''''''''.''''1''%'">
              <a:rPr lang="en-US" altLang="en-US" sz="1000" smtClean="0">
                <a:latin typeface="+mn-lt"/>
                <a:cs typeface="+mn-cs"/>
              </a:rPr>
              <a:pPr/>
              <a:t>1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2" name="Text Placeholder 3">
            <a:extLst>
              <a:ext uri="{FF2B5EF4-FFF2-40B4-BE49-F238E27FC236}">
                <a16:creationId xmlns:a16="http://schemas.microsoft.com/office/drawing/2014/main" id="{9E98714F-E440-1738-DD29-A8D36CD120A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927350" y="433387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3771CA-5365-46DA-ADDC-FBD80A31A05C}" type="datetime'爱''''''''''''''''''''宁''''''''''''''''达'''''''''''''''''''">
              <a:rPr lang="zh-CN" altLang="en-US" smtClean="0">
                <a:latin typeface="+mn-lt"/>
                <a:cs typeface="+mn-cs"/>
              </a:rPr>
              <a:pPr/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4" name="Text Placeholder 3">
            <a:extLst>
              <a:ext uri="{FF2B5EF4-FFF2-40B4-BE49-F238E27FC236}">
                <a16:creationId xmlns:a16="http://schemas.microsoft.com/office/drawing/2014/main" id="{8EC747FA-F073-0984-207D-C92D73B024E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927350" y="4535488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70BEB3C-E6E3-426F-B155-2F6BB82A2DAC}" type="datetime'''''''''''''''''1''''''''''8.''''''''6''''''''''%'''''">
              <a:rPr lang="en-US" altLang="en-US" sz="1000" smtClean="0">
                <a:latin typeface="+mn-lt"/>
                <a:cs typeface="+mn-cs"/>
              </a:rPr>
              <a:pPr/>
              <a:t>18.6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70BBF5A7-35B9-4C00-8CA2-D94E270497F5}" type="datetime'''''0''''.1''''''''''''''''''''''''''%'''''''''">
              <a:rPr lang="en-US" altLang="en-US" sz="1000" smtClean="0">
                <a:latin typeface="+mn-lt"/>
                <a:cs typeface="+mn-cs"/>
              </a:rPr>
              <a:pPr/>
              <a:t>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73" name="Text Placeholder 3">
            <a:extLst>
              <a:ext uri="{FF2B5EF4-FFF2-40B4-BE49-F238E27FC236}">
                <a16:creationId xmlns:a16="http://schemas.microsoft.com/office/drawing/2014/main" id="{FCB22F56-785E-8CBC-40E8-09BD1792626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193925" y="435610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A5A9318-26EB-4B8F-937B-A9BD41DD8A0D}" type="datetime'''''''''''''''''维''''''''''''固''''''''''力'''''''''''''''''''''">
              <a:rPr lang="zh-CN" altLang="en-US" smtClean="0">
                <a:latin typeface="+mn-lt"/>
                <a:cs typeface="+mn-cs"/>
              </a:rPr>
              <a:pPr/>
              <a:t>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25" name="Text Placeholder 3">
            <a:extLst>
              <a:ext uri="{FF2B5EF4-FFF2-40B4-BE49-F238E27FC236}">
                <a16:creationId xmlns:a16="http://schemas.microsoft.com/office/drawing/2014/main" id="{AD090EEF-2E17-0909-CD76-83F939D6AB5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93925" y="4557713"/>
            <a:ext cx="714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6D269C6-C905-4301-BEA0-53B999AD5A03}" type="datetime'''''''''''1''0''.''''''''''''''''''''6''''''''''%'''">
              <a:rPr lang="en-US" altLang="en-US" sz="1000" smtClean="0">
                <a:latin typeface="+mn-lt"/>
                <a:cs typeface="+mn-cs"/>
              </a:rPr>
              <a:pPr/>
              <a:t>10.6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E7FA6D59-8998-4C83-A663-E44A726689BF}" type="datetime'''0''''''''''.''''''''''''''''''''''''''''''''''''''0''''%'''">
              <a:rPr lang="en-US" altLang="en-US" sz="1000" smtClean="0">
                <a:latin typeface="+mn-lt"/>
                <a:cs typeface="+mn-cs"/>
              </a:rPr>
              <a:pPr/>
              <a:t>0.0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1" name="Text Placeholder 3">
            <a:extLst>
              <a:ext uri="{FF2B5EF4-FFF2-40B4-BE49-F238E27FC236}">
                <a16:creationId xmlns:a16="http://schemas.microsoft.com/office/drawing/2014/main" id="{B379035E-B2CC-6E54-0585-6CF2F4FF0D2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54225" y="3324225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FEC8370-1A13-4B8E-8643-D1B0C407A431}" type="datetime'''3''''''''''''''''''''''.''''''''''''''''''1''''%'''">
              <a:rPr lang="en-US" altLang="en-US" sz="1000" smtClean="0">
                <a:latin typeface="+mn-lt"/>
                <a:cs typeface="+mn-cs"/>
              </a:rPr>
              <a:pPr/>
              <a:t>3.1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D23D35F9-D80A-41B3-B677-D637068AB175}" type="datetime'''''''''''''''''''-''0.''''1''''''''''''''%'''''">
              <a:rPr lang="en-US" altLang="en-US" sz="1000" smtClean="0"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776" name="直接连接符 775">
            <a:extLst>
              <a:ext uri="{FF2B5EF4-FFF2-40B4-BE49-F238E27FC236}">
                <a16:creationId xmlns:a16="http://schemas.microsoft.com/office/drawing/2014/main" id="{EDA1FDBF-E66D-AB04-45D4-AABB846F7B0E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10763250" y="1990725"/>
            <a:ext cx="0" cy="371475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接连接符 777">
            <a:extLst>
              <a:ext uri="{FF2B5EF4-FFF2-40B4-BE49-F238E27FC236}">
                <a16:creationId xmlns:a16="http://schemas.microsoft.com/office/drawing/2014/main" id="{87F1B811-5C1F-5CAB-362E-22374BAF27F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1922125" y="1990725"/>
            <a:ext cx="0" cy="371475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9" name="直接连接符 698">
            <a:extLst>
              <a:ext uri="{FF2B5EF4-FFF2-40B4-BE49-F238E27FC236}">
                <a16:creationId xmlns:a16="http://schemas.microsoft.com/office/drawing/2014/main" id="{63803959-3E8C-D477-D512-168F330A324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6710363" y="2733675"/>
            <a:ext cx="521176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9" name="直接连接符 748">
            <a:extLst>
              <a:ext uri="{FF2B5EF4-FFF2-40B4-BE49-F238E27FC236}">
                <a16:creationId xmlns:a16="http://schemas.microsoft.com/office/drawing/2014/main" id="{EE3773EA-4349-607C-14CA-09A4813A158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6710363" y="1990725"/>
            <a:ext cx="521176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018ABBDF-E822-F5C3-49EE-0396A0ED6B6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503454590"/>
              </p:ext>
            </p:extLst>
          </p:nvPr>
        </p:nvGraphicFramePr>
        <p:xfrm>
          <a:off x="6173788" y="1809750"/>
          <a:ext cx="6083300" cy="4348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73531F73-89C3-9C66-0E31-A5F8DBC6DFD3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6978650" y="2705100"/>
            <a:ext cx="1905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8C370A7A-C44A-86A7-6A40-1AD4628FCC8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1007725" y="6116638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4EC5CB9-E589-47B4-8941-3D78D557C8E7}" type="datetime'''''''''''''毛''''''''''''''销''售''额增''''长''率'''''''''''''''''''">
              <a:rPr lang="zh-CN" altLang="en-US" smtClean="0">
                <a:latin typeface="+mn-lt"/>
                <a:cs typeface="+mn-cs"/>
              </a:rPr>
              <a:pPr/>
              <a:t>毛销售额增长率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7" name="Text Placeholder 3">
            <a:extLst>
              <a:ext uri="{FF2B5EF4-FFF2-40B4-BE49-F238E27FC236}">
                <a16:creationId xmlns:a16="http://schemas.microsoft.com/office/drawing/2014/main" id="{CD4FA85B-294B-12E3-296D-50F3E748DC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405563" y="156210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D1EDC5-03C0-47AC-9390-28C1945F88C1}" type="datetime'''''''''份''''''''''额''''变''''''''''''''''化'''">
              <a:rPr lang="zh-CN" altLang="en-US" smtClean="0">
                <a:latin typeface="+mn-lt"/>
                <a:cs typeface="+mn-cs"/>
              </a:rPr>
              <a:pPr/>
              <a:t>份额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8" name="Text Placeholder 3">
            <a:extLst>
              <a:ext uri="{FF2B5EF4-FFF2-40B4-BE49-F238E27FC236}">
                <a16:creationId xmlns:a16="http://schemas.microsoft.com/office/drawing/2014/main" id="{1C94BC39-8CF3-4305-1E73-24BA313EF47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1149013" y="3463925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8AE70F-A3AF-4143-A7E1-C2EAA589DCF5}" type="datetime'''''''''''''''''''''''''''''''''''''''''''''立''普''妥'">
              <a:rPr lang="zh-CN" altLang="en-US" smtClean="0">
                <a:latin typeface="+mn-lt"/>
                <a:cs typeface="+mn-cs"/>
              </a:rPr>
              <a:pPr/>
              <a:t>立普妥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92CFEEF1-080E-DABA-5599-C407893D30D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056938" y="2909888"/>
            <a:ext cx="6873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A79C6C-5EE1-4863-A37E-3F19C129CAFB}" type="datetime'''''5.''''''''''''''''''''''''''''''''''''''''5''''''''%'''">
              <a:rPr lang="en-US" altLang="en-US" sz="1000" smtClean="0">
                <a:latin typeface="+mn-lt"/>
                <a:cs typeface="+mn-cs"/>
              </a:rPr>
              <a:pPr/>
              <a:t>5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69ACEA66-9684-437F-8FBC-6F3879995954}" type="datetime'''''''''-''''''''''''''''''''''0''.''7''%'''''''''''''''''">
              <a:rPr lang="en-US" altLang="en-US" sz="1000" smtClean="0">
                <a:latin typeface="+mn-lt"/>
                <a:cs typeface="+mn-cs"/>
              </a:rPr>
              <a:pPr/>
              <a:t>-0.7%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110" name="Text Placeholder 3">
            <a:extLst>
              <a:ext uri="{FF2B5EF4-FFF2-40B4-BE49-F238E27FC236}">
                <a16:creationId xmlns:a16="http://schemas.microsoft.com/office/drawing/2014/main" id="{F26D5B79-9DB4-6FE4-BB4A-8EE61DC0098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477500" y="2187575"/>
            <a:ext cx="501650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A790950-7CF4-443C-98A2-D05182A084F2}" type="datetime'络''''''''''''''活''''''''''''''''''''''''''''''''''喜'''">
              <a:rPr lang="zh-CN" altLang="en-US" smtClean="0">
                <a:effectLst/>
                <a:latin typeface="+mn-lt"/>
                <a:cs typeface="+mn-cs"/>
              </a:rPr>
              <a:pPr/>
              <a:t>络活喜</a:t>
            </a:fld>
            <a:endParaRPr lang="en-US" dirty="0">
              <a:latin typeface="+mn-lt"/>
              <a:cs typeface="+mn-cs"/>
            </a:endParaRPr>
          </a:p>
        </p:txBody>
      </p:sp>
      <p:sp useBgFill="1">
        <p:nvSpPr>
          <p:cNvPr id="111" name="Text Placeholder 3">
            <a:extLst>
              <a:ext uri="{FF2B5EF4-FFF2-40B4-BE49-F238E27FC236}">
                <a16:creationId xmlns:a16="http://schemas.microsoft.com/office/drawing/2014/main" id="{4C6DFDF9-80FC-8E0F-49F1-5C128AA8281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477500" y="2389188"/>
            <a:ext cx="687388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7FA2586-D0EF-4754-BA39-582DED181A6A}" type="datetime'''''''''''''''''''0''''''.''''''''5''''''''%'''''''''''''''''">
              <a:rPr lang="en-US" altLang="en-US" sz="1000" smtClean="0">
                <a:effectLst/>
                <a:latin typeface="+mn-lt"/>
                <a:cs typeface="+mn-cs"/>
              </a:rPr>
              <a:pPr/>
              <a:t>0.5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65367317-C8F9-4238-B4B1-8E413A0A1E08}" type="datetime'''''''''''''-''''''0''''''''.''''''''1''''''%'''''''''">
              <a:rPr lang="en-US" altLang="en-US" sz="1000" smtClean="0">
                <a:effectLst/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FDBE3892-0CD4-1A76-06E3-48556428747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129838" y="403225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18A6860-C921-468F-8D45-BD24265682B7}" type="datetime'''''万''''''''''''艾''可'''''''''''''''''''''''''''''''''''''">
              <a:rPr lang="zh-CN" altLang="en-US" smtClean="0">
                <a:latin typeface="+mn-lt"/>
                <a:cs typeface="+mn-cs"/>
              </a:rPr>
              <a:pPr/>
              <a:t>万艾可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DFB0A3C4-1816-86A0-6207-57E4D884266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015538" y="3467100"/>
            <a:ext cx="730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205269-C0A8-4813-8BF2-A973EB3CC993}" type="datetime'''''''''''-''''''''''''''''3''.''''''''''''''''''3''''''''%'">
              <a:rPr lang="en-US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-3.3%</a:t>
            </a:fld>
            <a:r>
              <a:rPr lang="en-US" altLang="en-US" sz="1000" dirty="0">
                <a:solidFill>
                  <a:schemeClr val="bg1"/>
                </a:solidFill>
                <a:effectLst/>
                <a:latin typeface="+mn-lt"/>
                <a:cs typeface="+mn-cs"/>
              </a:rPr>
              <a:t>/</a:t>
            </a:r>
            <a:fld id="{C28FC9F9-88D4-48F3-8C29-679D8A741363}" type="datetime'''''''''''''''''''''''''''''-''''''2''''.''''2''''''''''%'">
              <a:rPr lang="en-US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-2.2%</a:t>
            </a:fld>
            <a:endParaRPr 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114" name="Text Placeholder 3">
            <a:extLst>
              <a:ext uri="{FF2B5EF4-FFF2-40B4-BE49-F238E27FC236}">
                <a16:creationId xmlns:a16="http://schemas.microsoft.com/office/drawing/2014/main" id="{F1B87586-8624-2B98-D668-2674B50918A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9182100" y="2698750"/>
            <a:ext cx="501650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7CBF5F1-E935-4146-A562-19274679C9FB}" type="datetime'''''''''西乐''''''''''''''''''''''''''''''''''葆'''''''''''''''">
              <a:rPr lang="zh-CN" altLang="en-US" smtClean="0">
                <a:effectLst/>
                <a:latin typeface="+mn-lt"/>
                <a:cs typeface="+mn-cs"/>
              </a:rPr>
              <a:pPr/>
              <a:t>西乐葆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6922F114-F5DD-7211-C060-C9B75084BA1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182100" y="2900363"/>
            <a:ext cx="730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8C8D76-7C19-4D1F-A96A-022D1B1D7FBA}" type="datetime'''''''''-''''''''''''''''''''4''.''9''''''''''''''''''''%'">
              <a:rPr lang="en-US" altLang="en-US" sz="1000" smtClean="0">
                <a:latin typeface="+mn-lt"/>
                <a:cs typeface="+mn-cs"/>
              </a:rPr>
              <a:pPr/>
              <a:t>-4.9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05A0BEEC-C42D-40CE-9D96-C3FA03F4E802}" type="datetime'''''-0''''''''''''''''''''.''''''''''''4''''''''''%'''''''''''">
              <a:rPr lang="en-US" altLang="en-US" sz="1000" smtClean="0">
                <a:latin typeface="+mn-lt"/>
                <a:cs typeface="+mn-cs"/>
              </a:rPr>
              <a:pPr/>
              <a:t>-0.4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82FB128D-7725-075B-1E5A-A880D1E8330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905875" y="5149850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2D294D-D828-4B5E-A581-CE79C288004E}" type="datetime'乐''''''''''''''''''''''''''''''''''''瑞''卡'''">
              <a:rPr lang="zh-CN" altLang="en-US" smtClean="0">
                <a:latin typeface="+mn-lt"/>
                <a:cs typeface="+mn-cs"/>
              </a:rPr>
              <a:pPr/>
              <a:t>乐瑞卡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688C03B4-04BB-993E-4252-6B10B36F2068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905875" y="5351463"/>
            <a:ext cx="8001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19223E-4F3F-4481-ADBC-4DC6A01E50D6}" type="datetime'''''''''''''''''''-''1''''''''9''''''.''''''0''''''''''''%'''">
              <a:rPr lang="en-US" altLang="en-US" sz="1000" smtClean="0">
                <a:latin typeface="+mn-lt"/>
                <a:cs typeface="+mn-cs"/>
              </a:rPr>
              <a:pPr/>
              <a:t>-19.0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FF6EEE49-A200-4106-804A-363730DBF8CE}" type="datetime'-''''''7''.''''''''0''''''%'''">
              <a:rPr lang="en-US" altLang="en-US" sz="1000" smtClean="0">
                <a:latin typeface="+mn-lt"/>
                <a:cs typeface="+mn-cs"/>
              </a:rPr>
              <a:pPr/>
              <a:t>-7.0%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118" name="Text Placeholder 3">
            <a:extLst>
              <a:ext uri="{FF2B5EF4-FFF2-40B4-BE49-F238E27FC236}">
                <a16:creationId xmlns:a16="http://schemas.microsoft.com/office/drawing/2014/main" id="{431BF501-78D0-7760-1F78-69210C1497D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778750" y="2586038"/>
            <a:ext cx="501650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8098CF6-26FB-4A98-B9D2-8AA379209A92}" type="datetime'''''''''''''''''''''爱宁''''''''''''''''''达'">
              <a:rPr lang="zh-CN" altLang="en-US" smtClean="0">
                <a:effectLst/>
                <a:latin typeface="+mn-lt"/>
                <a:cs typeface="+mn-cs"/>
              </a:rPr>
              <a:pPr/>
              <a:t>爱宁达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82" name="Text Placeholder 3">
            <a:extLst>
              <a:ext uri="{FF2B5EF4-FFF2-40B4-BE49-F238E27FC236}">
                <a16:creationId xmlns:a16="http://schemas.microsoft.com/office/drawing/2014/main" id="{12873714-EE12-4BE1-4ABA-25F3F4C5C46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778750" y="2787650"/>
            <a:ext cx="8001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A356F42-CCEF-4767-9751-0E9AB3EC1BDC}" type="datetime'-2''''''5''''''''''''''''''''''''.''9%'''''''''''''''''''''">
              <a:rPr lang="en-US" altLang="en-US" sz="1000" smtClean="0">
                <a:latin typeface="+mn-lt"/>
                <a:cs typeface="+mn-cs"/>
              </a:rPr>
              <a:pPr/>
              <a:t>-25.9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261FA2AE-4D62-4C18-AF8F-CE56E38719E6}" type="datetime'''''''''-''0''''''.''''''''''1''''''''''''''''%'''''''">
              <a:rPr lang="en-US" altLang="en-US" sz="1000" smtClean="0">
                <a:latin typeface="+mn-lt"/>
                <a:cs typeface="+mn-cs"/>
              </a:rPr>
              <a:pPr/>
              <a:t>-0.1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4E4B0555-1157-C213-0A99-4BF490E013A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721475" y="2335213"/>
            <a:ext cx="5016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14DB47-AA38-46FC-8660-EB45D153F717}" type="datetime'''''''''''''''''维固''''''''''''''''''''力'">
              <a:rPr lang="zh-CN" altLang="en-US" smtClean="0">
                <a:latin typeface="+mn-lt"/>
                <a:cs typeface="+mn-cs"/>
              </a:rPr>
              <a:pPr/>
              <a:t>维固力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05EBA651-D90D-7617-BB25-F585CA8F308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721475" y="2536825"/>
            <a:ext cx="8001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0D647E6-B670-47ED-98D4-04AFAE670B5F}" type="datetime'''''''''''''''''''''''-''''''33''''''''.''''''''''''''1''''%'">
              <a:rPr lang="en-US" altLang="en-US" sz="1000" smtClean="0">
                <a:latin typeface="+mn-lt"/>
                <a:cs typeface="+mn-cs"/>
              </a:rPr>
              <a:pPr/>
              <a:t>-33.1%</a:t>
            </a:fld>
            <a:r>
              <a:rPr lang="en-US" altLang="en-US" sz="1000" dirty="0">
                <a:effectLst/>
                <a:latin typeface="+mn-lt"/>
                <a:cs typeface="+mn-cs"/>
              </a:rPr>
              <a:t>/</a:t>
            </a:r>
            <a:fld id="{453EFA01-34B9-4DB5-B5CE-41F85AE4C41D}" type="datetime'''''''''-0''''.''''''''''''''''''''''2''%'''''">
              <a:rPr lang="en-US" altLang="en-US" sz="1000" smtClean="0">
                <a:latin typeface="+mn-lt"/>
                <a:cs typeface="+mn-cs"/>
              </a:rPr>
              <a:pPr/>
              <a:t>-0.2%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18" name="椭圆 817">
            <a:extLst>
              <a:ext uri="{FF2B5EF4-FFF2-40B4-BE49-F238E27FC236}">
                <a16:creationId xmlns:a16="http://schemas.microsoft.com/office/drawing/2014/main" id="{E6D25C14-E32E-6BAB-9D33-1EB7DA5DD21B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7032625" y="3622675"/>
            <a:ext cx="161925" cy="161925"/>
          </a:xfrm>
          <a:prstGeom prst="ellipse">
            <a:avLst/>
          </a:prstGeom>
          <a:solidFill>
            <a:srgbClr val="B78FCA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19" name="椭圆 818">
            <a:extLst>
              <a:ext uri="{FF2B5EF4-FFF2-40B4-BE49-F238E27FC236}">
                <a16:creationId xmlns:a16="http://schemas.microsoft.com/office/drawing/2014/main" id="{7AA2B440-9124-CC32-CA75-0A83ADD648C8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7032625" y="3875088"/>
            <a:ext cx="161925" cy="161925"/>
          </a:xfrm>
          <a:prstGeom prst="ellipse">
            <a:avLst/>
          </a:prstGeom>
          <a:solidFill>
            <a:srgbClr val="2A276E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20" name="椭圆 819">
            <a:extLst>
              <a:ext uri="{FF2B5EF4-FFF2-40B4-BE49-F238E27FC236}">
                <a16:creationId xmlns:a16="http://schemas.microsoft.com/office/drawing/2014/main" id="{A675EA42-C76B-3910-0CBE-04E39BCF21DB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7032625" y="4127500"/>
            <a:ext cx="161925" cy="161925"/>
          </a:xfrm>
          <a:prstGeom prst="ellipse">
            <a:avLst/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21" name="椭圆 820">
            <a:extLst>
              <a:ext uri="{FF2B5EF4-FFF2-40B4-BE49-F238E27FC236}">
                <a16:creationId xmlns:a16="http://schemas.microsoft.com/office/drawing/2014/main" id="{56E56163-BF31-33F8-0554-EC80247E78EB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7032625" y="4379913"/>
            <a:ext cx="161925" cy="161925"/>
          </a:xfrm>
          <a:prstGeom prst="ellipse">
            <a:avLst/>
          </a:prstGeom>
          <a:solidFill>
            <a:srgbClr val="703E97"/>
          </a:solidFill>
          <a:ln w="317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13" name="Text Placeholder 3">
            <a:extLst>
              <a:ext uri="{FF2B5EF4-FFF2-40B4-BE49-F238E27FC236}">
                <a16:creationId xmlns:a16="http://schemas.microsoft.com/office/drawing/2014/main" id="{67E1DC45-649B-4039-D545-C329BB795459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272338" y="3605213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AE953FB-01B4-4D34-A885-61D0DA53E5FC}" type="datetime'''''''购进''增''''长''''，''''''''份额''''''下跌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15" name="Text Placeholder 3">
            <a:extLst>
              <a:ext uri="{FF2B5EF4-FFF2-40B4-BE49-F238E27FC236}">
                <a16:creationId xmlns:a16="http://schemas.microsoft.com/office/drawing/2014/main" id="{A29572FB-5F63-6248-1FEF-0E6EBA1E96E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272338" y="385762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F76CE43-27A5-4F32-A0D2-E29D8979D277}" type="datetime'''''''购''进和''''份''''''''''额''双''''''''''增''''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16" name="Text Placeholder 3">
            <a:extLst>
              <a:ext uri="{FF2B5EF4-FFF2-40B4-BE49-F238E27FC236}">
                <a16:creationId xmlns:a16="http://schemas.microsoft.com/office/drawing/2014/main" id="{84A0BD01-6912-6739-1859-19F6958A40A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272338" y="4110038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59C9598-3400-4D45-8694-63A26CF9C29D}" type="datetime'''''''''''''购''''''进下''''''''''跌''''''''''，份额''''''增''''''长'">
              <a:rPr lang="zh-CN" altLang="en-US" smtClean="0">
                <a:latin typeface="+mn-lt"/>
                <a:cs typeface="+mn-cs"/>
              </a:rPr>
              <a:pPr/>
              <a:t>购进下跌，份额增长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17" name="Text Placeholder 3">
            <a:extLst>
              <a:ext uri="{FF2B5EF4-FFF2-40B4-BE49-F238E27FC236}">
                <a16:creationId xmlns:a16="http://schemas.microsoft.com/office/drawing/2014/main" id="{C9E8303D-DDC7-AA4E-80C9-580D4859E48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272338" y="4362450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4430BC-4519-4F3B-890B-36DDE5E17860}" type="datetime'''''购''''''''''进''和份''''额''双''''''''跌''''''''''''''''''''''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5" name="矩形 924">
            <a:extLst>
              <a:ext uri="{FF2B5EF4-FFF2-40B4-BE49-F238E27FC236}">
                <a16:creationId xmlns:a16="http://schemas.microsoft.com/office/drawing/2014/main" id="{9706240A-0978-2053-DB9C-EE04E10C4F9E}"/>
              </a:ext>
            </a:extLst>
          </p:cNvPr>
          <p:cNvSpPr/>
          <p:nvPr/>
        </p:nvSpPr>
        <p:spPr>
          <a:xfrm>
            <a:off x="212725" y="1085850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医院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926" name="矩形 925">
            <a:extLst>
              <a:ext uri="{FF2B5EF4-FFF2-40B4-BE49-F238E27FC236}">
                <a16:creationId xmlns:a16="http://schemas.microsoft.com/office/drawing/2014/main" id="{A31AC8E4-680B-3693-A31E-FA81F4441C30}"/>
              </a:ext>
            </a:extLst>
          </p:cNvPr>
          <p:cNvSpPr/>
          <p:nvPr/>
        </p:nvSpPr>
        <p:spPr>
          <a:xfrm>
            <a:off x="6453188" y="1085850"/>
            <a:ext cx="399600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零售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927" name="直接连接符 926">
            <a:extLst>
              <a:ext uri="{FF2B5EF4-FFF2-40B4-BE49-F238E27FC236}">
                <a16:creationId xmlns:a16="http://schemas.microsoft.com/office/drawing/2014/main" id="{0FDBD70D-2D4A-560B-6673-3B012D81D54B}"/>
              </a:ext>
            </a:extLst>
          </p:cNvPr>
          <p:cNvCxnSpPr>
            <a:cxnSpLocks/>
          </p:cNvCxnSpPr>
          <p:nvPr/>
        </p:nvCxnSpPr>
        <p:spPr>
          <a:xfrm>
            <a:off x="166687" y="1428750"/>
            <a:ext cx="5760000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8" name="直接连接符 927">
            <a:extLst>
              <a:ext uri="{FF2B5EF4-FFF2-40B4-BE49-F238E27FC236}">
                <a16:creationId xmlns:a16="http://schemas.microsoft.com/office/drawing/2014/main" id="{6519B981-368D-83BF-6DD5-4303DC1B0CD8}"/>
              </a:ext>
            </a:extLst>
          </p:cNvPr>
          <p:cNvCxnSpPr>
            <a:cxnSpLocks/>
          </p:cNvCxnSpPr>
          <p:nvPr/>
        </p:nvCxnSpPr>
        <p:spPr>
          <a:xfrm>
            <a:off x="6311899" y="1428750"/>
            <a:ext cx="5760000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9" name="矩形 928">
            <a:extLst>
              <a:ext uri="{FF2B5EF4-FFF2-40B4-BE49-F238E27FC236}">
                <a16:creationId xmlns:a16="http://schemas.microsoft.com/office/drawing/2014/main" id="{1A67DF83-0285-3ADF-6A1A-EDBC9CFC39E4}"/>
              </a:ext>
            </a:extLst>
          </p:cNvPr>
          <p:cNvSpPr/>
          <p:nvPr/>
        </p:nvSpPr>
        <p:spPr>
          <a:xfrm>
            <a:off x="8451188" y="1067594"/>
            <a:ext cx="399600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左洛复、怡诺思、可多华等未购买零售外部数据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65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1FF847D-61BE-B470-EC2C-8FDA41AC1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924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" imgW="473" imgH="476" progId="TCLayout.ActiveDocument.1">
                  <p:embed/>
                </p:oleObj>
              </mc:Choice>
              <mc:Fallback>
                <p:oleObj name="think-cell 幻灯片" r:id="rId13" imgW="473" imgH="47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FF847D-61BE-B470-EC2C-8FDA41AC1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9A00C0B-F679-7159-B550-38C4962A6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2000" dirty="0"/>
              <a:t>1-10</a:t>
            </a:r>
            <a:r>
              <a:rPr lang="zh-CN" altLang="en-US" sz="2000" dirty="0"/>
              <a:t>月终端购进金额同比增长</a:t>
            </a:r>
            <a:r>
              <a:rPr lang="en-US" altLang="zh-CN" sz="2000" dirty="0"/>
              <a:t>711M</a:t>
            </a:r>
            <a:r>
              <a:rPr lang="zh-CN" altLang="en-US" sz="2000" dirty="0"/>
              <a:t>，出厂增长</a:t>
            </a:r>
            <a:r>
              <a:rPr lang="en-US" altLang="zh-CN" sz="2000" dirty="0"/>
              <a:t>41M</a:t>
            </a:r>
            <a:r>
              <a:rPr lang="zh-CN" altLang="en-US" sz="2000" dirty="0"/>
              <a:t>，差额</a:t>
            </a:r>
            <a:r>
              <a:rPr lang="en-US" altLang="zh-CN" sz="2000" dirty="0"/>
              <a:t>670M</a:t>
            </a:r>
            <a:r>
              <a:rPr lang="zh-CN" altLang="en-US" sz="2000" dirty="0"/>
              <a:t>中，</a:t>
            </a:r>
            <a:r>
              <a:rPr lang="en-US" altLang="zh-CN" sz="2000" dirty="0"/>
              <a:t>399M</a:t>
            </a:r>
            <a:r>
              <a:rPr lang="zh-CN" altLang="en-US" sz="2000" dirty="0"/>
              <a:t>来自渠道库存的消耗，</a:t>
            </a:r>
            <a:r>
              <a:rPr lang="en-US" altLang="zh-CN" sz="2000" dirty="0"/>
              <a:t>271M</a:t>
            </a:r>
            <a:r>
              <a:rPr lang="zh-CN" altLang="en-US" sz="2000" dirty="0"/>
              <a:t>来自不可追踪的变化；从增长比例，终端购进</a:t>
            </a:r>
            <a:r>
              <a:rPr lang="en-US" altLang="zh-CN" sz="2000" dirty="0"/>
              <a:t>5.6%</a:t>
            </a:r>
            <a:r>
              <a:rPr lang="zh-CN" altLang="en-US" sz="2000" dirty="0"/>
              <a:t>的同比增长，与工厂增长</a:t>
            </a:r>
            <a:r>
              <a:rPr lang="en-US" altLang="zh-CN" sz="2000" dirty="0"/>
              <a:t>0.3%</a:t>
            </a:r>
            <a:r>
              <a:rPr lang="zh-CN" altLang="en-US" sz="2000" dirty="0"/>
              <a:t>之差，来自渠道库存消耗和不可追踪的减少，分别是</a:t>
            </a:r>
            <a:r>
              <a:rPr lang="en-US" altLang="zh-CN" sz="2000" dirty="0"/>
              <a:t>3.2%</a:t>
            </a:r>
            <a:r>
              <a:rPr lang="zh-CN" altLang="en-US" sz="2000" dirty="0"/>
              <a:t>和</a:t>
            </a:r>
            <a:r>
              <a:rPr lang="en-US" altLang="zh-CN" sz="2000" dirty="0"/>
              <a:t>2.2%</a:t>
            </a:r>
            <a:endParaRPr lang="en-US" sz="2000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1DD178AA-E65B-A64B-BE83-7A130B1A7DD7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725863" y="2000250"/>
            <a:ext cx="7842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B7E39E64-51E8-B2CD-03BB-0A8F9F3DCF71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491163" y="2786063"/>
            <a:ext cx="7842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56FFE01A-35C4-A4B0-8961-EC384FEAA508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7256463" y="3416300"/>
            <a:ext cx="7842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30D02998-32AC-3B65-4BD3-62C14FF9211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021763" y="4379913"/>
            <a:ext cx="7842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0814968-A569-9561-7228-ECA018788699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2790660"/>
              </p:ext>
            </p:extLst>
          </p:nvPr>
        </p:nvGraphicFramePr>
        <p:xfrm>
          <a:off x="2270125" y="1612900"/>
          <a:ext cx="8991600" cy="317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95951C-BE9A-0836-165D-C589C042F48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28913" y="4575175"/>
            <a:ext cx="1012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9E8D01-A21E-463C-B3D5-149087515114}" type="datetime' 终''端''''''''''''购''''''''''''''''''''''''''''进''增''长'' '''">
              <a:rPr lang="zh-CN" altLang="en-US" smtClean="0">
                <a:latin typeface="+mn-lt"/>
                <a:cs typeface="+mn-cs"/>
              </a:rPr>
              <a:pPr/>
              <a:t> 终端购进增长 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E1A8FDA-D1D1-AA64-7402-C3046578B8B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18013" y="4575175"/>
            <a:ext cx="11652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30D64A-585E-4E3F-A2CE-FA9EE977B6D9}" type="datetime''''' 一''''''级''''商库''''''''''''存''''变''''化 '">
              <a:rPr lang="zh-CN" altLang="en-US" smtClean="0">
                <a:latin typeface="+mn-lt"/>
                <a:cs typeface="+mn-cs"/>
              </a:rPr>
              <a:pPr/>
              <a:t> 一级商库存变化 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92E1CB-2DDF-7990-5AB9-49AAB591493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81738" y="4575175"/>
            <a:ext cx="96996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B0E5A4-54B7-4259-A075-7C8E4F90E045}" type="datetime''' ''二''''''级商''''和''''''''零''''''''售''''''总''''''仓库''存变化 '">
              <a:rPr lang="zh-CN" altLang="en-US" smtClean="0">
                <a:latin typeface="+mn-lt"/>
                <a:cs typeface="+mn-cs"/>
              </a:rPr>
              <a:pPr/>
              <a:t> 二级商和零售总仓库存变化 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2631FAE-2A52-F922-9D08-B1571E8F6A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24813" y="4575175"/>
            <a:ext cx="1012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37C5F4-F529-43C8-B402-463A6D80677C}" type="datetime''''''''''' ''不可''''''''''''''''''''追''踪变''化'''''''''' '''''''">
              <a:rPr lang="zh-CN" altLang="en-US" smtClean="0">
                <a:latin typeface="+mn-lt"/>
                <a:cs typeface="+mn-cs"/>
              </a:rPr>
              <a:pPr/>
              <a:t> 不可追踪变化 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4366C6F-0E86-7C3A-D58F-3C94C0829B6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90113" y="4575175"/>
            <a:ext cx="1012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32612A-0F8B-4855-AD0E-8BD2C2DD5022}" type="datetime''''''''''''' 工厂发''货''''''''''''''''''增''''''''''长'''''' '''">
              <a:rPr lang="zh-CN" altLang="en-US" smtClean="0">
                <a:latin typeface="+mn-lt"/>
                <a:cs typeface="+mn-cs"/>
              </a:rPr>
              <a:pPr/>
              <a:t> 工厂发货增长 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B99FF0BF-5112-520F-8AD0-FDBAE16AABEE}"/>
              </a:ext>
            </a:extLst>
          </p:cNvPr>
          <p:cNvSpPr/>
          <p:nvPr/>
        </p:nvSpPr>
        <p:spPr>
          <a:xfrm>
            <a:off x="0" y="1143000"/>
            <a:ext cx="2419351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Total excl </a:t>
            </a:r>
            <a:r>
              <a:rPr lang="zh-CN" altLang="en-US" sz="1200" b="1" dirty="0">
                <a:solidFill>
                  <a:srgbClr val="FFFFFF"/>
                </a:solidFill>
              </a:rPr>
              <a:t>眼科</a:t>
            </a:r>
            <a:endParaRPr lang="en-US" sz="1200" b="1" dirty="0">
              <a:solidFill>
                <a:srgbClr val="FFFFFF"/>
              </a:solidFill>
            </a:endParaRPr>
          </a:p>
        </p:txBody>
      </p:sp>
      <p:graphicFrame>
        <p:nvGraphicFramePr>
          <p:cNvPr id="129" name="表格 128">
            <a:extLst>
              <a:ext uri="{FF2B5EF4-FFF2-40B4-BE49-F238E27FC236}">
                <a16:creationId xmlns:a16="http://schemas.microsoft.com/office/drawing/2014/main" id="{9E727365-0DCA-9C39-CF98-DFB4A2827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813815"/>
              </p:ext>
            </p:extLst>
          </p:nvPr>
        </p:nvGraphicFramePr>
        <p:xfrm>
          <a:off x="2352676" y="5245100"/>
          <a:ext cx="8909050" cy="396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781810">
                  <a:extLst>
                    <a:ext uri="{9D8B030D-6E8A-4147-A177-3AD203B41FA5}">
                      <a16:colId xmlns:a16="http://schemas.microsoft.com/office/drawing/2014/main" val="2131478334"/>
                    </a:ext>
                  </a:extLst>
                </a:gridCol>
                <a:gridCol w="1781810">
                  <a:extLst>
                    <a:ext uri="{9D8B030D-6E8A-4147-A177-3AD203B41FA5}">
                      <a16:colId xmlns:a16="http://schemas.microsoft.com/office/drawing/2014/main" val="2724998841"/>
                    </a:ext>
                  </a:extLst>
                </a:gridCol>
                <a:gridCol w="1781810">
                  <a:extLst>
                    <a:ext uri="{9D8B030D-6E8A-4147-A177-3AD203B41FA5}">
                      <a16:colId xmlns:a16="http://schemas.microsoft.com/office/drawing/2014/main" val="2946156698"/>
                    </a:ext>
                  </a:extLst>
                </a:gridCol>
                <a:gridCol w="1781810">
                  <a:extLst>
                    <a:ext uri="{9D8B030D-6E8A-4147-A177-3AD203B41FA5}">
                      <a16:colId xmlns:a16="http://schemas.microsoft.com/office/drawing/2014/main" val="2428952627"/>
                    </a:ext>
                  </a:extLst>
                </a:gridCol>
                <a:gridCol w="1781810">
                  <a:extLst>
                    <a:ext uri="{9D8B030D-6E8A-4147-A177-3AD203B41FA5}">
                      <a16:colId xmlns:a16="http://schemas.microsoft.com/office/drawing/2014/main" val="2766142935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6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8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4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2.2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16098"/>
                  </a:ext>
                </a:extLst>
              </a:tr>
            </a:tbl>
          </a:graphicData>
        </a:graphic>
      </p:graphicFrame>
      <p:sp>
        <p:nvSpPr>
          <p:cNvPr id="148" name="矩形 147">
            <a:extLst>
              <a:ext uri="{FF2B5EF4-FFF2-40B4-BE49-F238E27FC236}">
                <a16:creationId xmlns:a16="http://schemas.microsoft.com/office/drawing/2014/main" id="{D5A30386-DBA0-7A38-7003-E3278DA58C16}"/>
              </a:ext>
            </a:extLst>
          </p:cNvPr>
          <p:cNvSpPr/>
          <p:nvPr/>
        </p:nvSpPr>
        <p:spPr>
          <a:xfrm>
            <a:off x="175418" y="3086100"/>
            <a:ext cx="2177257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202510YTD </a:t>
            </a:r>
            <a:r>
              <a:rPr lang="zh-CN" altLang="en-US" sz="1200" b="1" dirty="0">
                <a:solidFill>
                  <a:schemeClr val="tx1"/>
                </a:solidFill>
              </a:rPr>
              <a:t>同比增长金额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56" name="矩形 155">
            <a:extLst>
              <a:ext uri="{FF2B5EF4-FFF2-40B4-BE49-F238E27FC236}">
                <a16:creationId xmlns:a16="http://schemas.microsoft.com/office/drawing/2014/main" id="{1B046CA3-E00D-02BC-6DA3-124E25B3794E}"/>
              </a:ext>
            </a:extLst>
          </p:cNvPr>
          <p:cNvSpPr/>
          <p:nvPr/>
        </p:nvSpPr>
        <p:spPr>
          <a:xfrm>
            <a:off x="175418" y="5249862"/>
            <a:ext cx="2177257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202510YTD </a:t>
            </a:r>
            <a:r>
              <a:rPr lang="zh-CN" altLang="en-US" sz="1200" b="1" dirty="0">
                <a:solidFill>
                  <a:schemeClr val="tx1"/>
                </a:solidFill>
              </a:rPr>
              <a:t>同比增长比例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161" name="表格 160">
            <a:extLst>
              <a:ext uri="{FF2B5EF4-FFF2-40B4-BE49-F238E27FC236}">
                <a16:creationId xmlns:a16="http://schemas.microsoft.com/office/drawing/2014/main" id="{96136F6B-3FFB-3D4C-7F27-C8C5E8B163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210997"/>
              </p:ext>
            </p:extLst>
          </p:nvPr>
        </p:nvGraphicFramePr>
        <p:xfrm>
          <a:off x="2419351" y="5815647"/>
          <a:ext cx="6924674" cy="288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6924674">
                  <a:extLst>
                    <a:ext uri="{9D8B030D-6E8A-4147-A177-3AD203B41FA5}">
                      <a16:colId xmlns:a16="http://schemas.microsoft.com/office/drawing/2014/main" val="3745469635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母是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10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TD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购进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35854"/>
                  </a:ext>
                </a:extLst>
              </a:tr>
            </a:tbl>
          </a:graphicData>
        </a:graphic>
      </p:graphicFrame>
      <p:graphicFrame>
        <p:nvGraphicFramePr>
          <p:cNvPr id="162" name="表格 161">
            <a:extLst>
              <a:ext uri="{FF2B5EF4-FFF2-40B4-BE49-F238E27FC236}">
                <a16:creationId xmlns:a16="http://schemas.microsoft.com/office/drawing/2014/main" id="{CAF3D428-EDDD-D848-BBAD-2CCCDEE413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574791"/>
              </p:ext>
            </p:extLst>
          </p:nvPr>
        </p:nvGraphicFramePr>
        <p:xfrm>
          <a:off x="9572625" y="5815647"/>
          <a:ext cx="2305050" cy="288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305050">
                  <a:extLst>
                    <a:ext uri="{9D8B030D-6E8A-4147-A177-3AD203B41FA5}">
                      <a16:colId xmlns:a16="http://schemas.microsoft.com/office/drawing/2014/main" val="2155086218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母是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10YTD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厂发货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35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880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8D051EF3-80E6-4405-B158-4AEE3A44A3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7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4" imgW="473" imgH="476" progId="TCLayout.ActiveDocument.1">
                  <p:embed/>
                </p:oleObj>
              </mc:Choice>
              <mc:Fallback>
                <p:oleObj name="think-cell 幻灯片" r:id="rId144" imgW="473" imgH="47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51EF3-80E6-4405-B158-4AEE3A44A3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2" name="矩形 911">
            <a:extLst>
              <a:ext uri="{FF2B5EF4-FFF2-40B4-BE49-F238E27FC236}">
                <a16:creationId xmlns:a16="http://schemas.microsoft.com/office/drawing/2014/main" id="{8DE8DDD8-719D-6304-F5B0-CFF4EA403D4C}"/>
              </a:ext>
            </a:extLst>
          </p:cNvPr>
          <p:cNvSpPr/>
          <p:nvPr/>
        </p:nvSpPr>
        <p:spPr>
          <a:xfrm>
            <a:off x="410845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3" name="矩形 912">
            <a:extLst>
              <a:ext uri="{FF2B5EF4-FFF2-40B4-BE49-F238E27FC236}">
                <a16:creationId xmlns:a16="http://schemas.microsoft.com/office/drawing/2014/main" id="{EEBB7017-0062-810B-2CD9-9C7EE45CBFAA}"/>
              </a:ext>
            </a:extLst>
          </p:cNvPr>
          <p:cNvSpPr/>
          <p:nvPr/>
        </p:nvSpPr>
        <p:spPr>
          <a:xfrm>
            <a:off x="807466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1" name="矩形 910">
            <a:extLst>
              <a:ext uri="{FF2B5EF4-FFF2-40B4-BE49-F238E27FC236}">
                <a16:creationId xmlns:a16="http://schemas.microsoft.com/office/drawing/2014/main" id="{9CD2C2D8-5F1E-04B2-0D73-7E5D28027AF8}"/>
              </a:ext>
            </a:extLst>
          </p:cNvPr>
          <p:cNvSpPr/>
          <p:nvPr/>
        </p:nvSpPr>
        <p:spPr>
          <a:xfrm>
            <a:off x="16510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E52A761-8683-2BFB-D010-1A1A16C9F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北京、天津、云南、山西立普妥渠道购进和市场份额双跌；另外，陕西、河南、宁夏、河北在医院渠道，广东、浙江、贵州、甘肃、吉林、安徽在零售渠道亦购进和份额双跌</a:t>
            </a:r>
            <a:endParaRPr lang="en-US" sz="2000" dirty="0"/>
          </a:p>
        </p:txBody>
      </p:sp>
      <p:cxnSp>
        <p:nvCxnSpPr>
          <p:cNvPr id="305" name="直接连接符 304">
            <a:extLst>
              <a:ext uri="{FF2B5EF4-FFF2-40B4-BE49-F238E27FC236}">
                <a16:creationId xmlns:a16="http://schemas.microsoft.com/office/drawing/2014/main" id="{A485C707-4BE0-340A-A52A-9F6ABD615FFB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303463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直接连接符 307">
            <a:extLst>
              <a:ext uri="{FF2B5EF4-FFF2-40B4-BE49-F238E27FC236}">
                <a16:creationId xmlns:a16="http://schemas.microsoft.com/office/drawing/2014/main" id="{5B8F6CF6-0480-2335-687B-8595346C5044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965575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4" name="直接连接符 293">
            <a:extLst>
              <a:ext uri="{FF2B5EF4-FFF2-40B4-BE49-F238E27FC236}">
                <a16:creationId xmlns:a16="http://schemas.microsoft.com/office/drawing/2014/main" id="{626390E3-7192-89E1-9E6A-A4A460A0CC7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39763" y="3533775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5" name="直接连接符 294">
            <a:extLst>
              <a:ext uri="{FF2B5EF4-FFF2-40B4-BE49-F238E27FC236}">
                <a16:creationId xmlns:a16="http://schemas.microsoft.com/office/drawing/2014/main" id="{C7966303-D714-9BFA-A953-709245611F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39763" y="20208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BFA401E3-5907-CFA1-8181-DFCFF343D592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63310276"/>
              </p:ext>
            </p:extLst>
          </p:nvPr>
        </p:nvGraphicFramePr>
        <p:xfrm>
          <a:off x="182563" y="1865313"/>
          <a:ext cx="4070350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356" name="直接连接符 355">
            <a:extLst>
              <a:ext uri="{FF2B5EF4-FFF2-40B4-BE49-F238E27FC236}">
                <a16:creationId xmlns:a16="http://schemas.microsoft.com/office/drawing/2014/main" id="{81B6A11C-7F11-D71E-D7F7-4B8C6CB75A6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2544763" y="3421063"/>
            <a:ext cx="68263" cy="1143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3" name="直接连接符 572">
            <a:extLst>
              <a:ext uri="{FF2B5EF4-FFF2-40B4-BE49-F238E27FC236}">
                <a16:creationId xmlns:a16="http://schemas.microsoft.com/office/drawing/2014/main" id="{632BB24D-C393-D2E7-63A0-5A8892DB44D4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 flipV="1">
            <a:off x="2551113" y="3870325"/>
            <a:ext cx="76200" cy="9366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8" name="直接连接符 507">
            <a:extLst>
              <a:ext uri="{FF2B5EF4-FFF2-40B4-BE49-F238E27FC236}">
                <a16:creationId xmlns:a16="http://schemas.microsoft.com/office/drawing/2014/main" id="{93C14BC9-E6AF-B1E3-2FDF-B83804F1858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V="1">
            <a:off x="2684463" y="3125788"/>
            <a:ext cx="69850" cy="142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直接连接符 347">
            <a:extLst>
              <a:ext uri="{FF2B5EF4-FFF2-40B4-BE49-F238E27FC236}">
                <a16:creationId xmlns:a16="http://schemas.microsoft.com/office/drawing/2014/main" id="{52489DAA-2A86-C7EB-5FCF-B79648BCE51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2859088" y="3513138"/>
            <a:ext cx="25400" cy="269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8" name="直接连接符 497">
            <a:extLst>
              <a:ext uri="{FF2B5EF4-FFF2-40B4-BE49-F238E27FC236}">
                <a16:creationId xmlns:a16="http://schemas.microsoft.com/office/drawing/2014/main" id="{3E4B2BAE-3287-849C-E84D-241E48F9FA5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2941638" y="3344863"/>
            <a:ext cx="68263" cy="508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7" name="直接连接符 356">
            <a:extLst>
              <a:ext uri="{FF2B5EF4-FFF2-40B4-BE49-F238E27FC236}">
                <a16:creationId xmlns:a16="http://schemas.microsoft.com/office/drawing/2014/main" id="{3C0FD275-D2F9-B5FA-546B-99F9FAC8CA7C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V="1">
            <a:off x="2433638" y="3727450"/>
            <a:ext cx="50800" cy="1682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2" name="直接连接符 371">
            <a:extLst>
              <a:ext uri="{FF2B5EF4-FFF2-40B4-BE49-F238E27FC236}">
                <a16:creationId xmlns:a16="http://schemas.microsoft.com/office/drawing/2014/main" id="{D5B6A0CC-F63D-C1F4-5A8C-0A0D18769F5B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>
            <a:off x="2463800" y="3557588"/>
            <a:ext cx="214313" cy="762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直接连接符 358">
            <a:extLst>
              <a:ext uri="{FF2B5EF4-FFF2-40B4-BE49-F238E27FC236}">
                <a16:creationId xmlns:a16="http://schemas.microsoft.com/office/drawing/2014/main" id="{DBBB1C50-C81E-C86D-4388-3FD9BB166A1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3127375" y="3308350"/>
            <a:ext cx="79375" cy="1492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87E58E4F-C9A2-DCE7-0106-1911C6991FB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3062288" y="3140075"/>
            <a:ext cx="0" cy="1619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直接连接符 574">
            <a:extLst>
              <a:ext uri="{FF2B5EF4-FFF2-40B4-BE49-F238E27FC236}">
                <a16:creationId xmlns:a16="http://schemas.microsoft.com/office/drawing/2014/main" id="{103945CB-0349-C4D0-C1AD-7286A18E9490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V="1">
            <a:off x="2195513" y="3868738"/>
            <a:ext cx="84138" cy="920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321" name="Text Placeholder 3">
            <a:extLst>
              <a:ext uri="{FF2B5EF4-FFF2-40B4-BE49-F238E27FC236}">
                <a16:creationId xmlns:a16="http://schemas.microsoft.com/office/drawing/2014/main" id="{BE4F9D77-B24D-381D-16F9-028B31A7BE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98813" y="344963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25EE965-0AA0-44D8-A64A-9C9E3E1ACC85}" type="datetime'''''''''''''''''''江''''''''''''''''''''''''''苏'''''''''">
              <a:rPr lang="zh-CN" altLang="en-US" sz="1000" smtClean="0">
                <a:effectLst/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B35925B5-C656-5C1D-E9C2-B0F7BF52E9C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7263" y="32607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546D14-C2D0-48A7-877B-35819ED40E3C}" type="datetime'''''上''''''海''''''''''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2601CC85-0CF4-D370-8A07-11013B3BC8C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06788" y="29956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942B33-404F-484E-93E2-49FB6989E15F}" type="datetime'''''''''''''''''''''湖''''''北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DCF6DA0A-4952-C5F5-0DB9-E35AFC3E5C3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55913" y="42735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C0439F-4C1E-4C3B-AF0A-E953A92BCD49}" type="datetime'''''''''''''''''''''''''''陕''''''''''''西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5" name="Text Placeholder 3">
            <a:extLst>
              <a:ext uri="{FF2B5EF4-FFF2-40B4-BE49-F238E27FC236}">
                <a16:creationId xmlns:a16="http://schemas.microsoft.com/office/drawing/2014/main" id="{1C158A22-D501-8833-0347-44A89FBF1FE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900238" y="37623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CE625F-3606-4E07-A5E1-5FA51D7A30DF}" type="datetime'''''''''''''''''''''''''''''''''山西''''''''''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F4538D24-56B6-63D4-5524-11F89B53EB5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684463" y="31765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51C9F16-92A9-46D1-AF43-FA725055E607}" type="datetime'''''''''''''''''''''''''''''安''''''''''''''''徽''''''''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69CCA63A-6387-4520-897C-AF345575CD2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52700" y="39639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B32CE0-4222-4DAA-82B7-5A7B81D3B8BF}" type="datetime'河''''''''''''''''''''''''''''''''''南''''''''''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2E4D9609-9BDB-5A78-A2D2-94126839085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49500" y="32527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59AE5D5-EB54-464F-A58B-053B4B1E8C3A}" type="datetime'''山''''''''''''''东''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9" name="Text Placeholder 3">
            <a:extLst>
              <a:ext uri="{FF2B5EF4-FFF2-40B4-BE49-F238E27FC236}">
                <a16:creationId xmlns:a16="http://schemas.microsoft.com/office/drawing/2014/main" id="{7362575B-2B2B-C5A0-F83E-52D1F4BA3BF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46350" y="27781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E04B410-7921-410F-A269-8DE6E145F7B0}" type="datetime'''''''''''''''''''''''''''新''''''''''''''''''''''''疆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0" name="Text Placeholder 3">
            <a:extLst>
              <a:ext uri="{FF2B5EF4-FFF2-40B4-BE49-F238E27FC236}">
                <a16:creationId xmlns:a16="http://schemas.microsoft.com/office/drawing/2014/main" id="{30707AD6-1793-A34F-63BD-8D4F28BBAA1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63775" y="38957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DD50F0-79DB-43E8-BC92-A9BE9F6F1E36}" type="datetime'''''''''''''''''''''''''四''''''川'''''''">
              <a:rPr lang="zh-CN" altLang="en-US" sz="1000" smtClean="0">
                <a:effectLst/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7B392ED1-DF91-9C24-966B-BD658BC3945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2035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CD5B343-C52C-4595-82C5-A43F0774B3FB}" type="datetime'''毛销''''''''''售''''''''''''''''''''额增''''''''''''''长''''''率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615BBF85-A88D-2292-2559-E9C608A47F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5163" y="27781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CD278C4-6DC5-4E7D-B56D-251684459C77}" type="datetime'江''''''''西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A98EA30E-A521-5CE2-E3EB-99D715128DB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046413" y="38020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BAE1CD-259E-474B-8DC3-399F1F87FDCE}" type="datetime'''福''''''''''''''''''''''''''''''''''建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3" name="Text Placeholder 3">
            <a:extLst>
              <a:ext uri="{FF2B5EF4-FFF2-40B4-BE49-F238E27FC236}">
                <a16:creationId xmlns:a16="http://schemas.microsoft.com/office/drawing/2014/main" id="{54CF79EE-034D-7259-5197-3093871C9BD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287713" y="43195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0B9C541-DF78-42B2-9F73-5C0B58886736}" type="datetime'''''黑''''''''''''''''龙江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E0CBA69B-20D3-0256-AAE4-2144B659679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409700" y="40465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D0EC1E2-9ACF-4592-8ED8-75CEAF733D1A}" type="datetime'天''''''''''''''津''''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5" name="Text Placeholder 3">
            <a:extLst>
              <a:ext uri="{FF2B5EF4-FFF2-40B4-BE49-F238E27FC236}">
                <a16:creationId xmlns:a16="http://schemas.microsoft.com/office/drawing/2014/main" id="{902F4ECD-9214-191D-6027-035B1E1FCE7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74875" y="34210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F2AD76-E82C-4C48-88CB-22D089C38043}" type="datetime'''''''''''''''''''''''''河''''''''''''''''''''''''北'''''''">
              <a:rPr lang="zh-CN" altLang="en-US" sz="1000" smtClean="0">
                <a:effectLst/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86" name="Text Placeholder 3">
            <a:extLst>
              <a:ext uri="{FF2B5EF4-FFF2-40B4-BE49-F238E27FC236}">
                <a16:creationId xmlns:a16="http://schemas.microsoft.com/office/drawing/2014/main" id="{B7003476-9DF3-03C1-5FC4-BA7753FAA30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57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C1FF17-85DD-4E5A-A7A6-2B0C1CF92207}" type="datetime'''份''''''额''''''''''''''''''''''''变''''''''''''''''化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6" name="Text Placeholder 3">
            <a:extLst>
              <a:ext uri="{FF2B5EF4-FFF2-40B4-BE49-F238E27FC236}">
                <a16:creationId xmlns:a16="http://schemas.microsoft.com/office/drawing/2014/main" id="{1DCBCCC5-9338-0E52-87C2-06F9AF24FA8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20900" y="35941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C6029B-0193-44A5-B793-3C8D9D96BBAA}" type="datetime'''''''''''吉''''''''''''''''''''''''''''''林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B8EC7D37-BF43-731A-186C-43040B70B24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108325" y="31400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6D8380-2101-41B7-9952-3A43302B8537}" type="datetime'''''''''''''''''''''''''湖''''''''''''''''''南''''''''''''''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7" name="Text Placeholder 3">
            <a:extLst>
              <a:ext uri="{FF2B5EF4-FFF2-40B4-BE49-F238E27FC236}">
                <a16:creationId xmlns:a16="http://schemas.microsoft.com/office/drawing/2014/main" id="{9842E34A-9407-3B6C-AFE2-BEC3C6F7305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638425" y="33448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599A22F-269C-41B2-B9EA-0021AF557D2F}" type="datetime'''浙''''''''''''''江''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2FF371D5-3778-8EAF-BD33-2D6E54E2CFA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747838" y="41608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78C718-AF9F-4F88-8B50-E6574C01AFED}" type="datetime'''''''''''''''''''''''''''''''北''''''''''''''京''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4491AE7E-B66D-702F-06E7-5206EFFABD5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05113" y="23145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7BC2B0A-7607-4752-B150-AC95D6C48943}" type="datetime'辽''''''''''''宁''''''''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59A9233E-8898-FEE1-33B8-C5DD98D7521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39775" y="55768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827A570-1297-49FD-B358-93FBC0200014}" type="datetime'''''''''''云''''''''南''''''''''''''''''''''''''''''''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072160FC-F141-9B51-16AD-29022143DEB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165475" y="3630613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CFC2DE-ADCD-42EA-AAD1-FFEEA236528B}" type="datetime'''''''''''内蒙''''''''''古''''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DAC8F95B-C021-E965-A443-DE310F54A28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679575" y="31845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C369D4-A7A8-4796-A7D1-AD49B968779A}" type="datetime'''''''''''''广西'''''''''''''''''''''''''''''''''''''">
              <a:rPr lang="zh-CN" altLang="en-US" sz="1000" smtClean="0"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8A4A7482-9ADA-B10F-CE98-7A47B345372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917825" y="2971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4319908-4CC9-4EBF-B32F-7EFF0F150624}" type="datetime'''''''''''''''''''''重''''''''''''庆'''''">
              <a:rPr lang="zh-CN" altLang="en-US" sz="1000" smtClean="0"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A743D566-A3A4-495B-1CFB-1FF62907C24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395538" y="30845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B8AFAD-D934-421C-A60C-6BF7C3884DF2}" type="datetime'''''广''''''''''''''''''''''''''东''''''''''''''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25B1A29C-A96D-293A-6322-011E7796D7C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617788" y="37814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41D73C-9D1C-4D67-A70B-6FD5EEF7A8CE}" type="datetime'''''贵''''''''''''''''''''''州''''''''''''''''''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4" name="Text Placeholder 3">
            <a:extLst>
              <a:ext uri="{FF2B5EF4-FFF2-40B4-BE49-F238E27FC236}">
                <a16:creationId xmlns:a16="http://schemas.microsoft.com/office/drawing/2014/main" id="{9BD8098A-30EE-9DF6-6005-E5EBE48FE62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087688" y="3971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C907E4-7E52-4AD9-984A-567083D94098}" type="datetime'''''宁''''''''''''''''''''''''''''''''''夏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4B11A754-14C1-2687-F1AA-DACDDE23CD2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359150" y="4622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21C593D-30EC-4E12-918C-684DC1BF916B}" type="datetime'''''海''''''''''''南''''''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1C037676-7B13-E784-0E09-2D4888844B5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974850" y="39608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89B3562-D44C-4D26-AC61-EAD473705896}" type="datetime'''''''''''甘''''''''''''''''''''''''''肃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693" name="直接连接符 692">
            <a:extLst>
              <a:ext uri="{FF2B5EF4-FFF2-40B4-BE49-F238E27FC236}">
                <a16:creationId xmlns:a16="http://schemas.microsoft.com/office/drawing/2014/main" id="{E9A98F0E-2A73-7EBD-6E48-E6666834B50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5492750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9" name="直接连接符 818">
            <a:extLst>
              <a:ext uri="{FF2B5EF4-FFF2-40B4-BE49-F238E27FC236}">
                <a16:creationId xmlns:a16="http://schemas.microsoft.com/office/drawing/2014/main" id="{7FE2DDE5-D180-7B3B-526A-232BDA160EE5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7869238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5" name="直接连接符 694">
            <a:extLst>
              <a:ext uri="{FF2B5EF4-FFF2-40B4-BE49-F238E27FC236}">
                <a16:creationId xmlns:a16="http://schemas.microsoft.com/office/drawing/2014/main" id="{C5971D71-A03F-F092-5CE1-DED38EDE3E8F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4543425" y="20208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4" name="直接连接符 693">
            <a:extLst>
              <a:ext uri="{FF2B5EF4-FFF2-40B4-BE49-F238E27FC236}">
                <a16:creationId xmlns:a16="http://schemas.microsoft.com/office/drawing/2014/main" id="{F4875230-3F8B-0B63-AF8A-568FF56225A2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4543425" y="39131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B8B73EE4-8F1F-EC8A-C39E-319C8FED3A2F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300219086"/>
              </p:ext>
            </p:extLst>
          </p:nvPr>
        </p:nvGraphicFramePr>
        <p:xfrm>
          <a:off x="4086225" y="1865313"/>
          <a:ext cx="4070350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824" name="直接连接符 823">
            <a:extLst>
              <a:ext uri="{FF2B5EF4-FFF2-40B4-BE49-F238E27FC236}">
                <a16:creationId xmlns:a16="http://schemas.microsoft.com/office/drawing/2014/main" id="{C0790316-95E5-D5C0-8904-61F737943F9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 flipH="1" flipV="1">
            <a:off x="6459538" y="3567113"/>
            <a:ext cx="80962" cy="127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3" name="直接连接符 822">
            <a:extLst>
              <a:ext uri="{FF2B5EF4-FFF2-40B4-BE49-F238E27FC236}">
                <a16:creationId xmlns:a16="http://schemas.microsoft.com/office/drawing/2014/main" id="{FA49DE08-E55E-52B2-A422-B1920C3D33A0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6486525" y="3287713"/>
            <a:ext cx="0" cy="1635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2" name="直接连接符 821">
            <a:extLst>
              <a:ext uri="{FF2B5EF4-FFF2-40B4-BE49-F238E27FC236}">
                <a16:creationId xmlns:a16="http://schemas.microsoft.com/office/drawing/2014/main" id="{B67E3F3D-11EC-C4D1-2572-3BFDC0C0052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 flipH="1" flipV="1">
            <a:off x="6492875" y="3862388"/>
            <a:ext cx="36513" cy="444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1" name="直接连接符 700">
            <a:extLst>
              <a:ext uri="{FF2B5EF4-FFF2-40B4-BE49-F238E27FC236}">
                <a16:creationId xmlns:a16="http://schemas.microsoft.com/office/drawing/2014/main" id="{F90A7621-3D8B-89FD-BC04-7870B1FB60DB}"/>
              </a:ext>
            </a:extLst>
          </p:cNvPr>
          <p:cNvCxnSpPr>
            <a:cxnSpLocks/>
          </p:cNvCxnSpPr>
          <p:nvPr>
            <p:custDataLst>
              <p:tags r:id="rId56"/>
            </p:custDataLst>
          </p:nvPr>
        </p:nvCxnSpPr>
        <p:spPr bwMode="gray">
          <a:xfrm>
            <a:off x="6113463" y="3746500"/>
            <a:ext cx="160338" cy="79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7" name="Text Placeholder 3">
            <a:extLst>
              <a:ext uri="{FF2B5EF4-FFF2-40B4-BE49-F238E27FC236}">
                <a16:creationId xmlns:a16="http://schemas.microsoft.com/office/drawing/2014/main" id="{3069FCC7-2411-DCC5-002F-3084A846147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107238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EBD5BE6-C63F-46BF-8B8B-EB57D4FC7130}" type="datetime'''''''''''''毛销售''额''''''增''''''''''''长''''率''''''''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8" name="Text Placeholder 3">
            <a:extLst>
              <a:ext uri="{FF2B5EF4-FFF2-40B4-BE49-F238E27FC236}">
                <a16:creationId xmlns:a16="http://schemas.microsoft.com/office/drawing/2014/main" id="{F9AA9CF3-5221-B778-1BE0-EBEE8BF1626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289425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F11AE8-BF92-4F55-BD95-8B96B3C8B0DE}" type="datetime'''''''''''''''''''''''''''''''份''额''''变化''''''''''''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8" name="Text Placeholder 3">
            <a:extLst>
              <a:ext uri="{FF2B5EF4-FFF2-40B4-BE49-F238E27FC236}">
                <a16:creationId xmlns:a16="http://schemas.microsoft.com/office/drawing/2014/main" id="{1ABCCF8D-69A0-4D6F-1F8B-E731E3AB6D62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824538" y="36544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E50F6DF-3248-4277-B718-6DA0C415D1D8}" type="datetime'''''''''''''''''''''''''''''浙''''''''''''''''''''''江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9" name="Text Placeholder 3">
            <a:extLst>
              <a:ext uri="{FF2B5EF4-FFF2-40B4-BE49-F238E27FC236}">
                <a16:creationId xmlns:a16="http://schemas.microsoft.com/office/drawing/2014/main" id="{2B95ED45-F93A-5011-582D-79A26A6260EF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186363" y="47164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33826B-B516-4C79-BD7D-49663B4ECC1F}" type="datetime'''''''''''北''''''''''''''''''''京''''''''''''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0" name="Text Placeholder 3">
            <a:extLst>
              <a:ext uri="{FF2B5EF4-FFF2-40B4-BE49-F238E27FC236}">
                <a16:creationId xmlns:a16="http://schemas.microsoft.com/office/drawing/2014/main" id="{4F818353-5A7F-014B-4C0A-C7A55E68CABD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016625" y="21605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E907FC4-9DB4-4077-A95F-587786C5A25F}" type="datetime'''''''''''''''''''''''''''''''''''''''''辽''''''''''''宁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1" name="Text Placeholder 3">
            <a:extLst>
              <a:ext uri="{FF2B5EF4-FFF2-40B4-BE49-F238E27FC236}">
                <a16:creationId xmlns:a16="http://schemas.microsoft.com/office/drawing/2014/main" id="{17F1F383-8B90-EAA2-31BB-B5805CCFDF1D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705600" y="32607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A94BD9E-9362-4C3E-82EB-8A98E81D7931}" type="datetime'''''''''广''''''东''''''''''''''''''''''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2" name="Text Placeholder 3">
            <a:extLst>
              <a:ext uri="{FF2B5EF4-FFF2-40B4-BE49-F238E27FC236}">
                <a16:creationId xmlns:a16="http://schemas.microsoft.com/office/drawing/2014/main" id="{E81EAD49-30FE-9C0C-A72B-B74BC7935447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599238" y="36909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D7A902-6E75-4C04-B371-33B6F89B2903}" type="datetime'''''''''''''江''苏''''''''''''''''''''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3" name="Text Placeholder 3">
            <a:extLst>
              <a:ext uri="{FF2B5EF4-FFF2-40B4-BE49-F238E27FC236}">
                <a16:creationId xmlns:a16="http://schemas.microsoft.com/office/drawing/2014/main" id="{56192282-31AE-EA8E-B45C-F8C382B2E35B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454775" y="39068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0159F05-EDE4-4310-94F6-010B03CA3134}" type="datetime'''''上海''''''''''''''''''''''''''''''''''''''''''''''''''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4" name="Text Placeholder 3">
            <a:extLst>
              <a:ext uri="{FF2B5EF4-FFF2-40B4-BE49-F238E27FC236}">
                <a16:creationId xmlns:a16="http://schemas.microsoft.com/office/drawing/2014/main" id="{CEE58164-9812-E38D-532A-8E72C5435E0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342063" y="31194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7C5F7C3-7FB7-4BA4-8FFB-74795B36AC41}" type="datetime'''''''''湖''''''''北''''''''''''''''''''''''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5" name="Text Placeholder 3">
            <a:extLst>
              <a:ext uri="{FF2B5EF4-FFF2-40B4-BE49-F238E27FC236}">
                <a16:creationId xmlns:a16="http://schemas.microsoft.com/office/drawing/2014/main" id="{BCAAB8B1-27BF-C151-D8CF-2A930ABDC74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884738" y="47879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48D92B8-BAC1-4220-8445-DB55C537F6D2}" type="datetime'''''陕''''''''''''''''西''''''''''''''''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6" name="Text Placeholder 3">
            <a:extLst>
              <a:ext uri="{FF2B5EF4-FFF2-40B4-BE49-F238E27FC236}">
                <a16:creationId xmlns:a16="http://schemas.microsoft.com/office/drawing/2014/main" id="{4840FB03-4620-A721-F981-E1EF739A6ED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33950" y="43354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0F8EC1C-471A-406D-8BB1-28461577FAC4}" type="datetime'''''''山''''''''''''''''西''''''''''''''''''''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8" name="Text Placeholder 3">
            <a:extLst>
              <a:ext uri="{FF2B5EF4-FFF2-40B4-BE49-F238E27FC236}">
                <a16:creationId xmlns:a16="http://schemas.microsoft.com/office/drawing/2014/main" id="{7804832B-23D0-8CD7-13EB-EC5DFE6655F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6540500" y="35163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75D98A3-4080-4165-872D-9B567DFEE929}" type="datetime'''''''''''''''''''安''''''''''''''''''''''''''''''徽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40" name="Text Placeholder 3">
            <a:extLst>
              <a:ext uri="{FF2B5EF4-FFF2-40B4-BE49-F238E27FC236}">
                <a16:creationId xmlns:a16="http://schemas.microsoft.com/office/drawing/2014/main" id="{0948DCA7-C504-B71E-DD52-5678689D1ED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370513" y="38020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D1D29D7-4EDB-407B-8871-597577A721C8}" type="datetime'''山''''''''''''''''''''''东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1" name="Text Placeholder 3">
            <a:extLst>
              <a:ext uri="{FF2B5EF4-FFF2-40B4-BE49-F238E27FC236}">
                <a16:creationId xmlns:a16="http://schemas.microsoft.com/office/drawing/2014/main" id="{87B02D5F-A9C7-CF40-280C-0705FD5A375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764213" y="34432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688370B-297F-4AFB-897E-9C3559FD29C5}" type="datetime'''''新''''''''''''''''''''''''''''''''''''''''''疆''''''''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2" name="Text Placeholder 3">
            <a:extLst>
              <a:ext uri="{FF2B5EF4-FFF2-40B4-BE49-F238E27FC236}">
                <a16:creationId xmlns:a16="http://schemas.microsoft.com/office/drawing/2014/main" id="{44EF7F64-C92E-2A50-F30D-AC6752F20C7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575300" y="40830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C383D7B-EF0A-47B1-81C2-2D57808137D9}" type="datetime'''''''''''''''''四川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3" name="Text Placeholder 3">
            <a:extLst>
              <a:ext uri="{FF2B5EF4-FFF2-40B4-BE49-F238E27FC236}">
                <a16:creationId xmlns:a16="http://schemas.microsoft.com/office/drawing/2014/main" id="{CF323E17-19D2-0C91-4661-D93089AE6594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6019800" y="32718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C4D500A-76D2-4D02-B866-78B995A7355A}" type="datetime'''''''''''''江''''西''''''''''''''''''''''''''''''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3" name="Text Placeholder 3">
            <a:extLst>
              <a:ext uri="{FF2B5EF4-FFF2-40B4-BE49-F238E27FC236}">
                <a16:creationId xmlns:a16="http://schemas.microsoft.com/office/drawing/2014/main" id="{1D239880-A986-6CB3-E7DD-5A0734D08613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635625" y="42576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05074B-5261-45CE-9AA3-A283353D57F2}" type="datetime'''''''''''''''''''''''''''福''''''''建''''''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4" name="Text Placeholder 3">
            <a:extLst>
              <a:ext uri="{FF2B5EF4-FFF2-40B4-BE49-F238E27FC236}">
                <a16:creationId xmlns:a16="http://schemas.microsoft.com/office/drawing/2014/main" id="{22F20BE0-436E-25E9-7738-4D838C706863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6738938" y="4189413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3C6FCC-56D6-4532-A30C-7CC4AE347173}" type="datetime'''''黑''龙''''''''''''''''江''''''''''''''''''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5" name="Text Placeholder 3">
            <a:extLst>
              <a:ext uri="{FF2B5EF4-FFF2-40B4-BE49-F238E27FC236}">
                <a16:creationId xmlns:a16="http://schemas.microsoft.com/office/drawing/2014/main" id="{92048F63-7955-8CB3-8A53-2E0E3B31F9A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4595813" y="43878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B9532D-78EF-4C4B-9600-E47670D251DE}" type="datetime'''''天''''''''''''''''''津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6" name="Text Placeholder 3">
            <a:extLst>
              <a:ext uri="{FF2B5EF4-FFF2-40B4-BE49-F238E27FC236}">
                <a16:creationId xmlns:a16="http://schemas.microsoft.com/office/drawing/2014/main" id="{8C227E20-0EC5-C3D9-E332-00BF421EBCEA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4703763" y="40195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21443D-02D6-4DAE-B37D-A1C36F3D6A77}" type="datetime'''''''''''''''''''''''''河''''''''''北''''''''''''''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7" name="Text Placeholder 3">
            <a:extLst>
              <a:ext uri="{FF2B5EF4-FFF2-40B4-BE49-F238E27FC236}">
                <a16:creationId xmlns:a16="http://schemas.microsoft.com/office/drawing/2014/main" id="{8142AF65-3D12-419E-780B-D2D910657901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5868988" y="39941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7E3F986-B98E-41A1-94B7-8F1566248FC2}" type="datetime'''''''吉''''''''''''''''''''''''''''''''林''''''''''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7" name="Text Placeholder 3">
            <a:extLst>
              <a:ext uri="{FF2B5EF4-FFF2-40B4-BE49-F238E27FC236}">
                <a16:creationId xmlns:a16="http://schemas.microsoft.com/office/drawing/2014/main" id="{B1272A7D-A517-8E2D-7101-1DA7F5B1120D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5165725" y="3987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7FD79AC-6594-49C7-8E16-561A6EE49599}" type="datetime'''''湖''''''''''''''''''''''''''''''''''''''南''''''''''''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9" name="Text Placeholder 3">
            <a:extLst>
              <a:ext uri="{FF2B5EF4-FFF2-40B4-BE49-F238E27FC236}">
                <a16:creationId xmlns:a16="http://schemas.microsoft.com/office/drawing/2014/main" id="{7B41B6B8-E55A-DFA2-E294-AC2A39B1CEE3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829300" y="38242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D84DC8D-6C02-4213-BB02-7C2C01C2E843}" type="datetime'重''''''庆''''''''''''''''''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0" name="Text Placeholder 3">
            <a:extLst>
              <a:ext uri="{FF2B5EF4-FFF2-40B4-BE49-F238E27FC236}">
                <a16:creationId xmlns:a16="http://schemas.microsoft.com/office/drawing/2014/main" id="{86176549-0566-33EA-6056-E88330A59EFC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6105525" y="43545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63C53B6-AEC5-4C2E-B92F-DD09F1C849F7}" type="datetime'''''''''''''''''''''''''''''''''''云''''南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1" name="Text Placeholder 3">
            <a:extLst>
              <a:ext uri="{FF2B5EF4-FFF2-40B4-BE49-F238E27FC236}">
                <a16:creationId xmlns:a16="http://schemas.microsoft.com/office/drawing/2014/main" id="{56D8AEDB-41C0-D8EF-675C-EA1AFF833BE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146925" y="3981450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FCA2371-84DE-4301-BF5B-A1431ABC513D}" type="datetime'''''''''''''''''''''''''''''内''''''蒙''''''''''''古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2" name="Text Placeholder 3">
            <a:extLst>
              <a:ext uri="{FF2B5EF4-FFF2-40B4-BE49-F238E27FC236}">
                <a16:creationId xmlns:a16="http://schemas.microsoft.com/office/drawing/2014/main" id="{5E97BC9E-3B3C-1651-0CC8-BAD6FB859EB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4667250" y="378301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62F307D-9DAA-46F7-A99C-5085164C302D}" type="datetime'''''''''''''''''''''''广''''''''''''''西'''''''''''''">
              <a:rPr lang="zh-CN" altLang="en-US" sz="1000" smtClean="0">
                <a:effectLst/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3" name="Text Placeholder 3">
            <a:extLst>
              <a:ext uri="{FF2B5EF4-FFF2-40B4-BE49-F238E27FC236}">
                <a16:creationId xmlns:a16="http://schemas.microsoft.com/office/drawing/2014/main" id="{02AB522D-A02C-85E1-AD87-9FB910BFBF6C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165850" y="39751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4078DA0-E7A2-4E6E-882F-A9A532276419}" type="datetime'''''''''''''''''''''''''''''''甘''''''''''''肃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4" name="Text Placeholder 3">
            <a:extLst>
              <a:ext uri="{FF2B5EF4-FFF2-40B4-BE49-F238E27FC236}">
                <a16:creationId xmlns:a16="http://schemas.microsoft.com/office/drawing/2014/main" id="{F1FE524A-1A1C-7B21-2923-4891AF5DFBB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7459663" y="36639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47ACC29-AB33-4C1F-A4E0-164234EB4544}" type="datetime'''''''''''''''''''''''''''''''贵''''州''''''''''''''''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5" name="Text Placeholder 3">
            <a:extLst>
              <a:ext uri="{FF2B5EF4-FFF2-40B4-BE49-F238E27FC236}">
                <a16:creationId xmlns:a16="http://schemas.microsoft.com/office/drawing/2014/main" id="{61F00C7E-C822-446A-0CE2-99776C75518B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364163" y="45339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A6F75F0-2453-4181-B7A9-099FCF2D71FD}" type="datetime'''''''''''''''''''''''''宁''''''''''夏'''''''">
              <a:rPr lang="zh-CN" altLang="en-US" sz="1000" smtClean="0">
                <a:effectLst/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6" name="Text Placeholder 3">
            <a:extLst>
              <a:ext uri="{FF2B5EF4-FFF2-40B4-BE49-F238E27FC236}">
                <a16:creationId xmlns:a16="http://schemas.microsoft.com/office/drawing/2014/main" id="{CE07FBCE-F6FD-0B79-5A25-BE4DA5A1FCF2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6856413" y="38639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1A3E4BC-7195-4F17-B591-1CE35D8A08FB}" type="datetime'''''''''''''''''''''''''''''海南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39" name="Text Placeholder 3">
            <a:extLst>
              <a:ext uri="{FF2B5EF4-FFF2-40B4-BE49-F238E27FC236}">
                <a16:creationId xmlns:a16="http://schemas.microsoft.com/office/drawing/2014/main" id="{D74EB83D-C54A-84E6-3D5A-B65B8B898863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249863" y="43608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811E579-7708-4AE9-B2CF-C232A1FE1BED}" type="datetime'''''''''''''''河''''''南''''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749" name="直接连接符 748">
            <a:extLst>
              <a:ext uri="{FF2B5EF4-FFF2-40B4-BE49-F238E27FC236}">
                <a16:creationId xmlns:a16="http://schemas.microsoft.com/office/drawing/2014/main" id="{069B8E94-AF77-AA0F-0EE6-D2ACA8128148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10137775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0" name="直接连接符 829">
            <a:extLst>
              <a:ext uri="{FF2B5EF4-FFF2-40B4-BE49-F238E27FC236}">
                <a16:creationId xmlns:a16="http://schemas.microsoft.com/office/drawing/2014/main" id="{00DBE03C-F8C2-84D6-DB7D-58E63493318D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11801475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0" name="直接连接符 749">
            <a:extLst>
              <a:ext uri="{FF2B5EF4-FFF2-40B4-BE49-F238E27FC236}">
                <a16:creationId xmlns:a16="http://schemas.microsoft.com/office/drawing/2014/main" id="{CD0D9484-976D-8B1F-1E50-453FC654FC3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8475663" y="3702050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4" name="直接连接符 833">
            <a:extLst>
              <a:ext uri="{FF2B5EF4-FFF2-40B4-BE49-F238E27FC236}">
                <a16:creationId xmlns:a16="http://schemas.microsoft.com/office/drawing/2014/main" id="{32454C57-019A-8056-4EA5-12836B2A85A3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8475663" y="2020888"/>
            <a:ext cx="332581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CAED1EB9-F2BE-8746-6922-5B4A05CD6F7F}"/>
              </a:ext>
            </a:extLst>
          </p:cNvPr>
          <p:cNvGraphicFramePr/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123294816"/>
              </p:ext>
            </p:extLst>
          </p:nvPr>
        </p:nvGraphicFramePr>
        <p:xfrm>
          <a:off x="7948613" y="1865313"/>
          <a:ext cx="4140200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843" name="直接连接符 842">
            <a:extLst>
              <a:ext uri="{FF2B5EF4-FFF2-40B4-BE49-F238E27FC236}">
                <a16:creationId xmlns:a16="http://schemas.microsoft.com/office/drawing/2014/main" id="{BD5DB7BF-02B1-225D-8754-7F727993DDAD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 flipV="1">
            <a:off x="9810750" y="3954463"/>
            <a:ext cx="98425" cy="142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8" name="直接连接符 837">
            <a:extLst>
              <a:ext uri="{FF2B5EF4-FFF2-40B4-BE49-F238E27FC236}">
                <a16:creationId xmlns:a16="http://schemas.microsoft.com/office/drawing/2014/main" id="{35ED821C-ACD1-744D-717E-B99802AC661E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 flipV="1">
            <a:off x="9874250" y="3697288"/>
            <a:ext cx="31750" cy="285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2" name="直接连接符 841">
            <a:extLst>
              <a:ext uri="{FF2B5EF4-FFF2-40B4-BE49-F238E27FC236}">
                <a16:creationId xmlns:a16="http://schemas.microsoft.com/office/drawing/2014/main" id="{AEB7C93C-8111-4B24-0987-14539EC4945A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 flipH="1" flipV="1">
            <a:off x="10402888" y="3779838"/>
            <a:ext cx="155575" cy="9366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9" name="直接连接符 758">
            <a:extLst>
              <a:ext uri="{FF2B5EF4-FFF2-40B4-BE49-F238E27FC236}">
                <a16:creationId xmlns:a16="http://schemas.microsoft.com/office/drawing/2014/main" id="{03576A18-58F3-ADDD-2141-42712DEF0BB6}"/>
              </a:ext>
            </a:extLst>
          </p:cNvPr>
          <p:cNvCxnSpPr>
            <a:cxnSpLocks/>
          </p:cNvCxnSpPr>
          <p:nvPr>
            <p:custDataLst>
              <p:tags r:id="rId96"/>
            </p:custDataLst>
          </p:nvPr>
        </p:nvCxnSpPr>
        <p:spPr bwMode="gray">
          <a:xfrm>
            <a:off x="10026649" y="3597275"/>
            <a:ext cx="134938" cy="714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7" name="直接连接符 836">
            <a:extLst>
              <a:ext uri="{FF2B5EF4-FFF2-40B4-BE49-F238E27FC236}">
                <a16:creationId xmlns:a16="http://schemas.microsoft.com/office/drawing/2014/main" id="{35B7AE0E-87E2-17BC-5670-DBCCB2869D2E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10228264" y="3155950"/>
            <a:ext cx="36513" cy="1508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6" name="直接连接符 765">
            <a:extLst>
              <a:ext uri="{FF2B5EF4-FFF2-40B4-BE49-F238E27FC236}">
                <a16:creationId xmlns:a16="http://schemas.microsoft.com/office/drawing/2014/main" id="{54C74FCC-A619-9F5F-F659-33822C5297D5}"/>
              </a:ext>
            </a:extLst>
          </p:cNvPr>
          <p:cNvCxnSpPr>
            <a:cxnSpLocks/>
          </p:cNvCxnSpPr>
          <p:nvPr>
            <p:custDataLst>
              <p:tags r:id="rId98"/>
            </p:custDataLst>
          </p:nvPr>
        </p:nvCxnSpPr>
        <p:spPr bwMode="gray">
          <a:xfrm flipH="1" flipV="1">
            <a:off x="10099675" y="4037013"/>
            <a:ext cx="34925" cy="650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0" name="直接连接符 839">
            <a:extLst>
              <a:ext uri="{FF2B5EF4-FFF2-40B4-BE49-F238E27FC236}">
                <a16:creationId xmlns:a16="http://schemas.microsoft.com/office/drawing/2014/main" id="{6DFBF9BA-FF62-27E6-F7E5-31B977B3EE95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 flipH="1">
            <a:off x="10593388" y="3457575"/>
            <a:ext cx="223837" cy="1333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0" name="直接连接符 759">
            <a:extLst>
              <a:ext uri="{FF2B5EF4-FFF2-40B4-BE49-F238E27FC236}">
                <a16:creationId xmlns:a16="http://schemas.microsoft.com/office/drawing/2014/main" id="{B782DAB6-B8B9-34B4-A088-A0AFD48BFDE7}"/>
              </a:ext>
            </a:extLst>
          </p:cNvPr>
          <p:cNvCxnSpPr>
            <a:cxnSpLocks/>
          </p:cNvCxnSpPr>
          <p:nvPr>
            <p:custDataLst>
              <p:tags r:id="rId100"/>
            </p:custDataLst>
          </p:nvPr>
        </p:nvCxnSpPr>
        <p:spPr bwMode="gray">
          <a:xfrm flipH="1" flipV="1">
            <a:off x="10864850" y="3541713"/>
            <a:ext cx="52388" cy="396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1" name="直接连接符 840">
            <a:extLst>
              <a:ext uri="{FF2B5EF4-FFF2-40B4-BE49-F238E27FC236}">
                <a16:creationId xmlns:a16="http://schemas.microsoft.com/office/drawing/2014/main" id="{1926F2A7-83E5-B04A-4A62-060A9307711C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 flipV="1">
            <a:off x="10006013" y="4025900"/>
            <a:ext cx="36512" cy="2444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9" name="直接连接符 838">
            <a:extLst>
              <a:ext uri="{FF2B5EF4-FFF2-40B4-BE49-F238E27FC236}">
                <a16:creationId xmlns:a16="http://schemas.microsoft.com/office/drawing/2014/main" id="{8160B9DA-FA9D-8BAC-EE89-DCD064F3180B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 flipH="1">
            <a:off x="10242550" y="3327400"/>
            <a:ext cx="192088" cy="23336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3" name="Text Placeholder 3">
            <a:extLst>
              <a:ext uri="{FF2B5EF4-FFF2-40B4-BE49-F238E27FC236}">
                <a16:creationId xmlns:a16="http://schemas.microsoft.com/office/drawing/2014/main" id="{B52D3F94-54E2-7195-2657-6672D64A5C49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110394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114BFC6-837A-42CA-B027-02FFF2795F75}" type="datetime'''''''''''''毛''''''销''售''''额''''''''增长率''''''''''''''''''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4" name="Text Placeholder 3">
            <a:extLst>
              <a:ext uri="{FF2B5EF4-FFF2-40B4-BE49-F238E27FC236}">
                <a16:creationId xmlns:a16="http://schemas.microsoft.com/office/drawing/2014/main" id="{04F7F132-CC7B-24E5-9D03-8A010636A5DB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9618663" y="40814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758D5D7-8891-4637-B617-FDC917B16D54}" type="datetime'''''''''''''''浙''''''''''''''''''''''江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85" name="Text Placeholder 3">
            <a:extLst>
              <a:ext uri="{FF2B5EF4-FFF2-40B4-BE49-F238E27FC236}">
                <a16:creationId xmlns:a16="http://schemas.microsoft.com/office/drawing/2014/main" id="{EE200ED8-4990-6ACA-C22E-1A2514BA3DCD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10061575" y="29876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25A0950-F56D-42FF-9FD5-99ABCDA76E15}" type="datetime'''''''''''''''''''''''''''北''''''''''''''''''''''''''''''''京'">
              <a:rPr lang="zh-CN" altLang="en-US" sz="1000" smtClean="0">
                <a:effectLst/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6" name="Text Placeholder 3">
            <a:extLst>
              <a:ext uri="{FF2B5EF4-FFF2-40B4-BE49-F238E27FC236}">
                <a16:creationId xmlns:a16="http://schemas.microsoft.com/office/drawing/2014/main" id="{FDE17A77-320A-94D9-953F-83F4BBAB6DF1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9637713" y="37258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848B50-852D-42AB-92E8-0D29E69A5284}" type="datetime'''''''''''''''辽''''宁''''''''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4" name="Text Placeholder 3">
            <a:extLst>
              <a:ext uri="{FF2B5EF4-FFF2-40B4-BE49-F238E27FC236}">
                <a16:creationId xmlns:a16="http://schemas.microsoft.com/office/drawing/2014/main" id="{17C41692-DFEA-909F-4F1A-8BD3E1DDA073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82216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1919CD8-614D-4BD4-9206-2087D4B104A0}" type="datetime'''份''''''额''''''''''''''''''''''''''''变''化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7" name="Text Placeholder 3">
            <a:extLst>
              <a:ext uri="{FF2B5EF4-FFF2-40B4-BE49-F238E27FC236}">
                <a16:creationId xmlns:a16="http://schemas.microsoft.com/office/drawing/2014/main" id="{18F20C57-DA7B-B97F-0E5E-4C4CAECE709E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9294813" y="43132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4634F2A-98FC-411D-8CFE-F84CE76D595F}" type="datetime'''''''''''''''''广''东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8" name="Text Placeholder 3">
            <a:extLst>
              <a:ext uri="{FF2B5EF4-FFF2-40B4-BE49-F238E27FC236}">
                <a16:creationId xmlns:a16="http://schemas.microsoft.com/office/drawing/2014/main" id="{84C1443F-6F85-9ED1-A0CE-7D941004CE00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10358438" y="31591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D4DB450-366F-4775-B236-4A7CE49CF1BD}" type="datetime'''''''''江''''''''''''''苏''''''''''''''''''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9" name="Text Placeholder 3">
            <a:extLst>
              <a:ext uri="{FF2B5EF4-FFF2-40B4-BE49-F238E27FC236}">
                <a16:creationId xmlns:a16="http://schemas.microsoft.com/office/drawing/2014/main" id="{D1820747-EC8A-37C1-E471-6A0FCE4F99A1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0356850" y="29845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0F1CFDC-B0EE-457A-B236-10DD6E0DBA4B}" type="datetime'''''''''''''''''''''''''''''''''''''''''''''''上海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0" name="Text Placeholder 3">
            <a:extLst>
              <a:ext uri="{FF2B5EF4-FFF2-40B4-BE49-F238E27FC236}">
                <a16:creationId xmlns:a16="http://schemas.microsoft.com/office/drawing/2014/main" id="{E8005835-6D1E-AD24-44AB-8EDB9D843C46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11101388" y="33210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94F4A23-C446-4A68-8FA8-54C7ECF69384}" type="datetime'''''''''''''''''''''''''''''''湖''北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1" name="Text Placeholder 3">
            <a:extLst>
              <a:ext uri="{FF2B5EF4-FFF2-40B4-BE49-F238E27FC236}">
                <a16:creationId xmlns:a16="http://schemas.microsoft.com/office/drawing/2014/main" id="{80B25D19-2A48-4E45-EA63-63E8B120571E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10902950" y="4111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133E836-50D5-4F86-854B-55968990EBE3}" type="datetime'''陕''''''''''''''''''''''西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2" name="Text Placeholder 3">
            <a:extLst>
              <a:ext uri="{FF2B5EF4-FFF2-40B4-BE49-F238E27FC236}">
                <a16:creationId xmlns:a16="http://schemas.microsoft.com/office/drawing/2014/main" id="{C52CCA79-D37C-EB54-FA48-178C8C63CD34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10812463" y="32893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B3331D-DD45-4480-82D3-627C04FE348D}" type="datetime'''''''''''''''''''''山''''''西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4" name="Text Placeholder 3">
            <a:extLst>
              <a:ext uri="{FF2B5EF4-FFF2-40B4-BE49-F238E27FC236}">
                <a16:creationId xmlns:a16="http://schemas.microsoft.com/office/drawing/2014/main" id="{C030198B-D505-CA50-566A-3D0124D21CD8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9848850" y="42703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22F39C-3B99-4A5F-B0B2-20E36F48E3C4}" type="datetime'''安''''徽''''''''''''''''''''''''''''''''''''''''''''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5" name="Text Placeholder 3">
            <a:extLst>
              <a:ext uri="{FF2B5EF4-FFF2-40B4-BE49-F238E27FC236}">
                <a16:creationId xmlns:a16="http://schemas.microsoft.com/office/drawing/2014/main" id="{08948B60-9133-E5AB-4136-A675ACA9362C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0596563" y="37036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F7DB1E-3B9C-4FA0-870D-0AEAF0275837}" type="datetime'河南''''''''''''''''''''''''''''''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69" name="Text Placeholder 3">
            <a:extLst>
              <a:ext uri="{FF2B5EF4-FFF2-40B4-BE49-F238E27FC236}">
                <a16:creationId xmlns:a16="http://schemas.microsoft.com/office/drawing/2014/main" id="{14AEDA33-C544-E6F2-E7B3-7E0C661C9123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10801350" y="30130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09B85E2-1015-4F1C-A5B9-47CBF42C66DD}" type="datetime'''''''''''''''''''福''''''''''''建''''''''''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0" name="Text Placeholder 3">
            <a:extLst>
              <a:ext uri="{FF2B5EF4-FFF2-40B4-BE49-F238E27FC236}">
                <a16:creationId xmlns:a16="http://schemas.microsoft.com/office/drawing/2014/main" id="{40BE8E48-0B08-59F7-CAE5-A39E2B4D37CC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10525125" y="4819650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8C10194-1DF8-489D-9B99-6F858D92A421}" type="datetime'黑''''龙''''''''江''''''''''''''''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1" name="Text Placeholder 3">
            <a:extLst>
              <a:ext uri="{FF2B5EF4-FFF2-40B4-BE49-F238E27FC236}">
                <a16:creationId xmlns:a16="http://schemas.microsoft.com/office/drawing/2014/main" id="{74537682-1FA1-B504-DD33-2F9299360284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11328400" y="42687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121EF8D-A630-48D9-BFFA-186B1F250AB8}" type="datetime'''''''''''''天''''''''''''''''''津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2" name="Text Placeholder 3">
            <a:extLst>
              <a:ext uri="{FF2B5EF4-FFF2-40B4-BE49-F238E27FC236}">
                <a16:creationId xmlns:a16="http://schemas.microsoft.com/office/drawing/2014/main" id="{CF815AAC-5553-9661-BF63-A07EBA887459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10456863" y="33274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68E0047-0B4E-4B16-8FA8-442B461E45CC}" type="datetime'''''''''''''河''''''''''''''北''''''''''''''''''''''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73" name="Text Placeholder 3">
            <a:extLst>
              <a:ext uri="{FF2B5EF4-FFF2-40B4-BE49-F238E27FC236}">
                <a16:creationId xmlns:a16="http://schemas.microsoft.com/office/drawing/2014/main" id="{F2A7DF55-3711-A261-C55E-E79DBC0F562B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10034588" y="41021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9C6B9A-E977-49D6-B0A4-B691B14E6014}" type="datetime'''''''''''''''''吉''''''''''''林'''''">
              <a:rPr lang="zh-CN" altLang="en-US" sz="1000" smtClean="0">
                <a:effectLst/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8" name="Text Placeholder 3">
            <a:extLst>
              <a:ext uri="{FF2B5EF4-FFF2-40B4-BE49-F238E27FC236}">
                <a16:creationId xmlns:a16="http://schemas.microsoft.com/office/drawing/2014/main" id="{0144055F-7214-3FF1-6A98-135F4FB5C8E6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9737725" y="34353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C4773E5-7BEF-4B09-AB1D-9C43EA5AB48D}" type="datetime'''''''''''''''''''''''''''四''''川''''''''''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3" name="Text Placeholder 3">
            <a:extLst>
              <a:ext uri="{FF2B5EF4-FFF2-40B4-BE49-F238E27FC236}">
                <a16:creationId xmlns:a16="http://schemas.microsoft.com/office/drawing/2014/main" id="{33A66618-BFC3-E473-FB55-2678B3043B55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0887075" y="35814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517DCD-1DEC-4D0B-88F4-FC837967FE14}" type="datetime'湖''''''''''''''''南'''''''''''">
              <a:rPr lang="zh-CN" altLang="en-US" sz="1000" smtClean="0">
                <a:effectLst/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6" name="Text Placeholder 3">
            <a:extLst>
              <a:ext uri="{FF2B5EF4-FFF2-40B4-BE49-F238E27FC236}">
                <a16:creationId xmlns:a16="http://schemas.microsoft.com/office/drawing/2014/main" id="{53ABBF72-9E96-68F7-8EAC-EA4B95733FB5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10555288" y="38735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FF19C2-DD2E-44D8-A402-A21DC9F6CFA8}" type="datetime'''''''''''''''''''''''''''''''''''山''''''''''东''''''''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5" name="Text Placeholder 3">
            <a:extLst>
              <a:ext uri="{FF2B5EF4-FFF2-40B4-BE49-F238E27FC236}">
                <a16:creationId xmlns:a16="http://schemas.microsoft.com/office/drawing/2014/main" id="{5FA50E59-1ED7-587D-6525-3816DFACA82A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10504488" y="26066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D806336-B52A-42E6-8F50-3512A2C35510}" type="datetime'''''''''''''''''''''''重''''''''''庆'''">
              <a:rPr lang="zh-CN" altLang="en-US" sz="1000" smtClean="0"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6" name="Text Placeholder 3">
            <a:extLst>
              <a:ext uri="{FF2B5EF4-FFF2-40B4-BE49-F238E27FC236}">
                <a16:creationId xmlns:a16="http://schemas.microsoft.com/office/drawing/2014/main" id="{92F41448-4C13-479D-8C02-26976FA157B7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8982075" y="5368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45BD365-70A4-47FD-B1D2-573BF5E4072C}" type="datetime'''''''云''南''''''''''''''''''''''''''''''''''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7" name="Text Placeholder 3">
            <a:extLst>
              <a:ext uri="{FF2B5EF4-FFF2-40B4-BE49-F238E27FC236}">
                <a16:creationId xmlns:a16="http://schemas.microsoft.com/office/drawing/2014/main" id="{8B062FB7-CDC2-48C6-7853-8CBB7D20041A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10139363" y="3933825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E126C8-8036-4D86-970A-1344CD99058B}" type="datetime'内''''''''''''''''''''''''''''''''''''''''蒙古''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78" name="Text Placeholder 3">
            <a:extLst>
              <a:ext uri="{FF2B5EF4-FFF2-40B4-BE49-F238E27FC236}">
                <a16:creationId xmlns:a16="http://schemas.microsoft.com/office/drawing/2014/main" id="{67483B42-A7F4-F3D5-4B4D-D0194B6B59F1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9918700" y="31623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D52E0C-7E85-4158-869D-BBA1933D7A34}" type="datetime'''''''''''''广''''''''西'''''''''''">
              <a:rPr lang="zh-CN" altLang="en-US" sz="1000" smtClean="0">
                <a:effectLst/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7" name="Text Placeholder 3">
            <a:extLst>
              <a:ext uri="{FF2B5EF4-FFF2-40B4-BE49-F238E27FC236}">
                <a16:creationId xmlns:a16="http://schemas.microsoft.com/office/drawing/2014/main" id="{3AEF0010-BA0E-F44B-80D8-C956F1B39EEE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10355263" y="44577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0FCF14F-32BB-4093-B016-A17D848C928A}" type="datetime'''''''新''''''''''''''''''''''''''''''''''''''疆''''''''''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9" name="Text Placeholder 3">
            <a:extLst>
              <a:ext uri="{FF2B5EF4-FFF2-40B4-BE49-F238E27FC236}">
                <a16:creationId xmlns:a16="http://schemas.microsoft.com/office/drawing/2014/main" id="{3FA2EDA6-982B-16C6-3EB4-BE6B9D1F8A6D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10777538" y="23098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BDB158-8908-4DA3-A37E-C82BB1A54E49}" type="datetime'''''''''''''''江''''''''''''''''''''''''''''西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0" name="Text Placeholder 3">
            <a:extLst>
              <a:ext uri="{FF2B5EF4-FFF2-40B4-BE49-F238E27FC236}">
                <a16:creationId xmlns:a16="http://schemas.microsoft.com/office/drawing/2014/main" id="{C42A9833-D4C7-4792-9C77-346FAAA8A4F1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9226550" y="37226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381195-0CC3-432C-A48F-BDC2609808E1}" type="datetime'''''''''''''''''贵''''州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1" name="Text Placeholder 3">
            <a:extLst>
              <a:ext uri="{FF2B5EF4-FFF2-40B4-BE49-F238E27FC236}">
                <a16:creationId xmlns:a16="http://schemas.microsoft.com/office/drawing/2014/main" id="{584BE9EA-BD67-CA44-C137-2377382F7C3C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11353800" y="31273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7020179-FF1B-4219-AA4C-2FC43FBA9B7D}" type="datetime'''''宁夏''''''''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2" name="Text Placeholder 3">
            <a:extLst>
              <a:ext uri="{FF2B5EF4-FFF2-40B4-BE49-F238E27FC236}">
                <a16:creationId xmlns:a16="http://schemas.microsoft.com/office/drawing/2014/main" id="{9B38A324-2A23-79A5-31B4-01A55EC2712D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10493375" y="41703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6916C97-B804-4376-8636-9727B2DEE843}" type="datetime'''''''''''''海''''''''''''''''''''南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9" name="Text Placeholder 3">
            <a:extLst>
              <a:ext uri="{FF2B5EF4-FFF2-40B4-BE49-F238E27FC236}">
                <a16:creationId xmlns:a16="http://schemas.microsoft.com/office/drawing/2014/main" id="{BC8C681D-5AF6-D979-E52B-5182F2DF1D5C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9521825" y="39068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441586E-5E07-40A6-AEB1-5CADF04DA132}" type="datetime'''''甘肃''''''''''''''''''''''''''''''''''''''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69" name="矩形 868">
            <a:extLst>
              <a:ext uri="{FF2B5EF4-FFF2-40B4-BE49-F238E27FC236}">
                <a16:creationId xmlns:a16="http://schemas.microsoft.com/office/drawing/2014/main" id="{0B0546A7-C3C3-10E8-FE11-561AC542590F}"/>
              </a:ext>
            </a:extLst>
          </p:cNvPr>
          <p:cNvSpPr/>
          <p:nvPr/>
        </p:nvSpPr>
        <p:spPr>
          <a:xfrm>
            <a:off x="-3969" y="903288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立普妥分省份毛销售额增速（</a:t>
            </a:r>
            <a:r>
              <a:rPr lang="en-US" altLang="zh-CN" sz="1200" b="1" dirty="0">
                <a:solidFill>
                  <a:schemeClr val="bg1"/>
                </a:solidFill>
              </a:rPr>
              <a:t>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r>
              <a:rPr lang="en-US" altLang="zh-CN" sz="1200" b="1" dirty="0">
                <a:solidFill>
                  <a:schemeClr val="bg1"/>
                </a:solidFill>
              </a:rPr>
              <a:t>vs </a:t>
            </a:r>
            <a:r>
              <a:rPr lang="zh-CN" altLang="en-US" sz="1200" b="1" dirty="0">
                <a:solidFill>
                  <a:schemeClr val="bg1"/>
                </a:solidFill>
              </a:rPr>
              <a:t>份额变化（</a:t>
            </a:r>
            <a:r>
              <a:rPr lang="en-US" altLang="zh-CN" sz="1200" b="1" dirty="0">
                <a:solidFill>
                  <a:schemeClr val="bg1"/>
                </a:solidFill>
              </a:rPr>
              <a:t>2508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70" name="矩形 869">
            <a:extLst>
              <a:ext uri="{FF2B5EF4-FFF2-40B4-BE49-F238E27FC236}">
                <a16:creationId xmlns:a16="http://schemas.microsoft.com/office/drawing/2014/main" id="{2E5EB3C9-5DAB-0668-128C-D54AD70CBCAF}"/>
              </a:ext>
            </a:extLst>
          </p:cNvPr>
          <p:cNvSpPr/>
          <p:nvPr/>
        </p:nvSpPr>
        <p:spPr>
          <a:xfrm>
            <a:off x="21272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全渠道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871" name="直接连接符 870">
            <a:extLst>
              <a:ext uri="{FF2B5EF4-FFF2-40B4-BE49-F238E27FC236}">
                <a16:creationId xmlns:a16="http://schemas.microsoft.com/office/drawing/2014/main" id="{C72F0EA6-DA77-E64E-F22E-005D05858C7E}"/>
              </a:ext>
            </a:extLst>
          </p:cNvPr>
          <p:cNvCxnSpPr>
            <a:cxnSpLocks/>
          </p:cNvCxnSpPr>
          <p:nvPr/>
        </p:nvCxnSpPr>
        <p:spPr>
          <a:xfrm>
            <a:off x="16668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7" name="矩形 906">
            <a:extLst>
              <a:ext uri="{FF2B5EF4-FFF2-40B4-BE49-F238E27FC236}">
                <a16:creationId xmlns:a16="http://schemas.microsoft.com/office/drawing/2014/main" id="{AC704396-E815-DDD6-55DC-711DCDCE8B54}"/>
              </a:ext>
            </a:extLst>
          </p:cNvPr>
          <p:cNvSpPr/>
          <p:nvPr/>
        </p:nvSpPr>
        <p:spPr>
          <a:xfrm>
            <a:off x="416750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医院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08" name="直接连接符 907">
            <a:extLst>
              <a:ext uri="{FF2B5EF4-FFF2-40B4-BE49-F238E27FC236}">
                <a16:creationId xmlns:a16="http://schemas.microsoft.com/office/drawing/2014/main" id="{2B8ECB60-CDA4-5E5D-EE61-8CBB973402A8}"/>
              </a:ext>
            </a:extLst>
          </p:cNvPr>
          <p:cNvCxnSpPr>
            <a:cxnSpLocks/>
          </p:cNvCxnSpPr>
          <p:nvPr/>
        </p:nvCxnSpPr>
        <p:spPr>
          <a:xfrm>
            <a:off x="412146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9" name="矩形 908">
            <a:extLst>
              <a:ext uri="{FF2B5EF4-FFF2-40B4-BE49-F238E27FC236}">
                <a16:creationId xmlns:a16="http://schemas.microsoft.com/office/drawing/2014/main" id="{B60A2D6D-9CFF-3CD3-0099-45CC8870879E}"/>
              </a:ext>
            </a:extLst>
          </p:cNvPr>
          <p:cNvSpPr/>
          <p:nvPr/>
        </p:nvSpPr>
        <p:spPr>
          <a:xfrm>
            <a:off x="812228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零售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10" name="直接连接符 909">
            <a:extLst>
              <a:ext uri="{FF2B5EF4-FFF2-40B4-BE49-F238E27FC236}">
                <a16:creationId xmlns:a16="http://schemas.microsoft.com/office/drawing/2014/main" id="{7D02A684-A642-218E-B27E-C5B30F451829}"/>
              </a:ext>
            </a:extLst>
          </p:cNvPr>
          <p:cNvCxnSpPr>
            <a:cxnSpLocks/>
          </p:cNvCxnSpPr>
          <p:nvPr/>
        </p:nvCxnSpPr>
        <p:spPr>
          <a:xfrm>
            <a:off x="807624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9" name="矩形 918">
            <a:extLst>
              <a:ext uri="{FF2B5EF4-FFF2-40B4-BE49-F238E27FC236}">
                <a16:creationId xmlns:a16="http://schemas.microsoft.com/office/drawing/2014/main" id="{E3BC5448-8FD4-039A-21C3-8FF325639FBC}"/>
              </a:ext>
            </a:extLst>
          </p:cNvPr>
          <p:cNvSpPr/>
          <p:nvPr>
            <p:custDataLst>
              <p:tags r:id="rId134"/>
            </p:custDataLst>
          </p:nvPr>
        </p:nvSpPr>
        <p:spPr bwMode="auto">
          <a:xfrm>
            <a:off x="5991225" y="4845050"/>
            <a:ext cx="76200" cy="76200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rgbClr val="703E9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0" name="椭圆 919">
            <a:extLst>
              <a:ext uri="{FF2B5EF4-FFF2-40B4-BE49-F238E27FC236}">
                <a16:creationId xmlns:a16="http://schemas.microsoft.com/office/drawing/2014/main" id="{2E3762C4-6F9F-E31E-D877-8A4F3CD776A4}"/>
              </a:ext>
            </a:extLst>
          </p:cNvPr>
          <p:cNvSpPr/>
          <p:nvPr>
            <p:custDataLst>
              <p:tags r:id="rId135"/>
            </p:custDataLst>
          </p:nvPr>
        </p:nvSpPr>
        <p:spPr bwMode="auto">
          <a:xfrm>
            <a:off x="5991225" y="5097463"/>
            <a:ext cx="76200" cy="76200"/>
          </a:xfrm>
          <a:prstGeom prst="ellipse">
            <a:avLst/>
          </a:prstGeom>
          <a:solidFill>
            <a:srgbClr val="2A276E"/>
          </a:solidFill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1" name="菱形 920">
            <a:extLst>
              <a:ext uri="{FF2B5EF4-FFF2-40B4-BE49-F238E27FC236}">
                <a16:creationId xmlns:a16="http://schemas.microsoft.com/office/drawing/2014/main" id="{CE61A70D-58DF-D8A4-DAEF-707953F09724}"/>
              </a:ext>
            </a:extLst>
          </p:cNvPr>
          <p:cNvSpPr/>
          <p:nvPr>
            <p:custDataLst>
              <p:tags r:id="rId136"/>
            </p:custDataLst>
          </p:nvPr>
        </p:nvSpPr>
        <p:spPr bwMode="auto">
          <a:xfrm>
            <a:off x="5991225" y="5349875"/>
            <a:ext cx="76200" cy="76200"/>
          </a:xfrm>
          <a:prstGeom prst="diamond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2" name="等腰三角形 921">
            <a:extLst>
              <a:ext uri="{FF2B5EF4-FFF2-40B4-BE49-F238E27FC236}">
                <a16:creationId xmlns:a16="http://schemas.microsoft.com/office/drawing/2014/main" id="{B0FADF50-9423-4625-E871-0D8CCB105A84}"/>
              </a:ext>
            </a:extLst>
          </p:cNvPr>
          <p:cNvSpPr/>
          <p:nvPr>
            <p:custDataLst>
              <p:tags r:id="rId137"/>
            </p:custDataLst>
          </p:nvPr>
        </p:nvSpPr>
        <p:spPr bwMode="auto">
          <a:xfrm>
            <a:off x="5991225" y="5602288"/>
            <a:ext cx="76200" cy="76200"/>
          </a:xfrm>
          <a:prstGeom prst="triangle">
            <a:avLst/>
          </a:prstGeom>
          <a:solidFill>
            <a:srgbClr val="B78FCA"/>
          </a:solidFill>
          <a:ln w="9525" cap="rnd" cmpd="sng" algn="ctr">
            <a:solidFill>
              <a:srgbClr val="B78FC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4" name="Text Placeholder 3">
            <a:extLst>
              <a:ext uri="{FF2B5EF4-FFF2-40B4-BE49-F238E27FC236}">
                <a16:creationId xmlns:a16="http://schemas.microsoft.com/office/drawing/2014/main" id="{FA0A96ED-03F8-1105-06A6-1EDA369A2298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6188075" y="478472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C42803F-F858-481C-8DF1-E68C482E3605}" type="datetime'''''''''''''购''进''''和''''''''''''份额双''''''''''跌''''''''''''''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6" name="Text Placeholder 3">
            <a:extLst>
              <a:ext uri="{FF2B5EF4-FFF2-40B4-BE49-F238E27FC236}">
                <a16:creationId xmlns:a16="http://schemas.microsoft.com/office/drawing/2014/main" id="{A2CB9A7C-B796-8687-5013-D15FC36BEBD3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6188075" y="5037138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63D43C-6272-4539-9EF5-8749C227AAD2}" type="datetime'''''购''''进''和''''''份额''''''''''''''''''''''''''双''增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7" name="Text Placeholder 3">
            <a:extLst>
              <a:ext uri="{FF2B5EF4-FFF2-40B4-BE49-F238E27FC236}">
                <a16:creationId xmlns:a16="http://schemas.microsoft.com/office/drawing/2014/main" id="{D3F90DF9-91D5-9662-871B-660EE7063C5A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6188075" y="5289550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8B7C678-8C5D-470C-AA2A-90437D2417C9}" type="datetime'''''购进''''''''下''''''''''''''''''''跌，''''''份''''额''''增''长'">
              <a:rPr lang="zh-CN" altLang="en-US" smtClean="0">
                <a:latin typeface="+mn-lt"/>
                <a:cs typeface="+mn-cs"/>
              </a:rPr>
              <a:pPr/>
              <a:t>购进下跌，份额增长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8" name="Text Placeholder 3">
            <a:extLst>
              <a:ext uri="{FF2B5EF4-FFF2-40B4-BE49-F238E27FC236}">
                <a16:creationId xmlns:a16="http://schemas.microsoft.com/office/drawing/2014/main" id="{DFC8DFFB-091C-2F17-0174-53A86B1372A6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6188075" y="5541963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2F24DC-8EC7-4ED4-A4A8-730ADDDFE94E}" type="datetime'''''''''''''购''''''''进''增长''''，''''''''''''''''''''份额''''下跌''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626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FCC7B8-60CC-2095-8BD0-692C4DB0C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75A50572-C01B-DF99-0C84-C8EA58A678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67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6" imgW="473" imgH="476" progId="TCLayout.ActiveDocument.1">
                  <p:embed/>
                </p:oleObj>
              </mc:Choice>
              <mc:Fallback>
                <p:oleObj name="think-cell 幻灯片" r:id="rId156" imgW="473" imgH="47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50572-C01B-DF99-0C84-C8EA58A67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2" name="矩形 911">
            <a:extLst>
              <a:ext uri="{FF2B5EF4-FFF2-40B4-BE49-F238E27FC236}">
                <a16:creationId xmlns:a16="http://schemas.microsoft.com/office/drawing/2014/main" id="{44BDF5FF-2A6F-83EE-5B12-394369AD8E0D}"/>
              </a:ext>
            </a:extLst>
          </p:cNvPr>
          <p:cNvSpPr/>
          <p:nvPr/>
        </p:nvSpPr>
        <p:spPr>
          <a:xfrm>
            <a:off x="410845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3" name="矩形 912">
            <a:extLst>
              <a:ext uri="{FF2B5EF4-FFF2-40B4-BE49-F238E27FC236}">
                <a16:creationId xmlns:a16="http://schemas.microsoft.com/office/drawing/2014/main" id="{B2E9367F-E839-365A-8F57-B15AEA1D0EFC}"/>
              </a:ext>
            </a:extLst>
          </p:cNvPr>
          <p:cNvSpPr/>
          <p:nvPr/>
        </p:nvSpPr>
        <p:spPr>
          <a:xfrm>
            <a:off x="807466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1" name="矩形 910">
            <a:extLst>
              <a:ext uri="{FF2B5EF4-FFF2-40B4-BE49-F238E27FC236}">
                <a16:creationId xmlns:a16="http://schemas.microsoft.com/office/drawing/2014/main" id="{9EF67DB6-3AFC-292C-1B26-AEBE36CC5018}"/>
              </a:ext>
            </a:extLst>
          </p:cNvPr>
          <p:cNvSpPr/>
          <p:nvPr/>
        </p:nvSpPr>
        <p:spPr>
          <a:xfrm>
            <a:off x="16510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1580BF06-6E86-6DE1-FF86-CD5217331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云南、甘肃、贵州、山东络活喜渠道购进和市场份额双跌；另外，陕西、河北、吉林、福建、广西、宁夏在医院渠道，广东、浙江在零售渠道亦购进和份额双跌</a:t>
            </a:r>
            <a:endParaRPr lang="en-US" sz="2000" dirty="0"/>
          </a:p>
        </p:txBody>
      </p:sp>
      <p:cxnSp>
        <p:nvCxnSpPr>
          <p:cNvPr id="305" name="直接连接符 304">
            <a:extLst>
              <a:ext uri="{FF2B5EF4-FFF2-40B4-BE49-F238E27FC236}">
                <a16:creationId xmlns:a16="http://schemas.microsoft.com/office/drawing/2014/main" id="{F169ADF9-0F35-F585-DA4B-2A06EB47909C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303463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直接连接符 307">
            <a:extLst>
              <a:ext uri="{FF2B5EF4-FFF2-40B4-BE49-F238E27FC236}">
                <a16:creationId xmlns:a16="http://schemas.microsoft.com/office/drawing/2014/main" id="{071109EA-0737-93DA-8C60-812FF87CC16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965575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2" name="直接连接符 531">
            <a:extLst>
              <a:ext uri="{FF2B5EF4-FFF2-40B4-BE49-F238E27FC236}">
                <a16:creationId xmlns:a16="http://schemas.microsoft.com/office/drawing/2014/main" id="{24E2E3FD-2BD6-D8EF-4CAA-6116B5DA406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39763" y="2020888"/>
            <a:ext cx="332581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4" name="直接连接符 293">
            <a:extLst>
              <a:ext uri="{FF2B5EF4-FFF2-40B4-BE49-F238E27FC236}">
                <a16:creationId xmlns:a16="http://schemas.microsoft.com/office/drawing/2014/main" id="{53B74368-FE02-1779-32AA-ABA062E5B62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39763" y="3101975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2" name="直接连接符 541">
            <a:extLst>
              <a:ext uri="{FF2B5EF4-FFF2-40B4-BE49-F238E27FC236}">
                <a16:creationId xmlns:a16="http://schemas.microsoft.com/office/drawing/2014/main" id="{96D97C8E-B812-9BE3-AD4E-0C3ACC1EB87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965575" y="2020888"/>
            <a:ext cx="0" cy="566737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直接连接符 542">
            <a:extLst>
              <a:ext uri="{FF2B5EF4-FFF2-40B4-BE49-F238E27FC236}">
                <a16:creationId xmlns:a16="http://schemas.microsoft.com/office/drawing/2014/main" id="{310DED1D-8580-A686-3508-71398A69524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965575" y="2755900"/>
            <a:ext cx="0" cy="304800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接连接符 540">
            <a:extLst>
              <a:ext uri="{FF2B5EF4-FFF2-40B4-BE49-F238E27FC236}">
                <a16:creationId xmlns:a16="http://schemas.microsoft.com/office/drawing/2014/main" id="{624A6EB8-EE62-9B60-20EF-C6F0EA36B44D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39763" y="2020888"/>
            <a:ext cx="3325812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93AA22AF-4F5A-2B79-3FEB-17EFAF516099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64575691"/>
              </p:ext>
            </p:extLst>
          </p:nvPr>
        </p:nvGraphicFramePr>
        <p:xfrm>
          <a:off x="77788" y="1865313"/>
          <a:ext cx="4175125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8"/>
          </a:graphicData>
        </a:graphic>
      </p:graphicFrame>
      <p:cxnSp>
        <p:nvCxnSpPr>
          <p:cNvPr id="948" name="直接连接符 947">
            <a:extLst>
              <a:ext uri="{FF2B5EF4-FFF2-40B4-BE49-F238E27FC236}">
                <a16:creationId xmlns:a16="http://schemas.microsoft.com/office/drawing/2014/main" id="{8872F3BE-59BA-E242-5FC2-D4EB4F24D37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 flipV="1">
            <a:off x="3194050" y="3355976"/>
            <a:ext cx="46038" cy="873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1" name="直接连接符 950">
            <a:extLst>
              <a:ext uri="{FF2B5EF4-FFF2-40B4-BE49-F238E27FC236}">
                <a16:creationId xmlns:a16="http://schemas.microsoft.com/office/drawing/2014/main" id="{7CD3D7FA-3FD0-E8CA-835E-31E4EFF6571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863850" y="2511425"/>
            <a:ext cx="22225" cy="4397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0" name="直接连接符 539">
            <a:extLst>
              <a:ext uri="{FF2B5EF4-FFF2-40B4-BE49-F238E27FC236}">
                <a16:creationId xmlns:a16="http://schemas.microsoft.com/office/drawing/2014/main" id="{773750BD-6D8C-5AA3-0CCD-B14EE533F06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3403600" y="2994025"/>
            <a:ext cx="87313" cy="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直接连接符 347">
            <a:extLst>
              <a:ext uri="{FF2B5EF4-FFF2-40B4-BE49-F238E27FC236}">
                <a16:creationId xmlns:a16="http://schemas.microsoft.com/office/drawing/2014/main" id="{634C6E17-4FBC-4047-B9D5-DB0FD9DD9B19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2700339" y="2827339"/>
            <a:ext cx="11113" cy="1238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直接连接符 355">
            <a:extLst>
              <a:ext uri="{FF2B5EF4-FFF2-40B4-BE49-F238E27FC236}">
                <a16:creationId xmlns:a16="http://schemas.microsoft.com/office/drawing/2014/main" id="{E4AA5756-9CC4-E9C9-C2C8-50D08417D824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V="1">
            <a:off x="1879600" y="3217863"/>
            <a:ext cx="320675" cy="635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08B0A26A-EB74-1200-D2BA-CCAED3C1C56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2498725" y="3452813"/>
            <a:ext cx="53975" cy="444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直接连接符 516">
            <a:extLst>
              <a:ext uri="{FF2B5EF4-FFF2-40B4-BE49-F238E27FC236}">
                <a16:creationId xmlns:a16="http://schemas.microsoft.com/office/drawing/2014/main" id="{608291F3-2189-F9BB-AA9C-3DC2988626E0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>
            <a:off x="2654300" y="2501900"/>
            <a:ext cx="28575" cy="285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4" name="直接连接符 953">
            <a:extLst>
              <a:ext uri="{FF2B5EF4-FFF2-40B4-BE49-F238E27FC236}">
                <a16:creationId xmlns:a16="http://schemas.microsoft.com/office/drawing/2014/main" id="{0D46ECA6-A831-0DC0-A74C-8AAEF5673CC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2241551" y="3125789"/>
            <a:ext cx="214313" cy="1428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直接连接符 534">
            <a:extLst>
              <a:ext uri="{FF2B5EF4-FFF2-40B4-BE49-F238E27FC236}">
                <a16:creationId xmlns:a16="http://schemas.microsoft.com/office/drawing/2014/main" id="{0A140B74-D136-3883-129D-D4FD343DCF3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2238375" y="2944813"/>
            <a:ext cx="96838" cy="349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8" name="直接连接符 537">
            <a:extLst>
              <a:ext uri="{FF2B5EF4-FFF2-40B4-BE49-F238E27FC236}">
                <a16:creationId xmlns:a16="http://schemas.microsoft.com/office/drawing/2014/main" id="{DF38BC52-23CD-FEA2-1BA9-DB163C92037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3375025" y="2611438"/>
            <a:ext cx="28575" cy="285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直接连接符 535">
            <a:extLst>
              <a:ext uri="{FF2B5EF4-FFF2-40B4-BE49-F238E27FC236}">
                <a16:creationId xmlns:a16="http://schemas.microsoft.com/office/drawing/2014/main" id="{F405C02F-E7BB-1117-5FBA-5E38581F3CC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3082925" y="2919413"/>
            <a:ext cx="119063" cy="55562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9" name="直接连接符 538">
            <a:extLst>
              <a:ext uri="{FF2B5EF4-FFF2-40B4-BE49-F238E27FC236}">
                <a16:creationId xmlns:a16="http://schemas.microsoft.com/office/drawing/2014/main" id="{2221086D-786E-BB33-8778-901A3A557C5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V="1">
            <a:off x="2251075" y="3444875"/>
            <a:ext cx="30163" cy="127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直接连接符 517">
            <a:extLst>
              <a:ext uri="{FF2B5EF4-FFF2-40B4-BE49-F238E27FC236}">
                <a16:creationId xmlns:a16="http://schemas.microsoft.com/office/drawing/2014/main" id="{31C849CE-DA9E-C6B5-38CD-DC5B25FE846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 flipH="1">
            <a:off x="2997201" y="2609850"/>
            <a:ext cx="55563" cy="365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直接连接符 529">
            <a:extLst>
              <a:ext uri="{FF2B5EF4-FFF2-40B4-BE49-F238E27FC236}">
                <a16:creationId xmlns:a16="http://schemas.microsoft.com/office/drawing/2014/main" id="{259B52D2-C757-FC08-DAF4-B5560C74D49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2481263" y="2686050"/>
            <a:ext cx="98425" cy="1635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2" name="直接连接符 951">
            <a:extLst>
              <a:ext uri="{FF2B5EF4-FFF2-40B4-BE49-F238E27FC236}">
                <a16:creationId xmlns:a16="http://schemas.microsoft.com/office/drawing/2014/main" id="{9D7C4841-F4B8-FB51-1090-79E3C9B760C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 flipV="1">
            <a:off x="3068638" y="3224213"/>
            <a:ext cx="163513" cy="587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接连接符 525">
            <a:extLst>
              <a:ext uri="{FF2B5EF4-FFF2-40B4-BE49-F238E27FC236}">
                <a16:creationId xmlns:a16="http://schemas.microsoft.com/office/drawing/2014/main" id="{D80ACC1C-DC70-5DCE-A9B5-231C07B652D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2890838" y="2935289"/>
            <a:ext cx="77788" cy="1301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5" name="直接连接符 944">
            <a:extLst>
              <a:ext uri="{FF2B5EF4-FFF2-40B4-BE49-F238E27FC236}">
                <a16:creationId xmlns:a16="http://schemas.microsoft.com/office/drawing/2014/main" id="{DD00F1B9-5BD9-3339-EABB-040A8FE07057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2528888" y="2928938"/>
            <a:ext cx="84138" cy="444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1235E3F4-18B1-A351-4BD6-E4543CC09671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 flipV="1">
            <a:off x="2967038" y="3144838"/>
            <a:ext cx="20638" cy="2222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29AA321F-CD13-316C-2E20-89BEC4CF431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2035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58756B9-1595-48BF-BDB2-C326387CC808}" type="datetime'''''''''毛''销''''''''售''''额''''增''''长''''''率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86" name="Text Placeholder 3">
            <a:extLst>
              <a:ext uri="{FF2B5EF4-FFF2-40B4-BE49-F238E27FC236}">
                <a16:creationId xmlns:a16="http://schemas.microsoft.com/office/drawing/2014/main" id="{820C0B50-2AF1-FE5D-29EE-EDFA4150AA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857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0378A2-1BB9-4A9D-B976-13A76FDF0E08}" type="datetime'''''''''''''''''''''''''份''''''''额''''''变''''''''''''''化''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7" name="Text Placeholder 3">
            <a:extLst>
              <a:ext uri="{FF2B5EF4-FFF2-40B4-BE49-F238E27FC236}">
                <a16:creationId xmlns:a16="http://schemas.microsoft.com/office/drawing/2014/main" id="{600FC47B-227C-0C50-12E1-93BEEE73CDA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6513" y="26590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A28A7D5-D5BD-4839-BBF0-BA031A9F5423}" type="datetime'''''''''''''''''''''''''''''''''浙''''''''江''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18" name="Text Placeholder 3">
            <a:extLst>
              <a:ext uri="{FF2B5EF4-FFF2-40B4-BE49-F238E27FC236}">
                <a16:creationId xmlns:a16="http://schemas.microsoft.com/office/drawing/2014/main" id="{56CFD53E-CCBB-8B69-84EC-8116202608C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955800" y="29781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7336302-F21B-493C-86EC-175B06455922}" type="datetime'''''''''北''''''''''''''''''''''''''''''''京'">
              <a:rPr lang="zh-CN" altLang="en-US" sz="1000" smtClean="0">
                <a:effectLst/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3BF05AD7-6B67-1120-A4B7-55F2129EC39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25700" y="2333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E34E151-95A4-4724-81AB-F6A80A67E29C}" type="datetime'''''''辽宁''''''''''''''''''''''''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2AFE803-7C52-329C-7406-8C0EEEDA840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949450" y="28098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E2FEEA8-8DDA-41B0-8DF9-B3216D6D0195}" type="datetime'''''广东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1" name="Text Placeholder 3">
            <a:extLst>
              <a:ext uri="{FF2B5EF4-FFF2-40B4-BE49-F238E27FC236}">
                <a16:creationId xmlns:a16="http://schemas.microsoft.com/office/drawing/2014/main" id="{81190318-998F-9723-2B90-70E6A5A91CA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201988" y="27670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5AE654-D6C6-4283-85C8-E01DC1DD90E3}" type="datetime'''''''''''''江''苏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B3535FB5-510F-0B50-EADA-702579DA142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035300" y="24415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CBBBE4D-0CCE-436F-B25B-62309E22704B}" type="datetime'''''''''''''上''''''''''''''''''海''''''''''''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2E586D2E-9600-BCD2-CB4C-186B4FFAC17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670300" y="2587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089E14-99E5-4594-9F58-9184B281903A}" type="datetime'''''''''''''''''''''湖''''''''''''北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5" name="Text Placeholder 3">
            <a:extLst>
              <a:ext uri="{FF2B5EF4-FFF2-40B4-BE49-F238E27FC236}">
                <a16:creationId xmlns:a16="http://schemas.microsoft.com/office/drawing/2014/main" id="{0D0868CB-1951-F76C-3493-6E9BCBD6634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852738" y="33670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F5D3030-5AD6-44B6-B45D-84AE728F481C}" type="datetime'''''''''''山西''''''''''''''''''''''''''''''''''''''''''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2D8EFE54-2750-C12F-2BC8-52DBE81F313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746375" y="23431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828749-5BE4-471D-961C-EB1F11D2833A}" type="datetime'''''''''''''''''''''''''''''''''安''''''徽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33D433CB-E785-0468-35D0-4097D5C22D4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962150" y="34417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19F298-936E-4B2B-A425-3B95332F54AE}" type="datetime'''''福''''''''建''''''''''''''''''''''''''''''''''''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E13213BF-B766-5AFD-A093-A7AF6319508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971675" y="32686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CB39F84-56CE-4181-BB8D-2EFABAB19E65}" type="datetime'''''''''四''''''''''''''''''''川''''''''''''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3" name="Text Placeholder 3">
            <a:extLst>
              <a:ext uri="{FF2B5EF4-FFF2-40B4-BE49-F238E27FC236}">
                <a16:creationId xmlns:a16="http://schemas.microsoft.com/office/drawing/2014/main" id="{9E0AB1A5-1B72-D7F9-5377-3F629561B18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236913" y="37734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22229D3-3E6B-4FD6-9C41-057AD20FBCA1}" type="datetime'''''''''''''''''''''''''''黑''''龙''''''''''''''''''''''江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867C521D-A7DC-2501-ADB5-7ACA23CCBF9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287588" y="25177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BA2D518-A7A8-4CE3-AD95-C64AB5A2E30B}" type="datetime'''''''''''天''''''''津''''''''''''''''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29" name="Text Placeholder 3">
            <a:extLst>
              <a:ext uri="{FF2B5EF4-FFF2-40B4-BE49-F238E27FC236}">
                <a16:creationId xmlns:a16="http://schemas.microsoft.com/office/drawing/2014/main" id="{109E288C-F26C-A46C-1D32-CCB20F2C80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251075" y="34972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DBAC3A-0C3D-44D8-8B44-CA2C4FEB5E7C}" type="datetime'''''新''疆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9288A764-491A-0F96-30AA-8DA60DB54FD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232150" y="32496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67C2F1B-971A-4F1A-A8EC-56865B7DB624}" type="datetime'''''''''''''''''''''''''''''''''''''''''''''''''''河''''''南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0E8AB1AC-B3E6-28BC-90D3-277BC2EE47D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540000" y="34845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BCAF6B-970B-4B9E-B9B6-7AB8CDCEECB8}" type="datetime'''吉''''''''林''''''''''''''''''''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7" name="Text Placeholder 3">
            <a:extLst>
              <a:ext uri="{FF2B5EF4-FFF2-40B4-BE49-F238E27FC236}">
                <a16:creationId xmlns:a16="http://schemas.microsoft.com/office/drawing/2014/main" id="{6339EBA0-A83C-2821-D5C3-2A8CF4C3678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248025" y="30797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CB2AC6-CDD8-4599-A310-38CDAFB444E7}" type="datetime'湖''''''''南''''''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8" name="Text Placeholder 3">
            <a:extLst>
              <a:ext uri="{FF2B5EF4-FFF2-40B4-BE49-F238E27FC236}">
                <a16:creationId xmlns:a16="http://schemas.microsoft.com/office/drawing/2014/main" id="{0630EAF5-492D-FEE3-7460-F09609936BC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239963" y="276701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46E1184-1135-4EDA-A7BB-554F92907B68}" type="datetime'''''''''''''''''''重''庆'''''''''''">
              <a:rPr lang="zh-CN" altLang="en-US" sz="1000" smtClean="0">
                <a:effectLst/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489F2C24-4C81-53D6-05CB-AAAE50F99F1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343275" y="24431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1F4560F-BFC1-44D4-BE39-1031B9C41D2F}" type="datetime'''''''''''''江''''''''''''西''''''''''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DF33A8C0-FDB3-D400-1E7A-194DEA1A51C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58863" y="53959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4154FF0-7C56-42F0-A29D-75D6C248F353}" type="datetime'''''''''''''''''''''''''''''''''''''云南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3B4354CE-4605-19C2-2E45-75A212AA0BE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490913" y="29098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CD2B2B1-B055-4A4A-A3E9-654468B169E8}" type="datetime'''内蒙''''''''''''''''''''古''''''''''''''''''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B5B4A66D-E4EA-5B6B-E578-AD9833DB102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874963" y="27670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76B04BF-460C-41A5-9890-EE70C11325B8}" type="datetime'''''陕''''''''''''''''''''西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D9422C09-BF60-36F4-208E-5EC0493256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655763" y="27670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010F05-03EA-453D-B0EE-2CF106190283}" type="datetime'''''''''''''''''''''''''''广''''''''''''''''''西'''''''''''">
              <a:rPr lang="zh-CN" altLang="en-US" sz="1000" smtClean="0"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3DF15A64-3CBF-74E3-667C-7A80201B0B7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033588" y="40989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2FE6202-9B78-43A8-BEE3-FAFD673C21F4}" type="datetime'''''''''''''''''''''''''''''''''''甘''''''肃'''''''''''''''''''">
              <a:rPr lang="zh-CN" altLang="en-US" sz="1000" smtClean="0">
                <a:effectLst/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43" name="Text Placeholder 3">
            <a:extLst>
              <a:ext uri="{FF2B5EF4-FFF2-40B4-BE49-F238E27FC236}">
                <a16:creationId xmlns:a16="http://schemas.microsoft.com/office/drawing/2014/main" id="{A6753685-9B17-6939-3D7D-8EB09DBAE19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589088" y="30527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0FF035-EAC7-4D0F-9FFA-5AE77AB61585}" type="datetime'''''''贵''''''州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4" name="Text Placeholder 3">
            <a:extLst>
              <a:ext uri="{FF2B5EF4-FFF2-40B4-BE49-F238E27FC236}">
                <a16:creationId xmlns:a16="http://schemas.microsoft.com/office/drawing/2014/main" id="{609CC8B9-7584-460E-6EEB-B35C10C2B1A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579688" y="31607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9A17CE0-B8C6-406A-81F6-D68E7BB40D82}" type="datetime'''宁''''''''''''''''''''''''''''''夏''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6AB948C8-1AF8-8225-FFB4-44638493936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141663" y="34432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A8B8266-9E14-4FCB-B4E1-0D6773193F40}" type="datetime'''海''''南''''''''''''''''''''''''''''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C3E00DD6-C6BB-BEB1-E2FD-0EE9D72860C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590675" y="3225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5F95AF4-B68D-4972-AA5A-7D28C4BFCFFF}" type="datetime'''山''''''''''''''''''''''''''''''东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5" name="Text Placeholder 3">
            <a:extLst>
              <a:ext uri="{FF2B5EF4-FFF2-40B4-BE49-F238E27FC236}">
                <a16:creationId xmlns:a16="http://schemas.microsoft.com/office/drawing/2014/main" id="{C595A024-6A88-C592-EC5F-C0D6087BC0D9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2463800" y="301783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84AED97-B8D0-4F9F-95C7-D0CC69527135}" type="datetime'''''''''''''''''河''''''''''北'''''''''''''''">
              <a:rPr lang="zh-CN" altLang="en-US" sz="1000" smtClean="0">
                <a:effectLst/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693" name="直接连接符 692">
            <a:extLst>
              <a:ext uri="{FF2B5EF4-FFF2-40B4-BE49-F238E27FC236}">
                <a16:creationId xmlns:a16="http://schemas.microsoft.com/office/drawing/2014/main" id="{C788FECD-209D-B218-D88F-2F5DDA88EDF1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5789613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9" name="直接连接符 818">
            <a:extLst>
              <a:ext uri="{FF2B5EF4-FFF2-40B4-BE49-F238E27FC236}">
                <a16:creationId xmlns:a16="http://schemas.microsoft.com/office/drawing/2014/main" id="{15CD9D7A-42E3-AD67-5914-5CF0B47C1FB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7869238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直接连接符 145">
            <a:extLst>
              <a:ext uri="{FF2B5EF4-FFF2-40B4-BE49-F238E27FC236}">
                <a16:creationId xmlns:a16="http://schemas.microsoft.com/office/drawing/2014/main" id="{A09940E3-8004-7E66-4326-658F505CE94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4543425" y="20208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D9B832C9-6F30-FE57-61F6-5C9D48EBA7F9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4543425" y="39131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DF9AF1A2-8D8D-972A-9B5B-44677F9AA14C}"/>
              </a:ext>
            </a:extLst>
          </p:cNvPr>
          <p:cNvGraphicFramePr/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586920215"/>
              </p:ext>
            </p:extLst>
          </p:nvPr>
        </p:nvGraphicFramePr>
        <p:xfrm>
          <a:off x="3981450" y="1865313"/>
          <a:ext cx="4175125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9"/>
          </a:graphicData>
        </a:graphic>
      </p:graphicFrame>
      <p:cxnSp>
        <p:nvCxnSpPr>
          <p:cNvPr id="822" name="直接连接符 821">
            <a:extLst>
              <a:ext uri="{FF2B5EF4-FFF2-40B4-BE49-F238E27FC236}">
                <a16:creationId xmlns:a16="http://schemas.microsoft.com/office/drawing/2014/main" id="{4CF71773-3B34-06B7-1F6E-860ADB52DD0C}"/>
              </a:ext>
            </a:extLst>
          </p:cNvPr>
          <p:cNvCxnSpPr>
            <a:cxnSpLocks/>
          </p:cNvCxnSpPr>
          <p:nvPr>
            <p:custDataLst>
              <p:tags r:id="rId64"/>
            </p:custDataLst>
          </p:nvPr>
        </p:nvCxnSpPr>
        <p:spPr bwMode="gray">
          <a:xfrm>
            <a:off x="6286500" y="3475038"/>
            <a:ext cx="20638" cy="254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910AD2D5-C9C1-0E3A-E687-0F9498A14E55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gray">
          <a:xfrm>
            <a:off x="5915025" y="3648075"/>
            <a:ext cx="44450" cy="444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BF67EDC1-ABB4-DBD6-34FD-EA781839A64E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 flipV="1">
            <a:off x="6688138" y="3954463"/>
            <a:ext cx="46038" cy="1857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8" name="Text Placeholder 3">
            <a:extLst>
              <a:ext uri="{FF2B5EF4-FFF2-40B4-BE49-F238E27FC236}">
                <a16:creationId xmlns:a16="http://schemas.microsoft.com/office/drawing/2014/main" id="{F331DDD4-DFB0-81AF-C08F-78C840CF8EE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294438" y="35925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AE1409E-2FC4-4748-801D-9D401543FD1E}" type="datetime'''浙''''''''''''''''''''江''''''''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9" name="Text Placeholder 3">
            <a:extLst>
              <a:ext uri="{FF2B5EF4-FFF2-40B4-BE49-F238E27FC236}">
                <a16:creationId xmlns:a16="http://schemas.microsoft.com/office/drawing/2014/main" id="{4CDBEDC5-BE2C-D1D9-B980-7A6DA527560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632450" y="416083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26168F5-453B-4D76-B824-31191B4E9DE6}" type="datetime'''''''''''''''''北''''''''''''''''''京'''''''''''''''''">
              <a:rPr lang="zh-CN" altLang="en-US" sz="1000" smtClean="0">
                <a:effectLst/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0" name="Text Placeholder 3">
            <a:extLst>
              <a:ext uri="{FF2B5EF4-FFF2-40B4-BE49-F238E27FC236}">
                <a16:creationId xmlns:a16="http://schemas.microsoft.com/office/drawing/2014/main" id="{CAED1C8E-88D6-B2D2-D5AB-0CFA428F95E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721475" y="23145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2E04E05-57BF-4D9F-AB13-761363F4A016}" type="datetime'''''''''''''''''''''''''''''''辽''''''''''宁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1" name="Text Placeholder 3">
            <a:extLst>
              <a:ext uri="{FF2B5EF4-FFF2-40B4-BE49-F238E27FC236}">
                <a16:creationId xmlns:a16="http://schemas.microsoft.com/office/drawing/2014/main" id="{CD0BDFEF-BCE0-6C21-5B2D-C03667E0119A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6592888" y="31178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8AF576B-CFB5-4CB2-B620-19A0EA16A2CB}" type="datetime'''''''''''''''''''''广''''''''''''''''''''''''东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2" name="Text Placeholder 3">
            <a:extLst>
              <a:ext uri="{FF2B5EF4-FFF2-40B4-BE49-F238E27FC236}">
                <a16:creationId xmlns:a16="http://schemas.microsoft.com/office/drawing/2014/main" id="{70D067B3-A3EC-AD93-1E74-9D93481265A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6315075" y="3971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DE8B182-857F-4534-9BA0-0BE680C91EB3}" type="datetime'''''''江''''''''''''''''''''''''''''''''苏''''''''''''''''''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3" name="Text Placeholder 3">
            <a:extLst>
              <a:ext uri="{FF2B5EF4-FFF2-40B4-BE49-F238E27FC236}">
                <a16:creationId xmlns:a16="http://schemas.microsoft.com/office/drawing/2014/main" id="{444DC3A8-5EB8-DEC0-9152-0013D243F6CB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6072188" y="33067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7822E36-CFF6-4C34-9070-73AF37DC24B5}" type="datetime'''''''''''''''上''''海''''''''''''''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4" name="Text Placeholder 3">
            <a:extLst>
              <a:ext uri="{FF2B5EF4-FFF2-40B4-BE49-F238E27FC236}">
                <a16:creationId xmlns:a16="http://schemas.microsoft.com/office/drawing/2014/main" id="{E2ECE2FD-8F32-2C4A-BB6D-9CC3F1B8D9F4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6418263" y="26939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97CF5A-D28D-4A3C-A8CE-7E44D0D3C02F}" type="datetime'''''''''''''湖''北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5" name="Text Placeholder 3">
            <a:extLst>
              <a:ext uri="{FF2B5EF4-FFF2-40B4-BE49-F238E27FC236}">
                <a16:creationId xmlns:a16="http://schemas.microsoft.com/office/drawing/2014/main" id="{CDD042DF-11D8-8BBF-DBB7-667D8A2C9ECC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4721225" y="42068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48CEC7F-F51F-4BAA-953E-C5B382A42F17}" type="datetime'陕''''''''''''''''西''''''''''''''''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6" name="Text Placeholder 3">
            <a:extLst>
              <a:ext uri="{FF2B5EF4-FFF2-40B4-BE49-F238E27FC236}">
                <a16:creationId xmlns:a16="http://schemas.microsoft.com/office/drawing/2014/main" id="{A00DADCF-F413-057C-D12E-EB499D24578E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5902325" y="39544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6C404C2-BB47-4B80-A4BB-20AF153DEFEA}" type="datetime'''山''''''''''''''''''''''''''''''西''''''''''''''''''''''''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8" name="Text Placeholder 3">
            <a:extLst>
              <a:ext uri="{FF2B5EF4-FFF2-40B4-BE49-F238E27FC236}">
                <a16:creationId xmlns:a16="http://schemas.microsoft.com/office/drawing/2014/main" id="{F182A9A8-F4C8-007E-62A8-2A0C91DFB9E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6605588" y="34496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BE7161-C7AA-4E4F-B83B-E08674712F5F}" type="datetime'安''''''''''''''''''徽''''''''''''''''''''''''''''''''''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9" name="Text Placeholder 3">
            <a:extLst>
              <a:ext uri="{FF2B5EF4-FFF2-40B4-BE49-F238E27FC236}">
                <a16:creationId xmlns:a16="http://schemas.microsoft.com/office/drawing/2014/main" id="{991A9663-4AF8-505E-6F3F-A04749B6A89F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6040438" y="42068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F8710FD-3371-4245-A0F3-B83422AB51F7}" type="datetime'''''''''''''''''河''''''''''''''''''''''''''南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40" name="Text Placeholder 3">
            <a:extLst>
              <a:ext uri="{FF2B5EF4-FFF2-40B4-BE49-F238E27FC236}">
                <a16:creationId xmlns:a16="http://schemas.microsoft.com/office/drawing/2014/main" id="{1C55878F-46CE-516D-D796-19986EB4F8D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5462588" y="38290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85AF2E7-D883-49B3-BD76-4D0608DF0AE2}" type="datetime'''''''''''''山''''''''''''''''''东'''''''''''''''">
              <a:rPr lang="zh-CN" altLang="en-US" sz="1000" smtClean="0">
                <a:effectLst/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2" name="Text Placeholder 3">
            <a:extLst>
              <a:ext uri="{FF2B5EF4-FFF2-40B4-BE49-F238E27FC236}">
                <a16:creationId xmlns:a16="http://schemas.microsoft.com/office/drawing/2014/main" id="{731658A0-4CE3-4B0B-DB19-11333373D698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978525" y="34956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60B8C8-9270-4140-B33F-9B76D469B223}" type="datetime'''''''四''''''川''''''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3" name="Text Placeholder 3">
            <a:extLst>
              <a:ext uri="{FF2B5EF4-FFF2-40B4-BE49-F238E27FC236}">
                <a16:creationId xmlns:a16="http://schemas.microsoft.com/office/drawing/2014/main" id="{CCFD32B0-7F1E-0CF1-4175-B48C117BDAAD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6281738" y="31178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0DD38E-27F4-4C21-B27F-88D85EA90000}" type="datetime'''''''江''''''''''''''''''''''''''''''''''''''''''''西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3" name="Text Placeholder 3">
            <a:extLst>
              <a:ext uri="{FF2B5EF4-FFF2-40B4-BE49-F238E27FC236}">
                <a16:creationId xmlns:a16="http://schemas.microsoft.com/office/drawing/2014/main" id="{C1CC29E3-A4E4-2455-6650-A794D218B744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5691188" y="43957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CA750B7-6E70-47E5-A361-65E20877BA18}" type="datetime'''''''''''''''''''''''''''''''福''''''''''''建'''''''''''">
              <a:rPr lang="zh-CN" altLang="en-US" sz="1000" smtClean="0">
                <a:effectLst/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4" name="Text Placeholder 3">
            <a:extLst>
              <a:ext uri="{FF2B5EF4-FFF2-40B4-BE49-F238E27FC236}">
                <a16:creationId xmlns:a16="http://schemas.microsoft.com/office/drawing/2014/main" id="{F2911595-D826-D5CD-DE62-EEB22B0C30D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6862763" y="4962525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DC6EF9-482F-4F7A-B766-6BBEBDB4818E}" type="datetime'黑''龙''''''''''''''''''''''''''''江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5" name="Text Placeholder 3">
            <a:extLst>
              <a:ext uri="{FF2B5EF4-FFF2-40B4-BE49-F238E27FC236}">
                <a16:creationId xmlns:a16="http://schemas.microsoft.com/office/drawing/2014/main" id="{2E6526C8-5335-AEA5-8DCB-85BE560BD72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521325" y="36480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B02275-B3F4-4911-9743-DFFA98F18B97}" type="datetime'''''''''''''天''''''''''''''''''''津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6" name="Text Placeholder 3">
            <a:extLst>
              <a:ext uri="{FF2B5EF4-FFF2-40B4-BE49-F238E27FC236}">
                <a16:creationId xmlns:a16="http://schemas.microsoft.com/office/drawing/2014/main" id="{A232E357-C91A-97BF-6D96-52DECF5E59D0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4908550" y="40179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964D69-B100-4EFA-821F-F937E2BA53CB}" type="datetime'''''''''''''''''河''''''''''''''''''''北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7" name="Text Placeholder 3">
            <a:extLst>
              <a:ext uri="{FF2B5EF4-FFF2-40B4-BE49-F238E27FC236}">
                <a16:creationId xmlns:a16="http://schemas.microsoft.com/office/drawing/2014/main" id="{2010722F-8B5B-48FC-8062-C95C80DDBA40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735638" y="534193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5025C7B-C39F-4458-BB41-E316B3F4C281}" type="datetime'''''''''''''''''''''''''''''''''吉''''''林'''''''''''''''">
              <a:rPr lang="zh-CN" altLang="en-US" sz="1000" smtClean="0">
                <a:effectLst/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7" name="Text Placeholder 3">
            <a:extLst>
              <a:ext uri="{FF2B5EF4-FFF2-40B4-BE49-F238E27FC236}">
                <a16:creationId xmlns:a16="http://schemas.microsoft.com/office/drawing/2014/main" id="{80F53945-1E20-1535-48DC-4101400DA52F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6732588" y="3971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D6EEEB1-E93B-4142-8B9C-60C099BF4925}" type="datetime'湖''''''''''''''南''''''''''''''''''''''''''''''''''''''''''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9" name="Text Placeholder 3">
            <a:extLst>
              <a:ext uri="{FF2B5EF4-FFF2-40B4-BE49-F238E27FC236}">
                <a16:creationId xmlns:a16="http://schemas.microsoft.com/office/drawing/2014/main" id="{5D9464C7-E092-4525-D6A7-855BD84D57D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686425" y="34798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79F6F64-103B-471E-B441-15B40820BF83}" type="datetime'''''''''''''''重''''''''''''庆'">
              <a:rPr lang="zh-CN" altLang="en-US" sz="1000" smtClean="0">
                <a:effectLst/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7" name="Text Placeholder 3">
            <a:extLst>
              <a:ext uri="{FF2B5EF4-FFF2-40B4-BE49-F238E27FC236}">
                <a16:creationId xmlns:a16="http://schemas.microsoft.com/office/drawing/2014/main" id="{AAAC5D82-A9CC-5F41-3446-8497FB819BF9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7107238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FF3BE81-79C7-4140-A21E-4E133C050D8C}" type="datetime'''''''''''毛''''销''''售''''额''''''增''''''''''''长率''''''''''''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0" name="Text Placeholder 3">
            <a:extLst>
              <a:ext uri="{FF2B5EF4-FFF2-40B4-BE49-F238E27FC236}">
                <a16:creationId xmlns:a16="http://schemas.microsoft.com/office/drawing/2014/main" id="{2FBC5E1E-BA20-9AC6-33E0-B04BD4ED1E8C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367463" y="43957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0704C2B-57AC-4656-B767-18D3E622A9CB}" type="datetime'''''''''''''''云''''''''''''''''''''''''''''''''''''''''''''南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1" name="Text Placeholder 3">
            <a:extLst>
              <a:ext uri="{FF2B5EF4-FFF2-40B4-BE49-F238E27FC236}">
                <a16:creationId xmlns:a16="http://schemas.microsoft.com/office/drawing/2014/main" id="{897FD906-11EF-0BF1-77D0-10501FB2A3B7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7243763" y="3638550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22BD857-7B43-4177-9FFC-CBF9D93B8F43}" type="datetime'''内''''''''''''蒙''''''''古''''''''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2" name="Text Placeholder 3">
            <a:extLst>
              <a:ext uri="{FF2B5EF4-FFF2-40B4-BE49-F238E27FC236}">
                <a16:creationId xmlns:a16="http://schemas.microsoft.com/office/drawing/2014/main" id="{2219ED27-C4F9-D184-71DF-4329497C4527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4549775" y="38750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61C2923-93D4-4E69-90A7-EDCB8CEDE17C}" type="datetime'''''''''广''''西'''''''''''">
              <a:rPr lang="zh-CN" altLang="en-US" sz="1000" smtClean="0">
                <a:effectLst/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3" name="Text Placeholder 3">
            <a:extLst>
              <a:ext uri="{FF2B5EF4-FFF2-40B4-BE49-F238E27FC236}">
                <a16:creationId xmlns:a16="http://schemas.microsoft.com/office/drawing/2014/main" id="{52B4AFC9-6B50-9281-9A56-83F917289650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6880225" y="36861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CB49FD-0C3C-42F0-ADD1-FFA65615BD06}" type="datetime'''''''''''''''''''甘''''''肃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24" name="Text Placeholder 3">
            <a:extLst>
              <a:ext uri="{FF2B5EF4-FFF2-40B4-BE49-F238E27FC236}">
                <a16:creationId xmlns:a16="http://schemas.microsoft.com/office/drawing/2014/main" id="{93F8E09E-E5CE-44F5-109A-60FA4A9C6867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7196138" y="38290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7D5E920-533E-4BE7-9D37-E7158BB1300B}" type="datetime'''''''''贵''''''''''''''''''''''''''''''''''''''州'''''''''''''">
              <a:rPr lang="zh-CN" altLang="en-US" sz="1000" smtClean="0">
                <a:effectLst/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5" name="Text Placeholder 3">
            <a:extLst>
              <a:ext uri="{FF2B5EF4-FFF2-40B4-BE49-F238E27FC236}">
                <a16:creationId xmlns:a16="http://schemas.microsoft.com/office/drawing/2014/main" id="{E95F9413-9890-8FA9-81D2-0BB5682FF3AF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213350" y="40179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48449A3-46D5-40BD-9A58-CE3462D0B086}" type="datetime'''''''''''''''''''''''''''''''''''''''''''''''宁''''夏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6" name="Text Placeholder 3">
            <a:extLst>
              <a:ext uri="{FF2B5EF4-FFF2-40B4-BE49-F238E27FC236}">
                <a16:creationId xmlns:a16="http://schemas.microsoft.com/office/drawing/2014/main" id="{70E5E667-3375-B3A8-7F4A-0B7CDA82B053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523038" y="41402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61D92EB-D932-471D-AA5F-0C2E4761FE9A}" type="datetime'''''''''''''''''''海''''''''''南''''''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8" name="Text Placeholder 3">
            <a:extLst>
              <a:ext uri="{FF2B5EF4-FFF2-40B4-BE49-F238E27FC236}">
                <a16:creationId xmlns:a16="http://schemas.microsoft.com/office/drawing/2014/main" id="{DC65BC1B-ECCF-2392-4AA3-85CAAEF1039B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4289425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78EB62-CE12-4B16-89AA-8DF2C788829B}" type="datetime'''''''份''''''''''''''''''额变''''化''''''''''''''''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41" name="Text Placeholder 3">
            <a:extLst>
              <a:ext uri="{FF2B5EF4-FFF2-40B4-BE49-F238E27FC236}">
                <a16:creationId xmlns:a16="http://schemas.microsoft.com/office/drawing/2014/main" id="{CF73EDD3-98B1-A017-35D1-0ADA25017A08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868988" y="37814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519113-D989-460F-B73A-5B17A4D7DB45}" type="datetime'''新''疆'''''''">
              <a:rPr lang="zh-CN" altLang="en-US" sz="1000" smtClean="0">
                <a:effectLst/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749" name="直接连接符 748">
            <a:extLst>
              <a:ext uri="{FF2B5EF4-FFF2-40B4-BE49-F238E27FC236}">
                <a16:creationId xmlns:a16="http://schemas.microsoft.com/office/drawing/2014/main" id="{C9543D74-90C0-31A6-7768-81F8B6E56B51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9583738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B4610224-C2C1-425F-6FAC-3B54006B5A35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11801475" y="2020888"/>
            <a:ext cx="0" cy="3783012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0" name="直接连接符 749">
            <a:extLst>
              <a:ext uri="{FF2B5EF4-FFF2-40B4-BE49-F238E27FC236}">
                <a16:creationId xmlns:a16="http://schemas.microsoft.com/office/drawing/2014/main" id="{FAEC090B-6E89-20E8-7F6F-0CB62EF06118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8475663" y="3101975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直接连接符 556">
            <a:extLst>
              <a:ext uri="{FF2B5EF4-FFF2-40B4-BE49-F238E27FC236}">
                <a16:creationId xmlns:a16="http://schemas.microsoft.com/office/drawing/2014/main" id="{FBF88677-9607-BBB0-2962-F516E9B9D991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8475663" y="2020888"/>
            <a:ext cx="332581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2F7C1665-AD89-2F3B-AA5C-084CA2F996D6}"/>
              </a:ext>
            </a:extLst>
          </p:cNvPr>
          <p:cNvGraphicFramePr/>
          <p:nvPr>
            <p:custDataLst>
              <p:tags r:id="rId102"/>
            </p:custDataLst>
            <p:extLst>
              <p:ext uri="{D42A27DB-BD31-4B8C-83A1-F6EECF244321}">
                <p14:modId xmlns:p14="http://schemas.microsoft.com/office/powerpoint/2010/main" val="3512492214"/>
              </p:ext>
            </p:extLst>
          </p:nvPr>
        </p:nvGraphicFramePr>
        <p:xfrm>
          <a:off x="7913688" y="1865313"/>
          <a:ext cx="4175125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0"/>
          </a:graphicData>
        </a:graphic>
      </p:graphicFrame>
      <p:cxnSp>
        <p:nvCxnSpPr>
          <p:cNvPr id="840" name="直接连接符 839">
            <a:extLst>
              <a:ext uri="{FF2B5EF4-FFF2-40B4-BE49-F238E27FC236}">
                <a16:creationId xmlns:a16="http://schemas.microsoft.com/office/drawing/2014/main" id="{21E966F7-755C-FD19-05EA-02A869DE92E3}"/>
              </a:ext>
            </a:extLst>
          </p:cNvPr>
          <p:cNvCxnSpPr>
            <a:cxnSpLocks/>
          </p:cNvCxnSpPr>
          <p:nvPr>
            <p:custDataLst>
              <p:tags r:id="rId103"/>
            </p:custDataLst>
          </p:nvPr>
        </p:nvCxnSpPr>
        <p:spPr bwMode="gray">
          <a:xfrm>
            <a:off x="9659938" y="2951163"/>
            <a:ext cx="246063" cy="365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2B56C84-1F44-5328-D520-E9391C9B32A1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 flipH="1">
            <a:off x="9940925" y="2873374"/>
            <a:ext cx="90488" cy="904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B7A3637A-8C32-1B87-A5C6-D6835E4A2E50}"/>
              </a:ext>
            </a:extLst>
          </p:cNvPr>
          <p:cNvCxnSpPr>
            <a:cxnSpLocks/>
          </p:cNvCxnSpPr>
          <p:nvPr>
            <p:custDataLst>
              <p:tags r:id="rId105"/>
            </p:custDataLst>
          </p:nvPr>
        </p:nvCxnSpPr>
        <p:spPr bwMode="gray">
          <a:xfrm flipH="1" flipV="1">
            <a:off x="10015538" y="3141663"/>
            <a:ext cx="77788" cy="1873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1" name="直接连接符 840">
            <a:extLst>
              <a:ext uri="{FF2B5EF4-FFF2-40B4-BE49-F238E27FC236}">
                <a16:creationId xmlns:a16="http://schemas.microsoft.com/office/drawing/2014/main" id="{3617F551-B0AA-99A9-2CAF-EF7D7C437DA5}"/>
              </a:ext>
            </a:extLst>
          </p:cNvPr>
          <p:cNvCxnSpPr>
            <a:cxnSpLocks/>
          </p:cNvCxnSpPr>
          <p:nvPr>
            <p:custDataLst>
              <p:tags r:id="rId106"/>
            </p:custDataLst>
          </p:nvPr>
        </p:nvCxnSpPr>
        <p:spPr bwMode="gray">
          <a:xfrm>
            <a:off x="9170988" y="3032125"/>
            <a:ext cx="312738" cy="619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1" name="直接连接符 560">
            <a:extLst>
              <a:ext uri="{FF2B5EF4-FFF2-40B4-BE49-F238E27FC236}">
                <a16:creationId xmlns:a16="http://schemas.microsoft.com/office/drawing/2014/main" id="{FF4726C4-A509-7237-2D8F-E9E74E77FFC9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9653588" y="2838450"/>
            <a:ext cx="30163" cy="222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75BB590-ED77-94C6-4A9C-271E91930B6F}"/>
              </a:ext>
            </a:extLst>
          </p:cNvPr>
          <p:cNvCxnSpPr>
            <a:cxnSpLocks/>
          </p:cNvCxnSpPr>
          <p:nvPr>
            <p:custDataLst>
              <p:tags r:id="rId108"/>
            </p:custDataLst>
          </p:nvPr>
        </p:nvCxnSpPr>
        <p:spPr bwMode="gray">
          <a:xfrm flipH="1">
            <a:off x="10239375" y="3041651"/>
            <a:ext cx="201613" cy="492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82196F2D-CAEB-0496-7A7A-56FAAAE37A02}"/>
              </a:ext>
            </a:extLst>
          </p:cNvPr>
          <p:cNvCxnSpPr>
            <a:cxnSpLocks/>
          </p:cNvCxnSpPr>
          <p:nvPr>
            <p:custDataLst>
              <p:tags r:id="rId109"/>
            </p:custDataLst>
          </p:nvPr>
        </p:nvCxnSpPr>
        <p:spPr bwMode="gray">
          <a:xfrm flipH="1">
            <a:off x="10404475" y="2921001"/>
            <a:ext cx="22225" cy="365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9" name="直接连接符 838">
            <a:extLst>
              <a:ext uri="{FF2B5EF4-FFF2-40B4-BE49-F238E27FC236}">
                <a16:creationId xmlns:a16="http://schemas.microsoft.com/office/drawing/2014/main" id="{9EA0980F-2D3E-CF9E-ADDE-B137BC4FCC76}"/>
              </a:ext>
            </a:extLst>
          </p:cNvPr>
          <p:cNvCxnSpPr>
            <a:cxnSpLocks/>
          </p:cNvCxnSpPr>
          <p:nvPr>
            <p:custDataLst>
              <p:tags r:id="rId110"/>
            </p:custDataLst>
          </p:nvPr>
        </p:nvCxnSpPr>
        <p:spPr bwMode="gray">
          <a:xfrm>
            <a:off x="9699625" y="2670175"/>
            <a:ext cx="55563" cy="730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2" name="直接连接符 561">
            <a:extLst>
              <a:ext uri="{FF2B5EF4-FFF2-40B4-BE49-F238E27FC236}">
                <a16:creationId xmlns:a16="http://schemas.microsoft.com/office/drawing/2014/main" id="{B6AD5F5A-32A7-FF68-FF4A-A4A0C0798FF8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 flipV="1">
            <a:off x="9869488" y="3248025"/>
            <a:ext cx="31750" cy="619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DDD40A3E-9239-0A32-852C-7DA5F21C80A4}"/>
              </a:ext>
            </a:extLst>
          </p:cNvPr>
          <p:cNvCxnSpPr>
            <a:cxnSpLocks/>
          </p:cNvCxnSpPr>
          <p:nvPr>
            <p:custDataLst>
              <p:tags r:id="rId112"/>
            </p:custDataLst>
          </p:nvPr>
        </p:nvCxnSpPr>
        <p:spPr bwMode="gray">
          <a:xfrm flipH="1">
            <a:off x="9869488" y="2705100"/>
            <a:ext cx="19050" cy="3492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5E5FCDC-E487-3851-8E6D-05E368DEBF38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 flipV="1">
            <a:off x="9863138" y="3122613"/>
            <a:ext cx="47625" cy="254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0" name="直接连接符 559">
            <a:extLst>
              <a:ext uri="{FF2B5EF4-FFF2-40B4-BE49-F238E27FC236}">
                <a16:creationId xmlns:a16="http://schemas.microsoft.com/office/drawing/2014/main" id="{1F63EE80-D75E-20C3-8A19-82AD49842142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 flipH="1">
            <a:off x="10063163" y="3043238"/>
            <a:ext cx="28575" cy="285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3" name="Text Placeholder 3">
            <a:extLst>
              <a:ext uri="{FF2B5EF4-FFF2-40B4-BE49-F238E27FC236}">
                <a16:creationId xmlns:a16="http://schemas.microsoft.com/office/drawing/2014/main" id="{4A155612-36A0-2250-9D3D-003AE1151BCC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110394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297705C-ECF2-47AA-88BA-DF036666C371}" type="datetime'''''''''''''''毛销''''售''额''增''长率''''''''''''''''''''''''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4" name="Text Placeholder 3">
            <a:extLst>
              <a:ext uri="{FF2B5EF4-FFF2-40B4-BE49-F238E27FC236}">
                <a16:creationId xmlns:a16="http://schemas.microsoft.com/office/drawing/2014/main" id="{6DDD7D3E-6814-6786-32D7-76CC8985E857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82216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A8F52A-54B5-4CC8-A024-E7A5A6C2D494}" type="datetime'''份''''''''''''额''''''''''''''''''''''''变''''''''''''化''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5" name="Text Placeholder 3">
            <a:extLst>
              <a:ext uri="{FF2B5EF4-FFF2-40B4-BE49-F238E27FC236}">
                <a16:creationId xmlns:a16="http://schemas.microsoft.com/office/drawing/2014/main" id="{F4098419-33B7-62BA-E17F-1683F711824B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9894888" y="23685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52AB8D-DA52-4A81-9E3E-0E05F0F9908E}" type="datetime'''''''''''''北''''''''''''''''''''''''''''''''''''''京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6" name="Text Placeholder 3">
            <a:extLst>
              <a:ext uri="{FF2B5EF4-FFF2-40B4-BE49-F238E27FC236}">
                <a16:creationId xmlns:a16="http://schemas.microsoft.com/office/drawing/2014/main" id="{D056461D-DA1B-A362-6920-C45023671DE2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9075738" y="26590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B00200-0053-46A2-9F49-F31231D853BF}" type="datetime'''''''''''''''''''''''辽''''''''''''''''''''''''''''''''宁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7" name="Text Placeholder 3">
            <a:extLst>
              <a:ext uri="{FF2B5EF4-FFF2-40B4-BE49-F238E27FC236}">
                <a16:creationId xmlns:a16="http://schemas.microsoft.com/office/drawing/2014/main" id="{D1703DEA-455D-5C48-CD36-0639A366C0AA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8851900" y="35925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2A57479-DF98-41B1-A7F6-1EBD3AB04895}" type="datetime'''''''''''广''''''''''''''''''''''东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88" name="Text Placeholder 3">
            <a:extLst>
              <a:ext uri="{FF2B5EF4-FFF2-40B4-BE49-F238E27FC236}">
                <a16:creationId xmlns:a16="http://schemas.microsoft.com/office/drawing/2014/main" id="{FF6313AD-3646-4B37-F467-3B6D9F4D8C7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9493250" y="25019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922C8D7-620E-4C91-85D4-F6BF743EA3D5}" type="datetime'''''''''''''''''''''''''''''''''''江苏'''''''''">
              <a:rPr lang="zh-CN" altLang="en-US" sz="1000" smtClean="0">
                <a:effectLst/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9" name="Text Placeholder 3">
            <a:extLst>
              <a:ext uri="{FF2B5EF4-FFF2-40B4-BE49-F238E27FC236}">
                <a16:creationId xmlns:a16="http://schemas.microsoft.com/office/drawing/2014/main" id="{AA76787E-67D3-B727-74C0-3F2BD8A43A45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9685338" y="2079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F60C32D-50CA-443D-A90E-E22614B21011}" type="datetime'''''''''''''''''''''上''''''''''''海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0" name="Text Placeholder 3">
            <a:extLst>
              <a:ext uri="{FF2B5EF4-FFF2-40B4-BE49-F238E27FC236}">
                <a16:creationId xmlns:a16="http://schemas.microsoft.com/office/drawing/2014/main" id="{CAD136A2-D73F-A1AA-9C0B-BA478564547A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0434638" y="30908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A1A5AB-B216-4F8B-85F6-9526291A6ED1}" type="datetime'''''''湖''''''''''''''北''''''''''''''''''''''''''''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1" name="Text Placeholder 3">
            <a:extLst>
              <a:ext uri="{FF2B5EF4-FFF2-40B4-BE49-F238E27FC236}">
                <a16:creationId xmlns:a16="http://schemas.microsoft.com/office/drawing/2014/main" id="{936E80F8-A453-CDFD-5FA0-E1C233D4F443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10145713" y="31607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E5381EB-C36B-421C-983C-3355132970A8}" type="datetime'''''''陕''''''''''''''''''西''''''''''''''''''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2" name="Text Placeholder 3">
            <a:extLst>
              <a:ext uri="{FF2B5EF4-FFF2-40B4-BE49-F238E27FC236}">
                <a16:creationId xmlns:a16="http://schemas.microsoft.com/office/drawing/2014/main" id="{B8DAC3D3-9E42-50A6-4A21-5E478A98C822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9371013" y="28463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739AF22-1796-41DC-8703-2811CE43E325}" type="datetime'''''''''''''''''''山''''西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4" name="Text Placeholder 3">
            <a:extLst>
              <a:ext uri="{FF2B5EF4-FFF2-40B4-BE49-F238E27FC236}">
                <a16:creationId xmlns:a16="http://schemas.microsoft.com/office/drawing/2014/main" id="{766946D2-24B6-7B61-1B51-7F431E619C3D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8882063" y="29194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4CA6E1-B566-40F1-B085-033F2540733C}" type="datetime'''''''''''''''安''''''徽''''''''''''''''''''''''''''''''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5" name="Text Placeholder 3">
            <a:extLst>
              <a:ext uri="{FF2B5EF4-FFF2-40B4-BE49-F238E27FC236}">
                <a16:creationId xmlns:a16="http://schemas.microsoft.com/office/drawing/2014/main" id="{059F3979-8BA9-0CEE-C127-6C2DE7249FA1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10440988" y="29210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CDF276A-F546-4530-B4E1-77DEEB53AF44}" type="datetime'''''''''河''''''''''''''''南''''''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6" name="Text Placeholder 3">
            <a:extLst>
              <a:ext uri="{FF2B5EF4-FFF2-40B4-BE49-F238E27FC236}">
                <a16:creationId xmlns:a16="http://schemas.microsoft.com/office/drawing/2014/main" id="{A9ED2299-11AB-6647-213D-112EE2275394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9140825" y="3095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CE000E-60D7-4414-BA93-D31D0FABCD82}" type="datetime'''''''''''''山东''''''''''''''''''''''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7" name="Text Placeholder 3">
            <a:extLst>
              <a:ext uri="{FF2B5EF4-FFF2-40B4-BE49-F238E27FC236}">
                <a16:creationId xmlns:a16="http://schemas.microsoft.com/office/drawing/2014/main" id="{C164DB90-EFD4-0BF7-FE6B-7739DF1B5657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9783763" y="45307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D0744EC-8D77-48BA-9B8C-2651058C7E23}" type="datetime'''''''''''新''''''''''''''疆''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3" name="Text Placeholder 3">
            <a:extLst>
              <a:ext uri="{FF2B5EF4-FFF2-40B4-BE49-F238E27FC236}">
                <a16:creationId xmlns:a16="http://schemas.microsoft.com/office/drawing/2014/main" id="{96F4DFBF-C609-EC36-23F7-E8E66C05186F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10031413" y="28749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B2EFB6A-9E4C-459E-891E-18BDDD94F7A3}" type="datetime'''''''''吉''''''''''''''''''''''''''''''林''''''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69" name="Text Placeholder 3">
            <a:extLst>
              <a:ext uri="{FF2B5EF4-FFF2-40B4-BE49-F238E27FC236}">
                <a16:creationId xmlns:a16="http://schemas.microsoft.com/office/drawing/2014/main" id="{79C465A3-C884-3391-E195-D972872691BE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9574213" y="31416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72C5068-341D-43AD-8A94-6D19923DEC35}" type="datetime'''''''''''''''福''''''''''''''''''建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3" name="Text Placeholder 3">
            <a:extLst>
              <a:ext uri="{FF2B5EF4-FFF2-40B4-BE49-F238E27FC236}">
                <a16:creationId xmlns:a16="http://schemas.microsoft.com/office/drawing/2014/main" id="{AC243FCD-C66F-FCF6-6D95-C0AB850DE3AC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9813925" y="29098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0A8764-1286-4B56-AA8E-B61308A2DDD6}" type="datetime'''''''湖''''''''''''南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5" name="Text Placeholder 3">
            <a:extLst>
              <a:ext uri="{FF2B5EF4-FFF2-40B4-BE49-F238E27FC236}">
                <a16:creationId xmlns:a16="http://schemas.microsoft.com/office/drawing/2014/main" id="{1A6BD526-4570-D023-5A0B-770E7EB86017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9788525" y="25368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4D727FB-CC83-4F94-A793-9B3B88E95653}" type="datetime'''''''''''''''''''''''''''''''''''''''''''''''重''''庆'''''''''">
              <a:rPr lang="zh-CN" altLang="en-US" sz="1000" smtClean="0"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8" name="Text Placeholder 3">
            <a:extLst>
              <a:ext uri="{FF2B5EF4-FFF2-40B4-BE49-F238E27FC236}">
                <a16:creationId xmlns:a16="http://schemas.microsoft.com/office/drawing/2014/main" id="{53B52A9D-7FEA-E50A-8777-3358C8297B98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9259888" y="32686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2487DF-C33E-4EC2-93FE-8CEF4F6E4974}" type="datetime'''''四''''''''''川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6" name="Text Placeholder 3">
            <a:extLst>
              <a:ext uri="{FF2B5EF4-FFF2-40B4-BE49-F238E27FC236}">
                <a16:creationId xmlns:a16="http://schemas.microsoft.com/office/drawing/2014/main" id="{89927198-F7F0-8631-11D0-9A79CE0D8430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8664575" y="51800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A9E805B-6E87-4ACC-9F66-05A6E662BCE0}" type="datetime'''''''''''''云''''''''''''''''南''''''''''''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7" name="Text Placeholder 3">
            <a:extLst>
              <a:ext uri="{FF2B5EF4-FFF2-40B4-BE49-F238E27FC236}">
                <a16:creationId xmlns:a16="http://schemas.microsoft.com/office/drawing/2014/main" id="{881BD580-71F1-7BE8-AF1A-9F9A0FB33CF7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9907588" y="2705100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A4C3398-CE33-48F8-AD5D-0FA6CD4C5AD2}" type="datetime'''内''''''''蒙古''''''''''''''''''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0" name="Text Placeholder 3">
            <a:extLst>
              <a:ext uri="{FF2B5EF4-FFF2-40B4-BE49-F238E27FC236}">
                <a16:creationId xmlns:a16="http://schemas.microsoft.com/office/drawing/2014/main" id="{7F3F2B0B-8C2F-D061-95A1-D00FEFFC5A30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10007600" y="37734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D7BE0F-CB9B-4B14-9043-3F87337CA507}" type="datetime'''''黑''''''''''龙''''''江''''''''''''''''''''''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78" name="Text Placeholder 3">
            <a:extLst>
              <a:ext uri="{FF2B5EF4-FFF2-40B4-BE49-F238E27FC236}">
                <a16:creationId xmlns:a16="http://schemas.microsoft.com/office/drawing/2014/main" id="{DC0EE3D4-76FB-BE34-DB45-92F05887C27A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gray">
          <a:xfrm>
            <a:off x="9396413" y="26701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19ABF2-BE79-4142-BA65-CF7272E1BF70}" type="datetime'''''''''广''''''''''''''''''''''''''西'''''''">
              <a:rPr lang="zh-CN" altLang="en-US" sz="1000" smtClean="0">
                <a:effectLst/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1" name="Text Placeholder 3">
            <a:extLst>
              <a:ext uri="{FF2B5EF4-FFF2-40B4-BE49-F238E27FC236}">
                <a16:creationId xmlns:a16="http://schemas.microsoft.com/office/drawing/2014/main" id="{FB42A624-E79D-F75E-17FA-E071C2DF5432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11437938" y="25860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BAB4797-468D-489A-8D06-10409754D1A0}" type="datetime'''天''''''''''''''''''''''''''''''''''''''''''津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4" name="Text Placeholder 3">
            <a:extLst>
              <a:ext uri="{FF2B5EF4-FFF2-40B4-BE49-F238E27FC236}">
                <a16:creationId xmlns:a16="http://schemas.microsoft.com/office/drawing/2014/main" id="{CD8F3AB5-70E0-4171-FB47-9BBE19C22C2C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9285288" y="35575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E2FD50-50ED-4AB2-B696-D91ACFF46E0E}" type="datetime'''''''''''''''''''''''''''浙''''''''''江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0" name="Text Placeholder 3">
            <a:extLst>
              <a:ext uri="{FF2B5EF4-FFF2-40B4-BE49-F238E27FC236}">
                <a16:creationId xmlns:a16="http://schemas.microsoft.com/office/drawing/2014/main" id="{6C797585-3EAA-D5C1-4B40-1A33EE99169C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gray">
          <a:xfrm>
            <a:off x="8821738" y="30908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AD72C6E-30FC-499E-BD0D-9EF90EFDFD16}" type="datetime'''''''''''''''''''''''贵州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1" name="Text Placeholder 3">
            <a:extLst>
              <a:ext uri="{FF2B5EF4-FFF2-40B4-BE49-F238E27FC236}">
                <a16:creationId xmlns:a16="http://schemas.microsoft.com/office/drawing/2014/main" id="{461C1DAC-EBE7-86F4-BE7E-A9406A59C922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gray">
          <a:xfrm>
            <a:off x="10331450" y="27527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3C93BCB-3419-4241-A860-AF4C69A14B84}" type="datetime'''''''''''''''''''''''''''''宁''''''''''''''''夏''''''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2" name="Text Placeholder 3">
            <a:extLst>
              <a:ext uri="{FF2B5EF4-FFF2-40B4-BE49-F238E27FC236}">
                <a16:creationId xmlns:a16="http://schemas.microsoft.com/office/drawing/2014/main" id="{55FEB434-31BC-4F9F-5FFF-2CA97950FAB0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gray">
          <a:xfrm>
            <a:off x="9983788" y="33289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3CDBFE-4D77-437E-B67D-B322EB198258}" type="datetime'''''''''''''河''''''''''''''''''''''北''''''''''''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2" name="Text Placeholder 3">
            <a:extLst>
              <a:ext uri="{FF2B5EF4-FFF2-40B4-BE49-F238E27FC236}">
                <a16:creationId xmlns:a16="http://schemas.microsoft.com/office/drawing/2014/main" id="{388A17F6-2D50-1F91-F8B0-7BDD5888728A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678988" y="33099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3AF202-F383-43A7-A89B-535D1CF25B85}" type="datetime'''海''''''''''''''南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9" name="Text Placeholder 3">
            <a:extLst>
              <a:ext uri="{FF2B5EF4-FFF2-40B4-BE49-F238E27FC236}">
                <a16:creationId xmlns:a16="http://schemas.microsoft.com/office/drawing/2014/main" id="{96E7BCBF-3429-9AE3-3AE4-FA7F25F7EC52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10355263" y="23685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A22CF2-983D-4C53-B701-A3F6B7D3D870}" type="datetime'''''江西''''''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9" name="Text Placeholder 3">
            <a:extLst>
              <a:ext uri="{FF2B5EF4-FFF2-40B4-BE49-F238E27FC236}">
                <a16:creationId xmlns:a16="http://schemas.microsoft.com/office/drawing/2014/main" id="{8DA9BE49-0867-8520-8695-6269B436049D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9304338" y="55038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028AF46-CF84-43F4-A348-A29172A96D1D}" type="datetime'''''''''''''''''''甘肃''''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69" name="矩形 868">
            <a:extLst>
              <a:ext uri="{FF2B5EF4-FFF2-40B4-BE49-F238E27FC236}">
                <a16:creationId xmlns:a16="http://schemas.microsoft.com/office/drawing/2014/main" id="{8A5B7BEF-BE82-656F-60AC-F65E58BAA62F}"/>
              </a:ext>
            </a:extLst>
          </p:cNvPr>
          <p:cNvSpPr/>
          <p:nvPr/>
        </p:nvSpPr>
        <p:spPr>
          <a:xfrm>
            <a:off x="-3969" y="903288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络活喜分省份毛销售额增速（</a:t>
            </a:r>
            <a:r>
              <a:rPr lang="en-US" altLang="zh-CN" sz="1200" b="1" dirty="0">
                <a:solidFill>
                  <a:schemeClr val="bg1"/>
                </a:solidFill>
              </a:rPr>
              <a:t>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r>
              <a:rPr lang="en-US" altLang="zh-CN" sz="1200" b="1" dirty="0">
                <a:solidFill>
                  <a:schemeClr val="bg1"/>
                </a:solidFill>
              </a:rPr>
              <a:t>vs </a:t>
            </a:r>
            <a:r>
              <a:rPr lang="zh-CN" altLang="en-US" sz="1200" b="1" dirty="0">
                <a:solidFill>
                  <a:schemeClr val="bg1"/>
                </a:solidFill>
              </a:rPr>
              <a:t>份额变化（</a:t>
            </a:r>
            <a:r>
              <a:rPr lang="en-US" altLang="zh-CN" sz="1200" b="1" dirty="0">
                <a:solidFill>
                  <a:schemeClr val="bg1"/>
                </a:solidFill>
              </a:rPr>
              <a:t>2508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70" name="矩形 869">
            <a:extLst>
              <a:ext uri="{FF2B5EF4-FFF2-40B4-BE49-F238E27FC236}">
                <a16:creationId xmlns:a16="http://schemas.microsoft.com/office/drawing/2014/main" id="{A815F930-9EBB-02B2-E464-57856A824DF4}"/>
              </a:ext>
            </a:extLst>
          </p:cNvPr>
          <p:cNvSpPr/>
          <p:nvPr/>
        </p:nvSpPr>
        <p:spPr>
          <a:xfrm>
            <a:off x="21272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全渠道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871" name="直接连接符 870">
            <a:extLst>
              <a:ext uri="{FF2B5EF4-FFF2-40B4-BE49-F238E27FC236}">
                <a16:creationId xmlns:a16="http://schemas.microsoft.com/office/drawing/2014/main" id="{B2DADC31-313B-E343-E9ED-1EC4C15F17A4}"/>
              </a:ext>
            </a:extLst>
          </p:cNvPr>
          <p:cNvCxnSpPr>
            <a:cxnSpLocks/>
          </p:cNvCxnSpPr>
          <p:nvPr/>
        </p:nvCxnSpPr>
        <p:spPr>
          <a:xfrm>
            <a:off x="16668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7" name="矩形 906">
            <a:extLst>
              <a:ext uri="{FF2B5EF4-FFF2-40B4-BE49-F238E27FC236}">
                <a16:creationId xmlns:a16="http://schemas.microsoft.com/office/drawing/2014/main" id="{1F0EE5F2-CD11-D7E7-5381-B2DE5CB56F8C}"/>
              </a:ext>
            </a:extLst>
          </p:cNvPr>
          <p:cNvSpPr/>
          <p:nvPr/>
        </p:nvSpPr>
        <p:spPr>
          <a:xfrm>
            <a:off x="416750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医院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08" name="直接连接符 907">
            <a:extLst>
              <a:ext uri="{FF2B5EF4-FFF2-40B4-BE49-F238E27FC236}">
                <a16:creationId xmlns:a16="http://schemas.microsoft.com/office/drawing/2014/main" id="{35F280B1-7698-BBB6-6CAA-918D9F9679C4}"/>
              </a:ext>
            </a:extLst>
          </p:cNvPr>
          <p:cNvCxnSpPr>
            <a:cxnSpLocks/>
          </p:cNvCxnSpPr>
          <p:nvPr/>
        </p:nvCxnSpPr>
        <p:spPr>
          <a:xfrm>
            <a:off x="412146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9" name="矩形 908">
            <a:extLst>
              <a:ext uri="{FF2B5EF4-FFF2-40B4-BE49-F238E27FC236}">
                <a16:creationId xmlns:a16="http://schemas.microsoft.com/office/drawing/2014/main" id="{63690D76-B52D-AABA-DC28-D82D64C666A2}"/>
              </a:ext>
            </a:extLst>
          </p:cNvPr>
          <p:cNvSpPr/>
          <p:nvPr/>
        </p:nvSpPr>
        <p:spPr>
          <a:xfrm>
            <a:off x="812228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零售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10" name="直接连接符 909">
            <a:extLst>
              <a:ext uri="{FF2B5EF4-FFF2-40B4-BE49-F238E27FC236}">
                <a16:creationId xmlns:a16="http://schemas.microsoft.com/office/drawing/2014/main" id="{0BAE0C7B-E9D1-F6D9-0513-B773799CE429}"/>
              </a:ext>
            </a:extLst>
          </p:cNvPr>
          <p:cNvCxnSpPr>
            <a:cxnSpLocks/>
          </p:cNvCxnSpPr>
          <p:nvPr/>
        </p:nvCxnSpPr>
        <p:spPr>
          <a:xfrm>
            <a:off x="807624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9" name="矩形 918">
            <a:extLst>
              <a:ext uri="{FF2B5EF4-FFF2-40B4-BE49-F238E27FC236}">
                <a16:creationId xmlns:a16="http://schemas.microsoft.com/office/drawing/2014/main" id="{086B4158-F3AC-8192-FD06-7E0EB5B4CCAC}"/>
              </a:ext>
            </a:extLst>
          </p:cNvPr>
          <p:cNvSpPr/>
          <p:nvPr>
            <p:custDataLst>
              <p:tags r:id="rId146"/>
            </p:custDataLst>
          </p:nvPr>
        </p:nvSpPr>
        <p:spPr bwMode="auto">
          <a:xfrm>
            <a:off x="2336800" y="4845050"/>
            <a:ext cx="76200" cy="76200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rgbClr val="703E9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0" name="椭圆 919">
            <a:extLst>
              <a:ext uri="{FF2B5EF4-FFF2-40B4-BE49-F238E27FC236}">
                <a16:creationId xmlns:a16="http://schemas.microsoft.com/office/drawing/2014/main" id="{CD78A288-0129-A771-96CE-08913AA70161}"/>
              </a:ext>
            </a:extLst>
          </p:cNvPr>
          <p:cNvSpPr/>
          <p:nvPr>
            <p:custDataLst>
              <p:tags r:id="rId147"/>
            </p:custDataLst>
          </p:nvPr>
        </p:nvSpPr>
        <p:spPr bwMode="auto">
          <a:xfrm>
            <a:off x="2336800" y="5097463"/>
            <a:ext cx="76200" cy="76200"/>
          </a:xfrm>
          <a:prstGeom prst="ellipse">
            <a:avLst/>
          </a:prstGeom>
          <a:solidFill>
            <a:srgbClr val="2A276E"/>
          </a:solidFill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1" name="菱形 920">
            <a:extLst>
              <a:ext uri="{FF2B5EF4-FFF2-40B4-BE49-F238E27FC236}">
                <a16:creationId xmlns:a16="http://schemas.microsoft.com/office/drawing/2014/main" id="{CC855AB6-33E4-C131-5B58-4C39CFC3BD5A}"/>
              </a:ext>
            </a:extLst>
          </p:cNvPr>
          <p:cNvSpPr/>
          <p:nvPr>
            <p:custDataLst>
              <p:tags r:id="rId148"/>
            </p:custDataLst>
          </p:nvPr>
        </p:nvSpPr>
        <p:spPr bwMode="auto">
          <a:xfrm>
            <a:off x="2336800" y="5349875"/>
            <a:ext cx="76200" cy="76200"/>
          </a:xfrm>
          <a:prstGeom prst="diamond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22" name="等腰三角形 921">
            <a:extLst>
              <a:ext uri="{FF2B5EF4-FFF2-40B4-BE49-F238E27FC236}">
                <a16:creationId xmlns:a16="http://schemas.microsoft.com/office/drawing/2014/main" id="{730DE8A4-D691-1FC7-EBAF-E295AAAB99EA}"/>
              </a:ext>
            </a:extLst>
          </p:cNvPr>
          <p:cNvSpPr/>
          <p:nvPr>
            <p:custDataLst>
              <p:tags r:id="rId149"/>
            </p:custDataLst>
          </p:nvPr>
        </p:nvSpPr>
        <p:spPr bwMode="auto">
          <a:xfrm>
            <a:off x="2336800" y="5602288"/>
            <a:ext cx="76200" cy="76200"/>
          </a:xfrm>
          <a:prstGeom prst="triangle">
            <a:avLst/>
          </a:prstGeom>
          <a:solidFill>
            <a:srgbClr val="B78FCA"/>
          </a:solidFill>
          <a:ln w="9525" cap="rnd" cmpd="sng" algn="ctr">
            <a:solidFill>
              <a:srgbClr val="B78FC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4" name="Text Placeholder 3">
            <a:extLst>
              <a:ext uri="{FF2B5EF4-FFF2-40B4-BE49-F238E27FC236}">
                <a16:creationId xmlns:a16="http://schemas.microsoft.com/office/drawing/2014/main" id="{33227F43-475D-76AF-3BB3-9525B8A6EFA4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2533650" y="478472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88B1B1-B44C-4CEE-9044-4982208263C2}" type="datetime'''购''''''进''''''''和''''''''''份''额''''''''''双''''跌''''''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6" name="Text Placeholder 3">
            <a:extLst>
              <a:ext uri="{FF2B5EF4-FFF2-40B4-BE49-F238E27FC236}">
                <a16:creationId xmlns:a16="http://schemas.microsoft.com/office/drawing/2014/main" id="{D5999CF6-0157-E63A-65A4-EFCF04403D5A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2533650" y="5037138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5D221B-6181-40F8-BF8E-F3859AABD55D}" type="datetime'''''''购''进''''''和份''''''额''''''双''''''''''''''增''''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7" name="Text Placeholder 3">
            <a:extLst>
              <a:ext uri="{FF2B5EF4-FFF2-40B4-BE49-F238E27FC236}">
                <a16:creationId xmlns:a16="http://schemas.microsoft.com/office/drawing/2014/main" id="{80D61719-68E9-1FE9-E260-25EAA815BCCB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2533650" y="5289550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13B7E41-0AEC-4CFF-BEC6-4F6B92A3B96E}" type="datetime'''购''''''''''进下''跌''''''，''份额''增''''''''长'''''''''">
              <a:rPr lang="zh-CN" altLang="en-US" smtClean="0">
                <a:latin typeface="+mn-lt"/>
                <a:cs typeface="+mn-cs"/>
              </a:rPr>
              <a:pPr/>
              <a:t>购进下跌，份额增长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18" name="Text Placeholder 3">
            <a:extLst>
              <a:ext uri="{FF2B5EF4-FFF2-40B4-BE49-F238E27FC236}">
                <a16:creationId xmlns:a16="http://schemas.microsoft.com/office/drawing/2014/main" id="{8B00A40D-5567-031D-5778-C45BF23D042E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2533650" y="5541963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C0C090-0D97-4538-808D-05FDB7A5566B}" type="datetime'''购''''进''''''''增''''''''''''''''''''''长，份''额''下跌''''''''''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0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1B68E-0878-1F17-B598-BDF36D2D2D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1C438B4C-A07C-E094-A7C7-7E55AE0DBC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60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4" imgW="473" imgH="476" progId="TCLayout.ActiveDocument.1">
                  <p:embed/>
                </p:oleObj>
              </mc:Choice>
              <mc:Fallback>
                <p:oleObj name="think-cell 幻灯片" r:id="rId134" imgW="473" imgH="47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38B4C-A07C-E094-A7C7-7E55AE0DB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2" name="矩形 911">
            <a:extLst>
              <a:ext uri="{FF2B5EF4-FFF2-40B4-BE49-F238E27FC236}">
                <a16:creationId xmlns:a16="http://schemas.microsoft.com/office/drawing/2014/main" id="{DEC44A48-C210-0CBE-D5D0-A5CEFDB47CF8}"/>
              </a:ext>
            </a:extLst>
          </p:cNvPr>
          <p:cNvSpPr/>
          <p:nvPr/>
        </p:nvSpPr>
        <p:spPr>
          <a:xfrm>
            <a:off x="410845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3" name="矩形 912">
            <a:extLst>
              <a:ext uri="{FF2B5EF4-FFF2-40B4-BE49-F238E27FC236}">
                <a16:creationId xmlns:a16="http://schemas.microsoft.com/office/drawing/2014/main" id="{333286BD-B900-E14D-BF30-22ED40ECA470}"/>
              </a:ext>
            </a:extLst>
          </p:cNvPr>
          <p:cNvSpPr/>
          <p:nvPr/>
        </p:nvSpPr>
        <p:spPr>
          <a:xfrm>
            <a:off x="807466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11" name="矩形 910">
            <a:extLst>
              <a:ext uri="{FF2B5EF4-FFF2-40B4-BE49-F238E27FC236}">
                <a16:creationId xmlns:a16="http://schemas.microsoft.com/office/drawing/2014/main" id="{EB438938-C836-BA4C-9CB4-CF59E11CF5BA}"/>
              </a:ext>
            </a:extLst>
          </p:cNvPr>
          <p:cNvSpPr/>
          <p:nvPr/>
        </p:nvSpPr>
        <p:spPr>
          <a:xfrm>
            <a:off x="165101" y="1655763"/>
            <a:ext cx="3861435" cy="468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CDBC283-38B0-D4A6-43BC-3C3326A88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西乐葆今年面临较大挑战，</a:t>
            </a:r>
            <a:r>
              <a:rPr lang="en-US" altLang="zh-CN" sz="2000" dirty="0"/>
              <a:t>1/3</a:t>
            </a:r>
            <a:r>
              <a:rPr lang="zh-CN" altLang="en-US" sz="2000" dirty="0"/>
              <a:t>省份在医院渠道购进和份额双跌，</a:t>
            </a:r>
            <a:r>
              <a:rPr lang="en-US" altLang="zh-CN" sz="2000" dirty="0"/>
              <a:t>1/2</a:t>
            </a:r>
            <a:r>
              <a:rPr lang="zh-CN" altLang="en-US" sz="2000" dirty="0"/>
              <a:t>省份在零售渠道购进和份额双跌</a:t>
            </a:r>
            <a:endParaRPr lang="en-US" sz="2000" dirty="0"/>
          </a:p>
        </p:txBody>
      </p:sp>
      <p:cxnSp>
        <p:nvCxnSpPr>
          <p:cNvPr id="305" name="直接连接符 304">
            <a:extLst>
              <a:ext uri="{FF2B5EF4-FFF2-40B4-BE49-F238E27FC236}">
                <a16:creationId xmlns:a16="http://schemas.microsoft.com/office/drawing/2014/main" id="{96212EC4-3DB7-FA2E-1313-395956A59A3F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065338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1AE68797-B8E9-4E98-D43C-858AF14021F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965575" y="2020888"/>
            <a:ext cx="0" cy="3783012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754AC60-EDC3-A93C-1B90-9633A3CFCAE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39763" y="2020888"/>
            <a:ext cx="332581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4" name="直接连接符 293">
            <a:extLst>
              <a:ext uri="{FF2B5EF4-FFF2-40B4-BE49-F238E27FC236}">
                <a16:creationId xmlns:a16="http://schemas.microsoft.com/office/drawing/2014/main" id="{A8B7AA1B-83CA-2B05-ED76-D039647C491B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39763" y="4543425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846B5919-0000-7A4D-CC7C-9DD5E2616BB2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04770737"/>
              </p:ext>
            </p:extLst>
          </p:nvPr>
        </p:nvGraphicFramePr>
        <p:xfrm>
          <a:off x="77788" y="1865313"/>
          <a:ext cx="4175125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cxnSp>
        <p:nvCxnSpPr>
          <p:cNvPr id="954" name="直接连接符 953">
            <a:extLst>
              <a:ext uri="{FF2B5EF4-FFF2-40B4-BE49-F238E27FC236}">
                <a16:creationId xmlns:a16="http://schemas.microsoft.com/office/drawing/2014/main" id="{05959310-5223-42B9-947F-56CE707CC39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 flipH="1">
            <a:off x="1712913" y="4638675"/>
            <a:ext cx="11113" cy="333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2" name="直接连接符 901">
            <a:extLst>
              <a:ext uri="{FF2B5EF4-FFF2-40B4-BE49-F238E27FC236}">
                <a16:creationId xmlns:a16="http://schemas.microsoft.com/office/drawing/2014/main" id="{3EC31A3E-C99E-F632-EDEE-B5424EBB62B5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 flipV="1">
            <a:off x="1917700" y="4800600"/>
            <a:ext cx="41275" cy="31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Text Placeholder 3">
            <a:extLst>
              <a:ext uri="{FF2B5EF4-FFF2-40B4-BE49-F238E27FC236}">
                <a16:creationId xmlns:a16="http://schemas.microsoft.com/office/drawing/2014/main" id="{AE98B524-473B-C353-2D5F-0114FF4FF0B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57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59461A2-1D6D-4968-88AE-2A8E6CA21C0F}" type="datetime'份''''''''''''''''''''''''''''额''''''''''''''''''变''''''''''化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7" name="Text Placeholder 3">
            <a:extLst>
              <a:ext uri="{FF2B5EF4-FFF2-40B4-BE49-F238E27FC236}">
                <a16:creationId xmlns:a16="http://schemas.microsoft.com/office/drawing/2014/main" id="{A50DA8B3-6BA1-5B38-4571-944FFE9E02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65288" y="48545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A2E323-6278-4204-A209-8A86FC703A76}" type="datetime'''''''''''''''''''''''''''浙江''''''''''''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25A49547-2537-F89D-C609-1ACAEA419DF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779713" y="37861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1286FE3-CE1A-4830-A28C-012D7FE49E42}" type="datetime'''''''''''''''''''北''''''''''''''''''''''''''京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6A2202F4-833E-E45D-8A45-ABC68F015A1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36838" y="42703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69E8E9-B0F5-4EC0-8B73-89F38453FA0C}" type="datetime'''辽''''''''''''''''''''''''''''''''''''''宁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B568BBA8-9811-E998-E552-CDF8F5FA3BE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36650" y="47704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70B4C28-4874-4631-8F87-B86972CF2284}" type="datetime'''''''''广''''''''''''''''''''''''''''''东''''''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1" name="Text Placeholder 3">
            <a:extLst>
              <a:ext uri="{FF2B5EF4-FFF2-40B4-BE49-F238E27FC236}">
                <a16:creationId xmlns:a16="http://schemas.microsoft.com/office/drawing/2014/main" id="{DC257775-4429-B375-9BAF-6495A73474A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70163" y="39766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89DBB71-8FCB-49CA-B263-63AA33BD1C29}" type="datetime'''''''''''''''''''''江''''苏''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079DD0C0-EDC9-1EE4-D0FC-1A4CBC44B14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89325" y="2079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5FEFEC7-9B1D-4E69-AEDC-918C485E5338}" type="datetime'上''''''''''''''''''''''''''''''''''''''''''''''''''''海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23" name="Text Placeholder 3">
            <a:extLst>
              <a:ext uri="{FF2B5EF4-FFF2-40B4-BE49-F238E27FC236}">
                <a16:creationId xmlns:a16="http://schemas.microsoft.com/office/drawing/2014/main" id="{CEF70136-68ED-553F-D685-AFCDDA8E82C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89200" y="44386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9437FE-8B38-4098-B40C-B275804197B7}" type="datetime'''''''''''''''''''''''''''''''''湖''北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C1F7FE3D-A192-797C-6725-4BD5E2FBF76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00100" y="4987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382F221-B889-40E1-9B30-B10688126077}" type="datetime'''''''''''''''''''''''陕''''''''''''''''西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5" name="Text Placeholder 3">
            <a:extLst>
              <a:ext uri="{FF2B5EF4-FFF2-40B4-BE49-F238E27FC236}">
                <a16:creationId xmlns:a16="http://schemas.microsoft.com/office/drawing/2014/main" id="{37A6A2BE-E7A5-2217-AA78-405EF01564D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463800" y="4606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0099830-1705-4566-95FA-54E83FB0F270}" type="datetime'''''''''''''''''''山''''''''''''''''''''西'''''''''''''''''">
              <a:rPr lang="zh-CN" altLang="en-US" sz="1000" smtClean="0"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5A0F4AD8-4386-2B0E-FEDE-DA2293ECF5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06613" y="43164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530D07-EA2B-4DB2-AF45-76B4E2C9AA4D}" type="datetime'安''''''''''''''''''徽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27" name="Text Placeholder 3">
            <a:extLst>
              <a:ext uri="{FF2B5EF4-FFF2-40B4-BE49-F238E27FC236}">
                <a16:creationId xmlns:a16="http://schemas.microsoft.com/office/drawing/2014/main" id="{B9652F66-DDC4-BE85-47E0-650D07C339C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320800" y="448468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4D9BFE6-09D4-4101-83C3-8359CDBD1BA2}" type="datetime'''''''''''''''''''''''''''''''''''''''''''''河''南'">
              <a:rPr lang="zh-CN" altLang="en-US" sz="1000" smtClean="0">
                <a:effectLst/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AF0DA72-584E-3CA3-050D-6A3BCF2C507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470150" y="47942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E652D79-4936-4398-924C-DFC63DBA88CD}" type="datetime'''''''''''''''''''''''''''山''''''东''''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29" name="Text Placeholder 3">
            <a:extLst>
              <a:ext uri="{FF2B5EF4-FFF2-40B4-BE49-F238E27FC236}">
                <a16:creationId xmlns:a16="http://schemas.microsoft.com/office/drawing/2014/main" id="{F724639B-1DB7-F7C8-D3A5-7423D9757E0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00238" y="45656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DAE917-57CE-4B4F-A30F-7D6C4E9EA14E}" type="datetime'''''''''新''''''''''疆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51C5CFD9-6D58-115C-D830-C862AFDF25D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889250" y="40719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E5AE91-2324-4565-895E-D406BBEFAB58}" type="datetime'''''''''''''''江''''西''''''''''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2" name="Text Placeholder 3">
            <a:extLst>
              <a:ext uri="{FF2B5EF4-FFF2-40B4-BE49-F238E27FC236}">
                <a16:creationId xmlns:a16="http://schemas.microsoft.com/office/drawing/2014/main" id="{CB1EE45F-9DDB-7EAD-3A9A-43D8444B254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858963" y="38449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D0CE59B-6AB5-46FD-B2AA-DEE79ACB5190}" type="datetime'''''''''''''''福建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3" name="Text Placeholder 3">
            <a:extLst>
              <a:ext uri="{FF2B5EF4-FFF2-40B4-BE49-F238E27FC236}">
                <a16:creationId xmlns:a16="http://schemas.microsoft.com/office/drawing/2014/main" id="{2936897C-AB8B-542F-6763-37919CD0F7A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827338" y="4962525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4134E6-7F08-45E7-AE7B-A254229076A2}" type="datetime'''''''黑''''龙江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4" name="Text Placeholder 3">
            <a:extLst>
              <a:ext uri="{FF2B5EF4-FFF2-40B4-BE49-F238E27FC236}">
                <a16:creationId xmlns:a16="http://schemas.microsoft.com/office/drawing/2014/main" id="{A1407B04-5FCF-FDB2-97F4-DCDBE288FA2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947863" y="4122738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98E9C0-737B-410C-9860-1B8C9C400C28}" type="datetime'''''''''''''''''天''''''''''''''''''''津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5" name="Text Placeholder 3">
            <a:extLst>
              <a:ext uri="{FF2B5EF4-FFF2-40B4-BE49-F238E27FC236}">
                <a16:creationId xmlns:a16="http://schemas.microsoft.com/office/drawing/2014/main" id="{FFC69DA2-ADB5-9954-EE06-D85D98D6F4A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58975" y="47339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5818B4E-095D-4616-95DF-05EC2EF9AC30}" type="datetime'''''''''河''''''''北''''''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673A5B7D-71A6-4607-4F84-791D2DB5E0B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2035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D9825EF-9D9D-466D-8238-B9AEBEB5DA87}" type="datetime'''''''''''''毛''''''''销''售额''''增''''''长''率''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1E1D689-7FBB-4BCD-C510-0F885DF71CC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568700" y="46863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E92F4E5-6133-4319-8207-D153CC4847E3}" type="datetime'''''''''''''''吉''''''''''''''''''''''''''''''''''''''''''林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8B1F68A3-AB38-441A-5BFF-C27BF740844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81050" y="54419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CE342D-2472-4AE8-9CD1-F994054A8903}" type="datetime'''''湖''''''''''''''''''''''''''''''''''''南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D03005C9-60B3-45BF-3F5A-4579DF34242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33625" y="38084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4D6183-A67C-4F65-90AE-5170538CAB01}" type="datetime'重''''''''''''庆'''''''''''''''''''''''''''''''''''''''">
              <a:rPr lang="zh-CN" altLang="en-US" sz="1000" smtClean="0"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5FAD2C75-515A-449A-B549-66641A30B52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174750" y="52736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9A9B37-2986-4E09-856D-19CA973D100E}" type="datetime'''''''''''''''''云''''''''''''''''''''''''''''''''南''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40" name="Text Placeholder 3">
            <a:extLst>
              <a:ext uri="{FF2B5EF4-FFF2-40B4-BE49-F238E27FC236}">
                <a16:creationId xmlns:a16="http://schemas.microsoft.com/office/drawing/2014/main" id="{0985CB23-16A3-5ED6-2FE9-A102B596388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800225" y="5046663"/>
            <a:ext cx="415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F2E5E9E-995B-4668-94EE-51EBCFB500CE}" type="datetime'''''''''''''''''''''''''内''''''''蒙''''''''古'''''''">
              <a:rPr lang="zh-CN" altLang="en-US" sz="1000" smtClean="0">
                <a:effectLst/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98B018DF-A61B-4027-241F-0E94CEC65DF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61988" y="47942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F5A395C-43E1-450B-91F0-C91FDE3E77AC}" type="datetime'''''''''广''''''''''''''''''''''''''''''''''''西'''''''''''">
              <a:rPr lang="zh-CN" altLang="en-US" sz="1000" smtClean="0"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0128CF18-C4F7-C53D-C7EA-CC33822F006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392238" y="50228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98CD6B-C188-4EAB-8262-B5F5BDA25E3F}" type="datetime'''''''''''''''甘''''''''''''''''''''''肃''''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3EA106B9-868F-FE21-329F-042FC18EEE0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36613" y="45958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39C3B99-04D7-4904-B4D2-AA1353499C59}" type="datetime'''''''''''''''''贵''州''''''''''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4" name="Text Placeholder 3">
            <a:extLst>
              <a:ext uri="{FF2B5EF4-FFF2-40B4-BE49-F238E27FC236}">
                <a16:creationId xmlns:a16="http://schemas.microsoft.com/office/drawing/2014/main" id="{AA0EBB06-D023-9BE0-2A89-DCB70DF6E1E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603500" y="35337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C2899D-2EDE-4A43-9881-53AE72865231}" type="datetime'''''宁''''''''''''夏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98FBE664-FC46-F470-6D8D-564AA49CB5D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665288" y="43021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D36CD23-999A-4B5A-BE81-EDB37780BCD0}" type="datetime'''''''''''''''海''''''''''''''''''''''''''''南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330" name="Text Placeholder 3">
            <a:extLst>
              <a:ext uri="{FF2B5EF4-FFF2-40B4-BE49-F238E27FC236}">
                <a16:creationId xmlns:a16="http://schemas.microsoft.com/office/drawing/2014/main" id="{97848703-C65B-7CB5-96D3-A0FFC2E7657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609725" y="44704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A480D8-DD73-4445-9C81-EB2B476C286F}" type="datetime'''四''''''''''''''''''''''''''''川'''''''''''">
              <a:rPr lang="zh-CN" altLang="en-US" sz="1000" smtClean="0">
                <a:effectLst/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935" name="直接连接符 934">
            <a:extLst>
              <a:ext uri="{FF2B5EF4-FFF2-40B4-BE49-F238E27FC236}">
                <a16:creationId xmlns:a16="http://schemas.microsoft.com/office/drawing/2014/main" id="{AEBC4455-EB10-DF8D-935F-99E3B7D23CA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5651500" y="2020888"/>
            <a:ext cx="0" cy="3783012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1" name="直接连接符 940">
            <a:extLst>
              <a:ext uri="{FF2B5EF4-FFF2-40B4-BE49-F238E27FC236}">
                <a16:creationId xmlns:a16="http://schemas.microsoft.com/office/drawing/2014/main" id="{B72D839C-616B-A46A-F51F-7A87B67DC842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7869238" y="2020888"/>
            <a:ext cx="0" cy="3783012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07939D15-40A5-33C9-E1DE-B63720B7D94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4543425" y="4384675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0CECBB9-4E15-E946-8D84-72926B9110A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4543425" y="2020888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13800CDF-8FC6-812A-2A82-12E7C2A2E245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872913636"/>
              </p:ext>
            </p:extLst>
          </p:nvPr>
        </p:nvGraphicFramePr>
        <p:xfrm>
          <a:off x="3981450" y="1865313"/>
          <a:ext cx="4210050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62D6EA97-4BC7-5AE8-1063-5DED4D8937CA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5470525" y="3954463"/>
            <a:ext cx="73025" cy="33337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A2223B67-6505-151D-7BDB-6E92482021CB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 flipH="1">
            <a:off x="5680075" y="3733800"/>
            <a:ext cx="242888" cy="2428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06272341-AD7B-A94B-D677-151995780183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5481638" y="4083050"/>
            <a:ext cx="53975" cy="111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04132D6F-EC6D-BA06-7C3D-4AC440ACC5C1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 flipH="1">
            <a:off x="5538788" y="4195763"/>
            <a:ext cx="422275" cy="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4120BB28-18F4-2A35-7ABD-4470D89EFAE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5411788" y="3689350"/>
            <a:ext cx="98425" cy="18573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599FAEAA-DD1A-C0A2-D085-6BAE865F7DB3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 flipH="1" flipV="1">
            <a:off x="5635625" y="4699000"/>
            <a:ext cx="65088" cy="65088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6BCFB98-9257-7EB5-A751-AD7A15F2BF0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 flipV="1">
            <a:off x="5387975" y="4614863"/>
            <a:ext cx="38100" cy="920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4FE7FE6F-A984-10DB-9F8F-47FA2FC420C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 flipV="1">
            <a:off x="5503863" y="4618038"/>
            <a:ext cx="25400" cy="2571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F94C5D08-2350-ABCA-9FF2-F76F6D093E1B}"/>
              </a:ext>
            </a:extLst>
          </p:cNvPr>
          <p:cNvCxnSpPr>
            <a:cxnSpLocks/>
          </p:cNvCxnSpPr>
          <p:nvPr>
            <p:custDataLst>
              <p:tags r:id="rId53"/>
            </p:custDataLst>
          </p:nvPr>
        </p:nvCxnSpPr>
        <p:spPr bwMode="gray">
          <a:xfrm>
            <a:off x="4991100" y="4395789"/>
            <a:ext cx="53975" cy="539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7" name="Text Placeholder 3">
            <a:extLst>
              <a:ext uri="{FF2B5EF4-FFF2-40B4-BE49-F238E27FC236}">
                <a16:creationId xmlns:a16="http://schemas.microsoft.com/office/drawing/2014/main" id="{874197E4-1191-8E5B-40F6-2EC0E234DB92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142163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6D7BC20-24CF-465B-A7CD-6774CDE19872}" type="datetime'''''''毛销''售额''''''''''''''''''''''增''''''''''长''''''''''率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8" name="Text Placeholder 3">
            <a:extLst>
              <a:ext uri="{FF2B5EF4-FFF2-40B4-BE49-F238E27FC236}">
                <a16:creationId xmlns:a16="http://schemas.microsoft.com/office/drawing/2014/main" id="{D7325B82-5F34-B9B4-72FB-6F9DB950212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672138" y="41973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A7A288-75E4-4CC1-A372-D1A43781F092}" type="datetime'''''''''''''''''''''''''''''''''''浙''江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9" name="Text Placeholder 3">
            <a:extLst>
              <a:ext uri="{FF2B5EF4-FFF2-40B4-BE49-F238E27FC236}">
                <a16:creationId xmlns:a16="http://schemas.microsoft.com/office/drawing/2014/main" id="{3C151F1D-9F92-3595-8115-A29904D495B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018213" y="31654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332665-399F-466F-B7FA-0CBB88A446B2}" type="datetime'''''''''''''''北''''京''''''''''''''''''''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0" name="Text Placeholder 3">
            <a:extLst>
              <a:ext uri="{FF2B5EF4-FFF2-40B4-BE49-F238E27FC236}">
                <a16:creationId xmlns:a16="http://schemas.microsoft.com/office/drawing/2014/main" id="{03E17B7A-A7D8-E497-3F23-492D5BC195F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907088" y="27876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ACE8B8-1C13-486B-AA91-C2F62B43C388}" type="datetime'''''''''''''''''''''''辽''''''''''宁''''''''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1" name="Text Placeholder 3">
            <a:extLst>
              <a:ext uri="{FF2B5EF4-FFF2-40B4-BE49-F238E27FC236}">
                <a16:creationId xmlns:a16="http://schemas.microsoft.com/office/drawing/2014/main" id="{E0E392E6-F360-9C56-2ABA-368A34D1538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862638" y="35655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1FB992-F766-468C-ADC8-413DE1EDC454}" type="datetime'''''''''广''东''''''''''''''''''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8" name="Text Placeholder 3">
            <a:extLst>
              <a:ext uri="{FF2B5EF4-FFF2-40B4-BE49-F238E27FC236}">
                <a16:creationId xmlns:a16="http://schemas.microsoft.com/office/drawing/2014/main" id="{A18C5277-1C25-4B37-5F55-0DD83FC35E3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289425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5F5A3E-87DB-4CD8-86FA-05C945551B41}" type="datetime'''''''''''''''''''''''''''''''份额''''''''''变''化''''''''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2" name="Text Placeholder 3">
            <a:extLst>
              <a:ext uri="{FF2B5EF4-FFF2-40B4-BE49-F238E27FC236}">
                <a16:creationId xmlns:a16="http://schemas.microsoft.com/office/drawing/2014/main" id="{0816A8A9-7B30-1A9B-9756-1FE0DC24E42D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062663" y="39227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C599A9-5869-443F-A21A-19CF7F73B1CB}" type="datetime'''''''''江''''''''''''''''''苏'''">
              <a:rPr lang="zh-CN" altLang="en-US" sz="1000" smtClean="0"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3" name="Text Placeholder 3">
            <a:extLst>
              <a:ext uri="{FF2B5EF4-FFF2-40B4-BE49-F238E27FC236}">
                <a16:creationId xmlns:a16="http://schemas.microsoft.com/office/drawing/2014/main" id="{47167AED-5E9C-ADC4-B9DC-986C1143979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302375" y="23145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5DC884A-7C69-4448-AC81-26A537B6E78E}" type="datetime'''''''''''上''''''''''''''''''''''''''''''''''''''海''''''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4" name="Text Placeholder 3">
            <a:extLst>
              <a:ext uri="{FF2B5EF4-FFF2-40B4-BE49-F238E27FC236}">
                <a16:creationId xmlns:a16="http://schemas.microsoft.com/office/drawing/2014/main" id="{1768E56F-C084-9448-DCCC-450292DDF09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192713" y="39703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57855BA-E5C5-4D71-A5E7-D720E58F690E}" type="datetime'''''''''''''''''''''''湖北''''''''''''''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5" name="Text Placeholder 3">
            <a:extLst>
              <a:ext uri="{FF2B5EF4-FFF2-40B4-BE49-F238E27FC236}">
                <a16:creationId xmlns:a16="http://schemas.microsoft.com/office/drawing/2014/main" id="{36485316-DDF8-1361-A16F-D6A5480C711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4833938" y="54356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D8D1132-F431-4805-AF77-396D070ACAA2}" type="datetime'''''''''陕''''''''''''''''''西''''''''''''''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36" name="Text Placeholder 3">
            <a:extLst>
              <a:ext uri="{FF2B5EF4-FFF2-40B4-BE49-F238E27FC236}">
                <a16:creationId xmlns:a16="http://schemas.microsoft.com/office/drawing/2014/main" id="{454EB040-36DC-BC74-8F5D-3DF7734B5EE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5667375" y="43656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D098F7-CDEA-4915-BC06-AD31C6223660}" type="datetime'''''''山''''''西'''''''''''''">
              <a:rPr lang="zh-CN" altLang="en-US" sz="1000" smtClean="0">
                <a:effectLst/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9" name="Text Placeholder 3">
            <a:extLst>
              <a:ext uri="{FF2B5EF4-FFF2-40B4-BE49-F238E27FC236}">
                <a16:creationId xmlns:a16="http://schemas.microsoft.com/office/drawing/2014/main" id="{4BE39877-04FA-F3AF-C7A3-8D449D734B91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351463" y="48752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805B2D-AEF3-4BC5-9E24-6758BAE76F3D}" type="datetime'''''''河''''''''''''''''''''''''''南''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0" name="Text Placeholder 3">
            <a:extLst>
              <a:ext uri="{FF2B5EF4-FFF2-40B4-BE49-F238E27FC236}">
                <a16:creationId xmlns:a16="http://schemas.microsoft.com/office/drawing/2014/main" id="{B36F095A-B089-A2FE-6396-F0F2E341A40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911850" y="45847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0F89531-DC3D-4C4D-800A-01DA40BDB08E}" type="datetime'''''''''''''''''''''山东'''''''''''''''''''''''''''''''''''''">
              <a:rPr lang="zh-CN" altLang="en-US" sz="1000" smtClean="0"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8" name="Text Placeholder 3">
            <a:extLst>
              <a:ext uri="{FF2B5EF4-FFF2-40B4-BE49-F238E27FC236}">
                <a16:creationId xmlns:a16="http://schemas.microsoft.com/office/drawing/2014/main" id="{6C9B0974-93F7-27D0-D38F-26C76FC5EF5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962650" y="3733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F8BF507-4A96-4615-A698-4AAC6C4D448F}" type="datetime'''''''''''''''''''''安''''''''''''''''''''''徽'''''''''">
              <a:rPr lang="zh-CN" altLang="en-US" sz="1000" smtClean="0"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4" name="Text Placeholder 3">
            <a:extLst>
              <a:ext uri="{FF2B5EF4-FFF2-40B4-BE49-F238E27FC236}">
                <a16:creationId xmlns:a16="http://schemas.microsoft.com/office/drawing/2014/main" id="{669E0C6E-08F0-661B-B965-9CC95A57223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724400" y="5057775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8F467C9-B3AC-49A4-8604-48DAB954B2B2}" type="datetime'''''''''''''''''黑''''''''''''''龙''''''''江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5" name="Text Placeholder 3">
            <a:extLst>
              <a:ext uri="{FF2B5EF4-FFF2-40B4-BE49-F238E27FC236}">
                <a16:creationId xmlns:a16="http://schemas.microsoft.com/office/drawing/2014/main" id="{C8D9801A-B7CE-1349-9EBB-576070BEACF8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221288" y="35210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42F048-9C7B-41DF-872E-905BAB8F9377}" type="datetime'''天''''''''津''''''''''''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3" name="Text Placeholder 3">
            <a:extLst>
              <a:ext uri="{FF2B5EF4-FFF2-40B4-BE49-F238E27FC236}">
                <a16:creationId xmlns:a16="http://schemas.microsoft.com/office/drawing/2014/main" id="{6415C43A-613A-D867-1626-D658795C9A95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961063" y="4111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ADB3AC-B146-49A2-BAAF-C8D00AA48001}" type="datetime'''''江''''西'''''''''''''''''''''''''''''''''''''''''''''">
              <a:rPr lang="zh-CN" altLang="en-US" sz="1000" smtClean="0"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6" name="Text Placeholder 3">
            <a:extLst>
              <a:ext uri="{FF2B5EF4-FFF2-40B4-BE49-F238E27FC236}">
                <a16:creationId xmlns:a16="http://schemas.microsoft.com/office/drawing/2014/main" id="{1CC27C97-C7EF-5226-37FD-ACAC38D55461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091113" y="45386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698789D-1802-4E46-BCA7-1C0ECB62A9EB}" type="datetime'''河''''''''''''''''''''''''''北''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7" name="Text Placeholder 3">
            <a:extLst>
              <a:ext uri="{FF2B5EF4-FFF2-40B4-BE49-F238E27FC236}">
                <a16:creationId xmlns:a16="http://schemas.microsoft.com/office/drawing/2014/main" id="{D06979AC-D979-D05D-8B8F-B2A1149664A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7427913" y="26939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6BF5C5-FF23-46A7-BB4F-5C1677A75B35}" type="datetime'''''''吉''''''''''''''''''''''''''林''''''''''''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1" name="Text Placeholder 3">
            <a:extLst>
              <a:ext uri="{FF2B5EF4-FFF2-40B4-BE49-F238E27FC236}">
                <a16:creationId xmlns:a16="http://schemas.microsoft.com/office/drawing/2014/main" id="{F15FB5BD-41D9-FC56-4056-F95BC0214161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640388" y="47640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7D722C-5E83-4B40-BA60-AFA232031352}" type="datetime'''''''''''''''''''''新''''''''''''''疆''''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19" name="Text Placeholder 3">
            <a:extLst>
              <a:ext uri="{FF2B5EF4-FFF2-40B4-BE49-F238E27FC236}">
                <a16:creationId xmlns:a16="http://schemas.microsoft.com/office/drawing/2014/main" id="{41650593-5F73-8BD7-632C-C44087AEF7A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5510213" y="36861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8BC12C-B6D4-4647-9AF8-941DA475A159}" type="datetime'''''''''''''''''重''''庆'''''''''">
              <a:rPr lang="zh-CN" altLang="en-US" sz="1000" smtClean="0">
                <a:effectLst/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0" name="Text Placeholder 3">
            <a:extLst>
              <a:ext uri="{FF2B5EF4-FFF2-40B4-BE49-F238E27FC236}">
                <a16:creationId xmlns:a16="http://schemas.microsoft.com/office/drawing/2014/main" id="{6488793F-9092-060E-8774-C2A218C48A32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5189538" y="55768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203030C-7021-4DEE-9C6C-C02C1318FF8C}" type="datetime'''''''''''云''''''南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1" name="Text Placeholder 3">
            <a:extLst>
              <a:ext uri="{FF2B5EF4-FFF2-40B4-BE49-F238E27FC236}">
                <a16:creationId xmlns:a16="http://schemas.microsoft.com/office/drawing/2014/main" id="{F64B97A0-0E3B-DEA2-2503-F3AA9E3EAC4F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7237413" y="43957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8964D53-D0DF-4E63-AAA4-AD564BAC97D7}" type="datetime'''''内''''''''''''''''蒙''''''''''''古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2" name="Text Placeholder 3">
            <a:extLst>
              <a:ext uri="{FF2B5EF4-FFF2-40B4-BE49-F238E27FC236}">
                <a16:creationId xmlns:a16="http://schemas.microsoft.com/office/drawing/2014/main" id="{6B1A04D0-ED32-082B-472C-9B1F9069EE5F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4716463" y="48228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B703BC6-1EC7-48E1-A38D-BBDBCC0E0EA5}" type="datetime'''''''''''''''''''''''广''''''''''''''''''''西'''">
              <a:rPr lang="zh-CN" altLang="en-US" sz="1000" smtClean="0"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37" name="Text Placeholder 3">
            <a:extLst>
              <a:ext uri="{FF2B5EF4-FFF2-40B4-BE49-F238E27FC236}">
                <a16:creationId xmlns:a16="http://schemas.microsoft.com/office/drawing/2014/main" id="{B584C184-490C-61DF-A517-CFEE2F650475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5187950" y="52466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99B939E-46AE-4FCB-A295-157E1227ECEB}" type="datetime'湖''''''''''''''''''''''''''''''''''''''''''南''''''''''''''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42" name="Text Placeholder 3">
            <a:extLst>
              <a:ext uri="{FF2B5EF4-FFF2-40B4-BE49-F238E27FC236}">
                <a16:creationId xmlns:a16="http://schemas.microsoft.com/office/drawing/2014/main" id="{3423FDE9-7A62-BAE8-8648-4ECD14F2E4CE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148263" y="41497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636C25-E91B-4BE4-8222-6C45541B332D}" type="datetime'四''''''''''''''''''''''''''''川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4" name="Text Placeholder 3">
            <a:extLst>
              <a:ext uri="{FF2B5EF4-FFF2-40B4-BE49-F238E27FC236}">
                <a16:creationId xmlns:a16="http://schemas.microsoft.com/office/drawing/2014/main" id="{1CA5C230-8A2D-6181-0CA5-623667335323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679950" y="43957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93A1855-DAB6-4B4B-A93D-A0F995A45487}" type="datetime'''贵''''''''''''''''州''''''''''''''''''''''''''''''''''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6" name="Text Placeholder 3">
            <a:extLst>
              <a:ext uri="{FF2B5EF4-FFF2-40B4-BE49-F238E27FC236}">
                <a16:creationId xmlns:a16="http://schemas.microsoft.com/office/drawing/2014/main" id="{4AC950BE-9023-1016-31DA-A18A8FC05A43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762500" y="42275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0078693-8CC3-4B10-AAE8-ACF1025FF678}" type="datetime'海''''''''''''''''''''''''''''''''''''''''''''南''''''''''''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3" name="Text Placeholder 3">
            <a:extLst>
              <a:ext uri="{FF2B5EF4-FFF2-40B4-BE49-F238E27FC236}">
                <a16:creationId xmlns:a16="http://schemas.microsoft.com/office/drawing/2014/main" id="{6D153639-3087-C010-3E83-C2B97128E3E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5181600" y="38020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9CD31B-B676-496E-960A-6668A3AEA987}" type="datetime'''''''''''''''''''''''''''福''''''''''''''建''''''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23" name="Text Placeholder 3">
            <a:extLst>
              <a:ext uri="{FF2B5EF4-FFF2-40B4-BE49-F238E27FC236}">
                <a16:creationId xmlns:a16="http://schemas.microsoft.com/office/drawing/2014/main" id="{E731C32A-1E9E-CA25-8733-87C8E24E35BA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208588" y="47069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91A8DBC-91A4-49C4-B111-2A85096C9CEB}" type="datetime'''甘''肃''''''''''''''''''''''''''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749" name="直接连接符 748">
            <a:extLst>
              <a:ext uri="{FF2B5EF4-FFF2-40B4-BE49-F238E27FC236}">
                <a16:creationId xmlns:a16="http://schemas.microsoft.com/office/drawing/2014/main" id="{E5754D79-4B16-0112-36BD-2CB55B06C3C6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9899650" y="2020888"/>
            <a:ext cx="0" cy="3783013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60CD512F-ABF2-2B51-4F3E-F8B56C649F57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475663" y="2020888"/>
            <a:ext cx="3325812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0" name="直接连接符 749">
            <a:extLst>
              <a:ext uri="{FF2B5EF4-FFF2-40B4-BE49-F238E27FC236}">
                <a16:creationId xmlns:a16="http://schemas.microsoft.com/office/drawing/2014/main" id="{1504BFD2-D835-7135-92E3-3FF2C8087486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8475663" y="4722813"/>
            <a:ext cx="33258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E2978A49-B125-605A-A6EC-7C1674612B2D}"/>
              </a:ext>
            </a:extLst>
          </p:cNvPr>
          <p:cNvGraphicFramePr/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856028600"/>
              </p:ext>
            </p:extLst>
          </p:nvPr>
        </p:nvGraphicFramePr>
        <p:xfrm>
          <a:off x="8018463" y="1865313"/>
          <a:ext cx="4070350" cy="431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8"/>
          </a:graphicData>
        </a:graphic>
      </p:graphicFrame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7709F4E-1C80-B89B-4469-ACD5DD83EB99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 flipH="1" flipV="1">
            <a:off x="9801225" y="5067300"/>
            <a:ext cx="127000" cy="666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587CD143-682F-B140-E475-317630EF739D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 flipV="1">
            <a:off x="11695113" y="4645025"/>
            <a:ext cx="28575" cy="28575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0" name="直接连接符 559">
            <a:extLst>
              <a:ext uri="{FF2B5EF4-FFF2-40B4-BE49-F238E27FC236}">
                <a16:creationId xmlns:a16="http://schemas.microsoft.com/office/drawing/2014/main" id="{4FF9246C-8F4A-299E-2A8A-1B5B8F9F0B6C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gray">
          <a:xfrm flipV="1">
            <a:off x="11007725" y="5033962"/>
            <a:ext cx="7938" cy="3175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1" name="直接连接符 560">
            <a:extLst>
              <a:ext uri="{FF2B5EF4-FFF2-40B4-BE49-F238E27FC236}">
                <a16:creationId xmlns:a16="http://schemas.microsoft.com/office/drawing/2014/main" id="{8341DDF2-0EBE-FE2D-ECB4-C75F978C3DD2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9270999" y="4856162"/>
            <a:ext cx="134938" cy="63500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84583B8C-874F-EAA1-AE91-C7EA3BB64C49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 flipH="1">
            <a:off x="9459914" y="4549775"/>
            <a:ext cx="100013" cy="188913"/>
          </a:xfrm>
          <a:prstGeom prst="line">
            <a:avLst/>
          </a:prstGeom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5" name="Text Placeholder 3">
            <a:extLst>
              <a:ext uri="{FF2B5EF4-FFF2-40B4-BE49-F238E27FC236}">
                <a16:creationId xmlns:a16="http://schemas.microsoft.com/office/drawing/2014/main" id="{05D54567-A863-869A-1C66-6233A68151CC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8524875" y="48196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14AFFD9-77DA-43AD-8265-BDA2E554C220}" type="datetime'''''''北''''京'''''''''''''''''">
              <a:rPr lang="zh-CN" altLang="en-US" sz="1000" smtClean="0">
                <a:latin typeface="+mn-lt"/>
                <a:cs typeface="+mn-cs"/>
              </a:rPr>
              <a:pPr/>
              <a:t>北京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6" name="Text Placeholder 3">
            <a:extLst>
              <a:ext uri="{FF2B5EF4-FFF2-40B4-BE49-F238E27FC236}">
                <a16:creationId xmlns:a16="http://schemas.microsoft.com/office/drawing/2014/main" id="{62B24168-93B8-21EE-DF1F-233C46D3CBE9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10183813" y="45497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7C2AB9-EAEB-435A-979D-6A0373E43194}" type="datetime'''''''''''''辽''''宁'''''''''''''''''''''''">
              <a:rPr lang="zh-CN" altLang="en-US" sz="1000" smtClean="0">
                <a:latin typeface="+mn-lt"/>
                <a:cs typeface="+mn-cs"/>
              </a:rPr>
              <a:pPr/>
              <a:t>辽宁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7" name="Text Placeholder 3">
            <a:extLst>
              <a:ext uri="{FF2B5EF4-FFF2-40B4-BE49-F238E27FC236}">
                <a16:creationId xmlns:a16="http://schemas.microsoft.com/office/drawing/2014/main" id="{A177C4AE-F6A9-DC48-35BA-B2AAB9363747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8482013" y="52689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FF1480-6516-42AB-B42C-4E98C7820A24}" type="datetime'''''广''''''''''''东'''''''''''''''''''''">
              <a:rPr lang="zh-CN" altLang="en-US" sz="1000" smtClean="0">
                <a:latin typeface="+mn-lt"/>
                <a:cs typeface="+mn-cs"/>
              </a:rPr>
              <a:pPr/>
              <a:t>广东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88" name="Text Placeholder 3">
            <a:extLst>
              <a:ext uri="{FF2B5EF4-FFF2-40B4-BE49-F238E27FC236}">
                <a16:creationId xmlns:a16="http://schemas.microsoft.com/office/drawing/2014/main" id="{2B040062-42AA-E312-9EF5-2009E1E014E1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9802813" y="433387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2F9EA0-F304-4839-A960-4CED2D1DF149}" type="datetime'''''''江''''苏'''''''''''''">
              <a:rPr lang="zh-CN" altLang="en-US" sz="1000" smtClean="0">
                <a:effectLst/>
                <a:latin typeface="+mn-lt"/>
                <a:cs typeface="+mn-cs"/>
              </a:rPr>
              <a:pPr/>
              <a:t>江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9" name="Text Placeholder 3">
            <a:extLst>
              <a:ext uri="{FF2B5EF4-FFF2-40B4-BE49-F238E27FC236}">
                <a16:creationId xmlns:a16="http://schemas.microsoft.com/office/drawing/2014/main" id="{B8D89960-EFAD-DACB-FCDF-EA38AE9A3F79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10780713" y="20986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2262417-70F2-4159-9270-776DC2534C8C}" type="datetime'''''''''''''''''''''''上''''''''''''''''''''''''''''''''''''海'">
              <a:rPr lang="zh-CN" altLang="en-US" sz="1000" smtClean="0">
                <a:latin typeface="+mn-lt"/>
                <a:cs typeface="+mn-cs"/>
              </a:rPr>
              <a:pPr/>
              <a:t>上海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0" name="Text Placeholder 3">
            <a:extLst>
              <a:ext uri="{FF2B5EF4-FFF2-40B4-BE49-F238E27FC236}">
                <a16:creationId xmlns:a16="http://schemas.microsoft.com/office/drawing/2014/main" id="{926CC40A-4B27-EAC5-61E0-F0AE7C27A468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10895013" y="4746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3B1321-A875-4C38-9073-07CBF3512363}" type="datetime'''''''''''''湖''''''''''''''''北'''''''''''''''''">
              <a:rPr lang="zh-CN" altLang="en-US" sz="1000" smtClean="0">
                <a:latin typeface="+mn-lt"/>
                <a:cs typeface="+mn-cs"/>
              </a:rPr>
              <a:pPr/>
              <a:t>湖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1" name="Text Placeholder 3">
            <a:extLst>
              <a:ext uri="{FF2B5EF4-FFF2-40B4-BE49-F238E27FC236}">
                <a16:creationId xmlns:a16="http://schemas.microsoft.com/office/drawing/2014/main" id="{E6E53F77-B171-D80A-73FE-F9CE7F5245C9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9317038" y="52784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8E86E36-469E-4D0A-8319-EBFA327E3FAC}" type="datetime'陕''''''''''''''''''''西'''''''''''''''">
              <a:rPr lang="zh-CN" altLang="en-US" sz="1000" smtClean="0">
                <a:latin typeface="+mn-lt"/>
                <a:cs typeface="+mn-cs"/>
              </a:rPr>
              <a:pPr/>
              <a:t>陕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2" name="Text Placeholder 3">
            <a:extLst>
              <a:ext uri="{FF2B5EF4-FFF2-40B4-BE49-F238E27FC236}">
                <a16:creationId xmlns:a16="http://schemas.microsoft.com/office/drawing/2014/main" id="{18F1605E-3A59-EB36-D44B-79A91E71E1E7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10501313" y="46196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6ABEFBB-3A2A-49FD-B180-BBA16D6D459E}" type="datetime'''''''''''''''''''''''''''''''''''''''山''''''''西'''''">
              <a:rPr lang="zh-CN" altLang="en-US" sz="1000" smtClean="0">
                <a:effectLst/>
                <a:latin typeface="+mn-lt"/>
                <a:cs typeface="+mn-cs"/>
              </a:rPr>
              <a:pPr/>
              <a:t>山西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4" name="Text Placeholder 3">
            <a:extLst>
              <a:ext uri="{FF2B5EF4-FFF2-40B4-BE49-F238E27FC236}">
                <a16:creationId xmlns:a16="http://schemas.microsoft.com/office/drawing/2014/main" id="{3A5FE75C-B221-7E18-5898-C46748EAFC85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9639300" y="525145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4D8182E-B9A2-4AAC-8500-9EE99244709E}" type="datetime'''''''''''''''''''''安''''''''''''徽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安徽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5" name="Text Placeholder 3">
            <a:extLst>
              <a:ext uri="{FF2B5EF4-FFF2-40B4-BE49-F238E27FC236}">
                <a16:creationId xmlns:a16="http://schemas.microsoft.com/office/drawing/2014/main" id="{7F0AE225-7CFD-EE74-8F01-0E0C19DAACFF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9170988" y="4495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2E3C16-9E9E-452D-A1E5-344CED36FE4B}" type="datetime'''''''''''''''河''''''''''南'''''''''''''''''''">
              <a:rPr lang="zh-CN" altLang="en-US" sz="1000" smtClean="0">
                <a:latin typeface="+mn-lt"/>
                <a:cs typeface="+mn-cs"/>
              </a:rPr>
              <a:pPr/>
              <a:t>河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6" name="Text Placeholder 3">
            <a:extLst>
              <a:ext uri="{FF2B5EF4-FFF2-40B4-BE49-F238E27FC236}">
                <a16:creationId xmlns:a16="http://schemas.microsoft.com/office/drawing/2014/main" id="{77825DD0-45C2-528B-5E2C-55AD1FBEDD27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9893300" y="4657725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BBE3A31-F3BB-4275-B283-558E213CF7E1}" type="datetime'山''''''''''东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山东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7" name="Text Placeholder 3">
            <a:extLst>
              <a:ext uri="{FF2B5EF4-FFF2-40B4-BE49-F238E27FC236}">
                <a16:creationId xmlns:a16="http://schemas.microsoft.com/office/drawing/2014/main" id="{86FBEDBC-CD30-D72C-1518-3DDEEB6F1FC8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9596438" y="45497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567E012-A428-4B13-BD54-7A942F82914B}" type="datetime'''''''''新''''''''''''''''''''''''''''''''''''疆'''''''">
              <a:rPr lang="zh-CN" altLang="en-US" sz="1000" smtClean="0">
                <a:latin typeface="+mn-lt"/>
                <a:cs typeface="+mn-cs"/>
              </a:rPr>
              <a:pPr/>
              <a:t>新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8" name="Text Placeholder 3">
            <a:extLst>
              <a:ext uri="{FF2B5EF4-FFF2-40B4-BE49-F238E27FC236}">
                <a16:creationId xmlns:a16="http://schemas.microsoft.com/office/drawing/2014/main" id="{4C315C27-1FED-C812-4DFE-8E488F1BD940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9928225" y="51276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A1878EC-1D2C-49A1-A8D0-88908B199EE5}" type="datetime'''四''''''''''川'''''''''''''''''''''''''''''''''''''''''''''''">
              <a:rPr lang="zh-CN" altLang="en-US" sz="1000" smtClean="0">
                <a:latin typeface="+mn-lt"/>
                <a:cs typeface="+mn-cs"/>
              </a:rPr>
              <a:pPr/>
              <a:t>四川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69" name="Text Placeholder 3">
            <a:extLst>
              <a:ext uri="{FF2B5EF4-FFF2-40B4-BE49-F238E27FC236}">
                <a16:creationId xmlns:a16="http://schemas.microsoft.com/office/drawing/2014/main" id="{5FACE895-04E1-31A3-F2F5-110C48CB07FB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10067925" y="409892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16137B4-CAD4-4006-8CB2-7C514E29F589}" type="datetime'''''''''''''''''''''''''''''''福''''''''''''''建'''''''''">
              <a:rPr lang="zh-CN" altLang="en-US" sz="1000" smtClean="0">
                <a:latin typeface="+mn-lt"/>
                <a:cs typeface="+mn-cs"/>
              </a:rPr>
              <a:pPr/>
              <a:t>福建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0" name="Text Placeholder 3">
            <a:extLst>
              <a:ext uri="{FF2B5EF4-FFF2-40B4-BE49-F238E27FC236}">
                <a16:creationId xmlns:a16="http://schemas.microsoft.com/office/drawing/2014/main" id="{B028AC69-D612-3475-EBA5-FDAF1C941BBF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11245850" y="4962525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EA2F26D-9AFC-4465-B912-F5AFD05D2A23}" type="datetime'''''''''''''''''''''''''''''黑龙''江'''''''''''''''''''''''''">
              <a:rPr lang="zh-CN" altLang="en-US" sz="1000" smtClean="0">
                <a:latin typeface="+mn-lt"/>
                <a:cs typeface="+mn-cs"/>
              </a:rPr>
              <a:pPr/>
              <a:t>黑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1" name="Text Placeholder 3">
            <a:extLst>
              <a:ext uri="{FF2B5EF4-FFF2-40B4-BE49-F238E27FC236}">
                <a16:creationId xmlns:a16="http://schemas.microsoft.com/office/drawing/2014/main" id="{986C029F-C2C0-25F3-1211-4D7F7B520002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11476038" y="43878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115FD94-86EB-4FEE-AAB0-EA0A758871C0}" type="datetime'''''''''天''''''''''''''''''''''''''''''''''津'''''''''''">
              <a:rPr lang="zh-CN" altLang="en-US" sz="1000" smtClean="0">
                <a:latin typeface="+mn-lt"/>
                <a:cs typeface="+mn-cs"/>
              </a:rPr>
              <a:pPr/>
              <a:t>天津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2" name="Text Placeholder 3">
            <a:extLst>
              <a:ext uri="{FF2B5EF4-FFF2-40B4-BE49-F238E27FC236}">
                <a16:creationId xmlns:a16="http://schemas.microsoft.com/office/drawing/2014/main" id="{26F0ABD3-E906-DC97-F963-285553D29028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9934575" y="49530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69CC44-BE86-4756-9587-ABA015DE6099}" type="datetime'''''''''''河''''''''''北'''''''''''''''''''''''''''''''''''''''">
              <a:rPr lang="zh-CN" altLang="en-US" sz="1000" smtClean="0">
                <a:latin typeface="+mn-lt"/>
                <a:cs typeface="+mn-cs"/>
              </a:rPr>
              <a:pPr/>
              <a:t>河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3" name="Text Placeholder 3">
            <a:extLst>
              <a:ext uri="{FF2B5EF4-FFF2-40B4-BE49-F238E27FC236}">
                <a16:creationId xmlns:a16="http://schemas.microsoft.com/office/drawing/2014/main" id="{B015116A-034B-BD9C-F787-D0467FE037B8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0842625" y="506571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1920CC-DFF5-4F26-BDA3-674ED134674F}" type="datetime'''''''''''''''''''吉''林'''''''''''''''''''''''''''''''''''">
              <a:rPr lang="zh-CN" altLang="en-US" sz="1000" smtClean="0">
                <a:latin typeface="+mn-lt"/>
                <a:cs typeface="+mn-cs"/>
              </a:rPr>
              <a:pPr/>
              <a:t>吉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3" name="Text Placeholder 3">
            <a:extLst>
              <a:ext uri="{FF2B5EF4-FFF2-40B4-BE49-F238E27FC236}">
                <a16:creationId xmlns:a16="http://schemas.microsoft.com/office/drawing/2014/main" id="{854BFB23-AAD4-9855-CDA7-C8B9168B65B9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11039475" y="6169025"/>
            <a:ext cx="889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AA90F99-0265-485C-8ABA-B5B7B9C2F7C1}" type="datetime'''''''''毛''''''''销''''''售额''''''''增''长''''''''率'">
              <a:rPr lang="zh-CN" altLang="en-US" sz="1000" smtClean="0">
                <a:latin typeface="+mn-lt"/>
                <a:cs typeface="+mn-cs"/>
              </a:rPr>
              <a:pPr/>
              <a:t>毛销售额增长率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93" name="Text Placeholder 3">
            <a:extLst>
              <a:ext uri="{FF2B5EF4-FFF2-40B4-BE49-F238E27FC236}">
                <a16:creationId xmlns:a16="http://schemas.microsoft.com/office/drawing/2014/main" id="{9A51F97C-36F2-FDC5-9663-10E55A136A8F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8828088" y="54371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EF1E9D-259C-4B34-8DF7-08986D2FAE6F}" type="datetime'''''''''''''''''湖''''''''''''南'''''''''''''''''''''''''">
              <a:rPr lang="zh-CN" altLang="en-US" sz="1000" smtClean="0">
                <a:latin typeface="+mn-lt"/>
                <a:cs typeface="+mn-cs"/>
              </a:rPr>
              <a:pPr/>
              <a:t>湖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5" name="Text Placeholder 3">
            <a:extLst>
              <a:ext uri="{FF2B5EF4-FFF2-40B4-BE49-F238E27FC236}">
                <a16:creationId xmlns:a16="http://schemas.microsoft.com/office/drawing/2014/main" id="{1DF3A903-21F8-6C7D-7CE4-5A67DAAF59C2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10312400" y="4943475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7231E79-FB31-4008-BFFE-47907317D46B}" type="datetime'''''''''''''''''重''''''''''''''''''庆'''">
              <a:rPr lang="zh-CN" altLang="en-US" sz="1000" smtClean="0">
                <a:latin typeface="+mn-lt"/>
                <a:cs typeface="+mn-cs"/>
              </a:rPr>
              <a:pPr/>
              <a:t>重庆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6" name="Text Placeholder 3">
            <a:extLst>
              <a:ext uri="{FF2B5EF4-FFF2-40B4-BE49-F238E27FC236}">
                <a16:creationId xmlns:a16="http://schemas.microsoft.com/office/drawing/2014/main" id="{AFD63578-60A2-DD58-0FB4-97B7680C4D43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8896350" y="4970463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5FE8E1-4C00-4AD0-84CA-41F45E733CD1}" type="datetime'''''''''''''云''''''''''''''''''''''''''''南'''''''''''''">
              <a:rPr lang="zh-CN" altLang="en-US" sz="1000" smtClean="0">
                <a:latin typeface="+mn-lt"/>
                <a:cs typeface="+mn-cs"/>
              </a:rPr>
              <a:pPr/>
              <a:t>云南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7" name="Text Placeholder 3">
            <a:extLst>
              <a:ext uri="{FF2B5EF4-FFF2-40B4-BE49-F238E27FC236}">
                <a16:creationId xmlns:a16="http://schemas.microsoft.com/office/drawing/2014/main" id="{D21BD7E2-280E-2B57-7391-5E492FF06250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8901113" y="5145088"/>
            <a:ext cx="415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BE0E016-D9A4-492D-9690-A07344BD8E14}" type="datetime'''''''''''''内''''''''蒙''''''''''''''''古'''''''''''''''''">
              <a:rPr lang="zh-CN" altLang="en-US" sz="1000" smtClean="0">
                <a:latin typeface="+mn-lt"/>
                <a:cs typeface="+mn-cs"/>
              </a:rPr>
              <a:pPr/>
              <a:t>内蒙古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78" name="Text Placeholder 3">
            <a:extLst>
              <a:ext uri="{FF2B5EF4-FFF2-40B4-BE49-F238E27FC236}">
                <a16:creationId xmlns:a16="http://schemas.microsoft.com/office/drawing/2014/main" id="{2D5A50F2-303C-B5B3-E83E-2B21B0DE4746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8982075" y="4703763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258A74B-C557-4BBB-B903-41981111C498}" type="datetime'''''广''''西'''''''''''''''''''''''''''''''''''''''''''''''''">
              <a:rPr lang="zh-CN" altLang="en-US" sz="1000" smtClean="0">
                <a:effectLst/>
                <a:latin typeface="+mn-lt"/>
                <a:cs typeface="+mn-cs"/>
              </a:rPr>
              <a:pPr/>
              <a:t>广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4" name="Text Placeholder 3">
            <a:extLst>
              <a:ext uri="{FF2B5EF4-FFF2-40B4-BE49-F238E27FC236}">
                <a16:creationId xmlns:a16="http://schemas.microsoft.com/office/drawing/2014/main" id="{A71FF79D-4E07-C481-BD39-21F5F902835A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8221663" y="1643063"/>
            <a:ext cx="5080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4521B2-6287-446E-9102-E8CB70607183}" type="datetime'''''''份''''''''''''''''额''''''''''''''''''''''''''''''''变化'''">
              <a:rPr lang="zh-CN" altLang="en-US" sz="1000" smtClean="0">
                <a:latin typeface="+mn-lt"/>
                <a:cs typeface="+mn-cs"/>
              </a:rPr>
              <a:pPr/>
              <a:t>份额变化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9" name="Text Placeholder 3">
            <a:extLst>
              <a:ext uri="{FF2B5EF4-FFF2-40B4-BE49-F238E27FC236}">
                <a16:creationId xmlns:a16="http://schemas.microsoft.com/office/drawing/2014/main" id="{E06377FE-E18D-25D2-770F-A3738171E628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9526588" y="555783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1EF1608-4564-432B-B6EA-9D03896FCBA0}" type="datetime'''''''''甘''''''''''肃'''''''''''''''''''''''">
              <a:rPr lang="zh-CN" altLang="en-US" sz="1000" smtClean="0">
                <a:latin typeface="+mn-lt"/>
                <a:cs typeface="+mn-cs"/>
              </a:rPr>
              <a:pPr/>
              <a:t>甘肃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0" name="Text Placeholder 3">
            <a:extLst>
              <a:ext uri="{FF2B5EF4-FFF2-40B4-BE49-F238E27FC236}">
                <a16:creationId xmlns:a16="http://schemas.microsoft.com/office/drawing/2014/main" id="{C01DF26D-3919-1EB0-E7C8-540F721BE058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9461500" y="43815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912BB60-DB03-493D-8B06-71818F1CE00C}" type="datetime'贵''''''''''''''''州'''''">
              <a:rPr lang="zh-CN" altLang="en-US" sz="1000" smtClean="0">
                <a:latin typeface="+mn-lt"/>
                <a:cs typeface="+mn-cs"/>
              </a:rPr>
              <a:pPr/>
              <a:t>贵州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74" name="Text Placeholder 3">
            <a:extLst>
              <a:ext uri="{FF2B5EF4-FFF2-40B4-BE49-F238E27FC236}">
                <a16:creationId xmlns:a16="http://schemas.microsoft.com/office/drawing/2014/main" id="{319B248F-2EB4-3C61-96FA-73FCFFB50B64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9117013" y="5576888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971919-BA42-473A-9AB8-54A43B325C9C}" type="datetime'''''''''''''''''''浙''''''''''''''''江'''''''''''''''''''">
              <a:rPr lang="zh-CN" altLang="en-US" sz="1000" smtClean="0">
                <a:latin typeface="+mn-lt"/>
                <a:cs typeface="+mn-cs"/>
              </a:rPr>
              <a:pPr/>
              <a:t>浙江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1" name="Text Placeholder 3">
            <a:extLst>
              <a:ext uri="{FF2B5EF4-FFF2-40B4-BE49-F238E27FC236}">
                <a16:creationId xmlns:a16="http://schemas.microsoft.com/office/drawing/2014/main" id="{258F8395-90C7-0352-D7D8-1615EE0639DD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10752138" y="404495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4E1952D-5787-4018-96C5-0E404B9D9F1D}" type="datetime'''宁''''''''''''''''''''''''夏'''''''''''''''''''''''''''''">
              <a:rPr lang="zh-CN" altLang="en-US" sz="1000" smtClean="0">
                <a:latin typeface="+mn-lt"/>
                <a:cs typeface="+mn-cs"/>
              </a:rPr>
              <a:pPr/>
              <a:t>宁夏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82" name="Text Placeholder 3">
            <a:extLst>
              <a:ext uri="{FF2B5EF4-FFF2-40B4-BE49-F238E27FC236}">
                <a16:creationId xmlns:a16="http://schemas.microsoft.com/office/drawing/2014/main" id="{DE74952A-DC18-75DC-AAFD-5BDA3414273B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0694988" y="4368800"/>
            <a:ext cx="2889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23D24EF-CA81-4F19-956C-75921B963770}" type="datetime'''''海''''南'">
              <a:rPr lang="zh-CN" altLang="en-US" sz="1000" smtClean="0">
                <a:latin typeface="+mn-lt"/>
                <a:cs typeface="+mn-cs"/>
              </a:rPr>
              <a:pPr/>
              <a:t>海南</a:t>
            </a:fld>
            <a:endParaRPr lang="en-US" sz="1000" dirty="0">
              <a:latin typeface="+mn-lt"/>
              <a:cs typeface="+mn-cs"/>
            </a:endParaRPr>
          </a:p>
        </p:txBody>
      </p:sp>
      <p:sp useBgFill="1">
        <p:nvSpPr>
          <p:cNvPr id="799" name="Text Placeholder 3">
            <a:extLst>
              <a:ext uri="{FF2B5EF4-FFF2-40B4-BE49-F238E27FC236}">
                <a16:creationId xmlns:a16="http://schemas.microsoft.com/office/drawing/2014/main" id="{BE556145-90E4-DAB6-4082-AD0DB8587AF6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11466513" y="4673600"/>
            <a:ext cx="288925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FA04478-14B0-4EB1-83E2-D7AC6061D835}" type="datetime'''''''''''''''''''''''''''''''''江''''''''''''''''''西'''''">
              <a:rPr lang="zh-CN" altLang="en-US" sz="1000" smtClean="0">
                <a:effectLst/>
                <a:latin typeface="+mn-lt"/>
                <a:cs typeface="+mn-cs"/>
              </a:rPr>
              <a:pPr/>
              <a:t>江西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69" name="矩形 868">
            <a:extLst>
              <a:ext uri="{FF2B5EF4-FFF2-40B4-BE49-F238E27FC236}">
                <a16:creationId xmlns:a16="http://schemas.microsoft.com/office/drawing/2014/main" id="{EDE25651-265E-77FF-1B23-72294DE12BAA}"/>
              </a:ext>
            </a:extLst>
          </p:cNvPr>
          <p:cNvSpPr/>
          <p:nvPr/>
        </p:nvSpPr>
        <p:spPr>
          <a:xfrm>
            <a:off x="-3969" y="903288"/>
            <a:ext cx="5284787" cy="34290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西乐葆分省份毛销售额增速（</a:t>
            </a:r>
            <a:r>
              <a:rPr lang="en-US" altLang="zh-CN" sz="1200" b="1" dirty="0">
                <a:solidFill>
                  <a:schemeClr val="bg1"/>
                </a:solidFill>
              </a:rPr>
              <a:t>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r>
              <a:rPr lang="en-US" altLang="zh-CN" sz="1200" b="1" dirty="0">
                <a:solidFill>
                  <a:schemeClr val="bg1"/>
                </a:solidFill>
              </a:rPr>
              <a:t>vs </a:t>
            </a:r>
            <a:r>
              <a:rPr lang="zh-CN" altLang="en-US" sz="1200" b="1" dirty="0">
                <a:solidFill>
                  <a:schemeClr val="bg1"/>
                </a:solidFill>
              </a:rPr>
              <a:t>份额变化（</a:t>
            </a:r>
            <a:r>
              <a:rPr lang="en-US" altLang="zh-CN" sz="1200" b="1" dirty="0">
                <a:solidFill>
                  <a:schemeClr val="bg1"/>
                </a:solidFill>
              </a:rPr>
              <a:t>2508YTD</a:t>
            </a:r>
            <a:r>
              <a:rPr lang="zh-CN" altLang="en-US" sz="1200" b="1" dirty="0">
                <a:solidFill>
                  <a:schemeClr val="bg1"/>
                </a:solidFill>
              </a:rPr>
              <a:t>同比）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70" name="矩形 869">
            <a:extLst>
              <a:ext uri="{FF2B5EF4-FFF2-40B4-BE49-F238E27FC236}">
                <a16:creationId xmlns:a16="http://schemas.microsoft.com/office/drawing/2014/main" id="{38BD30CA-B81A-0CF2-2B43-C331DCFB6C08}"/>
              </a:ext>
            </a:extLst>
          </p:cNvPr>
          <p:cNvSpPr/>
          <p:nvPr/>
        </p:nvSpPr>
        <p:spPr>
          <a:xfrm>
            <a:off x="21272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全渠道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871" name="直接连接符 870">
            <a:extLst>
              <a:ext uri="{FF2B5EF4-FFF2-40B4-BE49-F238E27FC236}">
                <a16:creationId xmlns:a16="http://schemas.microsoft.com/office/drawing/2014/main" id="{A41015E9-B190-61CE-69C8-8103EBEE4792}"/>
              </a:ext>
            </a:extLst>
          </p:cNvPr>
          <p:cNvCxnSpPr>
            <a:cxnSpLocks/>
          </p:cNvCxnSpPr>
          <p:nvPr/>
        </p:nvCxnSpPr>
        <p:spPr>
          <a:xfrm>
            <a:off x="16668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7" name="矩形 906">
            <a:extLst>
              <a:ext uri="{FF2B5EF4-FFF2-40B4-BE49-F238E27FC236}">
                <a16:creationId xmlns:a16="http://schemas.microsoft.com/office/drawing/2014/main" id="{A3D315B0-CD3D-9D44-9FE2-F3A229DA6370}"/>
              </a:ext>
            </a:extLst>
          </p:cNvPr>
          <p:cNvSpPr/>
          <p:nvPr/>
        </p:nvSpPr>
        <p:spPr>
          <a:xfrm>
            <a:off x="416750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医院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08" name="直接连接符 907">
            <a:extLst>
              <a:ext uri="{FF2B5EF4-FFF2-40B4-BE49-F238E27FC236}">
                <a16:creationId xmlns:a16="http://schemas.microsoft.com/office/drawing/2014/main" id="{EF7C6327-8BFE-15B0-7747-392359C21BA4}"/>
              </a:ext>
            </a:extLst>
          </p:cNvPr>
          <p:cNvCxnSpPr>
            <a:cxnSpLocks/>
          </p:cNvCxnSpPr>
          <p:nvPr/>
        </p:nvCxnSpPr>
        <p:spPr>
          <a:xfrm>
            <a:off x="412146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9" name="矩形 908">
            <a:extLst>
              <a:ext uri="{FF2B5EF4-FFF2-40B4-BE49-F238E27FC236}">
                <a16:creationId xmlns:a16="http://schemas.microsoft.com/office/drawing/2014/main" id="{26BEC9F0-2D35-20B3-07EA-574E80EA9FC8}"/>
              </a:ext>
            </a:extLst>
          </p:cNvPr>
          <p:cNvSpPr/>
          <p:nvPr/>
        </p:nvSpPr>
        <p:spPr>
          <a:xfrm>
            <a:off x="8122285" y="1209675"/>
            <a:ext cx="2178050" cy="3429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zh-CN" altLang="en-US" sz="1200" b="1" dirty="0">
                <a:solidFill>
                  <a:schemeClr val="tx2"/>
                </a:solidFill>
              </a:rPr>
              <a:t>零售</a:t>
            </a:r>
            <a:endParaRPr lang="en-US" sz="1200" b="1" dirty="0">
              <a:solidFill>
                <a:schemeClr val="tx2"/>
              </a:solidFill>
            </a:endParaRPr>
          </a:p>
        </p:txBody>
      </p:sp>
      <p:cxnSp>
        <p:nvCxnSpPr>
          <p:cNvPr id="910" name="直接连接符 909">
            <a:extLst>
              <a:ext uri="{FF2B5EF4-FFF2-40B4-BE49-F238E27FC236}">
                <a16:creationId xmlns:a16="http://schemas.microsoft.com/office/drawing/2014/main" id="{F86C5C4F-E92C-0EE0-5BA5-4FAB81CBD0F8}"/>
              </a:ext>
            </a:extLst>
          </p:cNvPr>
          <p:cNvCxnSpPr>
            <a:cxnSpLocks/>
          </p:cNvCxnSpPr>
          <p:nvPr/>
        </p:nvCxnSpPr>
        <p:spPr>
          <a:xfrm>
            <a:off x="8076248" y="1552575"/>
            <a:ext cx="3798887" cy="0"/>
          </a:xfrm>
          <a:prstGeom prst="line">
            <a:avLst/>
          </a:prstGeom>
          <a:ln w="381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矩形 137">
            <a:extLst>
              <a:ext uri="{FF2B5EF4-FFF2-40B4-BE49-F238E27FC236}">
                <a16:creationId xmlns:a16="http://schemas.microsoft.com/office/drawing/2014/main" id="{63E6A10C-F4C0-B8EE-34DE-AFD150BC0530}"/>
              </a:ext>
            </a:extLst>
          </p:cNvPr>
          <p:cNvSpPr/>
          <p:nvPr>
            <p:custDataLst>
              <p:tags r:id="rId124"/>
            </p:custDataLst>
          </p:nvPr>
        </p:nvSpPr>
        <p:spPr bwMode="auto">
          <a:xfrm>
            <a:off x="6219825" y="4845050"/>
            <a:ext cx="76200" cy="76200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rgbClr val="703E9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9" name="椭圆 138">
            <a:extLst>
              <a:ext uri="{FF2B5EF4-FFF2-40B4-BE49-F238E27FC236}">
                <a16:creationId xmlns:a16="http://schemas.microsoft.com/office/drawing/2014/main" id="{7C488830-9EE0-408D-E065-E07E2F7B2B94}"/>
              </a:ext>
            </a:extLst>
          </p:cNvPr>
          <p:cNvSpPr/>
          <p:nvPr>
            <p:custDataLst>
              <p:tags r:id="rId125"/>
            </p:custDataLst>
          </p:nvPr>
        </p:nvSpPr>
        <p:spPr bwMode="auto">
          <a:xfrm>
            <a:off x="6219825" y="5097463"/>
            <a:ext cx="76200" cy="76200"/>
          </a:xfrm>
          <a:prstGeom prst="ellipse">
            <a:avLst/>
          </a:prstGeom>
          <a:solidFill>
            <a:srgbClr val="2A276E"/>
          </a:solidFill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0" name="等腰三角形 139">
            <a:extLst>
              <a:ext uri="{FF2B5EF4-FFF2-40B4-BE49-F238E27FC236}">
                <a16:creationId xmlns:a16="http://schemas.microsoft.com/office/drawing/2014/main" id="{C1E0824E-AF97-0F2F-D89D-79962DDECE83}"/>
              </a:ext>
            </a:extLst>
          </p:cNvPr>
          <p:cNvSpPr/>
          <p:nvPr>
            <p:custDataLst>
              <p:tags r:id="rId126"/>
            </p:custDataLst>
          </p:nvPr>
        </p:nvSpPr>
        <p:spPr bwMode="auto">
          <a:xfrm>
            <a:off x="6219825" y="5349875"/>
            <a:ext cx="76200" cy="76200"/>
          </a:xfrm>
          <a:prstGeom prst="triangle">
            <a:avLst/>
          </a:prstGeom>
          <a:solidFill>
            <a:srgbClr val="B78FCA"/>
          </a:solidFill>
          <a:ln w="9525" cap="rnd" cmpd="sng" algn="ctr">
            <a:solidFill>
              <a:srgbClr val="B78FC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2" name="菱形 141">
            <a:extLst>
              <a:ext uri="{FF2B5EF4-FFF2-40B4-BE49-F238E27FC236}">
                <a16:creationId xmlns:a16="http://schemas.microsoft.com/office/drawing/2014/main" id="{3B800394-F73D-79EB-C0DC-DB8EBE810035}"/>
              </a:ext>
            </a:extLst>
          </p:cNvPr>
          <p:cNvSpPr/>
          <p:nvPr>
            <p:custDataLst>
              <p:tags r:id="rId127"/>
            </p:custDataLst>
          </p:nvPr>
        </p:nvSpPr>
        <p:spPr bwMode="auto">
          <a:xfrm>
            <a:off x="6219825" y="5602288"/>
            <a:ext cx="76200" cy="76200"/>
          </a:xfrm>
          <a:prstGeom prst="diamond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7E94BB2C-6676-C47A-11A7-73AC1CB934AD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6416675" y="4784725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2C45731-A3CE-47F0-A329-72AAEAE272EC}" type="datetime'''''购''进''和''''''份''额''''''''双''''''''''跌'">
              <a:rPr lang="zh-CN" altLang="en-US" smtClean="0">
                <a:latin typeface="+mn-lt"/>
                <a:cs typeface="+mn-cs"/>
              </a:rPr>
              <a:pPr/>
              <a:t>购进和份额双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D62C4D38-8861-AE34-8CAD-EFDCA28487B5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6416675" y="5037138"/>
            <a:ext cx="1066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8BA8F5-E34B-46D3-9F34-07F88B19C755}" type="datetime'''''''购''进''''''''''和''份''''额''''''''''''''双''''''''增'''''''">
              <a:rPr lang="zh-CN" altLang="en-US" smtClean="0">
                <a:latin typeface="+mn-lt"/>
                <a:cs typeface="+mn-cs"/>
              </a:rPr>
              <a:pPr/>
              <a:t>购进和份额双增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F341237B-6EEE-781F-D127-D1D8BCC4FE4F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6416675" y="5289550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E9B3CD-0ACF-4B0F-9CAF-8F911AEB2849}" type="datetime'''''''购''''''进''''增''''''''长''，''''''''份''''额''''下''''''跌'''''">
              <a:rPr lang="zh-CN" altLang="en-US" smtClean="0">
                <a:latin typeface="+mn-lt"/>
                <a:cs typeface="+mn-cs"/>
              </a:rPr>
              <a:pPr/>
              <a:t>购进增长，份额下跌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76FD0615-7126-B714-DBBA-DCA3569EBB7F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6416675" y="5541963"/>
            <a:ext cx="1371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47BC0B-EA8A-4386-A55A-DE2EF4AE1BAA}" type="datetime'''''购进''''下跌，''''''''''''''份额''''''''''''增''''''''''''''''长'">
              <a:rPr lang="zh-CN" altLang="en-US" smtClean="0">
                <a:latin typeface="+mn-lt"/>
                <a:cs typeface="+mn-cs"/>
              </a:rPr>
              <a:pPr/>
              <a:t>购进下跌，份额增长</a:t>
            </a:fld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17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598302-61A1-0DD0-08CE-BC0D60C89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E81C663-9DB5-FBD4-6B79-7CD9480F88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39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8" imgW="473" imgH="476" progId="TCLayout.ActiveDocument.1">
                  <p:embed/>
                </p:oleObj>
              </mc:Choice>
              <mc:Fallback>
                <p:oleObj name="think-cell 幻灯片" r:id="rId58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1C663-9DB5-FBD4-6B79-7CD9480F8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86DD79CF-CE1D-C9D6-A7EA-2DED078E288D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529D6169-4D5A-5AE8-7E70-B61C46E90E24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55F07485-D2D8-49AA-9911-C6A4DFD0EB00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0E43A164-0C61-6CC6-7BE5-B2B0652DACA3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965C08AB-35C9-9D09-F887-06754399F298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5AEF0F-A188-A557-9F92-FCEC30176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b="1" dirty="0"/>
              <a:t>量价分析：</a:t>
            </a:r>
            <a:r>
              <a:rPr lang="zh-CN" altLang="en-US" sz="2000" dirty="0"/>
              <a:t>将净销售额的增长拆解为量和价的变化的贡献，其中量的变化包括总盒数和不同价格大小包装</a:t>
            </a:r>
            <a:r>
              <a:rPr lang="en-US" altLang="zh-CN" sz="2000" dirty="0"/>
              <a:t>Mix</a:t>
            </a:r>
            <a:r>
              <a:rPr lang="zh-CN" altLang="en-US" sz="2000" dirty="0"/>
              <a:t>变化的影响，价的变化包括毛销价和投资费比变化的影响</a:t>
            </a:r>
            <a:br>
              <a:rPr lang="en-US" altLang="zh-CN" sz="2000" dirty="0"/>
            </a:br>
            <a:r>
              <a:rPr lang="zh-CN" altLang="en-US" sz="2000" dirty="0"/>
              <a:t>立普妥净销售额增长主要来自量的增长，平均净价变化不大。投资费比下降主要来自两部分：</a:t>
            </a:r>
            <a:r>
              <a:rPr lang="en-US" altLang="zh-CN" sz="2000" dirty="0"/>
              <a:t>1</a:t>
            </a:r>
            <a:r>
              <a:rPr lang="zh-CN" altLang="en-US" sz="2000" dirty="0"/>
              <a:t>）今年撤掉原广阔市场投资，</a:t>
            </a:r>
            <a:r>
              <a:rPr lang="en-US" altLang="zh-CN" sz="2000" dirty="0"/>
              <a:t>2</a:t>
            </a:r>
            <a:r>
              <a:rPr lang="zh-CN" altLang="en-US" sz="2000" dirty="0"/>
              <a:t>）对中标价下调的补偿转为下调毛销价</a:t>
            </a:r>
            <a:endParaRPr lang="en-US" sz="2000" dirty="0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4534B96B-2614-E7A9-C620-EF11D883364C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851150" y="26066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25EB9732-E67B-C248-6AD8-D00470CCB04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4258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F86E53D6-2D3D-0252-C947-8E8E7CC1703D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932238" y="27082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40171344-2F18-5419-BB3E-AFE0C7DE17B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398713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E0D3C553-FAAA-0C49-9E66-A8564F1F271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44475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7C84072E-7101-5ADA-AA75-2DCFE4F24AB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1034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4E84099C-3E02-95BA-27AA-5178282C481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10502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E05252FB-02CB-9693-9BCB-8CBF95CA6E9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5098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47CA4F17-2C06-D4E5-8E7A-5108161F01B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4161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2" name="矩形 121">
            <a:extLst>
              <a:ext uri="{FF2B5EF4-FFF2-40B4-BE49-F238E27FC236}">
                <a16:creationId xmlns:a16="http://schemas.microsoft.com/office/drawing/2014/main" id="{03E99C6E-7AEF-4D74-9DDC-282257EF8E8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659688" y="2100263"/>
            <a:ext cx="601663" cy="79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15781758-BC10-CD74-C450-C237D107345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4567227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DD94722-AD7E-E114-A3B2-DE7CF1823F6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65D9CD-7B5A-478B-AA17-86EA743A75E7}" type="datetime'''量''''''''''的''变化''''''''''''''''''''''''''''''''''''''&#10;''零售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1121563-BD42-64A3-745F-C8F00D80AFF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88013" y="24034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37A2B0-CF43-4FED-86CC-C5F16E40FFC8}" type="datetime'''7''''''''''''''0'''''''''''''''''''''''''''''''''">
              <a:rPr lang="en-US" altLang="en-US" smtClean="0">
                <a:latin typeface="+mn-lt"/>
                <a:cs typeface="+mn-cs"/>
              </a:rPr>
              <a:pPr/>
              <a:t>7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038E65C-294B-820D-D280-E5926F289D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88013" y="22161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8FB0E8-1476-4FF2-A766-65024A59262F}" type="datetime'''''55''''''''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5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3FD90C-EFB1-20AA-091F-952CC2FD073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C9B3EE-70E6-40D5-9A5E-663DDFA6E666}" type="datetime'''''价''''''的''''''''变化''''&#10;零''''售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B5F13B52-F4F0-2A19-1E4F-BCEF2A5F9B2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29413" y="21383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2FBB00-FB29-4D67-8C23-2FDDDD4679E2}" type="datetime'''''''''''''''1''''3''''''''''''9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3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21D065E4-18E5-55EC-CD73-6D9C12A4394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70688" y="2381250"/>
            <a:ext cx="2127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CDB0B5-1D5B-4F5E-894A-FFDE4857A740}" type="datetime'''''2''''4''''''''''''''''''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2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9B598D-1A8D-8A28-3F8A-77C2CCD4E69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EC918E-F98E-4226-8CBD-91916F72523F}" type="datetime'''''''''''''量''''''''''''''''''''''''''的''''''''''''''''变化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F4C3979E-DC1D-C357-5278-9D5FF15DF2F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747000" y="2005013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9252756-9935-4040-BDA1-4355D5515E21}" type="datetime'''''''2'''''''''''''''''">
              <a:rPr lang="en-US" altLang="en-US" smtClean="0">
                <a:effectLst/>
                <a:latin typeface="+mn-lt"/>
                <a:cs typeface="+mn-cs"/>
              </a:rPr>
              <a:pPr/>
              <a:t>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7BF8D50-56E3-FDD3-C683-3DD323BBC5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06018-5356-464A-8128-446F5B20F73E}" type="datetime'''''''价的''''''''变''''''''''''''''''''''化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6829D84E-CDED-641B-CC0E-E66F0E76008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893175" y="22113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85F783F-6E5D-48D7-AA22-7F726208202D}" type="datetime'''''''''''''''''''''''1''''''''''''''''''''3''9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3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A39353FD-130E-4BD2-D00F-C2D920172FC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977313" y="2000250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225B700-8B9D-44DA-A598-1FDE70D2A31C}" type="datetime'''''''''''''''''''''''3'''''''''''''''''''">
              <a:rPr lang="en-US" altLang="en-US" smtClean="0">
                <a:effectLst/>
                <a:latin typeface="+mn-lt"/>
                <a:cs typeface="+mn-cs"/>
              </a:rPr>
              <a:pPr/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28CA2BC2-B5BF-82AC-754C-39E25165DB2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A4C1AB-5F90-4718-9DC8-E0DC24300047}" type="datetime'量''''的''''''''''''变''''''''''''''化''''''''''''''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24A1FFE6-8D96-4E15-B7C9-E9A3BFDDDD5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47038" y="2001838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E1BD06-D7B0-4D58-A2BC-76010067004B}" type="datetime'''''''''''1''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52B366F1-B509-A1EB-B02B-6769F6A27CD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167938" y="2336800"/>
            <a:ext cx="212725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880CE2-0FEF-4FBE-9C89-7C32E330B742}" type="datetime'''''''4''''''''''''''''9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6C90454B-E668-FC76-4B98-9A61B6B1659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34D762-0600-49B1-982A-9319DB8A6497}" type="datetime'''''''''''''''''''''''''''''价''''''''''的''变''''''''''化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522D9FBB-BB58-316D-8D19-214726CB035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E73E77-81CD-4E9A-B47C-ED62DD9F1B2E}" type="datetime'''''''''''''25''1''0''''''''''''''''''''''Y''T''''D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C4A56-E311-E90E-8A29-B3D118A2692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C4ABCDD-8153-43C6-BCD8-6678D178D945}" type="datetime'24''''1''0''''Y''''''''''T''''''''''''D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039F5F12-257E-7850-16FB-5A2198BFBA0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67900" y="2435225"/>
            <a:ext cx="212725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039BB2E-F12A-4BE0-909A-E2CCCD9FA77C}" type="datetime'''''''''''1''''''''''''''''''''''7'''''''''''">
              <a:rPr lang="en-US" altLang="en-US" smtClean="0">
                <a:effectLst/>
                <a:latin typeface="+mn-lt"/>
                <a:cs typeface="+mn-cs"/>
              </a:rPr>
              <a:pPr/>
              <a:t>1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134F5522-800A-525F-4B1B-2B04B0033C3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01888" y="29083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9B1FA81-2AC6-44DE-939F-34DBE13C2B50}" type="datetime'''2''''''''7''''''''''''''''''''''''''''''''''''''''''''''''1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7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2E0CBEE1-4736-4D1C-2820-0BE163CA25C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86025" y="331787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8CC78B3-C230-4884-99D0-BA91F0E61426}" type="datetime'''''5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C601F02-2A68-F1C2-3008-83BA2D842C0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020AD7-725E-4CF3-B6AB-0133C93526EA}" type="datetime'''''''''''量''''''''''的''变''''''化''&#10;''''''''''''''''医院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E006FFB-3945-CFD4-5017-B6E732B419F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82975" y="31416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D0AEA5-C927-4A9C-BDB6-8B1EDCD095CF}" type="datetime'''''''''''''''''''''''''''''''''42''''''''''''''7'''''">
              <a:rPr lang="en-US" altLang="en-US" smtClean="0">
                <a:latin typeface="+mn-lt"/>
                <a:cs typeface="+mn-cs"/>
              </a:rPr>
              <a:pPr/>
              <a:t>42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2DDFDC7-05F0-FB01-BB82-25BBEBBDAAC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82975" y="19224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1BFCB5-8667-4207-8609-D58DFCB7AFE7}" type="datetime'''''3''''''''''''9''''''''''3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9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F20AAF8-379C-D37E-F24E-0525047BDC6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89A326-83A2-4CC0-B450-547C9B815B1C}" type="datetime'价的''''变''''化&#10;''''医''''''院''''''''''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4D7BB68-3C8C-15C5-F184-18CA62D4BD4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65650" y="233203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C5C4DF-01A2-4AE4-998F-C2EE8A36DD27}" type="datetime'''''''''''''''''''''''''''''''''''''''''''''''''''''1''85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8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CD87637-821F-D8CA-909E-4AA2C6FB9C5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606925" y="27273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179825-E7CE-40E1-95DE-BBA87CD78082}" type="datetime'''''''8''''''''''''''''''''''''''''''''''''''''1'''''">
              <a:rPr lang="en-US" altLang="en-US" smtClean="0">
                <a:latin typeface="+mn-lt"/>
                <a:cs typeface="+mn-cs"/>
              </a:rPr>
              <a:pPr/>
              <a:t>8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963019A-4848-DBDD-09A9-BE1F3B4BDE0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401888" y="23796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CDC1BD-9694-497E-9754-12E60C809414}" type="datetime'''''''''''''''''''''''''''''''''''''''''''''2''''76'''''''''''">
              <a:rPr lang="en-US" altLang="en-US" smtClean="0">
                <a:latin typeface="+mn-lt"/>
                <a:cs typeface="+mn-cs"/>
              </a:rPr>
              <a:pPr/>
              <a:t>27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BB47AF4-D0DE-C98B-9606-2C5242F951C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498850" y="390207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27753F-D7D8-4290-ACA8-DA6782013D79}" type="datetime'''''''''''''''''''''''-''''''''''''3''''''''''''''4'''''''''">
              <a:rPr lang="en-US" altLang="en-US" smtClean="0">
                <a:latin typeface="+mn-lt"/>
                <a:cs typeface="+mn-cs"/>
              </a:rPr>
              <a:pPr/>
              <a:t>-3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4850864-58DA-7AB8-4291-66CE43897D1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65650" y="19304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7066803-28BE-49D3-AACD-D890EE3C21EF}" type="datetime'''''''''1''''''''''''''0''''''''''''''''''''4'''''''''''">
              <a:rPr lang="en-US" altLang="en-US" smtClean="0">
                <a:latin typeface="+mn-lt"/>
                <a:cs typeface="+mn-cs"/>
              </a:rPr>
              <a:pPr/>
              <a:t>10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B876B99-1AB0-0849-76D2-4265D99FAD9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662613" y="2633663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97E626-9C34-4EAF-A20C-AA355C15F269}" type="datetime'''''-''''''''''''1''''''''''''''''''''6'">
              <a:rPr lang="en-US" altLang="en-US" smtClean="0">
                <a:latin typeface="+mn-lt"/>
                <a:cs typeface="+mn-cs"/>
              </a:rPr>
              <a:pPr/>
              <a:t>-1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3D1D9D56-4EC8-A22E-D468-50F0970298B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255713" y="319881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4D17FD-CBE5-4B3C-A930-E7EDF576901E}" type="datetime'''''''5'''''''',''5''''5''''''''1'''''''''''''''''">
              <a:rPr lang="en-US" altLang="en-US" smtClean="0">
                <a:latin typeface="+mn-lt"/>
                <a:cs typeface="+mn-cs"/>
              </a:rPr>
              <a:pPr/>
              <a:t>5,5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1B60522C-4EE1-C6B3-6961-F53AC81F1E4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870825" y="2206625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01D116-BA3A-42E9-B863-C70DC26CE522}" type="datetime'''''''''-''''''1'''''''''''">
              <a:rPr lang="en-US" altLang="en-US" smtClean="0">
                <a:latin typeface="+mn-lt"/>
                <a:cs typeface="+mn-cs"/>
              </a:rPr>
              <a:pPr/>
              <a:t>-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F04DAA5B-105D-2D81-B966-008575863DA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867775" y="254476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9B3210D-A477-4A8C-81A7-AE730CC5603B}" type="datetime'''''''''''''''''''''-''''''''''''''''1''''''''''''''36'''">
              <a:rPr lang="en-US" altLang="en-US" smtClean="0">
                <a:latin typeface="+mn-lt"/>
                <a:cs typeface="+mn-cs"/>
              </a:rPr>
              <a:pPr/>
              <a:t>-13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6E01674C-187D-802D-33E0-DBA25D3A74B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017125" y="21351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120A99-DFFD-4734-B854-97B1218A52A0}" type="datetime'''''''''''''''''''''''''''''''''''''''''''''''''3''''''2'''">
              <a:rPr lang="en-US" altLang="en-US" smtClean="0">
                <a:latin typeface="+mn-lt"/>
                <a:cs typeface="+mn-cs"/>
              </a:rPr>
              <a:pPr/>
              <a:t>3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10493DA9-A7C0-7A79-B80C-06510CD31FB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993438" y="218916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CC6513-BEAC-4024-B5A2-C4DEADB63C08}" type="datetime'''''''''''''''''''''''''''''''''5'',''''''89''''''''1'''''''">
              <a:rPr lang="en-US" altLang="en-US" smtClean="0">
                <a:latin typeface="+mn-lt"/>
                <a:cs typeface="+mn-cs"/>
              </a:rPr>
              <a:pPr/>
              <a:t>5,89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2827FC0-9656-B97A-CC7F-6299AB75CFF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734175" y="180498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C736B8-8AFC-4EC3-B34B-D9AF3BA10B50}" type="datetime'''1''''''''''''''''''''''''''''''''''''''''1''''''''5'''''''">
              <a:rPr lang="en-US" altLang="en-US" smtClean="0">
                <a:latin typeface="+mn-lt"/>
                <a:cs typeface="+mn-cs"/>
              </a:rPr>
              <a:pPr/>
              <a:t>11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835E8DBD-1374-796E-629B-0D430EEB2AF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551613" y="35306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D0A01F52-8E9F-23A3-8EE6-64DEF879542C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551613" y="37830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C6F98829-DF4B-60A0-A708-F248DBBAEF80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069263" y="3530600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3D6149BD-E7A4-D497-728B-2EE891EAC5B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8069263" y="3783013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BA009F32-E119-5715-5F25-15AC64D221F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16725" y="35115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E61DB09-77C3-4E44-93BD-F796A2FB125F}" type="datetime'''''''''盒数''''''变''''''''''''''''''''''''''化'''''''">
              <a:rPr lang="zh-CN" altLang="en-US" smtClean="0">
                <a:latin typeface="+mn-lt"/>
                <a:cs typeface="+mn-cs"/>
              </a:rPr>
              <a:pPr/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94F72F5D-1932-C98A-1615-F0B7F407AAE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816725" y="3763963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5325488-3660-4676-A401-CF0AFD7B4BCA}" type="datetime'大''小''''包''装''''''''''''''M''''''''i''''''''x变''''''化'''''''''">
              <a:rPr lang="zh-CN" altLang="en-US" smtClean="0">
                <a:latin typeface="+mn-lt"/>
                <a:cs typeface="+mn-cs"/>
              </a:rPr>
              <a:pPr/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B9CBB5DB-A91F-5CCD-6746-3BA52FA7058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34375" y="351155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8CBAF9-D70B-4C93-9D99-3B6AF8C32C7B}" type="datetime'''''''''''''''''毛''''''销''''''价''变''''''''''''化'''''''">
              <a:rPr lang="zh-CN" altLang="en-US" smtClean="0">
                <a:latin typeface="+mn-lt"/>
                <a:cs typeface="+mn-cs"/>
              </a:rPr>
              <a:pPr/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03CFB7AB-735E-CE8E-8894-842403C3773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334375" y="376396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6C50426-8BBE-4CF0-82B6-52750F7219B0}" type="datetime'''''''''投''''''资''''费''比''变''''''化'''''''''">
              <a:rPr lang="zh-CN" altLang="en-US" smtClean="0">
                <a:latin typeface="+mn-lt"/>
                <a:cs typeface="+mn-cs"/>
              </a:rPr>
              <a:pPr/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F7A98337-A579-E109-A2D9-D492192C8C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590509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8.2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8.2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4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8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9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4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9.0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9.8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5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.0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0.9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%</a:t>
                      </a:r>
                      <a:endParaRPr lang="en-US" altLang="zh-CN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E5227704-8CEA-435B-BE82-B61FF2B57A38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立普妥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4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8908C-BCA3-225A-1054-29EF6E9CC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281C077-2605-6F00-5029-A3BB5A56E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15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7" imgW="473" imgH="476" progId="TCLayout.ActiveDocument.1">
                  <p:embed/>
                </p:oleObj>
              </mc:Choice>
              <mc:Fallback>
                <p:oleObj name="think-cell 幻灯片" r:id="rId57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81C077-2605-6F00-5029-A3BB5A56E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2D0F9848-5EE5-30DE-59EF-8CAF76C4130E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A440E514-0483-F03A-2E84-1D7800A267B4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7C4E31F-8213-C571-D938-6CF5D2BEFC1D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FDF958E5-BC6D-723B-4043-148949C15472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F7582637-83EE-1915-8B65-D3AE91E3C964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C3A8BB8-3EBD-0585-6768-E5075687A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与立普妥类似，络活喜净销售额增长也主要来自量的增长，平均净价变化不大</a:t>
            </a:r>
            <a:br>
              <a:rPr lang="en-US" altLang="zh-CN" sz="2000" dirty="0"/>
            </a:br>
            <a:r>
              <a:rPr lang="zh-CN" altLang="en-US" sz="2000" dirty="0"/>
              <a:t>零售盒数增长率显著高于量的变化的增长贡献，主要由于</a:t>
            </a:r>
            <a:r>
              <a:rPr lang="en-US" altLang="zh-CN" sz="2000" dirty="0"/>
              <a:t>5mg*7</a:t>
            </a:r>
            <a:r>
              <a:rPr lang="zh-CN" altLang="en-US" sz="2000" dirty="0"/>
              <a:t>小包装在增长而</a:t>
            </a:r>
            <a:r>
              <a:rPr lang="en-US" altLang="zh-CN" sz="2000" dirty="0"/>
              <a:t>5mg*28</a:t>
            </a:r>
            <a:r>
              <a:rPr lang="zh-CN" altLang="en-US" sz="2000" dirty="0"/>
              <a:t>大包装在下跌（</a:t>
            </a:r>
            <a:r>
              <a:rPr lang="en-US" altLang="zh-CN" sz="2000" dirty="0"/>
              <a:t>10.7% vs -2.1%</a:t>
            </a:r>
            <a:r>
              <a:rPr lang="zh-CN" altLang="en-US" sz="2000" dirty="0"/>
              <a:t>），品规</a:t>
            </a:r>
            <a:r>
              <a:rPr lang="en-US" altLang="zh-CN" sz="2000" dirty="0"/>
              <a:t>Mix</a:t>
            </a:r>
            <a:r>
              <a:rPr lang="zh-CN" altLang="en-US" sz="2000" dirty="0"/>
              <a:t>发生变化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701AF455-C86B-5B08-18C0-2DEDF7B70A44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7463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82E67D93-8A61-7505-00B1-02FD9867D1A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58140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B26C26E-C669-7BA6-A7B3-BA17D0F0B1A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64795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8F826BF2-6246-D6E2-97E5-8A78812522A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66065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1DFEBAD7-F25E-F3E0-6E05-36BF04AEF43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6892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A40519D6-8887-84C1-E230-44192E99502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2891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BB97F1CE-7AE5-94C2-C1A6-F843E23B809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30663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F42F1E05-26C0-F794-F664-A75003F73D01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7574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0B7C50EC-829E-5264-67A4-3166EA896BC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6304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E8D5343B-646D-C4A1-C4B8-2BE8699A86DD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52771705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CF0807B-9091-66F8-32F5-065ABC89D51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02138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2B8A3C-FA6E-4728-BCAA-7B5EC7E3A108}" type="datetime'''量的''''''''''''''''变''化''''''''&#10;''''''零''''''售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6578DE9-6ED3-6F5A-F7BA-717947BED48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88013" y="26828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8B133AB-91F5-42BB-9972-F783731F67F4}" type="datetime'''3''''''''''''''''''''''''''''''''''1'">
              <a:rPr lang="en-US" altLang="en-US" smtClean="0">
                <a:latin typeface="+mn-lt"/>
                <a:cs typeface="+mn-cs"/>
              </a:rPr>
              <a:pPr/>
              <a:t>3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26E350A-E873-F703-8F30-47270B6D024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88013" y="24526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2CC602-43F5-4588-866E-D13108157C55}" type="datetime'''''''''''''''''''''2''''8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2615113-734F-F8FD-FA80-B4034067B52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83225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6A6C18-938E-496A-9FD5-5F1CDC6E2E7D}" type="datetime'''''价''''''''''''''的''''变化''''''''&#10;''零''''''''售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9A56840B-FF2C-D3C1-D94B-C409B70F352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70688" y="23431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14B6F8-EC74-4CA7-870A-60168B79AFB0}" type="datetime'''''''''''''''''''''6''''''3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4FC164C6-58A7-A605-B6F5-F117BFEB748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70688" y="2635250"/>
            <a:ext cx="212725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0A9334-D50B-4D5E-BB83-46D5C188ABE7}" type="datetime'''''1''''''2'''''''''''''''''''''''''">
              <a:rPr lang="en-US" altLang="en-US" smtClean="0">
                <a:effectLst/>
                <a:latin typeface="+mn-lt"/>
                <a:cs typeface="+mn-cs"/>
              </a:rPr>
              <a:pPr/>
              <a:t>1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A28105-11C5-BDCA-DF59-0D1F243A168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65900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87F013-42F7-41AC-96F4-689514F0306C}" type="datetime'''''''量''的''''变''''''''''''化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891052DA-A579-6F3F-771A-E41AAD3C8E3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747000" y="220027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C70B1DA-9E8E-4D07-AC13-0A20EAF4C6E6}" type="datetime'''''''''''''''''''''''''''''''''3'''''''''''''''''">
              <a:rPr lang="en-US" altLang="en-US" smtClean="0">
                <a:effectLst/>
                <a:latin typeface="+mn-lt"/>
                <a:cs typeface="+mn-cs"/>
              </a:rPr>
              <a:pPr/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A593CB6D-8C80-1DEC-0468-620F83D6B71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47038" y="2185988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27737D-F027-472E-B400-66EEC43786BA}" type="datetime'''''''''''1''''''''''''''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71782E58-A952-31E1-8ABD-F62EBA4B678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934450" y="24431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4484A2-E46D-4CE0-87F5-71229B250F6F}" type="datetime'''''''''''''''6''''''1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6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F732CD7-E3E0-3BD5-B802-3B4F1F94B43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977313" y="219392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314A48-8823-41E2-8B76-8D06CEE148C1}" type="datetime'''''''''''''''''''''''3'''''''''''''''''''">
              <a:rPr lang="en-US" altLang="en-US" smtClean="0">
                <a:effectLst/>
                <a:latin typeface="+mn-lt"/>
                <a:cs typeface="+mn-cs"/>
              </a:rPr>
              <a:pPr/>
              <a:t>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2C93D1CC-9434-2C2D-6CBE-D7CBE74386A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729663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5639CB-5567-4A8C-AE98-93B1BE8E57A6}" type="datetime'量''''''''''''''''''的''''变''''''''''''''''化''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F52BDE78-F74B-3D58-9E8B-55712A9F3F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910763" y="268922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A48CFD-C445-470E-A8AE-B0C8952B8772}" type="datetime'''''''''''''''''8'''''''''''''''''''''''''''">
              <a:rPr lang="en-US" altLang="en-US" smtClean="0">
                <a:effectLst/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CA4E950-CB0D-66DE-37AD-71A95B14872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648575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CC90DC9-726A-4C79-9E53-858B68F52883}" type="datetime'''''''价''的变''''化''''''''''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737BAD63-428B-4A2E-2293-D5B7B484B59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812338" y="4233863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ADD98E-90BD-4D8E-BB7A-7D56D01C1C4D}" type="datetime'''''''''''''''价''''的''''''''''''''变''''''化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ACEF0FE1-72E7-0EB8-6CC8-DC34EC5BA14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877550" y="4233863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E3B181-3B3C-4B1A-A058-C39EFA4A143C}" type="datetime'2''''''''''''51''''0''''''Y''''''''''T''''D''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72373-41AB-ACDD-3005-A4A588501F0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39825" y="4233863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0BFEDF-5D43-43D5-B145-A19C8E068E40}" type="datetime'''''''''''''''2''''''''''41''''''0''''''Y''''''''T''D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23085480-8950-8E7F-0DD8-5C5E4CC27DE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406650" y="301148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890B1C-4E5C-4DCA-8941-774A4842D694}" type="datetime'''''''''''''''''''''1''1''''''''''''''''''''9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D1C0FCBF-CB66-8894-D4F7-CBE8F036931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167938" y="25622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BD7D86-758D-4911-B2D2-EB11E005FFA8}" type="datetime'''''''''''''''''''''''''''2''''4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7DAEE334-AA5F-A413-8038-5AA0B69194E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86025" y="3478213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D5DA78-6324-4233-AFEF-155CC1F5DE3B}" type="datetime'''''''1'''''''''''">
              <a:rPr lang="en-US" altLang="en-US" smtClean="0">
                <a:effectLst/>
                <a:latin typeface="+mn-lt"/>
                <a:cs typeface="+mn-cs"/>
              </a:rPr>
              <a:pPr/>
              <a:t>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AB8D05B-7C71-C1A0-58D6-CBC366CFFE9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238375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939C3E-5C5E-41C7-AB77-E3A923EE41D2}" type="datetime'''量''''的''''''''''''变''''化&#10;''''''''''''''''''''''''''医院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28C83AC-D46C-8C49-0101-250C654E641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482975" y="3201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B42D70-78DC-4C55-97AC-67C853CDDC97}" type="datetime'''''''''''''''''''''1''''''''''''''6''''''''7'''''''''''''''''">
              <a:rPr lang="en-US" altLang="en-US" smtClean="0">
                <a:latin typeface="+mn-lt"/>
                <a:cs typeface="+mn-cs"/>
              </a:rPr>
              <a:pPr/>
              <a:t>16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2D6A438-4B51-A653-36CB-D8D43A62C72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82975" y="19431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4D8DE2-0346-45C7-BBAB-8EF91409BFCF}" type="datetime'1''''5''''''''''''''''''''''''5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5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6A472B1-8880-B241-1F86-CC6849EA151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319463" y="4233863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9ACDBA8-9558-4DB8-A905-C61E98D2EFCC}" type="datetime'价''''的''''''''''''''''''''''''''变''''''''''''化''''''''&#10;''医院''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9C284B-AE82-C292-6FB1-443A2F6AE51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606925" y="23495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C3FD50-54AC-455A-8258-3ED6E0B01BFC}" type="datetime'''''''''''''''7''''''''''''''''''''''''''''''''''''''''''''6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7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12E9F23-3845-BF84-D9D1-5F5B286202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606925" y="28987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0254BC-33C8-434B-B23C-11747E3BB4BF}" type="datetime'''''''''''''''''''''''6''''5'''''''''''''''''''''''''''">
              <a:rPr lang="en-US" altLang="en-US" smtClean="0">
                <a:latin typeface="+mn-lt"/>
                <a:cs typeface="+mn-cs"/>
              </a:rPr>
              <a:pPr/>
              <a:t>6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F066A0-86C0-2A15-9352-78D98AE0C67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406650" y="242093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823640-4275-4CE8-9371-62FFCA2CD6A8}" type="datetime'''''''''1''''''''1''9'''''''''''''''''''''''''''''''''''''''">
              <a:rPr lang="en-US" altLang="en-US" smtClean="0">
                <a:latin typeface="+mn-lt"/>
                <a:cs typeface="+mn-cs"/>
              </a:rPr>
              <a:pPr/>
              <a:t>11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42045D9-BBA8-17DC-F090-237679670CB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498850" y="3981450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2DE5BC-66FD-447D-8978-06CA1C4A81D2}" type="datetime'''''''''-1''''''3'''''''''''''''''''''''''''">
              <a:rPr lang="en-US" altLang="en-US" smtClean="0">
                <a:latin typeface="+mn-lt"/>
                <a:cs typeface="+mn-cs"/>
              </a:rPr>
              <a:pPr/>
              <a:t>-1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1B74854-CBD6-498A-798B-2EA34065578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613275" y="1927225"/>
            <a:ext cx="2016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7C9E26-0335-446B-BD1F-5BDD58D31361}" type="datetime'1''''''''''''''''''''''''''''''''''''''''''''''''''''''''1'">
              <a:rPr lang="en-US" altLang="en-US" smtClean="0">
                <a:latin typeface="+mn-lt"/>
                <a:cs typeface="+mn-cs"/>
              </a:rPr>
              <a:pPr/>
              <a:t>1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0352A0-C9D6-903C-D01D-86D55B93CDD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705475" y="2930525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3C6626-5E60-4A25-8ABD-ECDA36961472}" type="datetime'''''''''''-''''''''''''''''''''''''''4'''''''''''">
              <a:rPr lang="en-US" altLang="en-US" smtClean="0">
                <a:latin typeface="+mn-lt"/>
                <a:cs typeface="+mn-cs"/>
              </a:rPr>
              <a:pPr/>
              <a:t>-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7044104F-B392-E687-8108-BE12D4B92EB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255713" y="3354388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5EA5E7-CDA3-4685-A49B-35A70E939644}" type="datetime'''''2'''''''''',4''7''''''5'''''''">
              <a:rPr lang="en-US" altLang="en-US" smtClean="0">
                <a:latin typeface="+mn-lt"/>
                <a:cs typeface="+mn-cs"/>
              </a:rPr>
              <a:pPr/>
              <a:t>2,47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64E90089-BBCD-6136-D33D-2E079519407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870825" y="2401888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0FFA2B-0655-4819-93DB-703027315528}" type="datetime'-''''''''''''2'''''''''''''''''''''''''''''''''''">
              <a:rPr lang="en-US" altLang="en-US" smtClean="0">
                <a:latin typeface="+mn-lt"/>
                <a:cs typeface="+mn-cs"/>
              </a:rPr>
              <a:pPr/>
              <a:t>-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668D491D-FFC2-FC00-F346-FFB28F4EEF8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909050" y="2806700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491581-13C8-41CB-8473-82969DD0CEE2}" type="datetime'-''''''''''''5''''''''''''''''''''''''''''8'''''''''''">
              <a:rPr lang="en-US" altLang="en-US" smtClean="0">
                <a:latin typeface="+mn-lt"/>
                <a:cs typeface="+mn-cs"/>
              </a:rPr>
              <a:pPr/>
              <a:t>-5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1C746243-CA99-A1A4-160B-CED1A07C9EE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017125" y="233997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74E799-C767-4CC5-99C1-4A1AF053467E}" type="datetime'''''''''''1''6'''''''''''''''''''''''''''''''''''''''''">
              <a:rPr lang="en-US" altLang="en-US" smtClean="0">
                <a:latin typeface="+mn-lt"/>
                <a:cs typeface="+mn-cs"/>
              </a:rPr>
              <a:pPr/>
              <a:t>1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690DE142-DC0B-EF98-E0C3-C4BB7958926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993438" y="2403475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E708FD-780B-4CC8-BF17-F29EE8D4FDA3}" type="datetime'''''''''''2'''''''''',''''''''''''''5''97'''''''''''''''''">
              <a:rPr lang="en-US" altLang="en-US" smtClean="0">
                <a:latin typeface="+mn-lt"/>
                <a:cs typeface="+mn-cs"/>
              </a:rPr>
              <a:pPr/>
              <a:t>2,59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0E4929B-228D-0A59-668C-DBFE77BB2C9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770689" y="19700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153754-DC07-44EB-9EFA-BB233FB97827}" type="datetime'''''''''5''''''''''''''''''''''''''''''1'''''''''''''''''''''">
              <a:rPr lang="en-US" altLang="en-US" smtClean="0">
                <a:latin typeface="+mn-lt"/>
                <a:cs typeface="+mn-cs"/>
              </a:rPr>
              <a:pPr/>
              <a:t>5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66612E23-F894-2BFB-F8C0-37A24A44C8B6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6551613" y="35306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500A05E6-A06A-316D-BE6D-B3BBEE579BC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551613" y="3783013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A9F01272-F414-F68C-8159-79E6296E6C54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069263" y="3530600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A3990936-D508-DC5C-A76E-BABC9AABA379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069263" y="3783013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358D877-A0FE-2A59-C40A-2E2673D672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16725" y="35115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DAC862-E0E0-41CA-87EA-0AB50BDF2822}" type="datetime'''''''''''''''盒''数''''''''变''化'''''''''''''''''''''''">
              <a:rPr lang="zh-CN" altLang="en-US" smtClean="0">
                <a:latin typeface="+mn-lt"/>
                <a:cs typeface="+mn-cs"/>
              </a:rPr>
              <a:pPr/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A3B74362-4039-CC36-3A1A-B0E20F20D68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16725" y="3763963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30E8E2-E2F7-4C21-A4B4-A07213726F46}" type="datetime'''''''大''''''小''''包''''装''''''Mi''''''''''x''''变''''''''化'''">
              <a:rPr lang="zh-CN" altLang="en-US" smtClean="0">
                <a:latin typeface="+mn-lt"/>
                <a:cs typeface="+mn-cs"/>
              </a:rPr>
              <a:pPr/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84979810-8178-49D5-3FE2-5CC9EC240E4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334375" y="3511550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9ACFFDC-E929-41EC-9A99-8BE7ACB76CD4}" type="datetime'''''''毛销''''''''''''''价''''''''''''''变''化'''''">
              <a:rPr lang="zh-CN" altLang="en-US" smtClean="0">
                <a:latin typeface="+mn-lt"/>
                <a:cs typeface="+mn-cs"/>
              </a:rPr>
              <a:pPr/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DA768C52-B91B-3BE4-2BDA-F8F01CBCA69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34375" y="3763963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B22B57-51B9-4361-9FA6-1A28933A20CA}" type="datetime'投''''''''''''''''''''资费''''''比变''''''''''''''化'''">
              <a:rPr lang="zh-CN" altLang="en-US" smtClean="0">
                <a:latin typeface="+mn-lt"/>
                <a:cs typeface="+mn-cs"/>
              </a:rPr>
              <a:pPr/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8EC02E79-E8B4-5EF5-A8BF-541BB49967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422284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1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2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5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.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7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758FB9C4-4D4A-32E2-69B2-AE89A47C3804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络活喜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03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A346C-A9B4-0674-1289-9DC2F894D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870C35C-9049-4C26-7BD0-AD2B7E5711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02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3" imgW="473" imgH="476" progId="TCLayout.ActiveDocument.1">
                  <p:embed/>
                </p:oleObj>
              </mc:Choice>
              <mc:Fallback>
                <p:oleObj name="think-cell 幻灯片" r:id="rId5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70C35C-9049-4C26-7BD0-AD2B7E571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938AA5CF-95F7-6B8F-101E-5CA12FADF113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FC733DFE-234C-CA7B-A4CE-1862DDB5CCCC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1F5AAAD-B6CB-5159-B12C-65D153E525FA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39438B1C-512A-0E77-247D-6BBF007C06BD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30611B49-8564-6CD7-E7E5-C99BACBE6AE1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3CE9184-B331-B398-D4C8-430DF229D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西乐葆在全渠道医院的增长同时来自量的增长和总投资费比的降低；零售销售量下跌，增长来自因大包装毛销价上调带来的平均净价格的提升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AB33597-44A0-19FA-FC25-DA358AD4E9E3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63842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7BB59D6A-39C7-DEA6-2DD3-E644C4CA8FE3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317500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0B405998-B1CC-15E4-9A00-46C66669A02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9114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74DAF96B-67CD-F6B4-ACB0-6F47949DA81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31400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38D15DFA-24BA-36C0-D6F8-4E4A9EB131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0843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9B4CA144-CCD9-0732-5B14-395DAAA67C1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08438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B9BC6987-32DD-953B-9602-D1C8A2F7C57A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0843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B4BB84AD-6106-A3E9-4622-14316E79D32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3475038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41B979AA-AC67-1DE0-5970-FFD1D394336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3048000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B57E643F-C831-6588-2502-5AB7B5BBFA8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659688" y="2081213"/>
            <a:ext cx="601662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54274F1-363A-B34B-16CF-CF402A35536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577013" y="2081213"/>
            <a:ext cx="601662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0A6F5110-8EAC-9E7C-E7CB-ED70F611EA83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49086520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31EFF4D-E4FB-3EA0-CACC-694D7B8D500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D22675-5AC7-400C-B18B-EC0518517996}" type="datetime'''''''量''''''''的''''''''''''''变''''''''''''''化''&#10;''零''''''售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CC6761-DF14-E240-7DCB-263BEEB8977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88013" y="21891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D33BF7-0EFD-42B0-9708-2F2C2D8C2168}" type="datetime'''''''''''''''''''''''''''''3''''''''''''''''0'">
              <a:rPr lang="en-US" altLang="en-US" smtClean="0">
                <a:latin typeface="+mn-lt"/>
                <a:cs typeface="+mn-cs"/>
              </a:rPr>
              <a:pPr/>
              <a:t>3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A119605-DA75-6186-F1A0-0923DD1BB0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94363" y="3362325"/>
            <a:ext cx="2016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794C4D-D94C-4223-A4FA-8392A2A6ADC0}" type="datetime'''''''''''''''''''1''''''''''''''''''''''''''''1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8D8D37F-28F1-17A0-9DE9-0455C2F0E7C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B7E80-5A81-43AE-AD13-ED05AE9F995C}" type="datetime'价的变''''''化''&#10;''''''''''零''''''''售''''''''''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77AC7C1-8644-BD84-49BC-A503C6DADC5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0DBFE2-0EB1-465D-AB8B-9FF06881FBE5}" type="datetime'''''''量''''''''''''的''''''''变''''''''''''''''''化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B82CC920-EFF6-F673-1BCB-675EF39A0AA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34450" y="2879725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464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86026C-A80C-4AA5-9A26-C0B48DF747D5}" type="datetime'''''''3''''''''''''''''''''''''''''''''''''''''''''''''''2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3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95862B7B-BE92-A965-7914-D438BA31725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77313" y="17827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1226A2-0DC0-45DE-9B38-82100DEF3511}" type="datetime'''''''''''''''''''''''''7'''">
              <a:rPr lang="en-US" altLang="en-US" smtClean="0">
                <a:latin typeface="+mn-lt"/>
                <a:cs typeface="+mn-cs"/>
              </a:rPr>
              <a:pPr/>
              <a:t>7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4B0A003D-AB0D-915F-973D-24176FB5FAB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7EA6BC-676B-4F28-A0E5-3687D2C50305}" type="datetime'''''''''''''''''量''''''的''''变''''''''''''''''''''''''化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7DA89F1C-2C5C-397F-F967-E093DC55EEB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9988" y="309880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9E4E5EE-2720-4BE2-8E6F-DCEE7C452E4E}" type="datetime'''''''''''''''''''''''''''5'''''''''''''''''''''''''''">
              <a:rPr lang="en-US" altLang="en-US" smtClean="0"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5D8D60B-12E6-25F1-A3A3-AC7F6E0192D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417888" y="269240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6BB50C-5E9A-4A70-BC0F-95319FD4F977}" type="datetime'''''''''''''''''''''4''''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5C06DF48-0BD9-4676-4A3B-367DAE55CDF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5DD04BD-6101-458F-A17D-55DCCB772D9D}" type="datetime'''''''''价''''''''''''''''''''的变''''''''''''化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57908DEC-86D6-D4B5-9F66-E715DC00330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3219FC-CD0A-4E19-A25E-DF9A9013A099}" type="datetime'''''25''''1''''''''''0''Y''''T''''D''''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F122F9-577E-7600-35D3-531DA79AA0D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14376F-8841-4C86-A78A-159FD46522F5}" type="datetime'''2''''''''''''''410''Y''''''''''''''''''''''T''''''D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45A27584-DCF1-1367-BEA1-1D63D51AEC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36838" y="2940050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2282FC-1315-4D24-8771-D1D61C056A22}" type="datetime'''''''''''''''''5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8CA7AC32-802A-3A93-E541-1A755093241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059988" y="3311525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940DC1-7C47-47D0-AB23-5B4C302BCABE}" type="datetime'''''''''''''''''''''''2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6BED68E5-5B03-FCCE-9F31-77BDF9BC98B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36800" y="3078163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4335FB-1948-4E7A-93FA-331A5ED866E6}" type="datetime'''''''0'''''''''">
              <a:rPr lang="en-US" altLang="en-US" smtClean="0">
                <a:effectLst/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9127BFF-7BA5-E633-6F36-24C6FFAFEF0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2531DB-DC44-4B45-9E2B-3862DDCCB26F}" type="datetime'''''''''量''''''的''变''''化''''''''&#10;''医院''''''''''''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E80E321-6868-777D-11B8-1F9CCAF96DC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717925" y="2555875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DBEF20-581F-4964-8DC3-4F41042426CA}" type="datetime'''''''''''''''''''1''''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8F583C5-0538-A749-7E53-0804FB6299D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0E4DA9-4347-4EA9-9C56-5A6B2173073C}" type="datetime'''价''的''''''''''''''变化''''''''''''&#10;''''''''医''''''''院''''''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2D4C8A4-1E2E-034C-27EB-F4A556F46F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606925" y="21383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47CF2A-123D-4386-8990-2ACB0C3F0B6D}" type="datetime'''''''''''''1''''''''''''''''''''''''''''''''''4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34B98DF-7CDF-2108-5677-81AD9422601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606925" y="31877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855203-0502-4AAA-BD96-3083A7CA0C4A}" type="datetime'2''''''''''''''''''''3'''''''''''''''''''''''''''''''''">
              <a:rPr lang="en-US" altLang="en-US" smtClean="0">
                <a:latin typeface="+mn-lt"/>
                <a:cs typeface="+mn-cs"/>
              </a:rPr>
              <a:pPr/>
              <a:t>2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DD24389D-BA52-5C26-6918-CF618CFB35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319213" y="2947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7E59A9-E4F6-4251-ABEE-3E61F54DE744}" type="datetime'''''''''5''''''''8''''''''''''8'''''''">
              <a:rPr lang="en-US" altLang="en-US" smtClean="0">
                <a:latin typeface="+mn-lt"/>
                <a:cs typeface="+mn-cs"/>
              </a:rPr>
              <a:pPr/>
              <a:t>58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110732-454D-0822-DCAD-677063DE813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486025" y="267811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71203F-21A2-4687-A221-D94FA8874FB2}" type="datetime'''''''''''''''''''''''''''''''''''''''5'''''">
              <a:rPr lang="en-US" altLang="en-US" smtClean="0"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D12FB5-D908-7201-EF44-8737D447FD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67113" y="23542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F05EAC-B840-4B5D-AC35-7FC8933A72E8}" type="datetime'''''''''''''''''''''5'''">
              <a:rPr lang="en-US" altLang="en-US" smtClean="0">
                <a:latin typeface="+mn-lt"/>
                <a:cs typeface="+mn-cs"/>
              </a:rPr>
              <a:pPr/>
              <a:t>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8F53048-A43D-F2E4-8A9E-B8D20C3A983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C1B4BC-62F2-4F25-BCC6-D53BA7AEDCDA}" type="datetime'''''价''''''''''''''''''''的''''''变''化''''''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824B208-0BA9-8A76-3BF5-7D5C6A0F9B8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688013" y="121126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DA7D57-1903-49C8-9B70-42794A09EA98}" type="datetime'''''''''''''''''''''''''''''''''''''''''''1''''9'''''''''''''">
              <a:rPr lang="en-US" altLang="en-US" smtClean="0">
                <a:latin typeface="+mn-lt"/>
                <a:cs typeface="+mn-cs"/>
              </a:rPr>
              <a:pPr/>
              <a:t>1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71E85D15-BADC-C53D-67EF-3F5F9F4B413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909050" y="390207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241D6F-421E-4563-A423-61D9E88723C2}" type="datetime'''''''-''''''''''''''''''2''''''''5'''''''''''''''''">
              <a:rPr lang="en-US" altLang="en-US" smtClean="0">
                <a:latin typeface="+mn-lt"/>
                <a:cs typeface="+mn-cs"/>
              </a:rPr>
              <a:pPr/>
              <a:t>-25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7F9D3CD0-CC8B-EC29-B223-8E93D121170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59988" y="2820988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80B14B-B9F8-4145-90AF-385E66B06382}" type="datetime'''''''8'''''''''''''">
              <a:rPr lang="en-US" altLang="en-US" smtClean="0"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797FD544-E05D-76C0-0BF4-1D53662FB6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056938" y="28209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7228E9-F15A-4F03-A2E9-DF077362B569}" type="datetime'''''''''''''5''''''90'''''''''''''''''''''''">
              <a:rPr lang="en-US" altLang="en-US" smtClean="0">
                <a:latin typeface="+mn-lt"/>
                <a:cs typeface="+mn-cs"/>
              </a:rPr>
              <a:pPr/>
              <a:t>59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69854CD-C9E3-3737-DB39-FACFD7F594E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624388" y="3963988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0E9FDC-9855-49DF-96EE-0ABB6BF735D2}" type="datetime'''''''''''''''''''''-''''''''9'''''''''''''''''''''''''">
              <a:rPr lang="en-US" altLang="en-US" smtClean="0">
                <a:latin typeface="+mn-lt"/>
                <a:cs typeface="+mn-cs"/>
              </a:rPr>
              <a:pPr/>
              <a:t>-9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E70DA91E-6674-6D50-5996-0A162787F6BC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867525" y="30305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AB14B7C2-D2EA-6A11-6BCB-F95BBE84AE2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867525" y="3282950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1BE4C0FD-BC6E-3F8F-6199-D4F9C76E635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867525" y="3535363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244A2C2A-9EB8-3FA2-B8E0-9F100307B16C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867525" y="3787775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2FCD4468-349B-C4E5-7314-4EB6283C3FF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32638" y="301148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CEE365-EA46-4768-9C83-67179C3C2C57}" type="datetime'''''''盒''''''''数''''''变''''''''''''''''''''化'''''''">
              <a:rPr lang="zh-CN" altLang="en-US" smtClean="0">
                <a:latin typeface="+mn-lt"/>
                <a:cs typeface="+mn-cs"/>
              </a:rPr>
              <a:pPr/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3DFEE2B9-221A-7D18-1AB5-80017B2D253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132638" y="3263900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0FE806-1CA4-4B22-AE0C-11A1546309AA}" type="datetime'大小''''''''''''''''''''包''装''Mi''''''''x变''化'''''">
              <a:rPr lang="zh-CN" altLang="en-US" smtClean="0">
                <a:latin typeface="+mn-lt"/>
                <a:cs typeface="+mn-cs"/>
              </a:rPr>
              <a:pPr/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9479CB2E-C2CB-3C15-98BD-48CF33A2B75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32638" y="35163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2D806B5-2602-4305-AD03-BF7162FD5C8D}" type="datetime'''''''''''毛''''销价变''''''''化'''''''''">
              <a:rPr lang="zh-CN" altLang="en-US" smtClean="0">
                <a:latin typeface="+mn-lt"/>
                <a:cs typeface="+mn-cs"/>
              </a:rPr>
              <a:pPr/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1767DD01-0D76-C444-3C05-0E855092C95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32638" y="3768725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71CB81-7D24-446D-A1CB-94C4A219C861}" type="datetime'''''''''''''投''''''''''''''''''资费''比''变''化'''''''''''''">
              <a:rPr lang="zh-CN" altLang="en-US" smtClean="0">
                <a:latin typeface="+mn-lt"/>
                <a:cs typeface="+mn-cs"/>
              </a:rPr>
              <a:pPr/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FFDF8EFF-EC19-A7BE-1409-3EBBD3BAC0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937663"/>
              </p:ext>
            </p:extLst>
          </p:nvPr>
        </p:nvGraphicFramePr>
        <p:xfrm>
          <a:off x="436563" y="4874922"/>
          <a:ext cx="1126807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375741987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3783527129"/>
                    </a:ext>
                  </a:extLst>
                </a:gridCol>
                <a:gridCol w="144001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团队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渠道</a:t>
                      </a: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8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100" b="0" i="0" u="none" strike="noStrike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5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5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7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2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6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EEBA4A0D-45F7-2D8B-6C5A-9803EDA44622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西乐葆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B3A04AE-D13A-C0F1-B49C-83AFDFFDAA12}"/>
              </a:ext>
            </a:extLst>
          </p:cNvPr>
          <p:cNvSpPr/>
          <p:nvPr/>
        </p:nvSpPr>
        <p:spPr>
          <a:xfrm>
            <a:off x="6375399" y="4222750"/>
            <a:ext cx="2087563" cy="24513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78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21A88-C300-2E12-49F4-5A4514ACB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5B2AD06-3C63-52DA-607F-DE2E05FE3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68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3" imgW="473" imgH="476" progId="TCLayout.ActiveDocument.1">
                  <p:embed/>
                </p:oleObj>
              </mc:Choice>
              <mc:Fallback>
                <p:oleObj name="think-cell 幻灯片" r:id="rId5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B2AD06-3C63-52DA-607F-DE2E05FE3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75D5B4AD-2174-399E-44B9-38E24A3D1993}"/>
              </a:ext>
            </a:extLst>
          </p:cNvPr>
          <p:cNvSpPr/>
          <p:nvPr/>
        </p:nvSpPr>
        <p:spPr>
          <a:xfrm>
            <a:off x="0" y="6286499"/>
            <a:ext cx="12188952" cy="50049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EEA5D0DB-CA2C-3FCA-E56B-73312A1DED61}"/>
              </a:ext>
            </a:extLst>
          </p:cNvPr>
          <p:cNvSpPr/>
          <p:nvPr/>
        </p:nvSpPr>
        <p:spPr>
          <a:xfrm>
            <a:off x="6362701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55E84E4-837E-9640-9DF0-BDB4AA529036}"/>
              </a:ext>
            </a:extLst>
          </p:cNvPr>
          <p:cNvSpPr/>
          <p:nvPr/>
        </p:nvSpPr>
        <p:spPr>
          <a:xfrm>
            <a:off x="8532814" y="1355726"/>
            <a:ext cx="2087563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539357EF-50EB-AE54-295E-F3693E70F335}"/>
              </a:ext>
            </a:extLst>
          </p:cNvPr>
          <p:cNvSpPr/>
          <p:nvPr/>
        </p:nvSpPr>
        <p:spPr>
          <a:xfrm>
            <a:off x="10709275" y="1355726"/>
            <a:ext cx="98742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EBDD1E46-CFF6-EC56-2911-3E99E92744F5}"/>
              </a:ext>
            </a:extLst>
          </p:cNvPr>
          <p:cNvSpPr/>
          <p:nvPr/>
        </p:nvSpPr>
        <p:spPr>
          <a:xfrm>
            <a:off x="2003426" y="1355726"/>
            <a:ext cx="4283075" cy="341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974724C-00D1-3F33-01C5-8D1814A6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8952" cy="1381126"/>
          </a:xfrm>
        </p:spPr>
        <p:txBody>
          <a:bodyPr vert="horz"/>
          <a:lstStyle/>
          <a:p>
            <a:r>
              <a:rPr lang="zh-CN" altLang="en-US" sz="2000" dirty="0"/>
              <a:t>万艾可的增长主要来自电商销售量的增长，类消费品团队覆盖零售销售量下跌</a:t>
            </a:r>
            <a:endParaRPr lang="en-US" sz="2000" dirty="0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AB6957C8-7617-3D58-2BED-CC56A584F93A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932238" y="25304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C8D8368D-467D-C6BA-A444-BBC91CB2CC6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8475" y="2530475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D935503-FF16-B275-E872-1EF5231FB80D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851150" y="2530475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4EEDD22-1155-5C64-3019-185083033A7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014913" y="27447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CCD24C00-ABF8-6D03-A3E0-4923F3D3916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96000" y="2678113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0F22AC41-7D56-A134-3842-12738EB4285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178675" y="2317750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D458536C-D91E-32EA-DA27-5D4F91A7370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61350" y="2316163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01F46A4E-6AA8-B0DD-A02E-82E8954A5BE2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42438" y="2316163"/>
            <a:ext cx="481013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22DF29A9-8B17-5518-25C7-0F37A0B6DFE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425113" y="2338388"/>
            <a:ext cx="4794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318CFCE6-962F-2E17-297A-0CFDF623231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49488" y="2527300"/>
            <a:ext cx="601662" cy="6350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DEDB1868-CA67-5439-3975-574265681B7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330575" y="2527300"/>
            <a:ext cx="601663" cy="6350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1" name="Chart 3">
            <a:extLst>
              <a:ext uri="{FF2B5EF4-FFF2-40B4-BE49-F238E27FC236}">
                <a16:creationId xmlns:a16="http://schemas.microsoft.com/office/drawing/2014/main" id="{C9A8852B-E49E-77A4-98AC-EA61BAE03D2B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05666245"/>
              </p:ext>
            </p:extLst>
          </p:nvPr>
        </p:nvGraphicFramePr>
        <p:xfrm>
          <a:off x="844550" y="1355725"/>
          <a:ext cx="10985500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8DFE116-AA5B-50D5-14E1-66B5CF8B92D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21500" y="23812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A6C99E-F06D-49EF-BC02-CAAEAEC786A9}" type="datetime'''''''''''4''''''''''''''0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4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3C6EA5B-93C6-F7B6-C884-27C3C6FAF42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64325" y="2562225"/>
            <a:ext cx="128588" cy="201613"/>
          </a:xfrm>
          <a:prstGeom prst="rect">
            <a:avLst/>
          </a:prstGeom>
          <a:solidFill>
            <a:srgbClr val="B78FC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288BB8-6777-4911-887C-2F2F1942FC09}" type="datetime'''''''''''''''''''''''''''''''''''4'''">
              <a:rPr lang="en-US" altLang="en-US" smtClean="0">
                <a:effectLst/>
                <a:latin typeface="+mn-lt"/>
                <a:cs typeface="+mn-cs"/>
              </a:rPr>
              <a:pPr/>
              <a:t>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B48CF4E-763E-6DA4-BD0C-F18A5FD6AFD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565900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5FF02-CFF6-420D-94EC-A35D13074E76}" type="datetime'''''''''''''''''''''量''''''''''''''''''的''''变''''化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F6E84183-B3F0-8230-EE39-F16C04F3A5B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853363" y="232410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AD7DA2-220F-48EF-9BB0-EA397FD41941}" type="datetime'''''2''''''''''''''''''''''''''''''''''''''''6'''''''''">
              <a:rPr lang="en-US" altLang="en-US" smtClean="0">
                <a:latin typeface="+mn-lt"/>
                <a:cs typeface="+mn-cs"/>
              </a:rPr>
              <a:pPr/>
              <a:t>2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3182916-3F09-DE02-8391-4892B73F139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53363" y="21097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0BFB6E5-5CF3-4D41-9891-3FAAD58772E2}" type="datetime'''''''''2''''''6''''''''''''''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D1C0EBE9-3FD3-8655-7236-FD36AD36C6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34450" y="2309813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D9E7009-F11B-4236-A899-95B875B32BDF}" type="datetime'''''''''''''''''''''''''''''2''''''''''''''''3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3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C93260AF-04E3-FCE7-E416-D913951540A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34450" y="212248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C77D62-5945-4459-882D-B121347879D6}" type="datetime'''''''''''''''''''''''''''''''''''2''''''''''''''''''''3'''''">
              <a:rPr lang="en-US" altLang="en-US" smtClean="0">
                <a:latin typeface="+mn-lt"/>
                <a:cs typeface="+mn-cs"/>
              </a:rPr>
              <a:pPr/>
              <a:t>2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0E0D9FF2-1DCD-3E3C-7174-3FB7038B0F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29663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6F171B-7EEF-41D2-AE9E-0E5AC720EFD6}" type="datetime'量''''''''''''''''''''''''的''''''''变''''''化'''''''''''''''''">
              <a:rPr lang="zh-CN" altLang="en-US" smtClean="0">
                <a:latin typeface="+mn-lt"/>
                <a:cs typeface="+mn-cs"/>
              </a:rPr>
              <a:pPr/>
              <a:t>量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733CE515-F843-B39F-2306-BF067C2C152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910763" y="2249488"/>
            <a:ext cx="128588" cy="201613"/>
          </a:xfrm>
          <a:prstGeom prst="rect">
            <a:avLst/>
          </a:prstGeom>
          <a:solidFill>
            <a:srgbClr val="CF80B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C3B272-2A7D-434A-94ED-982C54F259E5}" type="datetime'''''8'''''''''''''''''''''''''''''''''''">
              <a:rPr lang="en-US" altLang="en-US" smtClean="0">
                <a:effectLst/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A447017-3ED5-C846-A63E-BE54079D887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06925" y="2076450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745C5E-6D94-4BA6-8191-E89466BF1345}" type="datetime'8''''''''''''''''6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9727EFA2-8BF9-1B05-B3A4-ABFF9BDBA2C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12338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1A9F8B-A3B1-44A6-A1A3-A3FE82E9B458}" type="datetime'''''''''''''''''''''''''''''''''''''价''的变化''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7CD06F8B-66C7-C011-A348-B7CC405AE8D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77550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EBEDFA-C3C2-4F17-8E87-A6469B821A7B}" type="datetime'2''''''''''''5''''''''''''''''''1''''''''''''0''''YT''''''D'">
              <a:rPr lang="en-US" altLang="en-US" smtClean="0">
                <a:latin typeface="+mn-lt"/>
                <a:cs typeface="+mn-cs"/>
              </a:rPr>
              <a:pPr/>
              <a:t>25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0589A-177C-580B-2F2E-B78C8E0A9B0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825" y="4222750"/>
            <a:ext cx="6540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A08E9C-0F70-41FE-9B57-8C1E1463705A}" type="datetime'2''41''''''''''''0''''''Y''T''''''''''''''''''''''D'''''''''''">
              <a:rPr lang="en-US" altLang="en-US" smtClean="0">
                <a:latin typeface="+mn-lt"/>
                <a:cs typeface="+mn-cs"/>
              </a:rPr>
              <a:pPr/>
              <a:t>2410YTD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157302-4BD4-18D2-9E8B-D91EF5CC15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3837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B177EE-7023-4E2E-99BC-F7B2B7F67A84}" type="datetime'''''''''''''''''''''''''量的变''化&#10;''''''''''医''''''''''''院'">
              <a:rPr lang="zh-CN" altLang="en-US" smtClean="0">
                <a:latin typeface="+mn-lt"/>
                <a:cs typeface="+mn-cs"/>
              </a:rPr>
              <a:pPr/>
              <a:t>量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8E7920FB-7EF7-6D75-782C-B35F47D7CCB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210800" y="2193925"/>
            <a:ext cx="128588" cy="201613"/>
          </a:xfrm>
          <a:prstGeom prst="rect">
            <a:avLst/>
          </a:prstGeom>
          <a:solidFill>
            <a:srgbClr val="5395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54DFE97-06FA-4554-937A-DB29E9562074}" type="datetime'''''''''''''''''''''''''''5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AAADF1-9839-C7E7-E6FC-E3D3C87CC2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319463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769ED5-233B-4B3F-8F25-D6520EDE1EF0}" type="datetime'''''价''''''的''''''''''''''''''''''''变化''&#10;''''''''医''院'''''''">
              <a:rPr lang="zh-CN" altLang="en-US" smtClean="0">
                <a:latin typeface="+mn-lt"/>
                <a:cs typeface="+mn-cs"/>
              </a:rPr>
              <a:pPr/>
              <a:t>价的变化
医院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C6B00BA-3BA2-1B8F-505E-DAE7B39C05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70413" y="2890838"/>
            <a:ext cx="285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78FC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BE0E0E7-781B-4C17-8EAC-DC50B65E671E}" type="datetime'1''''1''''''''''''3'''''''''''''''''''''">
              <a:rPr lang="en-US" altLang="en-US" smtClean="0">
                <a:latin typeface="+mn-lt"/>
                <a:cs typeface="+mn-cs"/>
              </a:rPr>
              <a:pPr/>
              <a:t>11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BD716FD-56C0-4DA1-1772-5D2BD90A9D9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02138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D3E384-CE54-41D9-99EF-F365EC0DAA40}" type="datetime'''''''''''量的''变化&#10;''''''零''''''''''''''''''''售'''''''''''">
              <a:rPr lang="zh-CN" altLang="en-US" smtClean="0">
                <a:latin typeface="+mn-lt"/>
                <a:cs typeface="+mn-cs"/>
              </a:rPr>
              <a:pPr/>
              <a:t>量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A2FFA5-D833-E416-A858-4777730F277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646738" y="3263900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80B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FFBDADE-ECEB-4050-8DA9-F55704C42DEB}" type="datetime'''''''''1''''''''''''''''''''''''''''''5''''''''''''''''''2'">
              <a:rPr lang="en-US" altLang="en-US" smtClean="0">
                <a:latin typeface="+mn-lt"/>
                <a:cs typeface="+mn-cs"/>
              </a:rPr>
              <a:pPr/>
              <a:t>152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5FF86AF-3C2A-47C6-7BCA-9D16CF4AA93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646738" y="1990725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95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1C78F30-B4E3-4903-B6B9-8EDD072802B1}" type="datetime'''''''''1''''''''''6''0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60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C7BA8F6-7CB7-03BC-1055-6A6F304838A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83225" y="4222750"/>
            <a:ext cx="6223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3B414F-E447-4D69-ADDA-6F6CE105024F}" type="datetime'''''''''''''价''的''''''变''''''''''化''''&#10;''''''零售'''''''''''''''">
              <a:rPr lang="zh-CN" altLang="en-US" smtClean="0">
                <a:latin typeface="+mn-lt"/>
                <a:cs typeface="+mn-cs"/>
              </a:rPr>
              <a:pPr/>
              <a:t>价的变化
零售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D31C1B46-6AE9-6FF3-2DE2-D4257227403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55713" y="2303463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CFFB89-3A70-4E29-A2A5-3388F056D2B6}" type="datetime'1'''''''''''''''''''''''''''''''',''3''''0''''1'''">
              <a:rPr lang="en-US" altLang="en-US" smtClean="0">
                <a:latin typeface="+mn-lt"/>
                <a:cs typeface="+mn-cs"/>
              </a:rPr>
              <a:pPr/>
              <a:t>1,301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3CE0FB9-62D5-F69C-A45A-B0C44C07E6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81525" y="3476625"/>
            <a:ext cx="2635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170A507-4F25-49CD-A8F7-8722B28111DC}" type="datetime'''''''''''''''''-''''2''''''''6'''''''''''">
              <a:rPr lang="en-US" altLang="en-US" smtClean="0">
                <a:latin typeface="+mn-lt"/>
                <a:cs typeface="+mn-cs"/>
              </a:rPr>
              <a:pPr/>
              <a:t>-26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F445A0B-9DAD-7B07-ECEE-53F22DDC72E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730875" y="1211263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D49A89-BC3F-4AAD-8530-783B68AA0455}" type="datetime'''''''''8'''''''''''">
              <a:rPr lang="en-US" altLang="en-US" smtClean="0">
                <a:latin typeface="+mn-lt"/>
                <a:cs typeface="+mn-cs"/>
              </a:rPr>
              <a:pPr/>
              <a:t>8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E77E3DA-A967-AEDC-11CB-1EAA7E909CC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48575" y="4222750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1B99B7-1AA4-4E51-A3EA-96DEF129070E}" type="datetime'价''''''''''的''''变''''''''''''''''化'''''''''''">
              <a:rPr lang="zh-CN" altLang="en-US" smtClean="0">
                <a:latin typeface="+mn-lt"/>
                <a:cs typeface="+mn-cs"/>
              </a:rPr>
              <a:pPr/>
              <a:t>价的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3E8588B4-A17F-3B4F-6716-35772A8E6E8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896225" y="1874838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8CC0F1-EBB7-42FF-9C9C-5069CC1C01D8}" type="datetime'''''''''''''''''''''''''''''''''0'">
              <a:rPr lang="en-US" altLang="en-US" smtClean="0"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437E3542-770A-5A78-F929-D60000CF4D4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977313" y="1901825"/>
            <a:ext cx="128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D11A82-037B-454C-9625-D3804897FB58}" type="datetime'''''''0'''''''''''''''''''''''''''''''''">
              <a:rPr lang="en-US" altLang="en-US" smtClean="0">
                <a:latin typeface="+mn-lt"/>
                <a:cs typeface="+mn-cs"/>
              </a:rPr>
              <a:pPr/>
              <a:t>0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481C25F6-DBCC-9D4F-B1B0-04343D99D1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34588" y="2451100"/>
            <a:ext cx="1793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A168A4-47D1-4B42-BF21-4F97392D2B44}" type="datetime'''''''''''''''''''''''''''''''''''''''''''''''''''''-''3'">
              <a:rPr lang="en-US" altLang="en-US" smtClean="0">
                <a:latin typeface="+mn-lt"/>
                <a:cs typeface="+mn-cs"/>
              </a:rPr>
              <a:pPr/>
              <a:t>-3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53EF45FE-42B1-DC7D-A875-232F5F23A77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993438" y="2111375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2FDCF7-12E2-4935-9F20-D51056D9F382}" type="datetime'1'''''''''''''''',''3''''''''2''''''''''''''''''4'''''''''''">
              <a:rPr lang="en-US" altLang="en-US" smtClean="0">
                <a:latin typeface="+mn-lt"/>
                <a:cs typeface="+mn-cs"/>
              </a:rPr>
              <a:pPr/>
              <a:t>1,32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6319B3A-76F8-91EF-EFEB-3CDB1512D85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770688" y="2090738"/>
            <a:ext cx="212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4E5E3-9F1E-46B8-8539-44AB82B84409}" type="datetime'''''''4''''''''''''''4'''">
              <a:rPr lang="en-US" altLang="en-US" smtClean="0">
                <a:latin typeface="+mn-lt"/>
                <a:cs typeface="+mn-cs"/>
              </a:rPr>
              <a:pPr/>
              <a:t>44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A190CD30-2FF5-460F-4A50-91C3DBB75628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867525" y="3030538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B4D8E606-6737-6F3D-2F8C-D8DBBCEBC0DC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867525" y="3282950"/>
            <a:ext cx="214313" cy="160338"/>
          </a:xfrm>
          <a:prstGeom prst="rect">
            <a:avLst/>
          </a:prstGeom>
          <a:solidFill>
            <a:srgbClr val="B78F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4AB893D8-A47C-3FFA-399C-3B064ABB22B9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867525" y="3535363"/>
            <a:ext cx="214313" cy="160338"/>
          </a:xfrm>
          <a:prstGeom prst="rect">
            <a:avLst/>
          </a:prstGeom>
          <a:solidFill>
            <a:srgbClr val="CF8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265B2FEF-2E36-EACF-6B26-38D100EDABCD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867525" y="3787775"/>
            <a:ext cx="214313" cy="160338"/>
          </a:xfrm>
          <a:prstGeom prst="rect">
            <a:avLst/>
          </a:prstGeom>
          <a:solidFill>
            <a:srgbClr val="5395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34D85DB6-C6F3-8F23-0FB1-EE9C474393B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32638" y="3011488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376DA17-AC61-4309-A70B-2AFFDAC65077}" type="datetime'''盒''''''''''''数''''''''''''''''''''''变''''''''化'''''''''''''">
              <a:rPr lang="zh-CN" altLang="en-US" smtClean="0">
                <a:latin typeface="+mn-lt"/>
                <a:cs typeface="+mn-cs"/>
              </a:rPr>
              <a:pPr/>
              <a:t>盒数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64305884-2A46-DD1E-CF9D-64CA4F5076D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132638" y="3263900"/>
            <a:ext cx="11509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2AFE5C-F153-41A7-AD97-915BA204C359}" type="datetime'''''大''''''''''''''''小''''包''''装''''M''i''x''''''''''变''化'''">
              <a:rPr lang="zh-CN" altLang="en-US" smtClean="0">
                <a:latin typeface="+mn-lt"/>
                <a:cs typeface="+mn-cs"/>
              </a:rPr>
              <a:pPr/>
              <a:t>大小包装Mix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0B3F9256-484E-B44F-894B-F7A026459BD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32638" y="35163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226AD0-BCDC-4C3C-90E4-FCB90E630210}" type="datetime'毛''销价''''''''''''''''''变''''''''化'">
              <a:rPr lang="zh-CN" altLang="en-US" smtClean="0">
                <a:latin typeface="+mn-lt"/>
                <a:cs typeface="+mn-cs"/>
              </a:rPr>
              <a:pPr/>
              <a:t>毛销价变化</a:t>
            </a:fld>
            <a:endParaRPr lang="en-US" dirty="0">
              <a:latin typeface="+mn-lt"/>
              <a:cs typeface="+mn-cs"/>
            </a:endParaRPr>
          </a:p>
        </p:txBody>
      </p:sp>
      <p:sp>
        <p:nvSpPr>
          <p:cNvPr id="173" name="Text Placeholder 3">
            <a:extLst>
              <a:ext uri="{FF2B5EF4-FFF2-40B4-BE49-F238E27FC236}">
                <a16:creationId xmlns:a16="http://schemas.microsoft.com/office/drawing/2014/main" id="{103C1631-3488-67C0-55F6-34676A8AC45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32638" y="3768725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F81C325-481D-4C04-BDF3-13AABFB3223B}" type="datetime'''''''''''''''''''''''''''投''''''资''费''''''''''比变''化'''''''''">
              <a:rPr lang="zh-CN" altLang="en-US" smtClean="0">
                <a:latin typeface="+mn-lt"/>
                <a:cs typeface="+mn-cs"/>
              </a:rPr>
              <a:pPr/>
              <a:t>投资费比变化</a:t>
            </a:fld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198" name="表格 197">
            <a:extLst>
              <a:ext uri="{FF2B5EF4-FFF2-40B4-BE49-F238E27FC236}">
                <a16:creationId xmlns:a16="http://schemas.microsoft.com/office/drawing/2014/main" id="{4B969EF1-17FA-6C38-5435-9E02ABEA89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90439"/>
              </p:ext>
            </p:extLst>
          </p:nvPr>
        </p:nvGraphicFramePr>
        <p:xfrm>
          <a:off x="436563" y="4874922"/>
          <a:ext cx="11268046" cy="179918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584011">
                  <a:extLst>
                    <a:ext uri="{9D8B030D-6E8A-4147-A177-3AD203B41FA5}">
                      <a16:colId xmlns:a16="http://schemas.microsoft.com/office/drawing/2014/main" val="3386589841"/>
                    </a:ext>
                  </a:extLst>
                </a:gridCol>
                <a:gridCol w="4320000">
                  <a:extLst>
                    <a:ext uri="{9D8B030D-6E8A-4147-A177-3AD203B41FA5}">
                      <a16:colId xmlns:a16="http://schemas.microsoft.com/office/drawing/2014/main" val="2796655829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719064974"/>
                    </a:ext>
                  </a:extLst>
                </a:gridCol>
                <a:gridCol w="2160014">
                  <a:extLst>
                    <a:ext uri="{9D8B030D-6E8A-4147-A177-3AD203B41FA5}">
                      <a16:colId xmlns:a16="http://schemas.microsoft.com/office/drawing/2014/main" val="1771936087"/>
                    </a:ext>
                  </a:extLst>
                </a:gridCol>
                <a:gridCol w="1044007">
                  <a:extLst>
                    <a:ext uri="{9D8B030D-6E8A-4147-A177-3AD203B41FA5}">
                      <a16:colId xmlns:a16="http://schemas.microsoft.com/office/drawing/2014/main" val="1025955063"/>
                    </a:ext>
                  </a:extLst>
                </a:gridCol>
              </a:tblGrid>
              <a:tr h="24743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zh-CN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0YTD </a:t>
                      </a:r>
                      <a:r>
                        <a:rPr lang="zh-CN" altLang="en-US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比增长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团队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目标</a:t>
                      </a: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sng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tal</a:t>
                      </a: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454434"/>
                  </a:ext>
                </a:extLst>
              </a:tr>
              <a:tr h="247438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200" b="1" i="0" u="sng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2701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607538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量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8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211610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i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的变化</a:t>
                      </a:r>
                      <a:endParaRPr lang="zh-CN" alt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6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2171665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销售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7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7876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zh-CN" alt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3324204"/>
                  </a:ext>
                </a:extLst>
              </a:tr>
              <a:tr h="20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盒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%</a:t>
                      </a:r>
                    </a:p>
                  </a:txBody>
                  <a:tcPr marL="7620" marR="7620" marT="762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298017"/>
                  </a:ext>
                </a:extLst>
              </a:tr>
            </a:tbl>
          </a:graphicData>
        </a:graphic>
      </p:graphicFrame>
      <p:sp>
        <p:nvSpPr>
          <p:cNvPr id="204" name="矩形 203">
            <a:extLst>
              <a:ext uri="{FF2B5EF4-FFF2-40B4-BE49-F238E27FC236}">
                <a16:creationId xmlns:a16="http://schemas.microsoft.com/office/drawing/2014/main" id="{D18C2478-1769-2FB5-6C1B-5A688F351D68}"/>
              </a:ext>
            </a:extLst>
          </p:cNvPr>
          <p:cNvSpPr/>
          <p:nvPr/>
        </p:nvSpPr>
        <p:spPr>
          <a:xfrm>
            <a:off x="0" y="1356011"/>
            <a:ext cx="1962035" cy="500494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万艾可 净销售额</a:t>
            </a:r>
            <a:r>
              <a:rPr lang="en-US" altLang="zh-CN" sz="1200" b="1" dirty="0">
                <a:solidFill>
                  <a:schemeClr val="bg1"/>
                </a:solidFill>
              </a:rPr>
              <a:t>202510YTD</a:t>
            </a:r>
            <a:r>
              <a:rPr lang="zh-CN" altLang="en-US" sz="1200" b="1" dirty="0">
                <a:solidFill>
                  <a:schemeClr val="bg1"/>
                </a:solidFill>
              </a:rPr>
              <a:t>同比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7FFF5C18-FAD5-98B4-8033-B85B1FC36050}"/>
              </a:ext>
            </a:extLst>
          </p:cNvPr>
          <p:cNvSpPr/>
          <p:nvPr/>
        </p:nvSpPr>
        <p:spPr>
          <a:xfrm>
            <a:off x="2028826" y="4219576"/>
            <a:ext cx="2239962" cy="4727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3A914-3322-EAE9-2CC8-8DBF8E02F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A3678F1-834E-B449-D634-970C7AF99D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622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1" imgW="473" imgH="476" progId="TCLayout.ActiveDocument.1">
                  <p:embed/>
                </p:oleObj>
              </mc:Choice>
              <mc:Fallback>
                <p:oleObj name="think-cell 幻灯片" r:id="rId51" imgW="473" imgH="47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678F1-834E-B449-D634-970C7AF99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矩形 113">
            <a:extLst>
              <a:ext uri="{FF2B5EF4-FFF2-40B4-BE49-F238E27FC236}">
                <a16:creationId xmlns:a16="http://schemas.microsoft.com/office/drawing/2014/main" id="{B2D5B544-0F37-E8E1-4BC5-3636FD99FF0A}"/>
              </a:ext>
            </a:extLst>
          </p:cNvPr>
          <p:cNvSpPr/>
          <p:nvPr/>
        </p:nvSpPr>
        <p:spPr>
          <a:xfrm>
            <a:off x="273050" y="3492500"/>
            <a:ext cx="5675313" cy="2362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4F51EDAF-B002-9C31-5284-D32A15484065}"/>
              </a:ext>
            </a:extLst>
          </p:cNvPr>
          <p:cNvSpPr/>
          <p:nvPr/>
        </p:nvSpPr>
        <p:spPr>
          <a:xfrm>
            <a:off x="6226175" y="3492500"/>
            <a:ext cx="5675313" cy="2362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E6487927-47EA-B695-96EA-CB7CB6849BBB}"/>
              </a:ext>
            </a:extLst>
          </p:cNvPr>
          <p:cNvSpPr/>
          <p:nvPr/>
        </p:nvSpPr>
        <p:spPr>
          <a:xfrm>
            <a:off x="6226175" y="587375"/>
            <a:ext cx="5675313" cy="214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2B610A96-6FF3-5767-544C-045F110037E9}"/>
              </a:ext>
            </a:extLst>
          </p:cNvPr>
          <p:cNvSpPr/>
          <p:nvPr/>
        </p:nvSpPr>
        <p:spPr>
          <a:xfrm>
            <a:off x="263525" y="587375"/>
            <a:ext cx="5675313" cy="21431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B721F5F4-6B3E-1F96-8371-523131FAE771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239838" y="838200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615E640E-BE7E-EE88-F67A-B4FE8458349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343150" y="1408113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118AB4B8-773E-4176-5D6D-0B51C313B70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446463" y="1671638"/>
            <a:ext cx="490538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B37578DA-AE3B-8F79-B2B6-1B57006443E5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551363" y="2124075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CA4B9A81-489B-6FB5-3095-9B3F885654AD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2074197"/>
              </p:ext>
            </p:extLst>
          </p:nvPr>
        </p:nvGraphicFramePr>
        <p:xfrm>
          <a:off x="298450" y="450850"/>
          <a:ext cx="5683250" cy="207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6" name="矩形 15">
            <a:extLst>
              <a:ext uri="{FF2B5EF4-FFF2-40B4-BE49-F238E27FC236}">
                <a16:creationId xmlns:a16="http://schemas.microsoft.com/office/drawing/2014/main" id="{4714B34A-FA31-298C-95E2-13B1B599CBE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937000" y="2068513"/>
            <a:ext cx="614363" cy="34925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D5D29-396E-6356-09A6-7C14D9D86E8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09588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9B4D5E-DE77-4EE9-86BC-EE6D1089CC22}" type="datetime''''''''''''' ''终''''''''''''''''''端购''进''增长'''' '''''''''">
              <a:rPr lang="zh-CN" altLang="en-US" sz="1000" smtClean="0">
                <a:latin typeface="+mn-lt"/>
                <a:cs typeface="+mn-cs"/>
              </a:rPr>
              <a:pPr/>
              <a:t> 终端购进增长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FDD8D02-1D00-15FA-D423-A32123E4CDE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49400" y="2393950"/>
            <a:ext cx="971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FEF40A-2D05-4FBD-89C6-49BD8EFD3BF5}" type="datetime''' 一''级''''''''''商''''''库''''存''''''''变''''''''''''''''''化 '">
              <a:rPr lang="zh-CN" altLang="en-US" sz="1000" smtClean="0">
                <a:latin typeface="+mn-lt"/>
                <a:cs typeface="+mn-cs"/>
              </a:rPr>
              <a:pPr/>
              <a:t> 一级商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1734C9-E572-DFE8-890F-918F19A3D24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33675" y="2393950"/>
            <a:ext cx="8096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AA3635-3A3F-4F22-B6BD-B4610A407677}" type="datetime''''' ''''''二级''''''''商和零售''''''''总''仓库''''存变化'''''''''' '''">
              <a:rPr lang="zh-CN" altLang="en-US" sz="1000" smtClean="0">
                <a:latin typeface="+mn-lt"/>
                <a:cs typeface="+mn-cs"/>
              </a:rPr>
              <a:pPr/>
              <a:t> 二级商和零售总仓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FFF05C9-99D2-4961-C5EE-CA7EC4CFF29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032250" y="1797050"/>
            <a:ext cx="423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7C820B-1E85-450A-9E62-FB9AD8ED70C0}" type="datetime'''''''''''''1''''''2''''''''''''''''''''7''''''''''''.8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27.8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CABBFDD-CC62-CD8A-3873-CACB8640FA8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21113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EBCA17-E721-443A-9990-A6FE78BE808C}" type="datetime' ''''不''''可''''''''追''''''''踪''''变化'''' '''''''''''''''''">
              <a:rPr lang="zh-CN" altLang="en-US" sz="1000" smtClean="0">
                <a:latin typeface="+mn-lt"/>
                <a:cs typeface="+mn-cs"/>
              </a:rPr>
              <a:pPr/>
              <a:t> 不可追踪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ADD620B-2055-C00B-CC41-64FDBDAC01C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24425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F151AC-4100-4B9A-8A9B-65ABA84DCCF2}" type="datetime''''''''''''''''''''''''' 工''''厂''''''''''''''''发''''''货增长 '">
              <a:rPr lang="zh-CN" altLang="en-US" sz="1000" smtClean="0">
                <a:latin typeface="+mn-lt"/>
                <a:cs typeface="+mn-cs"/>
              </a:rPr>
              <a:pPr/>
              <a:t> 工厂发货增长 </a:t>
            </a:fld>
            <a:endParaRPr lang="en-US" sz="1000" dirty="0">
              <a:latin typeface="+mn-lt"/>
              <a:cs typeface="+mn-cs"/>
            </a:endParaRPr>
          </a:p>
        </p:txBody>
      </p:sp>
      <p:graphicFrame>
        <p:nvGraphicFramePr>
          <p:cNvPr id="129" name="表格 128">
            <a:extLst>
              <a:ext uri="{FF2B5EF4-FFF2-40B4-BE49-F238E27FC236}">
                <a16:creationId xmlns:a16="http://schemas.microsoft.com/office/drawing/2014/main" id="{3921879A-2403-68A0-BC71-86601B3FF8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852806"/>
              </p:ext>
            </p:extLst>
          </p:nvPr>
        </p:nvGraphicFramePr>
        <p:xfrm>
          <a:off x="358774" y="2740025"/>
          <a:ext cx="5537200" cy="3238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107440">
                  <a:extLst>
                    <a:ext uri="{9D8B030D-6E8A-4147-A177-3AD203B41FA5}">
                      <a16:colId xmlns:a16="http://schemas.microsoft.com/office/drawing/2014/main" val="2131478334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724998841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946156698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428952627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766142935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8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2.6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2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2.1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0.2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16098"/>
                  </a:ext>
                </a:extLst>
              </a:tr>
            </a:tbl>
          </a:graphicData>
        </a:graphic>
      </p:graphicFrame>
      <p:sp>
        <p:nvSpPr>
          <p:cNvPr id="22" name="矩形 21">
            <a:extLst>
              <a:ext uri="{FF2B5EF4-FFF2-40B4-BE49-F238E27FC236}">
                <a16:creationId xmlns:a16="http://schemas.microsoft.com/office/drawing/2014/main" id="{FBE74710-AEF7-B291-14F6-9A8FD0D918F8}"/>
              </a:ext>
            </a:extLst>
          </p:cNvPr>
          <p:cNvSpPr/>
          <p:nvPr/>
        </p:nvSpPr>
        <p:spPr>
          <a:xfrm>
            <a:off x="263524" y="352425"/>
            <a:ext cx="2178050" cy="23495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立普妥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87CF6F8-9C16-522B-536A-2E70337F399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220788" y="5111750"/>
            <a:ext cx="4921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EE5592A1-77FD-2E6D-FC21-8D2B14FBD3E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2328863" y="4129088"/>
            <a:ext cx="4921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BC49BD2E-7AF1-89B1-91F4-B11C0CDCB6F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3436938" y="4264025"/>
            <a:ext cx="4921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CAF4796F-D426-24DA-CC6D-FBE9CE3E8AC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4545013" y="3762375"/>
            <a:ext cx="4921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B0D8713E-947B-5E11-FB73-0F4A7551605A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33114894"/>
              </p:ext>
            </p:extLst>
          </p:nvPr>
        </p:nvGraphicFramePr>
        <p:xfrm>
          <a:off x="276225" y="3375025"/>
          <a:ext cx="5705475" cy="213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0C9A136-40F1-0810-7941-4250EAA3A49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90538" y="5291138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9E568E-AB37-4201-8F87-9448C90ADB36}" type="datetime''''''''''''' 终''端购''''''''进''''增''''''''''长'' '''''''''">
              <a:rPr lang="zh-CN" altLang="en-US" sz="1000" smtClean="0">
                <a:latin typeface="+mn-lt"/>
                <a:cs typeface="+mn-cs"/>
              </a:rPr>
              <a:pPr/>
              <a:t> 终端购进增长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9B50E05-8F8A-7DB1-66F0-01F8E33A845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35113" y="5291138"/>
            <a:ext cx="971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9A0DBEE-A58D-42AB-9D24-1DBD394B97FF}" type="datetime''''''' ''''''''''一''级''''''商''''''''库''''存''变''''化'''' '''''">
              <a:rPr lang="zh-CN" altLang="en-US" sz="1000" smtClean="0">
                <a:latin typeface="+mn-lt"/>
                <a:cs typeface="+mn-cs"/>
              </a:rPr>
              <a:pPr/>
              <a:t> 一级商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8684864-1FDA-34CB-FCFC-11B004CC614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001963" y="4095750"/>
            <a:ext cx="255588" cy="201613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29EC9A-68F0-4ACE-B0DE-6A6429781D89}" type="datetime'5''.''''''''''''''''''''''''''''''6'''''''''''''''''''''">
              <a:rPr lang="en-US" altLang="en-US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5.6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49FF13CE-05CD-66A2-EA47-B81422AF04A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724150" y="5291138"/>
            <a:ext cx="8096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80CC89-0279-4F15-8387-5D3A8428EDD5}" type="datetime''' 二''级商''''和''零''售''''总''仓库''''''存''变化'' '''''''''''''''''''">
              <a:rPr lang="zh-CN" altLang="en-US" sz="1000" smtClean="0">
                <a:latin typeface="+mn-lt"/>
                <a:cs typeface="+mn-cs"/>
              </a:rPr>
              <a:pPr/>
              <a:t> 二级商和零售总仓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B26FB86E-B2A4-9D28-116E-91EBC3FCE82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814763" y="5291138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4357766-BAEC-4DEE-8E2B-CEAB3C0AFC66}" type="datetime''''''''' ''''不''''''''''''可追''''踪变''''''''''化'''' '''">
              <a:rPr lang="zh-CN" altLang="en-US" sz="1000" smtClean="0">
                <a:latin typeface="+mn-lt"/>
                <a:cs typeface="+mn-cs"/>
              </a:rPr>
              <a:pPr/>
              <a:t> 不可追踪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6C8994A-1897-4B65-87E1-94332F2614D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922838" y="5291138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D0753F7-DB9C-42B4-891A-2A8E37CD20DB}" type="datetime' ''工厂''''发''''''货''''增''''''''''''''''''长'' '''''''''''''''''">
              <a:rPr lang="zh-CN" altLang="en-US" sz="1000" smtClean="0">
                <a:latin typeface="+mn-lt"/>
                <a:cs typeface="+mn-cs"/>
              </a:rPr>
              <a:pPr/>
              <a:t> 工厂发货增长 </a:t>
            </a:fld>
            <a:endParaRPr lang="en-US" sz="1000" dirty="0">
              <a:latin typeface="+mn-lt"/>
              <a:cs typeface="+mn-cs"/>
            </a:endParaRPr>
          </a:p>
        </p:txBody>
      </p:sp>
      <p:graphicFrame>
        <p:nvGraphicFramePr>
          <p:cNvPr id="41" name="表格 40">
            <a:extLst>
              <a:ext uri="{FF2B5EF4-FFF2-40B4-BE49-F238E27FC236}">
                <a16:creationId xmlns:a16="http://schemas.microsoft.com/office/drawing/2014/main" id="{488903C8-AD48-B632-9270-76A3B84882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556345"/>
              </p:ext>
            </p:extLst>
          </p:nvPr>
        </p:nvGraphicFramePr>
        <p:xfrm>
          <a:off x="358774" y="5876925"/>
          <a:ext cx="5537200" cy="3238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107440">
                  <a:extLst>
                    <a:ext uri="{9D8B030D-6E8A-4147-A177-3AD203B41FA5}">
                      <a16:colId xmlns:a16="http://schemas.microsoft.com/office/drawing/2014/main" val="2131478334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724998841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946156698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428952627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766142935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4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8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0.4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1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16098"/>
                  </a:ext>
                </a:extLst>
              </a:tr>
            </a:tbl>
          </a:graphicData>
        </a:graphic>
      </p:graphicFrame>
      <p:sp>
        <p:nvSpPr>
          <p:cNvPr id="42" name="矩形 41">
            <a:extLst>
              <a:ext uri="{FF2B5EF4-FFF2-40B4-BE49-F238E27FC236}">
                <a16:creationId xmlns:a16="http://schemas.microsoft.com/office/drawing/2014/main" id="{9EFA78D0-0E7D-5C99-B099-CEE12F7A47E1}"/>
              </a:ext>
            </a:extLst>
          </p:cNvPr>
          <p:cNvSpPr/>
          <p:nvPr/>
        </p:nvSpPr>
        <p:spPr>
          <a:xfrm>
            <a:off x="276224" y="3263900"/>
            <a:ext cx="2178050" cy="23495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万艾可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B236781C-ED6D-B83F-919D-FF5E496AF7A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7199313" y="838200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A7B60F95-043F-8F53-AB03-C662FF7B4F5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301038" y="1323975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94984A50-DE98-07F9-BF03-002AF78F2D8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9404350" y="1562100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E55FF59B-55CA-40AA-4186-364EBADAC6C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10506075" y="2124075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CD6183E9-9663-6A19-E33A-63316A39CAA5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612397078"/>
              </p:ext>
            </p:extLst>
          </p:nvPr>
        </p:nvGraphicFramePr>
        <p:xfrm>
          <a:off x="6259513" y="450850"/>
          <a:ext cx="5675312" cy="207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43" name="矩形 42">
            <a:extLst>
              <a:ext uri="{FF2B5EF4-FFF2-40B4-BE49-F238E27FC236}">
                <a16:creationId xmlns:a16="http://schemas.microsoft.com/office/drawing/2014/main" id="{CB29D600-D421-C1AB-595C-0EC9DA745C89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893300" y="1617663"/>
            <a:ext cx="612775" cy="34925"/>
          </a:xfrm>
          <a:prstGeom prst="rect">
            <a:avLst/>
          </a:prstGeom>
          <a:solidFill>
            <a:srgbClr val="2A276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8B72AD0A-75B7-AAD3-EADE-B80E2A328E6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470650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40DA06-CCA8-42AB-A9AC-9348CD069E46}" type="datetime' ''''''终''''''端''''购''''''''''''进增长'''''''''''' '">
              <a:rPr lang="zh-CN" altLang="en-US" sz="1000" smtClean="0">
                <a:latin typeface="+mn-lt"/>
                <a:cs typeface="+mn-cs"/>
              </a:rPr>
              <a:pPr/>
              <a:t> 终端购进增长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FFD3DCF6-FBCD-C26A-9F10-972E68C4BA8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508875" y="2393950"/>
            <a:ext cx="971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ACDA95-F8D1-4D53-809B-906F61618F54}" type="datetime' ''一''级''''''商''''''''''''''''''''库''存''变''''''''''''''化 '">
              <a:rPr lang="zh-CN" altLang="en-US" sz="1000" smtClean="0">
                <a:latin typeface="+mn-lt"/>
                <a:cs typeface="+mn-cs"/>
              </a:rPr>
              <a:pPr/>
              <a:t> 一级商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2FA0AE85-F049-58E7-8BC1-1DB32987C62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691563" y="2393950"/>
            <a:ext cx="8096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0A741A-0304-4CBD-B49D-7CCEA5EE2A8C}" type="datetime''' ''''二''''''''''级商和''''''''零''售总''''''仓''''库存''变化 '''''">
              <a:rPr lang="zh-CN" altLang="en-US" sz="1000" smtClean="0">
                <a:latin typeface="+mn-lt"/>
                <a:cs typeface="+mn-cs"/>
              </a:rPr>
              <a:pPr/>
              <a:t> 二级商和零售总仓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EAAEA2C5-B6A3-AFCB-052F-A600DB10E99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029825" y="1743075"/>
            <a:ext cx="339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7F0FAA-2931-41C5-8952-B7F0F14FE5D2}" type="datetime'''''''''8''''''''''''''''''''''1''''''''''.''2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81.2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A75A0DA5-6584-3182-4DB5-A8A726FF346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777413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95E65E-84F2-4F57-B562-49A8A629079E}" type="datetime''''' ''''''''不''可''''''''''追''''''踪''''''''''变''化'' '">
              <a:rPr lang="zh-CN" altLang="en-US" sz="1000" smtClean="0">
                <a:latin typeface="+mn-lt"/>
                <a:cs typeface="+mn-cs"/>
              </a:rPr>
              <a:pPr/>
              <a:t> 不可追踪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C4B13215-78B5-D707-1309-4846742A29F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79138" y="23939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40BB5C-048E-41BC-9124-CD37606C96FA}" type="datetime''''' ''''''工''厂''''发''''''''货''''''''增长'''''' '''''">
              <a:rPr lang="zh-CN" altLang="en-US" sz="1000" smtClean="0">
                <a:latin typeface="+mn-lt"/>
                <a:cs typeface="+mn-cs"/>
              </a:rPr>
              <a:pPr/>
              <a:t> 工厂发货增长 </a:t>
            </a:fld>
            <a:endParaRPr lang="en-US" sz="1000" dirty="0">
              <a:latin typeface="+mn-lt"/>
              <a:cs typeface="+mn-cs"/>
            </a:endParaRPr>
          </a:p>
        </p:txBody>
      </p: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BE689C71-ADEE-AF2D-03AC-61D53D05A713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7199313" y="4433888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CD1C166F-1548-11D8-6493-CFD26A8F349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8301038" y="4603750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31D67C6E-A26A-BEBE-4887-9EA28998EF2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9404350" y="4805363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4A079F2C-0CE8-B997-9165-0308E107DB6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0506075" y="5248275"/>
            <a:ext cx="488950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554C74DD-E6F3-7C42-8156-9861E5D23DB3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102666161"/>
              </p:ext>
            </p:extLst>
          </p:nvPr>
        </p:nvGraphicFramePr>
        <p:xfrm>
          <a:off x="6259513" y="3495675"/>
          <a:ext cx="5675312" cy="214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81" name="Text Placeholder 3">
            <a:extLst>
              <a:ext uri="{FF2B5EF4-FFF2-40B4-BE49-F238E27FC236}">
                <a16:creationId xmlns:a16="http://schemas.microsoft.com/office/drawing/2014/main" id="{A536BB0F-F6F1-E22B-3C92-3CD5934F21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470650" y="55181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C5E3C8-B2A9-48CE-BF4C-72F9A96EEE2F}" type="datetime''''' ''''''''''''''''终端购''''''''进增''''''''''''''长'''''''' '''">
              <a:rPr lang="zh-CN" altLang="en-US" sz="1000" smtClean="0">
                <a:latin typeface="+mn-lt"/>
                <a:cs typeface="+mn-cs"/>
              </a:rPr>
              <a:pPr/>
              <a:t> 终端购进增长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127" name="Text Placeholder 3">
            <a:extLst>
              <a:ext uri="{FF2B5EF4-FFF2-40B4-BE49-F238E27FC236}">
                <a16:creationId xmlns:a16="http://schemas.microsoft.com/office/drawing/2014/main" id="{70FD1CE8-FDCA-AB98-732B-0D9CAB569F5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831138" y="4418013"/>
            <a:ext cx="3286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6B9A20-6DCE-4F56-9735-AF673CE25EA8}" type="datetime'''''''''''''1''''''''''1''''.4''''''''''''''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1.4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75C294F3-D6AC-5299-49E7-BE9D01A8D6C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508875" y="5518150"/>
            <a:ext cx="971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3C1AC7-A3B1-4D29-B19D-32CE773DB2C9}" type="datetime' ''''一''''''''级''''''''''''''''''商''库''''''''''存''变化'''' '''''">
              <a:rPr lang="zh-CN" altLang="en-US" sz="1000" smtClean="0">
                <a:latin typeface="+mn-lt"/>
                <a:cs typeface="+mn-cs"/>
              </a:rPr>
              <a:pPr/>
              <a:t> 一级商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F480B6C1-EBB1-7ED0-BAF0-FE629A1C70F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926513" y="4603750"/>
            <a:ext cx="339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4D791F-ADAD-4B69-8C1D-9C422918C101}" type="datetime'''''''1''''3''''''''''''''.''''''''5''''''''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13.5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50668D2B-078B-E791-E60E-71505FDAE1E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691563" y="5518150"/>
            <a:ext cx="8096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3FF2F6-B246-4ABA-868D-7F2CB76536E6}" type="datetime' 二''级商和零''''''''''''''售''总''''仓''''''''''库存变''''''化'''' '">
              <a:rPr lang="zh-CN" altLang="en-US" sz="1000" smtClean="0">
                <a:latin typeface="+mn-lt"/>
                <a:cs typeface="+mn-cs"/>
              </a:rPr>
              <a:pPr/>
              <a:t> 二级商和零售总仓库存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8" name="Text Placeholder 3">
            <a:extLst>
              <a:ext uri="{FF2B5EF4-FFF2-40B4-BE49-F238E27FC236}">
                <a16:creationId xmlns:a16="http://schemas.microsoft.com/office/drawing/2014/main" id="{D975FDA5-7B32-A391-A19D-C8CB0A25A81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029825" y="4926013"/>
            <a:ext cx="339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4D4753-9B62-444C-8620-85EFB55232D3}" type="datetime'''''''''''''''''''''''''29''''''''''''.''''''''''''''''9'">
              <a:rPr lang="en-US" altLang="en-US" smtClean="0">
                <a:solidFill>
                  <a:schemeClr val="bg1"/>
                </a:solidFill>
                <a:latin typeface="+mn-lt"/>
                <a:cs typeface="+mn-cs"/>
              </a:rPr>
              <a:pPr/>
              <a:t>29.9</a:t>
            </a:fld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5" name="Text Placeholder 3">
            <a:extLst>
              <a:ext uri="{FF2B5EF4-FFF2-40B4-BE49-F238E27FC236}">
                <a16:creationId xmlns:a16="http://schemas.microsoft.com/office/drawing/2014/main" id="{24934F34-7773-F039-2640-2C16DE44CBF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777413" y="55181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8FC62C6-9DE9-4625-B6C1-55B6882B2292}" type="datetime''''''' 不''''''''''可''追''''''''踪变''''化'' '''''''''''''''''''''">
              <a:rPr lang="zh-CN" altLang="en-US" sz="1000" smtClean="0">
                <a:latin typeface="+mn-lt"/>
                <a:cs typeface="+mn-cs"/>
              </a:rPr>
              <a:pPr/>
              <a:t> 不可追踪变化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E35196B0-9481-E82B-D1ED-F60EED897FE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879138" y="5518150"/>
            <a:ext cx="844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F064F2-C6EB-4FCD-B362-4F0F8947BBB9}" type="datetime''''''''' 工''厂''''''''''发货增''''''长'''''''''''' '''''''''''''''">
              <a:rPr lang="zh-CN" altLang="en-US" sz="1000" smtClean="0">
                <a:latin typeface="+mn-lt"/>
                <a:cs typeface="+mn-cs"/>
              </a:rPr>
              <a:pPr/>
              <a:t> 工厂发货增长 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AAB26264-5D29-36D7-A700-E345C052FC14}"/>
              </a:ext>
            </a:extLst>
          </p:cNvPr>
          <p:cNvSpPr/>
          <p:nvPr/>
        </p:nvSpPr>
        <p:spPr>
          <a:xfrm>
            <a:off x="6226174" y="352425"/>
            <a:ext cx="2178050" cy="23495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络活喜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D7C2AD69-3F9D-9F37-2339-783D65397DDF}"/>
              </a:ext>
            </a:extLst>
          </p:cNvPr>
          <p:cNvSpPr/>
          <p:nvPr/>
        </p:nvSpPr>
        <p:spPr>
          <a:xfrm>
            <a:off x="6238874" y="3263900"/>
            <a:ext cx="2178050" cy="234950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西乐葆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3" name="表格 92">
            <a:extLst>
              <a:ext uri="{FF2B5EF4-FFF2-40B4-BE49-F238E27FC236}">
                <a16:creationId xmlns:a16="http://schemas.microsoft.com/office/drawing/2014/main" id="{38F994C3-C9EA-2D4A-915E-235D3718A2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81498"/>
              </p:ext>
            </p:extLst>
          </p:nvPr>
        </p:nvGraphicFramePr>
        <p:xfrm>
          <a:off x="6391274" y="2740025"/>
          <a:ext cx="5461000" cy="3238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92200">
                  <a:extLst>
                    <a:ext uri="{9D8B030D-6E8A-4147-A177-3AD203B41FA5}">
                      <a16:colId xmlns:a16="http://schemas.microsoft.com/office/drawing/2014/main" val="2131478334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2724998841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2946156698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2428952627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2766142935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2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2.6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3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3.0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2.4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16098"/>
                  </a:ext>
                </a:extLst>
              </a:tr>
            </a:tbl>
          </a:graphicData>
        </a:graphic>
      </p:graphicFrame>
      <p:graphicFrame>
        <p:nvGraphicFramePr>
          <p:cNvPr id="94" name="表格 93">
            <a:extLst>
              <a:ext uri="{FF2B5EF4-FFF2-40B4-BE49-F238E27FC236}">
                <a16:creationId xmlns:a16="http://schemas.microsoft.com/office/drawing/2014/main" id="{461D8840-04BD-AA46-D003-54192697E0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607641"/>
              </p:ext>
            </p:extLst>
          </p:nvPr>
        </p:nvGraphicFramePr>
        <p:xfrm>
          <a:off x="6334125" y="5876925"/>
          <a:ext cx="5518150" cy="3238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103630">
                  <a:extLst>
                    <a:ext uri="{9D8B030D-6E8A-4147-A177-3AD203B41FA5}">
                      <a16:colId xmlns:a16="http://schemas.microsoft.com/office/drawing/2014/main" val="2131478334"/>
                    </a:ext>
                  </a:extLst>
                </a:gridCol>
                <a:gridCol w="1103630">
                  <a:extLst>
                    <a:ext uri="{9D8B030D-6E8A-4147-A177-3AD203B41FA5}">
                      <a16:colId xmlns:a16="http://schemas.microsoft.com/office/drawing/2014/main" val="2724998841"/>
                    </a:ext>
                  </a:extLst>
                </a:gridCol>
                <a:gridCol w="1103630">
                  <a:extLst>
                    <a:ext uri="{9D8B030D-6E8A-4147-A177-3AD203B41FA5}">
                      <a16:colId xmlns:a16="http://schemas.microsoft.com/office/drawing/2014/main" val="2946156698"/>
                    </a:ext>
                  </a:extLst>
                </a:gridCol>
                <a:gridCol w="1103630">
                  <a:extLst>
                    <a:ext uri="{9D8B030D-6E8A-4147-A177-3AD203B41FA5}">
                      <a16:colId xmlns:a16="http://schemas.microsoft.com/office/drawing/2014/main" val="2428952627"/>
                    </a:ext>
                  </a:extLst>
                </a:gridCol>
                <a:gridCol w="1103630">
                  <a:extLst>
                    <a:ext uri="{9D8B030D-6E8A-4147-A177-3AD203B41FA5}">
                      <a16:colId xmlns:a16="http://schemas.microsoft.com/office/drawing/2014/main" val="2766142935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6.4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6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.9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.2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12.9%</a:t>
                      </a:r>
                    </a:p>
                  </a:txBody>
                  <a:tcPr marL="6350" marR="6350" marT="635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16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68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35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8" imgW="426" imgH="426" progId="TCLayout.ActiveDocument.1">
                  <p:embed/>
                </p:oleObj>
              </mc:Choice>
              <mc:Fallback>
                <p:oleObj name="think-cell 幻灯片" r:id="rId178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828599" cy="47065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立普妥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少</a:t>
            </a:r>
            <a:r>
              <a:rPr lang="en-US" altLang="zh-CN" sz="2000" dirty="0"/>
              <a:t>1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-52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172M</a:t>
            </a:r>
            <a:r>
              <a:rPr lang="zh-CN" altLang="en-US" sz="2000" dirty="0"/>
              <a:t>转化为渠道</a:t>
            </a:r>
            <a:r>
              <a:rPr lang="en-US" altLang="zh-CN" sz="2000" dirty="0"/>
              <a:t>DDI</a:t>
            </a:r>
            <a:r>
              <a:rPr lang="zh-CN" altLang="en-US" sz="2000" dirty="0"/>
              <a:t>库存的减少，</a:t>
            </a:r>
            <a:r>
              <a:rPr lang="en-US" altLang="zh-CN" sz="2000" dirty="0"/>
              <a:t>120M</a:t>
            </a:r>
            <a:r>
              <a:rPr lang="zh-CN" altLang="en-US" sz="2000" dirty="0"/>
              <a:t>流向不可追踪部分。</a:t>
            </a:r>
            <a:r>
              <a:rPr lang="en-US" altLang="zh-CN" sz="2000" dirty="0"/>
              <a:t>2025</a:t>
            </a:r>
            <a:r>
              <a:rPr lang="zh-CN" altLang="en-US" sz="2000" dirty="0"/>
              <a:t>年</a:t>
            </a:r>
            <a:r>
              <a:rPr lang="en-US" altLang="zh-CN" sz="2000" dirty="0"/>
              <a:t>1</a:t>
            </a:r>
            <a:r>
              <a:rPr lang="zh-CN" altLang="en-US" sz="2000" dirty="0"/>
              <a:t>月，一级商、二级商与零售总仓库存分别升至</a:t>
            </a:r>
            <a:r>
              <a:rPr lang="en-US" altLang="zh-CN" sz="2000" dirty="0"/>
              <a:t>1.8</a:t>
            </a:r>
            <a:r>
              <a:rPr lang="zh-CN" altLang="en-US" sz="2000" dirty="0"/>
              <a:t>周、</a:t>
            </a:r>
            <a:r>
              <a:rPr lang="en-US" altLang="zh-CN" sz="2000" dirty="0"/>
              <a:t>2.9</a:t>
            </a:r>
            <a:r>
              <a:rPr lang="zh-CN" altLang="en-US" sz="2000" dirty="0"/>
              <a:t>周和</a:t>
            </a:r>
            <a:r>
              <a:rPr lang="en-US" altLang="zh-CN" sz="2000" dirty="0"/>
              <a:t>4.5</a:t>
            </a:r>
            <a:r>
              <a:rPr lang="zh-CN" altLang="en-US" sz="2000" dirty="0"/>
              <a:t>周，</a:t>
            </a:r>
            <a:r>
              <a:rPr lang="en-US" altLang="zh-CN" sz="2000" dirty="0"/>
              <a:t>202506</a:t>
            </a:r>
            <a:r>
              <a:rPr lang="zh-CN" altLang="en-US" sz="2000" dirty="0"/>
              <a:t>快速下降后，渠道库存周数持续处于较低区间</a:t>
            </a:r>
          </a:p>
        </p:txBody>
      </p:sp>
      <p:cxnSp>
        <p:nvCxnSpPr>
          <p:cNvPr id="1581" name="直接连接符 1580">
            <a:extLst>
              <a:ext uri="{FF2B5EF4-FFF2-40B4-BE49-F238E27FC236}">
                <a16:creationId xmlns:a16="http://schemas.microsoft.com/office/drawing/2014/main" id="{822DC2B8-79ED-2E97-65D5-B24BD6099DE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454900" y="425608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8" name="直接连接符 2047">
            <a:extLst>
              <a:ext uri="{FF2B5EF4-FFF2-40B4-BE49-F238E27FC236}">
                <a16:creationId xmlns:a16="http://schemas.microsoft.com/office/drawing/2014/main" id="{977756EB-51BC-9FC9-0AE4-4BD27EE431B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397125" y="40941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028949" y="342582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662362" y="373856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294187" y="41608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3" name="直接连接符 1592">
            <a:extLst>
              <a:ext uri="{FF2B5EF4-FFF2-40B4-BE49-F238E27FC236}">
                <a16:creationId xmlns:a16="http://schemas.microsoft.com/office/drawing/2014/main" id="{6BDEA4E6-357A-2358-2347-22267E74416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926013" y="4102100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9" name="直接连接符 2048">
            <a:extLst>
              <a:ext uri="{FF2B5EF4-FFF2-40B4-BE49-F238E27FC236}">
                <a16:creationId xmlns:a16="http://schemas.microsoft.com/office/drawing/2014/main" id="{A165F795-E25E-73C6-34EF-CDE2FFF090E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035550" y="4102100"/>
            <a:ext cx="252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9" name="直接连接符 1518">
            <a:extLst>
              <a:ext uri="{FF2B5EF4-FFF2-40B4-BE49-F238E27FC236}">
                <a16:creationId xmlns:a16="http://schemas.microsoft.com/office/drawing/2014/main" id="{DB475FC9-58A8-F50C-7AD4-C76A1BA430D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557837" y="409098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0" name="直接连接符 1599">
            <a:extLst>
              <a:ext uri="{FF2B5EF4-FFF2-40B4-BE49-F238E27FC236}">
                <a16:creationId xmlns:a16="http://schemas.microsoft.com/office/drawing/2014/main" id="{04D1FAC4-6359-D7AF-AB55-F04359BE2FF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191250" y="42910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0" name="直接连接符 2049">
            <a:extLst>
              <a:ext uri="{FF2B5EF4-FFF2-40B4-BE49-F238E27FC236}">
                <a16:creationId xmlns:a16="http://schemas.microsoft.com/office/drawing/2014/main" id="{EDE25A69-B05D-15E3-7AA6-CD653F7DBFD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334125" y="4291013"/>
            <a:ext cx="219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4" name="直接连接符 1593">
            <a:extLst>
              <a:ext uri="{FF2B5EF4-FFF2-40B4-BE49-F238E27FC236}">
                <a16:creationId xmlns:a16="http://schemas.microsoft.com/office/drawing/2014/main" id="{CA8BCBDE-7919-DFD2-CB10-EA88A315DC7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823075" y="4329113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1" name="直接连接符 2050">
            <a:extLst>
              <a:ext uri="{FF2B5EF4-FFF2-40B4-BE49-F238E27FC236}">
                <a16:creationId xmlns:a16="http://schemas.microsoft.com/office/drawing/2014/main" id="{2E9608A4-AA98-2C22-9C43-2579A93B7E1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932613" y="4329113"/>
            <a:ext cx="25241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5" name="直接连接符 1594">
            <a:extLst>
              <a:ext uri="{FF2B5EF4-FFF2-40B4-BE49-F238E27FC236}">
                <a16:creationId xmlns:a16="http://schemas.microsoft.com/office/drawing/2014/main" id="{A73ED295-15B4-2F3B-66BB-F98525C1C7A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564438" y="4256088"/>
            <a:ext cx="25241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2" name="直接连接符 1581">
            <a:extLst>
              <a:ext uri="{FF2B5EF4-FFF2-40B4-BE49-F238E27FC236}">
                <a16:creationId xmlns:a16="http://schemas.microsoft.com/office/drawing/2014/main" id="{522C1A32-4C1E-7C5A-1A1F-AB0C8073B48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086725" y="4281488"/>
            <a:ext cx="1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6" name="直接连接符 1595">
            <a:extLst>
              <a:ext uri="{FF2B5EF4-FFF2-40B4-BE49-F238E27FC236}">
                <a16:creationId xmlns:a16="http://schemas.microsoft.com/office/drawing/2014/main" id="{C82C9374-0347-8640-AD18-C259C5B53F7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253413" y="4281488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4" name="直接连接符 1523">
            <a:extLst>
              <a:ext uri="{FF2B5EF4-FFF2-40B4-BE49-F238E27FC236}">
                <a16:creationId xmlns:a16="http://schemas.microsoft.com/office/drawing/2014/main" id="{C473C6AD-8681-B41F-FEBD-B32D433102C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720137" y="42481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58" name="Chart 3">
            <a:extLst>
              <a:ext uri="{FF2B5EF4-FFF2-40B4-BE49-F238E27FC236}">
                <a16:creationId xmlns:a16="http://schemas.microsoft.com/office/drawing/2014/main" id="{2033C248-D87E-636A-5623-FB3463F1424D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62099790"/>
              </p:ext>
            </p:extLst>
          </p:nvPr>
        </p:nvGraphicFramePr>
        <p:xfrm>
          <a:off x="1863725" y="3302000"/>
          <a:ext cx="7751763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0"/>
          </a:graphicData>
        </a:graphic>
      </p:graphicFrame>
      <p:cxnSp>
        <p:nvCxnSpPr>
          <p:cNvPr id="1585" name="直接连接符 1584">
            <a:extLst>
              <a:ext uri="{FF2B5EF4-FFF2-40B4-BE49-F238E27FC236}">
                <a16:creationId xmlns:a16="http://schemas.microsoft.com/office/drawing/2014/main" id="{26453B75-A203-AEA1-F433-D2A84081DC3A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4891088" y="415766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9" name="直接连接符 1598">
            <a:extLst>
              <a:ext uri="{FF2B5EF4-FFF2-40B4-BE49-F238E27FC236}">
                <a16:creationId xmlns:a16="http://schemas.microsoft.com/office/drawing/2014/main" id="{82B80641-5327-76DC-CF0C-CA9AB465B61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6156325" y="42894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7" name="直接连接符 1586">
            <a:extLst>
              <a:ext uri="{FF2B5EF4-FFF2-40B4-BE49-F238E27FC236}">
                <a16:creationId xmlns:a16="http://schemas.microsoft.com/office/drawing/2014/main" id="{1F80F8EE-7195-5C60-7F36-66FFA93BEE7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6788150" y="428307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1" name="直接连接符 1590">
            <a:extLst>
              <a:ext uri="{FF2B5EF4-FFF2-40B4-BE49-F238E27FC236}">
                <a16:creationId xmlns:a16="http://schemas.microsoft.com/office/drawing/2014/main" id="{45B3B88D-C4D2-857C-DE64-D5056A9386D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7419975" y="431800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2" name="直接连接符 1591">
            <a:extLst>
              <a:ext uri="{FF2B5EF4-FFF2-40B4-BE49-F238E27FC236}">
                <a16:creationId xmlns:a16="http://schemas.microsoft.com/office/drawing/2014/main" id="{80A237D9-085B-F196-46AA-6ECF5BCFF12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8051800" y="42402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7864475" y="42179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6D3068-9121-43AB-BCDF-D90278DC4C62}" type="datetime'''-''''''''''1''''''''''''''9'">
              <a:rPr lang="zh-CN" altLang="en-US" sz="800" smtClean="0">
                <a:effectLst/>
                <a:latin typeface="+mn-lt"/>
                <a:cs typeface="+mn-cs"/>
              </a:rPr>
              <a:pPr/>
              <a:t>-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4" name="Text Placeholder 3">
            <a:extLst>
              <a:ext uri="{FF2B5EF4-FFF2-40B4-BE49-F238E27FC236}">
                <a16:creationId xmlns:a16="http://schemas.microsoft.com/office/drawing/2014/main" id="{BBCCF612-1129-BBB4-5844-0BA70960BFD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162175" y="45624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7C5B19-478C-45C0-B537-D9A39C62F53B}" type="datetime'3''6''''3'''''''''''''''">
              <a:rPr lang="zh-CN" altLang="en-US" sz="800" smtClean="0">
                <a:latin typeface="+mn-lt"/>
                <a:cs typeface="+mn-cs"/>
              </a:rPr>
              <a:pPr/>
              <a:t>36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5" name="Text Placeholder 3">
            <a:extLst>
              <a:ext uri="{FF2B5EF4-FFF2-40B4-BE49-F238E27FC236}">
                <a16:creationId xmlns:a16="http://schemas.microsoft.com/office/drawing/2014/main" id="{5C1C629A-FB4A-9DCD-82D7-CB67AA109C26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219325" y="509746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3792AC-2290-4A53-8A3A-9C2121F65B05}" type="datetime'''''''''''0''''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8610600" y="41862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E90A3B-D31D-47BE-9B04-CF104368A54A}" type="datetime'''''''''''''''''''''''''''''''''''''''''4'''''''''''''''''">
              <a:rPr lang="zh-CN" altLang="en-US" sz="800" smtClean="0">
                <a:effectLst/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475663" y="420370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20F854-1C78-4730-8FEB-95C02F4786B4}" type="datetime'''''''''''''''7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9101138" y="4279900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6C0EC6-8403-475D-B7AA-E37F5768EF44}" type="datetime'''''''-1''7''''''''''''''''''2'''''''''''''''''''''''''''''''">
              <a:rPr lang="zh-CN" altLang="en-US" sz="800" smtClean="0">
                <a:latin typeface="+mn-lt"/>
                <a:cs typeface="+mn-cs"/>
              </a:rPr>
              <a:pPr/>
              <a:t>-17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9117013" y="38496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5DF0A1-37AF-4A8F-9665-3F530EA91A65}" type="datetime'''''1''''''''''''''''''''''''''20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2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2794000" y="35734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EE5244-BFAA-45B3-855F-8348B71890F5}" type="datetime'''''''''''''1''''''''''''4''''''''''''''''5'''''''">
              <a:rPr lang="zh-CN" altLang="en-US" sz="800" smtClean="0">
                <a:latin typeface="+mn-lt"/>
                <a:cs typeface="+mn-cs"/>
              </a:rPr>
              <a:pPr/>
              <a:t>14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2822575" y="39068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F23B62-F9D1-4C83-B068-01C3FADD9AF5}" type="datetime'''''''''''''''''''''''8''''''''''''''''''''1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411538" y="3535363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919E0F9-782E-4A1C-8CC9-B1C5C84BD520}" type="datetime'''''''''-''''''''''''''''''1''''''''20'''''''''''''">
              <a:rPr lang="zh-CN" altLang="en-US" sz="800" smtClean="0">
                <a:latin typeface="+mn-lt"/>
                <a:cs typeface="+mn-cs"/>
              </a:rPr>
              <a:pPr/>
              <a:t>-12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043363" y="3878263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D6537F-DD49-43C3-BF1E-9A607F4335E6}" type="datetime'''-''''1''''''''''''''''''4''''''''''''''''''''''''1'''''">
              <a:rPr lang="zh-CN" altLang="en-US" sz="800" smtClean="0">
                <a:latin typeface="+mn-lt"/>
                <a:cs typeface="+mn-cs"/>
              </a:rPr>
              <a:pPr/>
              <a:t>-14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100513" y="4089400"/>
            <a:ext cx="119063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C64BE1-A194-4C43-B330-6AE6941CA7EB}" type="datetime'''''''-''''''''3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-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4719638" y="4060825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5C6AF4-A6FA-4CD4-8AA5-9B6EAC52C114}" type="datetime'''''''''''1''''''''''''''''''''8'''''''''''''''''''">
              <a:rPr lang="zh-CN" altLang="en-US" sz="800" smtClean="0">
                <a:effectLst/>
                <a:latin typeface="+mn-lt"/>
                <a:cs typeface="+mn-cs"/>
              </a:rPr>
              <a:pPr/>
              <a:t>1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938713" y="40909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8487EE4-693F-4AA5-8E5E-49697184F94F}" type="datetime'''''''''''''''''''''2''''''''''''''''''''''''''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455988" y="3338513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01DF15-876A-4E03-B4C7-3B7D06C9F5C0}" type="datetime'''''''''''''''''''''''''''''''''1''''''''''''4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5448300" y="40211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AE1BBA-7412-4E00-A11E-15F3FD40ECE9}" type="datetime'''''''''9''''''''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297488" y="4041775"/>
            <a:ext cx="119063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829D33-989C-4AC4-AEAD-449896C3B721}" type="datetime'''''''''''''''''''''''''''''''''-''''''''''''''''''5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-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969000" y="41227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DBD86E-983A-4C3B-B1F4-F7341724CC5A}" type="datetime'''''''''''''''-''''''''''''''6''''''''''7'''''''''''''''''''">
              <a:rPr lang="zh-CN" altLang="en-US" sz="800" smtClean="0">
                <a:latin typeface="+mn-lt"/>
                <a:cs typeface="+mn-cs"/>
              </a:rPr>
              <a:pPr/>
              <a:t>-6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8099425" y="4173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738FA57-3A05-407E-B5A1-AEEDD38D8841}" type="datetime'''''''''''''''''''''''''''''1''''''''''''''''''1'''''">
              <a:rPr lang="zh-CN" altLang="en-US" sz="800" smtClean="0">
                <a:latin typeface="+mn-lt"/>
                <a:cs typeface="+mn-cs"/>
              </a:rPr>
              <a:pPr/>
              <a:t>1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203950" y="4222750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AB6908E-ED9F-404A-B5EE-11CF00FDE16E}" type="datetime'''''''''''''''''''''-''''''''1'''''''''''''''''''''">
              <a:rPr lang="zh-CN" altLang="en-US" sz="800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600825" y="425132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074CC2-4843-4983-991B-5DB7B5E242FE}" type="datetime'''''''''''''''-''''1''''''''''''''9'''''''''''''">
              <a:rPr lang="zh-CN" altLang="en-US" sz="800" smtClean="0">
                <a:effectLst/>
                <a:latin typeface="+mn-lt"/>
                <a:cs typeface="+mn-cs"/>
              </a:rPr>
              <a:pPr/>
              <a:t>-1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835775" y="421640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5BE8F0-7336-4A59-B319-FC288185C310}" type="datetime'''''''''''''''''''''''''''''''''''''''''6'''">
              <a:rPr lang="zh-CN" altLang="en-US" sz="800" smtClean="0">
                <a:latin typeface="+mn-lt"/>
                <a:cs typeface="+mn-cs"/>
              </a:rPr>
              <a:pPr/>
              <a:t>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248525" y="4214813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5A9F7C-47C5-4D6A-A844-318CAA3B8596}" type="datetime'17'''''''''''''''''">
              <a:rPr lang="zh-CN" altLang="en-US" sz="800" smtClean="0">
                <a:effectLst/>
                <a:latin typeface="+mn-lt"/>
                <a:cs typeface="+mn-cs"/>
              </a:rPr>
              <a:pPr/>
              <a:t>1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467600" y="425132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877DEA-342E-4E7F-8D4F-F1675FD7B98C}" type="datetime'7'''''''''''''''''''''''">
              <a:rPr lang="zh-CN" altLang="en-US" sz="800" smtClean="0">
                <a:latin typeface="+mn-lt"/>
                <a:cs typeface="+mn-cs"/>
              </a:rPr>
              <a:pPr/>
              <a:t>7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2072" name="Chart 3">
            <a:extLst>
              <a:ext uri="{FF2B5EF4-FFF2-40B4-BE49-F238E27FC236}">
                <a16:creationId xmlns:a16="http://schemas.microsoft.com/office/drawing/2014/main" id="{71071794-EF62-02C5-E864-46A37481E123}"/>
              </a:ext>
            </a:extLst>
          </p:cNvPr>
          <p:cNvGraphicFramePr/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312672461"/>
              </p:ext>
            </p:extLst>
          </p:nvPr>
        </p:nvGraphicFramePr>
        <p:xfrm>
          <a:off x="2454275" y="1906588"/>
          <a:ext cx="6513513" cy="123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1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536825" y="2008188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3667125" y="2008188"/>
            <a:ext cx="52181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3275013" y="27876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68FBE9-1380-4229-9911-00F053111269}" type="datetime'''''''''''''''3''''''''''''''84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8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502025" y="27336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FA89D6-2B5B-472F-95F9-1E9B4D03B99F}" type="datetime'''''''''''''''''''''''''4''''''9''''''0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3316288" y="18399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3C470C-B2DA-4B72-935C-B77702F150F8}" type="datetime'''''''''''''''''''''''''''''9''''''''''''''1''''''''''%'">
              <a:rPr lang="en-US" altLang="en-US" smtClean="0">
                <a:latin typeface="+mn-lt"/>
                <a:cs typeface="+mn-cs"/>
              </a:rPr>
              <a:pPr/>
              <a:t>9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910013" y="27400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59676E-4FC9-4AE6-B591-9293D9BEAFFE}" type="datetime'''''''''''4''''''''''''''''''78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7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4137025" y="26654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5EA2FF-C57E-4E85-9D61-AAC4C3E86EDC}" type="datetime'''''''''''6''''''''''2''''1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3908424" y="173831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76BE5E-D923-4535-8071-383D7062303B}" type="datetime'''''''''''''''1''''''''0''''1''''''''''''%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4545013" y="26019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D1CEFD-FB07-4664-AE99-0E7210C2A82B}" type="datetime'7''''''''''''''''''''''''''''4''''''''''''''''''''''''6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4772025" y="26114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0BD511-B03F-4031-9F40-9B74492DD805}" type="datetime'''''''7''''''''''''''''''''25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4543424" y="174942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DEE36D-83DD-4112-87F3-E29AA2FADE1B}" type="datetime'''''''''''''''''''''''''''1''0''''''''''''''''0''''%''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5180013" y="26654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854997-37D0-4911-85D7-E59441164DC3}" type="datetime'''''''''''''''''''''6''''''''''''''''''''''''''23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5407025" y="26670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6EE3AA-8D4F-4DE1-8AE1-D975B94F05D0}" type="datetime'''''''''''6''''''''1''''''''''''''''''9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1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5178424" y="175101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5845AC-8A19-4E75-91B7-8BCBE3B3675C}" type="datetime'''''1''''0''''''''''''''''''''''''''''''''0''%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5815013" y="27590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689A7E-0968-4705-A8E1-AB1D8DF58A77}" type="datetime'''''''''''4''''4''''''''''''''''''''2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4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2597149" y="2454275"/>
            <a:ext cx="285750" cy="133350"/>
          </a:xfrm>
          <a:prstGeom prst="rect">
            <a:avLst/>
          </a:prstGeom>
          <a:solidFill>
            <a:srgbClr val="2A276E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D6031B0-A915-4934-B27A-D5DA520E2879}" type="datetime'1,''''''''0''''''2''''''''''''9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02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5811837" y="17319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B1D470-1C5A-4058-8812-BB1427BBB05B}" type="datetime'''''1''''0''''''''''2''''''''''''''''''''''''%'">
              <a:rPr lang="en-US" altLang="en-US" smtClean="0">
                <a:latin typeface="+mn-lt"/>
                <a:cs typeface="+mn-cs"/>
              </a:rPr>
              <a:pPr/>
              <a:t>102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6448425" y="26241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96865F-DB29-48C7-8336-AF05292AFB62}" type="datetime'''''''''''''''''''7''''0''''''1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0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6675438" y="26177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96B517-C9EF-4DAC-B0C1-D6F0305BE12B}" type="datetime'7''''''14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1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6446837" y="17319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1E42DA-B481-45C1-B495-3716DD051A8B}" type="datetime'''''''''1''0''2''''''%'''''''''''''''''''''''''">
              <a:rPr lang="en-US" altLang="en-US" smtClean="0">
                <a:latin typeface="+mn-lt"/>
                <a:cs typeface="+mn-cs"/>
              </a:rPr>
              <a:pPr/>
              <a:t>102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7083425" y="26622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869AC6-1277-4EFA-87EB-220B567B88F7}" type="datetime'''''''''''''''''''''''''''''''''''''''6''''''''2''''''''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7310438" y="26749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66478C-A565-47FA-A906-73606A5641A2}" type="datetime'60''4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7081837" y="1739900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05E070-1A22-49A9-A6B0-1C3C3DA9827E}" type="datetime'1''''''''''''''''''''0''''1''''''''''%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7718425" y="26495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F870C3-EBF0-42DD-AD78-F0A3F4CCE9BD}" type="datetime'''''''''''''''''''''''''''''''''6''''''5''''''''1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7945438" y="26463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F41B24-D740-4435-960E-AFE72FC35524}" type="datetime'''''''''''''''65''''''''''''''''''''''''''''9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716837" y="1739900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703B49-83DB-46B0-AF1C-B128582423BE}" type="datetime'''''1''''''''''01''''''''''''''%''''''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8353425" y="26241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2B4DB0-2470-438A-B98D-61F4D44DA153}" type="datetime'''7''0''''''''''''3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8580438" y="26289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4EBC50-4FAB-42A0-A5F2-8EF2ABE685F8}" type="datetime'''''''6''''''9''''''2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9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8351837" y="174307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042349-5ACE-4572-8D65-0B7934D6525E}" type="datetime'''''''''''1''''''''0''''''''''''''''''1''''''''''%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2867025" y="25717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17CD1F-CD26-4934-B745-73D3C67001F8}" type="datetime'''''8''0''''3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2681288" y="1981200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778CE1-4A18-4B41-ABDA-C75D397FBAC6}" type="datetime'''''''''''7''''''''''''''''''''''8''''''%'''">
              <a:rPr lang="en-US" altLang="en-US" smtClean="0">
                <a:effectLst/>
                <a:latin typeface="+mn-lt"/>
                <a:cs typeface="+mn-cs"/>
              </a:rPr>
              <a:pPr/>
              <a:t>7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6042025" y="27241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361DBB-6373-4CE2-9F71-ED42F8AA12E7}" type="datetime'''''''''''''''''5''''''''''''''''1''''''''''''''''''0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1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DF636F-AAF3-4ABF-BA4E-2A6191008157}" type="datetime'''D''''''''''''''''''''''DI''直连''''库''''存''变''''''''''化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B950EE6B-2B3E-265D-E126-5B3D97BAF38F}"/>
              </a:ext>
            </a:extLst>
          </p:cNvPr>
          <p:cNvGraphicFramePr/>
          <p:nvPr>
            <p:custDataLst>
              <p:tags r:id="rId91"/>
            </p:custDataLst>
            <p:extLst>
              <p:ext uri="{D42A27DB-BD31-4B8C-83A1-F6EECF244321}">
                <p14:modId xmlns:p14="http://schemas.microsoft.com/office/powerpoint/2010/main" val="1792473194"/>
              </p:ext>
            </p:extLst>
          </p:nvPr>
        </p:nvGraphicFramePr>
        <p:xfrm>
          <a:off x="2120900" y="4443413"/>
          <a:ext cx="6704013" cy="158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2"/>
          </a:graphicData>
        </a:graphic>
      </p:graphicFrame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CBC9BAD9-0F24-9106-3CAE-E7247D7A0B79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3629025" y="5229225"/>
            <a:ext cx="4540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7" name="直接连接符 1426">
            <a:extLst>
              <a:ext uri="{FF2B5EF4-FFF2-40B4-BE49-F238E27FC236}">
                <a16:creationId xmlns:a16="http://schemas.microsoft.com/office/drawing/2014/main" id="{8CD1BFBD-29D4-7EFA-3730-7685282ECB0D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2335213" y="5646738"/>
            <a:ext cx="6372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1" name="直接连接符 1860">
            <a:extLst>
              <a:ext uri="{FF2B5EF4-FFF2-40B4-BE49-F238E27FC236}">
                <a16:creationId xmlns:a16="http://schemas.microsoft.com/office/drawing/2014/main" id="{15660DEE-4916-933D-E2C2-A4D09FBA11D1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2982913" y="5229225"/>
            <a:ext cx="4524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4" name="直接连接符 1473">
            <a:extLst>
              <a:ext uri="{FF2B5EF4-FFF2-40B4-BE49-F238E27FC236}">
                <a16:creationId xmlns:a16="http://schemas.microsoft.com/office/drawing/2014/main" id="{967E8F84-C6F1-30BA-DDED-462B5D7B17E2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4276725" y="5229225"/>
            <a:ext cx="44307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6" name="直接连接符 1415">
            <a:extLst>
              <a:ext uri="{FF2B5EF4-FFF2-40B4-BE49-F238E27FC236}">
                <a16:creationId xmlns:a16="http://schemas.microsoft.com/office/drawing/2014/main" id="{72D85A7C-D068-4FDE-7721-9FFD5EE00CF7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2238375" y="5229225"/>
            <a:ext cx="550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8" name="直接连接符 1857">
            <a:extLst>
              <a:ext uri="{FF2B5EF4-FFF2-40B4-BE49-F238E27FC236}">
                <a16:creationId xmlns:a16="http://schemas.microsoft.com/office/drawing/2014/main" id="{0D4B99E3-DB56-6849-EF97-337EA1B0324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7413625" y="55753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B8A70BC4-880F-79F8-BF39-DEB7ECF3AAAF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V="1">
            <a:off x="2238375" y="5575300"/>
            <a:ext cx="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6" name="直接连接符 1465">
            <a:extLst>
              <a:ext uri="{FF2B5EF4-FFF2-40B4-BE49-F238E27FC236}">
                <a16:creationId xmlns:a16="http://schemas.microsoft.com/office/drawing/2014/main" id="{D3EC2432-4617-5266-2DF0-2F8BEF10B77E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7413625" y="55387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44E8E06-7A8F-3954-A4AA-EE20FECFFF3B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2238375" y="556101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7" name="直接连接符 1466">
            <a:extLst>
              <a:ext uri="{FF2B5EF4-FFF2-40B4-BE49-F238E27FC236}">
                <a16:creationId xmlns:a16="http://schemas.microsoft.com/office/drawing/2014/main" id="{B04EF4F2-7F38-9EBF-D340-CFB75FC1FB25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8061325" y="55753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8" name="直接连接符 1467">
            <a:extLst>
              <a:ext uri="{FF2B5EF4-FFF2-40B4-BE49-F238E27FC236}">
                <a16:creationId xmlns:a16="http://schemas.microsoft.com/office/drawing/2014/main" id="{DB3DA2FD-3F9C-7D07-1499-92AEE88BBABE}"/>
              </a:ext>
            </a:extLst>
          </p:cNvPr>
          <p:cNvCxnSpPr>
            <a:cxnSpLocks/>
          </p:cNvCxnSpPr>
          <p:nvPr>
            <p:custDataLst>
              <p:tags r:id="rId102"/>
            </p:custDataLst>
          </p:nvPr>
        </p:nvCxnSpPr>
        <p:spPr bwMode="auto">
          <a:xfrm>
            <a:off x="8061325" y="55753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F626354A-02F7-D8D1-C43E-6F2AA2506D97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4179888" y="56134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9" name="直接连接符 1858">
            <a:extLst>
              <a:ext uri="{FF2B5EF4-FFF2-40B4-BE49-F238E27FC236}">
                <a16:creationId xmlns:a16="http://schemas.microsoft.com/office/drawing/2014/main" id="{FD8FF0CA-37CF-D887-74DE-07CF29094DE7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8061325" y="55911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920FA605-E38D-0766-1BEA-D0809D4F30B1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4179888" y="53816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9" name="直接连接符 1468">
            <a:extLst>
              <a:ext uri="{FF2B5EF4-FFF2-40B4-BE49-F238E27FC236}">
                <a16:creationId xmlns:a16="http://schemas.microsoft.com/office/drawing/2014/main" id="{E7FB9AEA-E911-CF9F-9FF2-E4588B47992B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8707438" y="55895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5460B9C1-B478-B2EA-64C1-1F3A3ED7DB5F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4826000" y="56149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9" name="直接连接符 1458">
            <a:extLst>
              <a:ext uri="{FF2B5EF4-FFF2-40B4-BE49-F238E27FC236}">
                <a16:creationId xmlns:a16="http://schemas.microsoft.com/office/drawing/2014/main" id="{16AAA7D6-7B2F-3A99-2825-6C1703FEC375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4826000" y="538956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9" name="直接连接符 1818">
            <a:extLst>
              <a:ext uri="{FF2B5EF4-FFF2-40B4-BE49-F238E27FC236}">
                <a16:creationId xmlns:a16="http://schemas.microsoft.com/office/drawing/2014/main" id="{89A23327-5608-B9B1-48B6-09A5B94BD12A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>
            <a:off x="8707438" y="55880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0" name="直接连接符 1859">
            <a:extLst>
              <a:ext uri="{FF2B5EF4-FFF2-40B4-BE49-F238E27FC236}">
                <a16:creationId xmlns:a16="http://schemas.microsoft.com/office/drawing/2014/main" id="{1A93DD93-BD90-4150-D381-32F900E769F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>
            <a:off x="8707438" y="560705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D3FC26B7-159F-8978-6453-5F5B3488596A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>
            <a:off x="5473700" y="555466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036720A8-6C47-441D-7C79-B2E3C0977058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>
            <a:off x="6119813" y="55959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2" name="直接连接符 1461">
            <a:extLst>
              <a:ext uri="{FF2B5EF4-FFF2-40B4-BE49-F238E27FC236}">
                <a16:creationId xmlns:a16="http://schemas.microsoft.com/office/drawing/2014/main" id="{B25EED74-3BE6-1A25-FFAA-ED5F7EF0AB4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auto">
          <a:xfrm>
            <a:off x="6119813" y="553085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6" name="直接连接符 1855">
            <a:extLst>
              <a:ext uri="{FF2B5EF4-FFF2-40B4-BE49-F238E27FC236}">
                <a16:creationId xmlns:a16="http://schemas.microsoft.com/office/drawing/2014/main" id="{D1BA9907-3658-82E5-F2ED-A6180F1B2854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>
            <a:off x="6767513" y="56292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7" name="直接连接符 1856">
            <a:extLst>
              <a:ext uri="{FF2B5EF4-FFF2-40B4-BE49-F238E27FC236}">
                <a16:creationId xmlns:a16="http://schemas.microsoft.com/office/drawing/2014/main" id="{CF12010B-7B22-DD94-C36D-C11F4ECD2C5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>
            <a:off x="6767513" y="55070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442" name="Text Placeholder 3">
            <a:extLst>
              <a:ext uri="{FF2B5EF4-FFF2-40B4-BE49-F238E27FC236}">
                <a16:creationId xmlns:a16="http://schemas.microsoft.com/office/drawing/2014/main" id="{00445C12-10C4-A371-D4EA-BD360FAE32DA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gray">
          <a:xfrm>
            <a:off x="2152650" y="537686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24B97F-BCF0-408D-99D1-AAC0E8BCF664}" type="datetime'''''''''''''''''''''1''''''''''''''''''''''''''''.''6'''''">
              <a:rPr lang="zh-CN" altLang="en-US" sz="800" smtClean="0">
                <a:effectLst/>
                <a:latin typeface="+mn-lt"/>
                <a:cs typeface="+mn-cs"/>
              </a:rPr>
              <a:pPr/>
              <a:t>1.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0" name="Text Placeholder 3">
            <a:extLst>
              <a:ext uri="{FF2B5EF4-FFF2-40B4-BE49-F238E27FC236}">
                <a16:creationId xmlns:a16="http://schemas.microsoft.com/office/drawing/2014/main" id="{02F6331E-5D73-6E69-0D56-C4DE5D68572C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2152650" y="542766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EF418B-EE14-4A61-9BA9-BE78ED1E35D7}" type="datetime'''0''''''''''''''''''.''''''''''''''9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1" name="Text Placeholder 3">
            <a:extLst>
              <a:ext uri="{FF2B5EF4-FFF2-40B4-BE49-F238E27FC236}">
                <a16:creationId xmlns:a16="http://schemas.microsoft.com/office/drawing/2014/main" id="{AD047B8F-920B-5600-6840-3C274E6980C6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2130425" y="5876925"/>
            <a:ext cx="2159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2B8EE8-7224-4754-A9CC-53CAB6AC204E}" type="datetime'''''''''''''''''''''''''''''''''''''''''''期初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期初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3" name="Text Placeholder 3">
            <a:extLst>
              <a:ext uri="{FF2B5EF4-FFF2-40B4-BE49-F238E27FC236}">
                <a16:creationId xmlns:a16="http://schemas.microsoft.com/office/drawing/2014/main" id="{3EDE77E4-6C85-3185-A84F-4AA13F641CDB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33543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6BA08A-6AF5-4480-9966-0067E85EF545}" type="datetime'''''''''''''''''''''''''''''20''2''5''''0''2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2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1" name="Text Placeholder 3">
            <a:extLst>
              <a:ext uri="{FF2B5EF4-FFF2-40B4-BE49-F238E27FC236}">
                <a16:creationId xmlns:a16="http://schemas.microsoft.com/office/drawing/2014/main" id="{9C0C7DC5-9B73-37CA-1B50-CC7A6362A4E2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gray">
          <a:xfrm>
            <a:off x="4094163" y="52482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88ACB4-3BB3-4B13-8A55-0A464877B295}" type="datetime'''''1''''''''''.''''''''''''''''''''''''''''''''7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4" name="Text Placeholder 3">
            <a:extLst>
              <a:ext uri="{FF2B5EF4-FFF2-40B4-BE49-F238E27FC236}">
                <a16:creationId xmlns:a16="http://schemas.microsoft.com/office/drawing/2014/main" id="{BF771EE0-A3E5-68C6-1A6D-0EFEE0E2CFC9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40020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C82DDE-C291-4F0B-96D6-A11B1B90769C}" type="datetime'''''''2''''''''''''0''''''''2''5''''''''''''''''0''''''''3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5" name="Text Placeholder 3">
            <a:extLst>
              <a:ext uri="{FF2B5EF4-FFF2-40B4-BE49-F238E27FC236}">
                <a16:creationId xmlns:a16="http://schemas.microsoft.com/office/drawing/2014/main" id="{AB1D084B-48F0-C954-DD65-F56B3845EBA5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46482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E7C4DF-FCE3-4544-BF71-14BFF5756E56}" type="datetime'''''''''''''''''''''''2025''''''''''0''''''''''''''''4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4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2" name="Text Placeholder 3">
            <a:extLst>
              <a:ext uri="{FF2B5EF4-FFF2-40B4-BE49-F238E27FC236}">
                <a16:creationId xmlns:a16="http://schemas.microsoft.com/office/drawing/2014/main" id="{0D711176-2CAE-6464-7127-84B92BFA5A0A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5387975" y="542131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B71AF4-EB8C-439E-9BC8-12C5BC203BE8}" type="datetime'''1''''''''''.''''''''''''''''''''''''''''''''0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0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5" name="Text Placeholder 3">
            <a:extLst>
              <a:ext uri="{FF2B5EF4-FFF2-40B4-BE49-F238E27FC236}">
                <a16:creationId xmlns:a16="http://schemas.microsoft.com/office/drawing/2014/main" id="{7EDBB2B4-EF67-25C3-C8B0-FB513D9A3CD3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gray">
          <a:xfrm>
            <a:off x="6681788" y="53736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F304DDD-C382-4DE8-9FB1-CE6A0DBE66B2}" type="datetime'''''''''''''''''''1''''''''''''''''''''''.2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2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449" name="Text Placeholder 3">
            <a:extLst>
              <a:ext uri="{FF2B5EF4-FFF2-40B4-BE49-F238E27FC236}">
                <a16:creationId xmlns:a16="http://schemas.microsoft.com/office/drawing/2014/main" id="{300E10D2-719E-3D82-5CBF-5A612C09A088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gray">
          <a:xfrm>
            <a:off x="7327900" y="540543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8048422-1AD1-49ED-BE96-D397B817536F}" type="datetime'''1''''''''.''''''''''''''''''''''''''''''''''''''''''''0'''">
              <a:rPr lang="zh-CN" altLang="en-US" sz="800" smtClean="0">
                <a:effectLst/>
                <a:latin typeface="+mn-lt"/>
                <a:cs typeface="+mn-cs"/>
              </a:rPr>
              <a:pPr/>
              <a:t>1.0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4" name="Text Placeholder 3">
            <a:extLst>
              <a:ext uri="{FF2B5EF4-FFF2-40B4-BE49-F238E27FC236}">
                <a16:creationId xmlns:a16="http://schemas.microsoft.com/office/drawing/2014/main" id="{77D4B05C-BCC1-6709-C059-13F84D9F7770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gray">
          <a:xfrm>
            <a:off x="6681788" y="549592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7AF54A-0220-4579-B5D2-7B49360BBA82}" type="datetime'''''''''''''0''''.''''''7''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8" name="Text Placeholder 3">
            <a:extLst>
              <a:ext uri="{FF2B5EF4-FFF2-40B4-BE49-F238E27FC236}">
                <a16:creationId xmlns:a16="http://schemas.microsoft.com/office/drawing/2014/main" id="{03480C23-7FC1-2FF7-BC97-25519BB18339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65897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394C60-59A6-4ED9-9B70-AEDEE7E95299}" type="datetime'''''''''''''2''0''''''''''''''''''2''''''''5''0''''''7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9" name="Text Placeholder 3">
            <a:extLst>
              <a:ext uri="{FF2B5EF4-FFF2-40B4-BE49-F238E27FC236}">
                <a16:creationId xmlns:a16="http://schemas.microsoft.com/office/drawing/2014/main" id="{C5C70E6E-BFEB-1045-1E13-15AAB372D0B9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72358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5776E9-47F3-4212-96FA-71B38A8F640C}" type="datetime'''''''''''''''2''0''''250''''''''''''''''''8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8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6" name="Text Placeholder 3">
            <a:extLst>
              <a:ext uri="{FF2B5EF4-FFF2-40B4-BE49-F238E27FC236}">
                <a16:creationId xmlns:a16="http://schemas.microsoft.com/office/drawing/2014/main" id="{D0AD0539-7B6F-111C-ED13-D1B443ABA2B3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gray">
          <a:xfrm>
            <a:off x="7327900" y="54419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489090-D24B-45F4-8E2F-4575165ADD00}" type="datetime'''''0''''''''''''''''''''''''.''9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1" name="Text Placeholder 3">
            <a:extLst>
              <a:ext uri="{FF2B5EF4-FFF2-40B4-BE49-F238E27FC236}">
                <a16:creationId xmlns:a16="http://schemas.microsoft.com/office/drawing/2014/main" id="{C50F3DAA-EFE1-8572-5206-F1A4416A7C6F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852963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45053E-0588-4E4C-808D-51FAB22641C3}" type="datetime'''2''''0''''''''''2''5''''''''''''''''1''''''0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2" name="Text Placeholder 3">
            <a:extLst>
              <a:ext uri="{FF2B5EF4-FFF2-40B4-BE49-F238E27FC236}">
                <a16:creationId xmlns:a16="http://schemas.microsoft.com/office/drawing/2014/main" id="{6DC21B57-A2D3-D89A-22E6-3EBF752375C8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70827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552FFA-1A46-4A78-B017-884DCF091468}" type="datetime'''''''''''''2''''''''''''''''''''''''''0''''2''''50''''1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7" name="Text Placeholder 3">
            <a:extLst>
              <a:ext uri="{FF2B5EF4-FFF2-40B4-BE49-F238E27FC236}">
                <a16:creationId xmlns:a16="http://schemas.microsoft.com/office/drawing/2014/main" id="{807F5679-15B8-4C76-DCA3-2ED29ECFCF51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59420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B8C014-1559-43C2-979E-36B3C2619C3D}" type="datetime'''20''''''''''2''''''''''50''''''''''''''''''''6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480" name="Text Placeholder 3">
            <a:extLst>
              <a:ext uri="{FF2B5EF4-FFF2-40B4-BE49-F238E27FC236}">
                <a16:creationId xmlns:a16="http://schemas.microsoft.com/office/drawing/2014/main" id="{5295C0BA-22F3-96FA-1230-66FF8C5051FC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gray">
          <a:xfrm>
            <a:off x="6034088" y="539750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F24C5B-9B62-4B3B-89D1-41822CEB03A4}" type="datetime'1.''''''''''''''''''''''1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1.1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3" name="Text Placeholder 3">
            <a:extLst>
              <a:ext uri="{FF2B5EF4-FFF2-40B4-BE49-F238E27FC236}">
                <a16:creationId xmlns:a16="http://schemas.microsoft.com/office/drawing/2014/main" id="{D416A439-F437-CB7D-5D8F-C9C806308A88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gray">
          <a:xfrm>
            <a:off x="6034088" y="54625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6CA82C-AB2B-455F-A518-6E2A8ADDC205}" type="datetime'''0''.''''''''''''''''''''''''''8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6" name="Text Placeholder 3">
            <a:extLst>
              <a:ext uri="{FF2B5EF4-FFF2-40B4-BE49-F238E27FC236}">
                <a16:creationId xmlns:a16="http://schemas.microsoft.com/office/drawing/2014/main" id="{2C544DAD-0BC2-0C32-FDFD-31AC14873EF1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52959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778931-24D9-4752-BDE8-CDD886109C7E}" type="datetime'''''''''''''''2''0''''''''2''''50''''''5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0" name="Text Placeholder 3">
            <a:extLst>
              <a:ext uri="{FF2B5EF4-FFF2-40B4-BE49-F238E27FC236}">
                <a16:creationId xmlns:a16="http://schemas.microsoft.com/office/drawing/2014/main" id="{91F5A5A7-2825-7668-8E0A-E582189F05C5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78835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97B0DD-4030-4D50-AAC7-69F18E97BB76}" type="datetime'''''''''2''''''02''5''''''''''0''''''''''''''''9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9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381" name="直接连接符 1380">
            <a:extLst>
              <a:ext uri="{FF2B5EF4-FFF2-40B4-BE49-F238E27FC236}">
                <a16:creationId xmlns:a16="http://schemas.microsoft.com/office/drawing/2014/main" id="{60F9A687-49A7-9139-83E6-DE0BDC247892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579438" y="4732338"/>
            <a:ext cx="195263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2" name="直接连接符 1381">
            <a:extLst>
              <a:ext uri="{FF2B5EF4-FFF2-40B4-BE49-F238E27FC236}">
                <a16:creationId xmlns:a16="http://schemas.microsoft.com/office/drawing/2014/main" id="{81D9BC2E-43BF-0B4D-346D-E07E1572AC4E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579438" y="4984750"/>
            <a:ext cx="1952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3" name="直接连接符 1382">
            <a:extLst>
              <a:ext uri="{FF2B5EF4-FFF2-40B4-BE49-F238E27FC236}">
                <a16:creationId xmlns:a16="http://schemas.microsoft.com/office/drawing/2014/main" id="{06C80ABB-ADE7-9188-D748-6A0BB890BA72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gray">
          <a:xfrm>
            <a:off x="579438" y="5237163"/>
            <a:ext cx="1952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6" name="Text Placeholder 3">
            <a:extLst>
              <a:ext uri="{FF2B5EF4-FFF2-40B4-BE49-F238E27FC236}">
                <a16:creationId xmlns:a16="http://schemas.microsoft.com/office/drawing/2014/main" id="{2B4EDBBB-72E6-B151-182E-B189521C5BAC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835025" y="46339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5F75AF-EED2-4C71-89CF-2BA43B8E6494}" type="datetime'一''''''''级''商''''库''''''''''''''''''''''存'''''''">
              <a:rPr lang="zh-CN" altLang="en-US" smtClean="0">
                <a:latin typeface="+mn-lt"/>
                <a:cs typeface="+mn-cs"/>
              </a:rPr>
              <a:pPr/>
              <a:t>一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8" name="Text Placeholder 3">
            <a:extLst>
              <a:ext uri="{FF2B5EF4-FFF2-40B4-BE49-F238E27FC236}">
                <a16:creationId xmlns:a16="http://schemas.microsoft.com/office/drawing/2014/main" id="{BD933162-8B62-1004-8AE5-8CA06E5D7DE9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835025" y="48863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B8905D-1D53-47FE-8670-CB43BF969431}" type="datetime'二''级''''''''''商''''''''''''库''''''''''存'''''''">
              <a:rPr lang="zh-CN" altLang="en-US" smtClean="0">
                <a:latin typeface="+mn-lt"/>
                <a:cs typeface="+mn-cs"/>
              </a:rPr>
              <a:pPr/>
              <a:t>二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9" name="Text Placeholder 3">
            <a:extLst>
              <a:ext uri="{FF2B5EF4-FFF2-40B4-BE49-F238E27FC236}">
                <a16:creationId xmlns:a16="http://schemas.microsoft.com/office/drawing/2014/main" id="{9ECFB1DA-48A2-EF26-C44B-C3EC1ABE4988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835025" y="51387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8B23EA-FC27-4AED-B67E-A1038C9D3912}" type="datetime'''''''零售''''''''''''总仓''''库''''''''''''存'''''''''''''''''''">
              <a:rPr lang="zh-CN" altLang="en-US" smtClean="0">
                <a:latin typeface="+mn-lt"/>
                <a:cs typeface="+mn-cs"/>
              </a:rPr>
              <a:pPr/>
              <a:t>零售总仓库存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0653" y="4067083"/>
            <a:ext cx="3138847" cy="363631"/>
            <a:chOff x="333016" y="1185978"/>
            <a:chExt cx="3138894" cy="364636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33016" y="1185978"/>
              <a:ext cx="941434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周数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>
            <a:off x="9367838" y="217011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44"/>
            </p:custDataLst>
          </p:nvPr>
        </p:nvCxnSpPr>
        <p:spPr bwMode="auto">
          <a:xfrm>
            <a:off x="9955213" y="2840038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45"/>
            </p:custDataLst>
          </p:nvPr>
        </p:nvCxnSpPr>
        <p:spPr bwMode="auto">
          <a:xfrm>
            <a:off x="10541000" y="237331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68" name="Chart 3">
            <a:extLst>
              <a:ext uri="{FF2B5EF4-FFF2-40B4-BE49-F238E27FC236}">
                <a16:creationId xmlns:a16="http://schemas.microsoft.com/office/drawing/2014/main" id="{EC480910-6387-3F16-6F43-2ED7976114A1}"/>
              </a:ext>
            </a:extLst>
          </p:cNvPr>
          <p:cNvGraphicFramePr/>
          <p:nvPr>
            <p:custDataLst>
              <p:tags r:id="rId146"/>
            </p:custDataLst>
            <p:extLst>
              <p:ext uri="{D42A27DB-BD31-4B8C-83A1-F6EECF244321}">
                <p14:modId xmlns:p14="http://schemas.microsoft.com/office/powerpoint/2010/main" val="2436248337"/>
              </p:ext>
            </p:extLst>
          </p:nvPr>
        </p:nvGraphicFramePr>
        <p:xfrm>
          <a:off x="8845550" y="2087563"/>
          <a:ext cx="2511425" cy="104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3"/>
          </a:graphicData>
        </a:graphic>
      </p:graphicFrame>
      <p:sp useBgFill="1">
        <p:nvSpPr>
          <p:cNvPr id="2061" name="任意多边形: 形状 2060">
            <a:extLst>
              <a:ext uri="{FF2B5EF4-FFF2-40B4-BE49-F238E27FC236}">
                <a16:creationId xmlns:a16="http://schemas.microsoft.com/office/drawing/2014/main" id="{EC10FD50-1BB5-2F06-E80B-337A1E69A6D3}"/>
              </a:ext>
            </a:extLst>
          </p:cNvPr>
          <p:cNvSpPr/>
          <p:nvPr>
            <p:custDataLst>
              <p:tags r:id="rId147"/>
            </p:custDataLst>
          </p:nvPr>
        </p:nvSpPr>
        <p:spPr bwMode="auto">
          <a:xfrm>
            <a:off x="9023350" y="2867025"/>
            <a:ext cx="395289" cy="163514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2064" name="任意多边形: 形状 2063">
            <a:extLst>
              <a:ext uri="{FF2B5EF4-FFF2-40B4-BE49-F238E27FC236}">
                <a16:creationId xmlns:a16="http://schemas.microsoft.com/office/drawing/2014/main" id="{5519771D-DBD9-C3BC-7D7B-A2751226F9CF}"/>
              </a:ext>
            </a:extLst>
          </p:cNvPr>
          <p:cNvSpPr/>
          <p:nvPr>
            <p:custDataLst>
              <p:tags r:id="rId148"/>
            </p:custDataLst>
          </p:nvPr>
        </p:nvSpPr>
        <p:spPr bwMode="auto">
          <a:xfrm>
            <a:off x="10783888" y="2867025"/>
            <a:ext cx="395288" cy="163514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2059" name="任意多边形: 形状 2058">
            <a:extLst>
              <a:ext uri="{FF2B5EF4-FFF2-40B4-BE49-F238E27FC236}">
                <a16:creationId xmlns:a16="http://schemas.microsoft.com/office/drawing/2014/main" id="{4FF999FA-1CE6-816D-D3B3-94F0A436DD6A}"/>
              </a:ext>
            </a:extLst>
          </p:cNvPr>
          <p:cNvSpPr/>
          <p:nvPr>
            <p:custDataLst>
              <p:tags r:id="rId149"/>
            </p:custDataLst>
          </p:nvPr>
        </p:nvSpPr>
        <p:spPr bwMode="auto">
          <a:xfrm>
            <a:off x="9023350" y="286702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60" name="任意多边形: 形状 2059">
            <a:extLst>
              <a:ext uri="{FF2B5EF4-FFF2-40B4-BE49-F238E27FC236}">
                <a16:creationId xmlns:a16="http://schemas.microsoft.com/office/drawing/2014/main" id="{30997A82-F7AD-11CF-FD92-4153AF5D078E}"/>
              </a:ext>
            </a:extLst>
          </p:cNvPr>
          <p:cNvSpPr/>
          <p:nvPr>
            <p:custDataLst>
              <p:tags r:id="rId150"/>
            </p:custDataLst>
          </p:nvPr>
        </p:nvSpPr>
        <p:spPr bwMode="auto">
          <a:xfrm>
            <a:off x="9023350" y="292417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62" name="任意多边形: 形状 2061">
            <a:extLst>
              <a:ext uri="{FF2B5EF4-FFF2-40B4-BE49-F238E27FC236}">
                <a16:creationId xmlns:a16="http://schemas.microsoft.com/office/drawing/2014/main" id="{3D43E4A8-995E-7592-502B-6A11E01635DA}"/>
              </a:ext>
            </a:extLst>
          </p:cNvPr>
          <p:cNvSpPr/>
          <p:nvPr>
            <p:custDataLst>
              <p:tags r:id="rId151"/>
            </p:custDataLst>
          </p:nvPr>
        </p:nvSpPr>
        <p:spPr bwMode="auto">
          <a:xfrm>
            <a:off x="10783888" y="286702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63" name="任意多边形: 形状 2062">
            <a:extLst>
              <a:ext uri="{FF2B5EF4-FFF2-40B4-BE49-F238E27FC236}">
                <a16:creationId xmlns:a16="http://schemas.microsoft.com/office/drawing/2014/main" id="{3AE91E55-A997-AF83-6A61-D6AA9CAC5831}"/>
              </a:ext>
            </a:extLst>
          </p:cNvPr>
          <p:cNvSpPr/>
          <p:nvPr>
            <p:custDataLst>
              <p:tags r:id="rId152"/>
            </p:custDataLst>
          </p:nvPr>
        </p:nvSpPr>
        <p:spPr bwMode="auto">
          <a:xfrm>
            <a:off x="10783888" y="292417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auto">
          <a:xfrm flipV="1">
            <a:off x="10980738" y="1974850"/>
            <a:ext cx="0" cy="360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54"/>
            </p:custDataLst>
          </p:nvPr>
        </p:nvCxnSpPr>
        <p:spPr bwMode="auto">
          <a:xfrm flipH="1">
            <a:off x="9220199" y="1974850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>
            <a:off x="9220200" y="1974850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gray">
          <a:xfrm>
            <a:off x="9045575" y="2527300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F03150-CADB-4988-8C78-4229F73D0D09}" type="datetime'''''6'''',''''''''''''''''''''''''''4''''3''''''''''7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,437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9010650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z="800" smtClean="0">
                <a:latin typeface="+mn-lt"/>
                <a:cs typeface="+mn-cs"/>
              </a:rPr>
              <a:pPr/>
              <a:t>渠道购进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gray">
          <a:xfrm>
            <a:off x="9664700" y="2420938"/>
            <a:ext cx="287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B8C927-B6D9-41BE-83EA-C0BA77522848}" type="datetime'''-''''''''''''17''''2'''''''''''''''''''''''''''''''''''">
              <a:rPr lang="zh-CN" altLang="en-US" sz="1000" smtClean="0">
                <a:latin typeface="+mn-lt"/>
                <a:cs typeface="+mn-cs"/>
              </a:rPr>
              <a:pPr/>
              <a:t>-172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9598025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z="800" smtClean="0">
                <a:latin typeface="+mn-lt"/>
                <a:cs typeface="+mn-cs"/>
              </a:rPr>
              <a:pPr/>
              <a:t>库存变化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gray">
          <a:xfrm>
            <a:off x="10271125" y="252253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EA1CB3-FBE6-4182-9ACA-471E1691B644}" type="datetime'''''''''''''''''''''''1''''20''''''''''''''''''''''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20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10183813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z="800" smtClean="0">
                <a:latin typeface="+mn-lt"/>
                <a:cs typeface="+mn-cs"/>
              </a:rPr>
              <a:pPr/>
              <a:t>不可追踪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gray">
          <a:xfrm>
            <a:off x="10806113" y="2628900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A68906F-6EA9-428C-9BB0-6D542C9F39D8}" type="datetime'6'''''''''''''''''''''''',''''''''3''''''''8''4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6,384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10771188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z="800" smtClean="0">
                <a:latin typeface="+mn-lt"/>
                <a:cs typeface="+mn-cs"/>
              </a:rPr>
              <a:pPr/>
              <a:t>工厂发货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9917113" y="1855788"/>
            <a:ext cx="365125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612695-ED58-45B0-9FE7-77D730A814F0}" type="datetime'''''''''''''''''''''+''''''1''''''''''''''%'''''''''''''">
              <a:rPr lang="en-US" altLang="en-US" sz="1000" smtClean="0">
                <a:effectLst/>
                <a:latin typeface="+mn-lt"/>
                <a:cs typeface="+mn-cs"/>
              </a:rPr>
              <a:pPr/>
              <a:t>+1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65"/>
            </p:custDataLst>
          </p:nvPr>
        </p:nvCxnSpPr>
        <p:spPr bwMode="auto">
          <a:xfrm>
            <a:off x="9358313" y="4095750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66"/>
            </p:custDataLst>
          </p:nvPr>
        </p:nvCxnSpPr>
        <p:spPr bwMode="auto">
          <a:xfrm>
            <a:off x="9942513" y="452913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7" name="直接连接符 2026">
            <a:extLst>
              <a:ext uri="{FF2B5EF4-FFF2-40B4-BE49-F238E27FC236}">
                <a16:creationId xmlns:a16="http://schemas.microsoft.com/office/drawing/2014/main" id="{EDEC6A54-327B-6A29-4374-80B7580FFFF9}"/>
              </a:ext>
            </a:extLst>
          </p:cNvPr>
          <p:cNvCxnSpPr/>
          <p:nvPr>
            <p:custDataLst>
              <p:tags r:id="rId167"/>
            </p:custDataLst>
          </p:nvPr>
        </p:nvCxnSpPr>
        <p:spPr bwMode="auto">
          <a:xfrm>
            <a:off x="10525125" y="4600575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20" name="矩形 1819">
            <a:extLst>
              <a:ext uri="{FF2B5EF4-FFF2-40B4-BE49-F238E27FC236}">
                <a16:creationId xmlns:a16="http://schemas.microsoft.com/office/drawing/2014/main" id="{B6D15CE4-D8E1-C9EE-1076-53DEEB71111D}"/>
              </a:ext>
            </a:extLst>
          </p:cNvPr>
          <p:cNvSpPr/>
          <p:nvPr>
            <p:custDataLst>
              <p:tags r:id="rId168"/>
            </p:custDataLst>
          </p:nvPr>
        </p:nvSpPr>
        <p:spPr bwMode="auto">
          <a:xfrm>
            <a:off x="10855325" y="4600575"/>
            <a:ext cx="254000" cy="11113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2035" name="Chart 3">
            <a:extLst>
              <a:ext uri="{FF2B5EF4-FFF2-40B4-BE49-F238E27FC236}">
                <a16:creationId xmlns:a16="http://schemas.microsoft.com/office/drawing/2014/main" id="{0E196CA3-0CC6-6288-BC09-465FAA5A4E75}"/>
              </a:ext>
            </a:extLst>
          </p:cNvPr>
          <p:cNvGraphicFramePr/>
          <p:nvPr>
            <p:custDataLst>
              <p:tags r:id="rId169"/>
            </p:custDataLst>
            <p:extLst>
              <p:ext uri="{D42A27DB-BD31-4B8C-83A1-F6EECF244321}">
                <p14:modId xmlns:p14="http://schemas.microsoft.com/office/powerpoint/2010/main" val="1858083032"/>
              </p:ext>
            </p:extLst>
          </p:nvPr>
        </p:nvGraphicFramePr>
        <p:xfrm>
          <a:off x="8856663" y="4013200"/>
          <a:ext cx="2500312" cy="68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4"/>
          </a:graphicData>
        </a:graphic>
      </p:graphicFrame>
      <p:sp>
        <p:nvSpPr>
          <p:cNvPr id="2006" name="Text Placeholder 3">
            <a:extLst>
              <a:ext uri="{FF2B5EF4-FFF2-40B4-BE49-F238E27FC236}">
                <a16:creationId xmlns:a16="http://schemas.microsoft.com/office/drawing/2014/main" id="{3CC98E16-FB2E-495D-ADCF-FFF663C2DC9B}"/>
              </a:ext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8951913" y="470535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1189A-44A3-4C9B-A6B4-3DAE4A8B2B94}" type="datetime'''''''''''''''''''''''20''''2''''5''10''''''Y''''''''''TD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gray">
          <a:xfrm>
            <a:off x="9699625" y="4244975"/>
            <a:ext cx="2333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BA2A72F-0179-42DE-B7B3-A4881E2BEB81}" type="datetime'''''''''-''''''''''''''''''''1''''''''44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4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8" name="Text Placeholder 3">
            <a:extLst>
              <a:ext uri="{FF2B5EF4-FFF2-40B4-BE49-F238E27FC236}">
                <a16:creationId xmlns:a16="http://schemas.microsoft.com/office/drawing/2014/main" id="{7BD5FE52-3C31-692C-0431-58206417CADC}"/>
              </a:ext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9656763" y="470535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F32FD-990E-4B3E-8B5C-7A03EE933112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gray">
          <a:xfrm>
            <a:off x="10310813" y="449738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68F6D-7047-4502-9C7C-F1D09A83E3FE}" type="datetime'''''''''''''''''-''''''''2''''4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9" name="Text Placeholder 3">
            <a:extLst>
              <a:ext uri="{FF2B5EF4-FFF2-40B4-BE49-F238E27FC236}">
                <a16:creationId xmlns:a16="http://schemas.microsoft.com/office/drawing/2014/main" id="{7217B9F1-0A58-5B0F-2E64-A84646CA65AE}"/>
              </a:ext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10239375" y="470535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4D7FFE-FE1B-4043-B240-297D3D41AC8E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25" name="Text Placeholder 3">
            <a:extLst>
              <a:ext uri="{FF2B5EF4-FFF2-40B4-BE49-F238E27FC236}">
                <a16:creationId xmlns:a16="http://schemas.microsoft.com/office/drawing/2014/main" id="{43D55BC5-9920-542B-5943-C2925A23663E}"/>
              </a:ext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gray">
          <a:xfrm>
            <a:off x="10923588" y="4538663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E161A85-435D-45A9-9BB3-93980EA2FD00}" type="datetime'''''''''''''''-''4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10" name="Text Placeholder 3">
            <a:extLst>
              <a:ext uri="{FF2B5EF4-FFF2-40B4-BE49-F238E27FC236}">
                <a16:creationId xmlns:a16="http://schemas.microsoft.com/office/drawing/2014/main" id="{BC99FD18-8285-240E-2946-45D78FEAB7A6}"/>
              </a:ext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10772775" y="470535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F1969F-DCAE-4797-B2FE-A76BE326F36F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69" name="矩形 2068">
            <a:extLst>
              <a:ext uri="{FF2B5EF4-FFF2-40B4-BE49-F238E27FC236}">
                <a16:creationId xmlns:a16="http://schemas.microsoft.com/office/drawing/2014/main" id="{2C8C7C6E-7854-71B0-B5CD-346A1F62D9D5}"/>
              </a:ext>
            </a:extLst>
          </p:cNvPr>
          <p:cNvSpPr/>
          <p:nvPr/>
        </p:nvSpPr>
        <p:spPr>
          <a:xfrm>
            <a:off x="9595508" y="1393825"/>
            <a:ext cx="1163370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10 Y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070" name="矩形 2069">
            <a:extLst>
              <a:ext uri="{FF2B5EF4-FFF2-40B4-BE49-F238E27FC236}">
                <a16:creationId xmlns:a16="http://schemas.microsoft.com/office/drawing/2014/main" id="{38C861AF-6F37-5EBF-7BB3-B7968983ADE2}"/>
              </a:ext>
            </a:extLst>
          </p:cNvPr>
          <p:cNvSpPr/>
          <p:nvPr/>
        </p:nvSpPr>
        <p:spPr>
          <a:xfrm>
            <a:off x="4938713" y="1392238"/>
            <a:ext cx="2193471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01 ~ 202510 M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cxnSp>
        <p:nvCxnSpPr>
          <p:cNvPr id="2074" name="直接连接符 2073">
            <a:extLst>
              <a:ext uri="{FF2B5EF4-FFF2-40B4-BE49-F238E27FC236}">
                <a16:creationId xmlns:a16="http://schemas.microsoft.com/office/drawing/2014/main" id="{DC085743-D412-C3E0-BD8A-77CCC98E3B10}"/>
              </a:ext>
            </a:extLst>
          </p:cNvPr>
          <p:cNvCxnSpPr>
            <a:cxnSpLocks/>
          </p:cNvCxnSpPr>
          <p:nvPr/>
        </p:nvCxnSpPr>
        <p:spPr>
          <a:xfrm>
            <a:off x="8906528" y="1498587"/>
            <a:ext cx="0" cy="4679577"/>
          </a:xfrm>
          <a:prstGeom prst="line">
            <a:avLst/>
          </a:prstGeom>
          <a:ln w="9525" cap="rnd">
            <a:solidFill>
              <a:srgbClr val="54545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E90D6D2D-2F71-697E-2616-88B6A758C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532489"/>
              </p:ext>
            </p:extLst>
          </p:nvPr>
        </p:nvGraphicFramePr>
        <p:xfrm>
          <a:off x="9101138" y="5030787"/>
          <a:ext cx="2260337" cy="102552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790285">
                  <a:extLst>
                    <a:ext uri="{9D8B030D-6E8A-4147-A177-3AD203B41FA5}">
                      <a16:colId xmlns:a16="http://schemas.microsoft.com/office/drawing/2014/main" val="2917021903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2715591091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1308393361"/>
                    </a:ext>
                  </a:extLst>
                </a:gridCol>
              </a:tblGrid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库存完整度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购进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金额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有购进客户数量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18669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一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745966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二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34172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零售总仓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644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45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88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600120" y="1081377"/>
            <a:ext cx="10922807" cy="51986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以立普妥数据为例，根据购进金额占比与有购进记录的客户数量占比，分别对库存数据完整与不完整的客户进行库存完整度统计。</a:t>
            </a: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236637" y="2113853"/>
            <a:ext cx="3223389" cy="341955"/>
            <a:chOff x="248473" y="1235639"/>
            <a:chExt cx="3223437" cy="342900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248473" y="1235639"/>
              <a:ext cx="1271606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二级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139827" y="4184408"/>
            <a:ext cx="3308598" cy="346066"/>
            <a:chOff x="163263" y="1205068"/>
            <a:chExt cx="3308647" cy="345546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163263" y="1205068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零售总仓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B3D0F3C1-99E0-2B9D-0D64-E7BF3F5AED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472653"/>
              </p:ext>
            </p:extLst>
          </p:nvPr>
        </p:nvGraphicFramePr>
        <p:xfrm>
          <a:off x="872431" y="4635580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683939FB-F469-FCCA-AF43-73C38C9D7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374047"/>
              </p:ext>
            </p:extLst>
          </p:nvPr>
        </p:nvGraphicFramePr>
        <p:xfrm>
          <a:off x="872431" y="5415704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购进客户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E6967249-8534-910D-5FE8-87656FCA0C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029005"/>
              </p:ext>
            </p:extLst>
          </p:nvPr>
        </p:nvGraphicFramePr>
        <p:xfrm>
          <a:off x="872431" y="2551180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-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03113804-7983-FAB8-A258-F81D3A6F3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874406"/>
              </p:ext>
            </p:extLst>
          </p:nvPr>
        </p:nvGraphicFramePr>
        <p:xfrm>
          <a:off x="872431" y="3347054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购进客户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6A298F95-B980-7018-3C1E-6CACF00801FE}"/>
              </a:ext>
            </a:extLst>
          </p:cNvPr>
          <p:cNvSpPr/>
          <p:nvPr/>
        </p:nvSpPr>
        <p:spPr>
          <a:xfrm>
            <a:off x="8427847" y="2027379"/>
            <a:ext cx="2888673" cy="199201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</a:t>
            </a:r>
            <a:r>
              <a:rPr lang="zh-CN" altLang="en-US" sz="1100" dirty="0">
                <a:solidFill>
                  <a:schemeClr val="tx1"/>
                </a:solidFill>
              </a:rPr>
              <a:t>统计时间段内，一级商库存完整度为</a:t>
            </a:r>
            <a:r>
              <a:rPr lang="en-US" altLang="zh-CN" sz="1100" dirty="0">
                <a:solidFill>
                  <a:schemeClr val="tx1"/>
                </a:solidFill>
              </a:rPr>
              <a:t>100%</a:t>
            </a: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ACEBFC1-0BCA-7AC0-4140-9F00E7FB161A}"/>
              </a:ext>
            </a:extLst>
          </p:cNvPr>
          <p:cNvGrpSpPr/>
          <p:nvPr/>
        </p:nvGrpSpPr>
        <p:grpSpPr>
          <a:xfrm>
            <a:off x="294593" y="965793"/>
            <a:ext cx="3198403" cy="315952"/>
            <a:chOff x="273460" y="1233789"/>
            <a:chExt cx="3198450" cy="316825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E9EBC10-8689-9022-1390-37DE378808CF}"/>
                </a:ext>
              </a:extLst>
            </p:cNvPr>
            <p:cNvSpPr/>
            <p:nvPr/>
          </p:nvSpPr>
          <p:spPr>
            <a:xfrm>
              <a:off x="273460" y="1233789"/>
              <a:ext cx="1921022" cy="2671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经销商和零售总仓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34463BEC-AA4A-113D-54E7-F80D4517D645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076A3CE7-ECAB-57C3-F7C3-046379072E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30629"/>
              </p:ext>
            </p:extLst>
          </p:nvPr>
        </p:nvGraphicFramePr>
        <p:xfrm>
          <a:off x="872430" y="1397330"/>
          <a:ext cx="10444090" cy="56941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126340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14362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1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84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1" imgW="426" imgH="426" progId="TCLayout.ActiveDocument.1">
                  <p:embed/>
                </p:oleObj>
              </mc:Choice>
              <mc:Fallback>
                <p:oleObj name="think-cell 幻灯片" r:id="rId171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828599" cy="47065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络活喜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少</a:t>
            </a:r>
            <a:r>
              <a:rPr lang="en-US" altLang="zh-CN" sz="2000" dirty="0"/>
              <a:t>1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-16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73M</a:t>
            </a:r>
            <a:r>
              <a:rPr lang="zh-CN" altLang="en-US" sz="2000" dirty="0"/>
              <a:t>转化为渠道</a:t>
            </a:r>
            <a:r>
              <a:rPr lang="en-US" altLang="zh-CN" sz="2000" dirty="0"/>
              <a:t>DDI</a:t>
            </a:r>
            <a:r>
              <a:rPr lang="zh-CN" altLang="en-US" sz="2000" dirty="0"/>
              <a:t>库存的减少，</a:t>
            </a:r>
            <a:r>
              <a:rPr lang="en-US" altLang="zh-CN" sz="2000" dirty="0"/>
              <a:t>57M</a:t>
            </a:r>
            <a:r>
              <a:rPr lang="zh-CN" altLang="en-US" sz="2000" dirty="0"/>
              <a:t>流向不可追踪部分。</a:t>
            </a:r>
            <a:r>
              <a:rPr lang="en-US" altLang="zh-CN" sz="2000" dirty="0"/>
              <a:t>2025</a:t>
            </a:r>
            <a:r>
              <a:rPr lang="zh-CN" altLang="en-US" sz="2000" dirty="0"/>
              <a:t>年</a:t>
            </a:r>
            <a:r>
              <a:rPr lang="en-US" altLang="zh-CN" sz="2000" dirty="0"/>
              <a:t>1</a:t>
            </a:r>
            <a:r>
              <a:rPr lang="zh-CN" altLang="en-US" sz="2000" dirty="0"/>
              <a:t>月，一级商、二级商与零售总仓库存分别升至</a:t>
            </a:r>
            <a:r>
              <a:rPr lang="en-US" altLang="zh-CN" sz="2000" dirty="0"/>
              <a:t>1.8</a:t>
            </a:r>
            <a:r>
              <a:rPr lang="zh-CN" altLang="en-US" sz="2000" dirty="0"/>
              <a:t>周、</a:t>
            </a:r>
            <a:r>
              <a:rPr lang="en-US" altLang="zh-CN" sz="2000" dirty="0"/>
              <a:t>3.0</a:t>
            </a:r>
            <a:r>
              <a:rPr lang="zh-CN" altLang="en-US" sz="2000" dirty="0"/>
              <a:t>周和</a:t>
            </a:r>
            <a:r>
              <a:rPr lang="en-US" altLang="zh-CN" sz="2000" dirty="0"/>
              <a:t>4.3</a:t>
            </a:r>
            <a:r>
              <a:rPr lang="zh-CN" altLang="en-US" sz="2000" dirty="0"/>
              <a:t>周，</a:t>
            </a:r>
            <a:r>
              <a:rPr lang="en-US" altLang="zh-CN" sz="2000" dirty="0"/>
              <a:t>202506</a:t>
            </a:r>
            <a:r>
              <a:rPr lang="zh-CN" altLang="en-US" sz="2000" dirty="0"/>
              <a:t>快速下降后，渠道库存周数持续处于较低区间</a:t>
            </a:r>
          </a:p>
        </p:txBody>
      </p:sp>
      <p:cxnSp>
        <p:nvCxnSpPr>
          <p:cNvPr id="2048" name="直接连接符 2047">
            <a:extLst>
              <a:ext uri="{FF2B5EF4-FFF2-40B4-BE49-F238E27FC236}">
                <a16:creationId xmlns:a16="http://schemas.microsoft.com/office/drawing/2014/main" id="{977756EB-51BC-9FC9-0AE4-4BD27EE431B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397125" y="40909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028949" y="345598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62362" y="36512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94187" y="41163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9" name="直接连接符 2048">
            <a:extLst>
              <a:ext uri="{FF2B5EF4-FFF2-40B4-BE49-F238E27FC236}">
                <a16:creationId xmlns:a16="http://schemas.microsoft.com/office/drawing/2014/main" id="{A165F795-E25E-73C6-34EF-CDE2FFF090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926012" y="401161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9" name="直接连接符 1518">
            <a:extLst>
              <a:ext uri="{FF2B5EF4-FFF2-40B4-BE49-F238E27FC236}">
                <a16:creationId xmlns:a16="http://schemas.microsoft.com/office/drawing/2014/main" id="{DB475FC9-58A8-F50C-7AD4-C76A1BA430D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557837" y="401955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0" name="直接连接符 2049">
            <a:extLst>
              <a:ext uri="{FF2B5EF4-FFF2-40B4-BE49-F238E27FC236}">
                <a16:creationId xmlns:a16="http://schemas.microsoft.com/office/drawing/2014/main" id="{EDE25A69-B05D-15E3-7AA6-CD653F7DBFD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191249" y="42433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1" name="直接连接符 2050">
            <a:extLst>
              <a:ext uri="{FF2B5EF4-FFF2-40B4-BE49-F238E27FC236}">
                <a16:creationId xmlns:a16="http://schemas.microsoft.com/office/drawing/2014/main" id="{2E9608A4-AA98-2C22-9C43-2579A93B7E1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823075" y="42306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6" name="直接连接符 1595">
            <a:extLst>
              <a:ext uri="{FF2B5EF4-FFF2-40B4-BE49-F238E27FC236}">
                <a16:creationId xmlns:a16="http://schemas.microsoft.com/office/drawing/2014/main" id="{C82C9374-0347-8640-AD18-C259C5B53F7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086725" y="424497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4" name="直接连接符 1523">
            <a:extLst>
              <a:ext uri="{FF2B5EF4-FFF2-40B4-BE49-F238E27FC236}">
                <a16:creationId xmlns:a16="http://schemas.microsoft.com/office/drawing/2014/main" id="{C473C6AD-8681-B41F-FEBD-B32D433102C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720137" y="41910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86E17761-4B75-BD27-044C-31EAF53B10A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454900" y="41290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矩形 44">
            <a:extLst>
              <a:ext uri="{FF2B5EF4-FFF2-40B4-BE49-F238E27FC236}">
                <a16:creationId xmlns:a16="http://schemas.microsoft.com/office/drawing/2014/main" id="{9F0ECFA6-321D-B5B4-CE94-AEFEE94E612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287963" y="4011613"/>
            <a:ext cx="269875" cy="7937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E9A17D1B-9848-460F-44ED-D4DDB99907BC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15131907"/>
              </p:ext>
            </p:extLst>
          </p:nvPr>
        </p:nvGraphicFramePr>
        <p:xfrm>
          <a:off x="1863725" y="3302000"/>
          <a:ext cx="7751763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3"/>
          </a:graphicData>
        </a:graphic>
      </p:graphicFrame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EB8A25FD-11A3-728A-6140-D67EBE303D4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4891088" y="41084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DE1336B5-091C-B043-12CA-4CEF0A11512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6156325" y="4019550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5E089F38-37F1-CF5A-B547-7D5F64D0306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419975" y="421481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85933268-FD56-0EB5-FE13-8291C069D73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8051800" y="41243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7467600" y="41481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5796320-1821-4E28-8709-70EE106CEF69}" type="datetime'''''''''''''''''''''''''''''''''''''''''''5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7864475" y="41243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CCC6AB-701C-49E6-8016-2EC42604FA9F}" type="datetime'''''''''''''''''''''''''''''''''''-''''''''2''''''0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099425" y="4057650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B1ECF7-C579-4671-BF1F-EDB77FCBD27C}" type="datetime'''''''''''''''''''''''''''''''''''''''''''''''1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4" name="Text Placeholder 3">
            <a:extLst>
              <a:ext uri="{FF2B5EF4-FFF2-40B4-BE49-F238E27FC236}">
                <a16:creationId xmlns:a16="http://schemas.microsoft.com/office/drawing/2014/main" id="{BBCCF612-1129-BBB4-5844-0BA70960BFD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2162175" y="45608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E8875D-4828-40AF-A3C5-1AE452FDFE7A}" type="datetime'''''''''''''''''''1''''''''''''''''''''71'''''''''''">
              <a:rPr lang="zh-CN" altLang="en-US" sz="800" smtClean="0">
                <a:latin typeface="+mn-lt"/>
                <a:cs typeface="+mn-cs"/>
              </a:rPr>
              <a:pPr/>
              <a:t>17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8475663" y="4173538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87D24B-2019-4630-8A3D-F642FC61E6F8}" type="datetime'''''''''''''''''''''''''1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9129713" y="42529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817DE8-72C7-438C-890E-C177A680FBFD}" type="datetime'''-''''''73'''''''''''''''''''''''''''''''''">
              <a:rPr lang="zh-CN" altLang="en-US" sz="800" smtClean="0">
                <a:latin typeface="+mn-lt"/>
                <a:cs typeface="+mn-cs"/>
              </a:rPr>
              <a:pPr/>
              <a:t>-7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9145588" y="38449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4F4EE8-DB92-4FBB-9331-B8288EAF8549}" type="datetime'''''''''''5''''''''''''''''''''''''7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5" name="Text Placeholder 3">
            <a:extLst>
              <a:ext uri="{FF2B5EF4-FFF2-40B4-BE49-F238E27FC236}">
                <a16:creationId xmlns:a16="http://schemas.microsoft.com/office/drawing/2014/main" id="{5C1C629A-FB4A-9DCD-82D7-CB67AA109C26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219325" y="509746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3792AC-2290-4A53-8A3A-9C2121F65B05}" type="datetime'''''''''''0''''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822575" y="35909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5622B4-0F12-4E9C-A695-52F04601124C}" type="datetime'6''''''''''''''''''''''''''''''''''''4'''''''''''''">
              <a:rPr lang="zh-CN" altLang="en-US" sz="800" smtClean="0">
                <a:latin typeface="+mn-lt"/>
                <a:cs typeface="+mn-cs"/>
              </a:rPr>
              <a:pPr/>
              <a:t>6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2822575" y="39084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60A110-2D1A-45E1-ABEE-463BD66AC6CB}" type="datetime'''''''3''''''''''''''''''''''''''''''''''''''''''''''7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440113" y="35226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360B0C-EC0C-4A70-850B-67AE86008905}" type="datetime'''''''''''-4''''''''''''''''''''''2'''''''''''''''''''">
              <a:rPr lang="zh-CN" altLang="en-US" sz="800" smtClean="0">
                <a:latin typeface="+mn-lt"/>
                <a:cs typeface="+mn-cs"/>
              </a:rPr>
              <a:pPr/>
              <a:t>-4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455988" y="3352800"/>
            <a:ext cx="14287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26E963-CBB5-4470-98A5-DDE1568FE7F7}" type="datetime'''''1''''''''''''''''''''''''''''''''''''''''1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071938" y="38084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B1141E-8535-4DB7-B201-2A01A50F821E}" type="datetime'''''''-''''7''''''''''''''1'''''''''">
              <a:rPr lang="zh-CN" altLang="en-US" sz="800" smtClean="0">
                <a:effectLst/>
                <a:latin typeface="+mn-lt"/>
                <a:cs typeface="+mn-cs"/>
              </a:rPr>
              <a:pPr/>
              <a:t>-7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100513" y="4041775"/>
            <a:ext cx="119063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853D44-7405-44F6-AE6B-7D84001E3747}" type="datetime'-''''''''''''''''''''''''''2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-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719638" y="3989388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49F8693-6CF2-4918-A9C9-5E5A93B4F92D}" type="datetime'''''''''''''''1''''''''''''''5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938713" y="40417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C7E85D-2BB0-4A13-8303-9D77FDE6C001}" type="datetime'''''''''''''''''''''2''''''''''''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432425" y="3948113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78D653-50A4-4E55-9E96-13D38C955BB3}" type="datetime'''''''''''''''''''-''''''''''''''''''''''1'''''''''''''''''">
              <a:rPr lang="zh-CN" altLang="en-US" sz="800" smtClean="0">
                <a:effectLst/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313363" y="3952875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1A5338-CCFE-4982-87DF-62EA19F2F5BB}" type="datetime'''''''''0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969000" y="406400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E9E39D-7F7E-40D6-A521-FA2A0C26EE67}" type="datetime'-''''''''''''3''''''''''''''''''''''''''''''''''''''''''''''6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6203950" y="3952875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24063DF-F27B-4FC6-8762-2E676B9C60E5}" type="datetime'''''0'''''''''''''''''''''">
              <a:rPr lang="zh-CN" altLang="en-US" sz="800" smtClean="0"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6713538" y="4165600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1442C0-270F-4718-B577-652C8BBB3E8B}" type="datetime'''''''''''''''''''''''''''''''''''0'''">
              <a:rPr lang="zh-CN" altLang="en-US" sz="800" smtClean="0">
                <a:effectLst/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578600" y="417195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CF9082-86E1-4732-9FF1-EF241DAA9794}" type="datetime'''''''''''1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7248525" y="4097338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8F871F-1B97-404E-8CDF-386771782A1F}" type="datetime'''1''''''''''''''''''''''''''''''''1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8610600" y="4146550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5956D3-A263-466D-8DBA-5FA4C79B15D9}" type="datetime'''''''7'''''''''''''">
              <a:rPr lang="zh-CN" altLang="en-US" sz="800" smtClean="0">
                <a:effectLst/>
                <a:latin typeface="+mn-lt"/>
                <a:cs typeface="+mn-cs"/>
              </a:rPr>
              <a:pPr/>
              <a:t>7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F4B81B4F-F069-F986-1C71-5E8F23894342}"/>
              </a:ext>
            </a:extLst>
          </p:cNvPr>
          <p:cNvGraphicFramePr/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36965648"/>
              </p:ext>
            </p:extLst>
          </p:nvPr>
        </p:nvGraphicFramePr>
        <p:xfrm>
          <a:off x="2454275" y="1906588"/>
          <a:ext cx="6513513" cy="123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4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2536825" y="2005013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667125" y="2005013"/>
            <a:ext cx="52181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3275013" y="2765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B07CD1-6DCE-4C8B-8AF9-74F857920800}" type="datetime'''''''''''''19''''''''''''0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502025" y="27273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13AD2E2-D00B-4665-A046-1843FC59EF2E}" type="datetime'''''''''''2''''''''''''''''2''''1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2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3316288" y="18605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44BE7F-878C-4CA7-A7CB-B4AA524E5BAF}" type="datetime'''''''''''''''8''''9''''''''''''''''''''''%'''''''''''">
              <a:rPr lang="en-US" altLang="en-US" smtClean="0">
                <a:latin typeface="+mn-lt"/>
                <a:cs typeface="+mn-cs"/>
              </a:rPr>
              <a:pPr/>
              <a:t>8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3910013" y="27495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1390AB-17FB-4AC5-8ED2-0DB3E67E5258}" type="datetime'2''''''0''''''''''''''''''3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0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4137025" y="26622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42EBC39-22DB-4100-9F00-EC1BBCFD070F}" type="datetime'''''2''''''''''''''''7''''''''''''''''''''''''''''7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7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3908424" y="174148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5F6CD8-35FF-4363-93B9-E43A023F681A}" type="datetime'''''''''''''''''''''1''''''''0''''''''0''''''''''''''''%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4545013" y="25860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21B11E-85BD-42D7-A110-9D304D3A5CEA}" type="datetime'''''3''''''''''''''''''''''''''4''''''''''''''2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4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4772025" y="26050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490A95-4AE3-44CD-960C-F10EC87A7224}" type="datetime'''''''''''''''''''''''''3''''''''''''''''''''''''''''2''5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2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586289" y="17589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2DBE23-1FDA-4A80-B1F8-B4D763C8B57A}" type="datetime'''''''''''''''''9''''''''''''''''''''9''''%'''''''''''''''''">
              <a:rPr lang="en-US" altLang="en-US" smtClean="0">
                <a:latin typeface="+mn-lt"/>
                <a:cs typeface="+mn-cs"/>
              </a:rPr>
              <a:pPr/>
              <a:t>9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5180013" y="2638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749B9F-A3A8-474F-A415-940DCF0E01BD}" type="datetime'''''''''''''''''''''''''29''''8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5407025" y="26368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7DFCDF-5B0B-4196-80DC-FED5044BB2A7}" type="datetime'''''''''''2''''''''9''''''''''''''9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221289" y="17557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5F8A6E-CB66-4BCA-A091-EE9444E428B7}" type="datetime'''''''''''''''''''''''9''''''9''''''''''''''''''''''''%'''">
              <a:rPr lang="en-US" altLang="en-US" smtClean="0">
                <a:latin typeface="+mn-lt"/>
                <a:cs typeface="+mn-cs"/>
              </a:rPr>
              <a:pPr/>
              <a:t>99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5815013" y="27638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1102814-B316-4307-B58C-6960356C9C73}" type="datetime'''''1''''''''''''''''''''''''''''''90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2640014" y="24542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008101-C33F-46DA-807E-9E7373AD40EB}" type="datetime'''''''''''''''''''''4''''''''''5''''''''''''''4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5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5811837" y="17319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FE5B6F-E22D-4669-95B2-68FA6E9B9458}" type="datetime'''''''''1''0''1''''''''''''''''''''%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448425" y="26304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139C41-85D2-4133-A91D-7F880AF5C1BE}" type="datetime'''3''''''''''''0''''''''''''4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6675438" y="26336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7B1EC1-AAE3-4898-827C-AA3D867A6B96}" type="datetime'''''''''''''''3''''''''''''''''''''''''''''0''''''2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6446837" y="173513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57B58A-A4B8-49E2-B4D3-881A16B8AD0E}" type="datetime'''''''''''1''''''''''''''0''''1''''''%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083425" y="26765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DF515DA-0D00-46BF-BEA0-A450B07A5601}" type="datetime'''''2''''''''''''''''6''''''''''''5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6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7310438" y="26955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ACFDA9-F03F-402F-8180-E9FE72B5546C}" type="datetime'''''2''''''''''''''''''''''''''''4''''''9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4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7081837" y="1744663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9AE618-77AB-4FF4-A8DD-58F295C05969}" type="datetime'''''''''''''1''''''''''''''''''''''00''''''''''''%'''''''''">
              <a:rPr lang="en-US" altLang="en-US" smtClean="0">
                <a:latin typeface="+mn-lt"/>
                <a:cs typeface="+mn-cs"/>
              </a:rPr>
              <a:pPr/>
              <a:t>10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7718425" y="26701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DFB8C9-EFBA-454A-B521-9F0B91F993A3}" type="datetime'2''''''''''''7''''''''''''''''''''''''1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7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7945438" y="26479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174F25-5D88-4A2A-BA3B-F61984692FD4}" type="datetime'''''''''2''''''''8''''''''''''''''''''''''9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8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7716837" y="1736725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703B49-83DB-46B0-AF1C-B128582423BE}" type="datetime'''''1''''''''''01''''''''''''''%''''''''''''''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8353425" y="26304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8AB15D-35C6-42C0-9C20-176957D63803}" type="datetime'''''''''''''''''''''''''''''''''3''''''''''''''0''''''4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8580438" y="264160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2A79F6-75FC-416E-A51A-B44754DC8371}" type="datetime'2''''''''''''''''''''''9''''''''''''''''''''5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9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8351837" y="1741488"/>
            <a:ext cx="431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042349-5ACE-4572-8D65-0B7934D6525E}" type="datetime'''''''''''1''''''''0''''''''''''''''''1''''''''''%'''''''">
              <a:rPr lang="en-US" altLang="en-US" smtClean="0">
                <a:latin typeface="+mn-lt"/>
                <a:cs typeface="+mn-cs"/>
              </a:rPr>
              <a:pPr/>
              <a:t>10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2867025" y="257333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ACF54B-F1D3-4562-B425-CFAF1EC378DB}" type="datetime'35''''''''''''''''''''''''''''3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5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2681288" y="1981200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778CE1-4A18-4B41-ABDA-C75D397FBAC6}" type="datetime'''''''''''7''''''''''''''''''''''8''''''%'''">
              <a:rPr lang="en-US" altLang="en-US" smtClean="0">
                <a:effectLst/>
                <a:latin typeface="+mn-lt"/>
                <a:cs typeface="+mn-cs"/>
              </a:rPr>
              <a:pPr/>
              <a:t>7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6042025" y="27225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C85E262-75C9-4DD5-B28B-74FA298CA2AA}" type="datetime'''''''''''''''''''''2''2''''''''''''''6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22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DF636F-AAF3-4ABF-BA4E-2A6191008157}" type="datetime'''D''''''''''''''''''''''DI''直连''''库''''存''变''''''''''化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aphicFrame>
        <p:nvGraphicFramePr>
          <p:cNvPr id="1872" name="Chart 3">
            <a:extLst>
              <a:ext uri="{FF2B5EF4-FFF2-40B4-BE49-F238E27FC236}">
                <a16:creationId xmlns:a16="http://schemas.microsoft.com/office/drawing/2014/main" id="{68E493B0-49A8-7C5E-6AB4-44C62F4D5115}"/>
              </a:ext>
            </a:extLst>
          </p:cNvPr>
          <p:cNvGraphicFramePr/>
          <p:nvPr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2596747076"/>
              </p:ext>
            </p:extLst>
          </p:nvPr>
        </p:nvGraphicFramePr>
        <p:xfrm>
          <a:off x="2120900" y="4443413"/>
          <a:ext cx="6704013" cy="158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5"/>
          </a:graphicData>
        </a:graphic>
      </p:graphicFrame>
      <p:cxnSp>
        <p:nvCxnSpPr>
          <p:cNvPr id="1861" name="直接连接符 1860">
            <a:extLst>
              <a:ext uri="{FF2B5EF4-FFF2-40B4-BE49-F238E27FC236}">
                <a16:creationId xmlns:a16="http://schemas.microsoft.com/office/drawing/2014/main" id="{15660DEE-4916-933D-E2C2-A4D09FBA11D1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2982913" y="5208588"/>
            <a:ext cx="1100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6" name="直接连接符 1415">
            <a:extLst>
              <a:ext uri="{FF2B5EF4-FFF2-40B4-BE49-F238E27FC236}">
                <a16:creationId xmlns:a16="http://schemas.microsoft.com/office/drawing/2014/main" id="{72D85A7C-D068-4FDE-7721-9FFD5EE00CF7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2238375" y="5208588"/>
            <a:ext cx="550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CBC9BAD9-0F24-9106-3CAE-E7247D7A0B79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4276725" y="5208588"/>
            <a:ext cx="4524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4" name="直接连接符 1473">
            <a:extLst>
              <a:ext uri="{FF2B5EF4-FFF2-40B4-BE49-F238E27FC236}">
                <a16:creationId xmlns:a16="http://schemas.microsoft.com/office/drawing/2014/main" id="{967E8F84-C6F1-30BA-DDED-462B5D7B17E2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6864350" y="5208588"/>
            <a:ext cx="18430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7" name="直接连接符 1426">
            <a:extLst>
              <a:ext uri="{FF2B5EF4-FFF2-40B4-BE49-F238E27FC236}">
                <a16:creationId xmlns:a16="http://schemas.microsoft.com/office/drawing/2014/main" id="{8CD1BFBD-29D4-7EFA-3730-7685282ECB0D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2335213" y="5640388"/>
            <a:ext cx="6372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1" name="直接连接符 1870">
            <a:extLst>
              <a:ext uri="{FF2B5EF4-FFF2-40B4-BE49-F238E27FC236}">
                <a16:creationId xmlns:a16="http://schemas.microsoft.com/office/drawing/2014/main" id="{74572223-9B9C-77F6-58CF-4DBA3DF1D2C4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4922838" y="5208588"/>
            <a:ext cx="17478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920FA605-E38D-0766-1BEA-D0809D4F30B1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4179888" y="53498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B8A70BC4-880F-79F8-BF39-DEB7ECF3AAAF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V="1">
            <a:off x="2238375" y="5564188"/>
            <a:ext cx="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6" name="直接连接符 1855">
            <a:extLst>
              <a:ext uri="{FF2B5EF4-FFF2-40B4-BE49-F238E27FC236}">
                <a16:creationId xmlns:a16="http://schemas.microsoft.com/office/drawing/2014/main" id="{D1BA9907-3658-82E5-F2ED-A6180F1B2854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6767513" y="55975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44E8E06-7A8F-3954-A4AA-EE20FECFFF3B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2238375" y="55626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2" name="直接连接符 1461">
            <a:extLst>
              <a:ext uri="{FF2B5EF4-FFF2-40B4-BE49-F238E27FC236}">
                <a16:creationId xmlns:a16="http://schemas.microsoft.com/office/drawing/2014/main" id="{B25EED74-3BE6-1A25-FFAA-ED5F7EF0AB47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6119813" y="55245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036720A8-6C47-441D-7C79-B2E3C0977058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6119813" y="558641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F626354A-02F7-D8D1-C43E-6F2AA2506D97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4179888" y="55911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D3FC26B7-159F-8978-6453-5F5B3488596A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5473700" y="55324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7" name="直接连接符 1856">
            <a:extLst>
              <a:ext uri="{FF2B5EF4-FFF2-40B4-BE49-F238E27FC236}">
                <a16:creationId xmlns:a16="http://schemas.microsoft.com/office/drawing/2014/main" id="{CF12010B-7B22-DD94-C36D-C11F4ECD2C5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6767513" y="546735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8" name="直接连接符 1857">
            <a:extLst>
              <a:ext uri="{FF2B5EF4-FFF2-40B4-BE49-F238E27FC236}">
                <a16:creationId xmlns:a16="http://schemas.microsoft.com/office/drawing/2014/main" id="{0D4B99E3-DB56-6849-EF97-337EA1B0324A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7413625" y="55118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6" name="直接连接符 1465">
            <a:extLst>
              <a:ext uri="{FF2B5EF4-FFF2-40B4-BE49-F238E27FC236}">
                <a16:creationId xmlns:a16="http://schemas.microsoft.com/office/drawing/2014/main" id="{D3EC2432-4617-5266-2DF0-2F8BEF10B77E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7413625" y="55070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7" name="直接连接符 1466">
            <a:extLst>
              <a:ext uri="{FF2B5EF4-FFF2-40B4-BE49-F238E27FC236}">
                <a16:creationId xmlns:a16="http://schemas.microsoft.com/office/drawing/2014/main" id="{B04EF4F2-7F38-9EBF-D340-CFB75FC1FB25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8061325" y="55324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8" name="直接连接符 1467">
            <a:extLst>
              <a:ext uri="{FF2B5EF4-FFF2-40B4-BE49-F238E27FC236}">
                <a16:creationId xmlns:a16="http://schemas.microsoft.com/office/drawing/2014/main" id="{DB3DA2FD-3F9C-7D07-1499-92AEE88BBABE}"/>
              </a:ext>
            </a:extLst>
          </p:cNvPr>
          <p:cNvCxnSpPr>
            <a:cxnSpLocks/>
          </p:cNvCxnSpPr>
          <p:nvPr>
            <p:custDataLst>
              <p:tags r:id="rId105"/>
            </p:custDataLst>
          </p:nvPr>
        </p:nvCxnSpPr>
        <p:spPr bwMode="auto">
          <a:xfrm>
            <a:off x="8061325" y="556895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9" name="直接连接符 1858">
            <a:extLst>
              <a:ext uri="{FF2B5EF4-FFF2-40B4-BE49-F238E27FC236}">
                <a16:creationId xmlns:a16="http://schemas.microsoft.com/office/drawing/2014/main" id="{FD8FF0CA-37CF-D887-74DE-07CF29094DE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8061325" y="554355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9" name="直接连接符 1818">
            <a:extLst>
              <a:ext uri="{FF2B5EF4-FFF2-40B4-BE49-F238E27FC236}">
                <a16:creationId xmlns:a16="http://schemas.microsoft.com/office/drawing/2014/main" id="{89A23327-5608-B9B1-48B6-09A5B94BD12A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8707438" y="55832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0" name="直接连接符 1859">
            <a:extLst>
              <a:ext uri="{FF2B5EF4-FFF2-40B4-BE49-F238E27FC236}">
                <a16:creationId xmlns:a16="http://schemas.microsoft.com/office/drawing/2014/main" id="{1A93DD93-BD90-4150-D381-32F900E769FB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8707438" y="55657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442" name="Text Placeholder 3">
            <a:extLst>
              <a:ext uri="{FF2B5EF4-FFF2-40B4-BE49-F238E27FC236}">
                <a16:creationId xmlns:a16="http://schemas.microsoft.com/office/drawing/2014/main" id="{00445C12-10C4-A371-D4EA-BD360FAE32DA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2152650" y="534352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1190D3-C15C-46C9-AB7B-71AF1C595E2B}" type="datetime'''''''''1''.''''7''''''''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8" name="Text Placeholder 3">
            <a:extLst>
              <a:ext uri="{FF2B5EF4-FFF2-40B4-BE49-F238E27FC236}">
                <a16:creationId xmlns:a16="http://schemas.microsoft.com/office/drawing/2014/main" id="{03480C23-7FC1-2FF7-BC97-25519BB18339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65897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394C60-59A6-4ED9-9B70-AEDEE7E95299}" type="datetime'''''''''''''2''0''''''''''''''''''2''''''''5''0''''''7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7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6" name="Text Placeholder 3">
            <a:extLst>
              <a:ext uri="{FF2B5EF4-FFF2-40B4-BE49-F238E27FC236}">
                <a16:creationId xmlns:a16="http://schemas.microsoft.com/office/drawing/2014/main" id="{D0AD0539-7B6F-111C-ED13-D1B443ABA2B3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gray">
          <a:xfrm>
            <a:off x="7327900" y="53784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64DD7A-B7C3-4C49-BA05-3E9083F4C597}" type="datetime'1''''''''''''''''.''1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1.1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0" name="Text Placeholder 3">
            <a:extLst>
              <a:ext uri="{FF2B5EF4-FFF2-40B4-BE49-F238E27FC236}">
                <a16:creationId xmlns:a16="http://schemas.microsoft.com/office/drawing/2014/main" id="{02F6331E-5D73-6E69-0D56-C4DE5D68572C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gray">
          <a:xfrm>
            <a:off x="2152650" y="54292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EF418B-EE14-4A61-9BA9-BE78ED1E35D7}" type="datetime'''0''''''''''''''''''.''''''''''''''9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449" name="Text Placeholder 3">
            <a:extLst>
              <a:ext uri="{FF2B5EF4-FFF2-40B4-BE49-F238E27FC236}">
                <a16:creationId xmlns:a16="http://schemas.microsoft.com/office/drawing/2014/main" id="{300E10D2-719E-3D82-5CBF-5A612C09A088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gray">
          <a:xfrm>
            <a:off x="7327900" y="53736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326E80-1747-487D-82D2-9F537C599EED}" type="datetime'''1''''''''.''''''''''''''''''''''''''1'''''''''''''''">
              <a:rPr lang="zh-CN" altLang="en-US" sz="800" smtClean="0">
                <a:effectLst/>
                <a:latin typeface="+mn-lt"/>
                <a:cs typeface="+mn-cs"/>
              </a:rPr>
              <a:pPr/>
              <a:t>1.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1" name="Text Placeholder 3">
            <a:extLst>
              <a:ext uri="{FF2B5EF4-FFF2-40B4-BE49-F238E27FC236}">
                <a16:creationId xmlns:a16="http://schemas.microsoft.com/office/drawing/2014/main" id="{AD047B8F-920B-5600-6840-3C274E6980C6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2130425" y="5876925"/>
            <a:ext cx="2159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2B8EE8-7224-4754-A9CC-53CAB6AC204E}" type="datetime'''''''''''''''''''''''''''''''''''''''''''期初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期初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9" name="Text Placeholder 3">
            <a:extLst>
              <a:ext uri="{FF2B5EF4-FFF2-40B4-BE49-F238E27FC236}">
                <a16:creationId xmlns:a16="http://schemas.microsoft.com/office/drawing/2014/main" id="{C5C70E6E-BFEB-1045-1E13-15AAB372D0B9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2358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5776E9-47F3-4212-96FA-71B38A8F640C}" type="datetime'''''''''''''''2''0''''250''''''''''''''''''8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3" name="Text Placeholder 3">
            <a:extLst>
              <a:ext uri="{FF2B5EF4-FFF2-40B4-BE49-F238E27FC236}">
                <a16:creationId xmlns:a16="http://schemas.microsoft.com/office/drawing/2014/main" id="{3EDE77E4-6C85-3185-A84F-4AA13F641CDB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33543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6BA08A-6AF5-4480-9966-0067E85EF545}" type="datetime'''''''''''''''''''''''''''''20''2''5''''0''2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2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1" name="Text Placeholder 3">
            <a:extLst>
              <a:ext uri="{FF2B5EF4-FFF2-40B4-BE49-F238E27FC236}">
                <a16:creationId xmlns:a16="http://schemas.microsoft.com/office/drawing/2014/main" id="{9C0C7DC5-9B73-37CA-1B50-CC7A6362A4E2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4094163" y="521652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88ACB4-3BB3-4B13-8A55-0A464877B295}" type="datetime'''''1''''''''''.''''''''''''''''''''''''''''''''7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4" name="Text Placeholder 3">
            <a:extLst>
              <a:ext uri="{FF2B5EF4-FFF2-40B4-BE49-F238E27FC236}">
                <a16:creationId xmlns:a16="http://schemas.microsoft.com/office/drawing/2014/main" id="{BF771EE0-A3E5-68C6-1A6D-0EFEE0E2CFC9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40020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C82DDE-C291-4F0B-96D6-A11B1B90769C}" type="datetime'''''''2''''''''''''0''''''''2''5''''''''''''''''0''''''''3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5" name="Text Placeholder 3">
            <a:extLst>
              <a:ext uri="{FF2B5EF4-FFF2-40B4-BE49-F238E27FC236}">
                <a16:creationId xmlns:a16="http://schemas.microsoft.com/office/drawing/2014/main" id="{AB1D084B-48F0-C954-DD65-F56B3845EBA5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46482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E7C4DF-FCE3-4544-BF71-14BFF5756E56}" type="datetime'''''''''''''''''''''''2025''''''''''0''''''''''''''''4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4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2" name="Text Placeholder 3">
            <a:extLst>
              <a:ext uri="{FF2B5EF4-FFF2-40B4-BE49-F238E27FC236}">
                <a16:creationId xmlns:a16="http://schemas.microsoft.com/office/drawing/2014/main" id="{0D711176-2CAE-6464-7127-84B92BFA5A0A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gray">
          <a:xfrm>
            <a:off x="5387975" y="53990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B71AF4-EB8C-439E-9BC8-12C5BC203BE8}" type="datetime'''1''''''''''.''''''''''''''''''''''''''''''''0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6" name="Text Placeholder 3">
            <a:extLst>
              <a:ext uri="{FF2B5EF4-FFF2-40B4-BE49-F238E27FC236}">
                <a16:creationId xmlns:a16="http://schemas.microsoft.com/office/drawing/2014/main" id="{2C544DAD-0BC2-0C32-FDFD-31AC14873EF1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52959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778931-24D9-4752-BDE8-CDD886109C7E}" type="datetime'''''''''''''''2''0''''''''2''''50''''''5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1" name="Text Placeholder 3">
            <a:extLst>
              <a:ext uri="{FF2B5EF4-FFF2-40B4-BE49-F238E27FC236}">
                <a16:creationId xmlns:a16="http://schemas.microsoft.com/office/drawing/2014/main" id="{C50F3DAA-EFE1-8572-5206-F1A4416A7C6F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852963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45053E-0588-4E4C-808D-51FAB22641C3}" type="datetime'''2''''0''''''''''2''5''''''''''''''''1''''''0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3" name="Text Placeholder 3">
            <a:extLst>
              <a:ext uri="{FF2B5EF4-FFF2-40B4-BE49-F238E27FC236}">
                <a16:creationId xmlns:a16="http://schemas.microsoft.com/office/drawing/2014/main" id="{D416A439-F437-CB7D-5D8F-C9C806308A88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6034088" y="545306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6CA82C-AB2B-455F-A518-6E2A8ADDC205}" type="datetime'''0''.''''''''''''''''''''''''''8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8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5" name="Text Placeholder 3">
            <a:extLst>
              <a:ext uri="{FF2B5EF4-FFF2-40B4-BE49-F238E27FC236}">
                <a16:creationId xmlns:a16="http://schemas.microsoft.com/office/drawing/2014/main" id="{7EDBB2B4-EF67-25C3-C8B0-FB513D9A3CD3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gray">
          <a:xfrm>
            <a:off x="6681788" y="533400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A33F-FB3E-4625-BC3A-9C61AFEC0081}" type="datetime'''''''''''''''''''''''''''''''''''''''''1''''''''''''.3'''">
              <a:rPr lang="zh-CN" altLang="en-US" sz="800" smtClean="0">
                <a:effectLst/>
                <a:latin typeface="+mn-lt"/>
                <a:cs typeface="+mn-cs"/>
              </a:rPr>
              <a:pPr/>
              <a:t>1.3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480" name="Text Placeholder 3">
            <a:extLst>
              <a:ext uri="{FF2B5EF4-FFF2-40B4-BE49-F238E27FC236}">
                <a16:creationId xmlns:a16="http://schemas.microsoft.com/office/drawing/2014/main" id="{5295C0BA-22F3-96FA-1230-66FF8C5051FC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gray">
          <a:xfrm>
            <a:off x="6034088" y="53911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F24C5B-9B62-4B3B-89D1-41822CEB03A4}" type="datetime'1.''''''''''''''''''''''1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1.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7" name="Text Placeholder 3">
            <a:extLst>
              <a:ext uri="{FF2B5EF4-FFF2-40B4-BE49-F238E27FC236}">
                <a16:creationId xmlns:a16="http://schemas.microsoft.com/office/drawing/2014/main" id="{807F5679-15B8-4C76-DCA3-2ED29ECFCF51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59420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B8C014-1559-43C2-979E-36B3C2619C3D}" type="datetime'''20''''''''''2''''''''''50''''''''''''''''''''6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4" name="Text Placeholder 3">
            <a:extLst>
              <a:ext uri="{FF2B5EF4-FFF2-40B4-BE49-F238E27FC236}">
                <a16:creationId xmlns:a16="http://schemas.microsoft.com/office/drawing/2014/main" id="{77D4B05C-BCC1-6709-C059-13F84D9F7770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gray">
          <a:xfrm>
            <a:off x="6681788" y="54641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14E92E1-6C2A-48F2-A30F-0EE5D72FBBDA}" type="datetime'''''0''''''''''''''''''''''''''.''''''''''''''''''''''8'''">
              <a:rPr lang="zh-CN" altLang="en-US" sz="800" smtClean="0">
                <a:effectLst/>
                <a:latin typeface="+mn-lt"/>
                <a:cs typeface="+mn-cs"/>
              </a:rPr>
              <a:pPr/>
              <a:t>0.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2" name="Text Placeholder 3">
            <a:extLst>
              <a:ext uri="{FF2B5EF4-FFF2-40B4-BE49-F238E27FC236}">
                <a16:creationId xmlns:a16="http://schemas.microsoft.com/office/drawing/2014/main" id="{6DC21B57-A2D3-D89A-22E6-3EBF752375C8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0827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552FFA-1A46-4A78-B017-884DCF091468}" type="datetime'''''''''''''2''''''''''''''''''''''''''0''''2''''50''''1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0" name="Text Placeholder 3">
            <a:extLst>
              <a:ext uri="{FF2B5EF4-FFF2-40B4-BE49-F238E27FC236}">
                <a16:creationId xmlns:a16="http://schemas.microsoft.com/office/drawing/2014/main" id="{91F5A5A7-2825-7668-8E0A-E582189F05C5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78835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97B0DD-4030-4D50-AAC7-69F18E97BB76}" type="datetime'''''''''2''''''02''5''''''''''0''''''''''''''''9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9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381" name="直接连接符 1380">
            <a:extLst>
              <a:ext uri="{FF2B5EF4-FFF2-40B4-BE49-F238E27FC236}">
                <a16:creationId xmlns:a16="http://schemas.microsoft.com/office/drawing/2014/main" id="{60F9A687-49A7-9139-83E6-DE0BDC247892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579438" y="4732338"/>
            <a:ext cx="195263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2" name="直接连接符 1381">
            <a:extLst>
              <a:ext uri="{FF2B5EF4-FFF2-40B4-BE49-F238E27FC236}">
                <a16:creationId xmlns:a16="http://schemas.microsoft.com/office/drawing/2014/main" id="{81D9BC2E-43BF-0B4D-346D-E07E1572AC4E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579438" y="4984750"/>
            <a:ext cx="1952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3" name="直接连接符 1382">
            <a:extLst>
              <a:ext uri="{FF2B5EF4-FFF2-40B4-BE49-F238E27FC236}">
                <a16:creationId xmlns:a16="http://schemas.microsoft.com/office/drawing/2014/main" id="{06C80ABB-ADE7-9188-D748-6A0BB890BA72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579438" y="5237163"/>
            <a:ext cx="1952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6" name="Text Placeholder 3">
            <a:extLst>
              <a:ext uri="{FF2B5EF4-FFF2-40B4-BE49-F238E27FC236}">
                <a16:creationId xmlns:a16="http://schemas.microsoft.com/office/drawing/2014/main" id="{2B4EDBBB-72E6-B151-182E-B189521C5BAC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835025" y="46339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5F75AF-EED2-4C71-89CF-2BA43B8E6494}" type="datetime'一''''''''级''商''''库''''''''''''''''''''''存'''''''">
              <a:rPr lang="zh-CN" altLang="en-US" smtClean="0">
                <a:latin typeface="+mn-lt"/>
                <a:cs typeface="+mn-cs"/>
              </a:rPr>
              <a:pPr/>
              <a:t>一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8" name="Text Placeholder 3">
            <a:extLst>
              <a:ext uri="{FF2B5EF4-FFF2-40B4-BE49-F238E27FC236}">
                <a16:creationId xmlns:a16="http://schemas.microsoft.com/office/drawing/2014/main" id="{BD933162-8B62-1004-8AE5-8CA06E5D7DE9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835025" y="48863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B8905D-1D53-47FE-8670-CB43BF969431}" type="datetime'二''级''''''''''商''''''''''''库''''''''''存'''''''">
              <a:rPr lang="zh-CN" altLang="en-US" smtClean="0">
                <a:latin typeface="+mn-lt"/>
                <a:cs typeface="+mn-cs"/>
              </a:rPr>
              <a:pPr/>
              <a:t>二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9" name="Text Placeholder 3">
            <a:extLst>
              <a:ext uri="{FF2B5EF4-FFF2-40B4-BE49-F238E27FC236}">
                <a16:creationId xmlns:a16="http://schemas.microsoft.com/office/drawing/2014/main" id="{9ECFB1DA-48A2-EF26-C44B-C3EC1ABE4988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835025" y="51387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8B23EA-FC27-4AED-B67E-A1038C9D3912}" type="datetime'''''''零售''''''''''''总仓''''库''''''''''''存'''''''''''''''''''">
              <a:rPr lang="zh-CN" altLang="en-US" smtClean="0">
                <a:latin typeface="+mn-lt"/>
                <a:cs typeface="+mn-cs"/>
              </a:rPr>
              <a:pPr/>
              <a:t>零售总仓库存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0653" y="4067083"/>
            <a:ext cx="3138847" cy="363631"/>
            <a:chOff x="333016" y="1185978"/>
            <a:chExt cx="3138894" cy="364636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33016" y="1185978"/>
              <a:ext cx="941434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周数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>
            <a:off x="9367838" y="217011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9955213" y="2840038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>
            <a:off x="10541000" y="231616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75" name="Chart 3">
            <a:extLst>
              <a:ext uri="{FF2B5EF4-FFF2-40B4-BE49-F238E27FC236}">
                <a16:creationId xmlns:a16="http://schemas.microsoft.com/office/drawing/2014/main" id="{75596EE4-080A-B822-3FA6-42624BEEA224}"/>
              </a:ext>
            </a:extLst>
          </p:cNvPr>
          <p:cNvGraphicFramePr/>
          <p:nvPr>
            <p:custDataLst>
              <p:tags r:id="rId139"/>
            </p:custDataLst>
            <p:extLst>
              <p:ext uri="{D42A27DB-BD31-4B8C-83A1-F6EECF244321}">
                <p14:modId xmlns:p14="http://schemas.microsoft.com/office/powerpoint/2010/main" val="3643213285"/>
              </p:ext>
            </p:extLst>
          </p:nvPr>
        </p:nvGraphicFramePr>
        <p:xfrm>
          <a:off x="8845550" y="2087563"/>
          <a:ext cx="2511425" cy="104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6"/>
          </a:graphicData>
        </a:graphic>
      </p:graphicFrame>
      <p:sp useBgFill="1">
        <p:nvSpPr>
          <p:cNvPr id="16" name="任意多边形: 形状 15">
            <a:extLst>
              <a:ext uri="{FF2B5EF4-FFF2-40B4-BE49-F238E27FC236}">
                <a16:creationId xmlns:a16="http://schemas.microsoft.com/office/drawing/2014/main" id="{7C669ACA-817F-FC53-3541-2E0A13B3674F}"/>
              </a:ext>
            </a:extLst>
          </p:cNvPr>
          <p:cNvSpPr/>
          <p:nvPr>
            <p:custDataLst>
              <p:tags r:id="rId140"/>
            </p:custDataLst>
          </p:nvPr>
        </p:nvSpPr>
        <p:spPr bwMode="auto">
          <a:xfrm>
            <a:off x="9023350" y="2865439"/>
            <a:ext cx="395289" cy="163513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19" name="任意多边形: 形状 18">
            <a:extLst>
              <a:ext uri="{FF2B5EF4-FFF2-40B4-BE49-F238E27FC236}">
                <a16:creationId xmlns:a16="http://schemas.microsoft.com/office/drawing/2014/main" id="{B8F6EF38-6C80-97CC-16AE-8998FF13C1EE}"/>
              </a:ext>
            </a:extLst>
          </p:cNvPr>
          <p:cNvSpPr/>
          <p:nvPr>
            <p:custDataLst>
              <p:tags r:id="rId141"/>
            </p:custDataLst>
          </p:nvPr>
        </p:nvSpPr>
        <p:spPr bwMode="auto">
          <a:xfrm>
            <a:off x="10783888" y="2865439"/>
            <a:ext cx="395288" cy="163513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B702B1DF-E529-D82A-35BD-6A9E0836EE9F}"/>
              </a:ext>
            </a:extLst>
          </p:cNvPr>
          <p:cNvSpPr/>
          <p:nvPr>
            <p:custDataLst>
              <p:tags r:id="rId142"/>
            </p:custDataLst>
          </p:nvPr>
        </p:nvSpPr>
        <p:spPr bwMode="auto">
          <a:xfrm>
            <a:off x="9023350" y="2865439"/>
            <a:ext cx="395289" cy="106363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42959792-E04A-6B0F-B6BC-9F206065ED50}"/>
              </a:ext>
            </a:extLst>
          </p:cNvPr>
          <p:cNvSpPr/>
          <p:nvPr>
            <p:custDataLst>
              <p:tags r:id="rId143"/>
            </p:custDataLst>
          </p:nvPr>
        </p:nvSpPr>
        <p:spPr bwMode="auto">
          <a:xfrm>
            <a:off x="9023350" y="2922589"/>
            <a:ext cx="395289" cy="106363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B77C96C8-90BB-4C49-0EB5-69987803C7FF}"/>
              </a:ext>
            </a:extLst>
          </p:cNvPr>
          <p:cNvSpPr/>
          <p:nvPr>
            <p:custDataLst>
              <p:tags r:id="rId144"/>
            </p:custDataLst>
          </p:nvPr>
        </p:nvSpPr>
        <p:spPr bwMode="auto">
          <a:xfrm>
            <a:off x="10783888" y="2865439"/>
            <a:ext cx="395288" cy="106363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5340F8A0-1952-B86C-91CF-E491D03BE593}"/>
              </a:ext>
            </a:extLst>
          </p:cNvPr>
          <p:cNvSpPr/>
          <p:nvPr>
            <p:custDataLst>
              <p:tags r:id="rId145"/>
            </p:custDataLst>
          </p:nvPr>
        </p:nvSpPr>
        <p:spPr bwMode="auto">
          <a:xfrm>
            <a:off x="10783888" y="2922589"/>
            <a:ext cx="395288" cy="106363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46"/>
            </p:custDataLst>
          </p:nvPr>
        </p:nvCxnSpPr>
        <p:spPr bwMode="auto">
          <a:xfrm flipV="1">
            <a:off x="10980738" y="197485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47"/>
            </p:custDataLst>
          </p:nvPr>
        </p:nvCxnSpPr>
        <p:spPr bwMode="auto">
          <a:xfrm flipH="1">
            <a:off x="9220199" y="1974850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48"/>
            </p:custDataLst>
          </p:nvPr>
        </p:nvCxnSpPr>
        <p:spPr bwMode="auto">
          <a:xfrm>
            <a:off x="9220200" y="1974850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gray">
          <a:xfrm>
            <a:off x="9045575" y="2527300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8F6A458-4E4E-4ADC-B05F-1A2295E66C73}" type="datetime'''''''''2'',''8''''''''''3''''''''''''''''''''''''''''''''5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,835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9010650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z="800" smtClean="0">
                <a:latin typeface="+mn-lt"/>
                <a:cs typeface="+mn-cs"/>
              </a:rPr>
              <a:pPr/>
              <a:t>渠道购进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gray">
          <a:xfrm>
            <a:off x="9699625" y="2420938"/>
            <a:ext cx="2174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1142C-10BC-44B2-816F-FEFCD55DD4EA}" type="datetime'''''''''''''''''''''''''''''''''''''''''-''''''''''''73'">
              <a:rPr lang="zh-CN" altLang="en-US" sz="1000" smtClean="0">
                <a:latin typeface="+mn-lt"/>
                <a:cs typeface="+mn-cs"/>
              </a:rPr>
              <a:pPr/>
              <a:t>-73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9598025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z="800" smtClean="0">
                <a:latin typeface="+mn-lt"/>
                <a:cs typeface="+mn-cs"/>
              </a:rPr>
              <a:pPr/>
              <a:t>库存变化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gray">
          <a:xfrm>
            <a:off x="10306050" y="249396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39889B-2DDA-4764-A306-9698E9473E8D}" type="datetime'''''''''''''''''''''''''''''''''57''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57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10183813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z="800" smtClean="0">
                <a:latin typeface="+mn-lt"/>
                <a:cs typeface="+mn-cs"/>
              </a:rPr>
              <a:pPr/>
              <a:t>不可追踪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gray">
          <a:xfrm>
            <a:off x="10806113" y="2600325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B190A7-F6D0-4FEF-AFDA-41FD5FBA8A41}" type="datetime'''''''''2'''''''''',''''''''''''''8''''''''''1''''''9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,819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10771188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z="800" smtClean="0">
                <a:latin typeface="+mn-lt"/>
                <a:cs typeface="+mn-cs"/>
              </a:rPr>
              <a:pPr/>
              <a:t>工厂发货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9917113" y="1855788"/>
            <a:ext cx="365125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A6E1C5-2339-4C80-9C81-A4C08ABA9C95}" type="datetime'''''''''''''''''''''+''''''1''''''''''''''%'''''''''''''">
              <a:rPr lang="en-US" altLang="en-US" sz="1000" smtClean="0">
                <a:effectLst/>
                <a:latin typeface="+mn-lt"/>
                <a:cs typeface="+mn-cs"/>
              </a:rPr>
              <a:pPr/>
              <a:t>+1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58"/>
            </p:custDataLst>
          </p:nvPr>
        </p:nvCxnSpPr>
        <p:spPr bwMode="auto">
          <a:xfrm>
            <a:off x="9358313" y="4095750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59"/>
            </p:custDataLst>
          </p:nvPr>
        </p:nvCxnSpPr>
        <p:spPr bwMode="auto">
          <a:xfrm>
            <a:off x="9942513" y="446246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7" name="直接连接符 2026">
            <a:extLst>
              <a:ext uri="{FF2B5EF4-FFF2-40B4-BE49-F238E27FC236}">
                <a16:creationId xmlns:a16="http://schemas.microsoft.com/office/drawing/2014/main" id="{EDEC6A54-327B-6A29-4374-80B7580FFFF9}"/>
              </a:ext>
            </a:extLst>
          </p:cNvPr>
          <p:cNvCxnSpPr/>
          <p:nvPr>
            <p:custDataLst>
              <p:tags r:id="rId160"/>
            </p:custDataLst>
          </p:nvPr>
        </p:nvCxnSpPr>
        <p:spPr bwMode="auto">
          <a:xfrm>
            <a:off x="10525125" y="4551363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20" name="矩形 1819">
            <a:extLst>
              <a:ext uri="{FF2B5EF4-FFF2-40B4-BE49-F238E27FC236}">
                <a16:creationId xmlns:a16="http://schemas.microsoft.com/office/drawing/2014/main" id="{B6D15CE4-D8E1-C9EE-1076-53DEEB71111D}"/>
              </a:ext>
            </a:extLst>
          </p:cNvPr>
          <p:cNvSpPr/>
          <p:nvPr>
            <p:custDataLst>
              <p:tags r:id="rId161"/>
            </p:custDataLst>
          </p:nvPr>
        </p:nvSpPr>
        <p:spPr bwMode="auto">
          <a:xfrm>
            <a:off x="10855325" y="4551363"/>
            <a:ext cx="254000" cy="3175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1877" name="Chart 3">
            <a:extLst>
              <a:ext uri="{FF2B5EF4-FFF2-40B4-BE49-F238E27FC236}">
                <a16:creationId xmlns:a16="http://schemas.microsoft.com/office/drawing/2014/main" id="{0589CEAB-136E-2BB3-C4BE-956D69E8F6CB}"/>
              </a:ext>
            </a:extLst>
          </p:cNvPr>
          <p:cNvGraphicFramePr/>
          <p:nvPr>
            <p:custDataLst>
              <p:tags r:id="rId162"/>
            </p:custDataLst>
            <p:extLst>
              <p:ext uri="{D42A27DB-BD31-4B8C-83A1-F6EECF244321}">
                <p14:modId xmlns:p14="http://schemas.microsoft.com/office/powerpoint/2010/main" val="3192030171"/>
              </p:ext>
            </p:extLst>
          </p:nvPr>
        </p:nvGraphicFramePr>
        <p:xfrm>
          <a:off x="8856663" y="4013200"/>
          <a:ext cx="2500312" cy="62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7"/>
          </a:graphicData>
        </a:graphic>
      </p:graphicFrame>
      <p:sp>
        <p:nvSpPr>
          <p:cNvPr id="2006" name="Text Placeholder 3">
            <a:extLst>
              <a:ext uri="{FF2B5EF4-FFF2-40B4-BE49-F238E27FC236}">
                <a16:creationId xmlns:a16="http://schemas.microsoft.com/office/drawing/2014/main" id="{3CC98E16-FB2E-495D-ADCF-FFF663C2DC9B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8951913" y="4652963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1189A-44A3-4C9B-A6B4-3DAE4A8B2B94}" type="datetime'''''''''''''''''''''''20''''2''''5''10''''''Y''''''''''TD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gray">
          <a:xfrm>
            <a:off x="9728200" y="42116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0509591-BC0C-4109-B19E-E66FA514EEF4}" type="datetime'''''''''''''-''''''''''''''''''''58'''''''''''''''">
              <a:rPr lang="zh-CN" altLang="en-US" sz="800" smtClean="0">
                <a:latin typeface="+mn-lt"/>
                <a:cs typeface="+mn-cs"/>
              </a:rPr>
              <a:pPr/>
              <a:t>-5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8" name="Text Placeholder 3">
            <a:extLst>
              <a:ext uri="{FF2B5EF4-FFF2-40B4-BE49-F238E27FC236}">
                <a16:creationId xmlns:a16="http://schemas.microsoft.com/office/drawing/2014/main" id="{7BD5FE52-3C31-692C-0431-58206417CADC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9656763" y="4652963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F32FD-990E-4B3E-8B5C-7A03EE933112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gray">
          <a:xfrm>
            <a:off x="10310813" y="4440238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29B48E-672C-43CB-9C51-FCD6F99BFB0C}" type="datetime'''''''''''''-1''''''''''''''''''4'''''''''''''''''">
              <a:rPr lang="zh-CN" altLang="en-US" sz="800" smtClean="0">
                <a:effectLst/>
                <a:latin typeface="+mn-lt"/>
                <a:cs typeface="+mn-cs"/>
              </a:rPr>
              <a:pPr/>
              <a:t>-1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9" name="Text Placeholder 3">
            <a:extLst>
              <a:ext uri="{FF2B5EF4-FFF2-40B4-BE49-F238E27FC236}">
                <a16:creationId xmlns:a16="http://schemas.microsoft.com/office/drawing/2014/main" id="{7217B9F1-0A58-5B0F-2E64-A84646CA65AE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10239375" y="4652963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4D7FFE-FE1B-4043-B240-297D3D41AC8E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25" name="Text Placeholder 3">
            <a:extLst>
              <a:ext uri="{FF2B5EF4-FFF2-40B4-BE49-F238E27FC236}">
                <a16:creationId xmlns:a16="http://schemas.microsoft.com/office/drawing/2014/main" id="{43D55BC5-9920-542B-5943-C2925A23663E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gray">
          <a:xfrm>
            <a:off x="10923588" y="4486275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6BD6DF-BA35-4F78-B11F-7D49EEEB20B5}" type="datetime'''''''''''''''-''''''''''''''''''''1'''''''''''''''''''">
              <a:rPr lang="zh-CN" altLang="en-US" sz="800" smtClean="0">
                <a:effectLst/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10" name="Text Placeholder 3">
            <a:extLst>
              <a:ext uri="{FF2B5EF4-FFF2-40B4-BE49-F238E27FC236}">
                <a16:creationId xmlns:a16="http://schemas.microsoft.com/office/drawing/2014/main" id="{BC99FD18-8285-240E-2946-45D78FEAB7A6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10772775" y="4652963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F1969F-DCAE-4797-B2FE-A76BE326F36F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69" name="矩形 2068">
            <a:extLst>
              <a:ext uri="{FF2B5EF4-FFF2-40B4-BE49-F238E27FC236}">
                <a16:creationId xmlns:a16="http://schemas.microsoft.com/office/drawing/2014/main" id="{2C8C7C6E-7854-71B0-B5CD-346A1F62D9D5}"/>
              </a:ext>
            </a:extLst>
          </p:cNvPr>
          <p:cNvSpPr/>
          <p:nvPr/>
        </p:nvSpPr>
        <p:spPr>
          <a:xfrm>
            <a:off x="9595508" y="1393825"/>
            <a:ext cx="1163370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10 Y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070" name="矩形 2069">
            <a:extLst>
              <a:ext uri="{FF2B5EF4-FFF2-40B4-BE49-F238E27FC236}">
                <a16:creationId xmlns:a16="http://schemas.microsoft.com/office/drawing/2014/main" id="{38C861AF-6F37-5EBF-7BB3-B7968983ADE2}"/>
              </a:ext>
            </a:extLst>
          </p:cNvPr>
          <p:cNvSpPr/>
          <p:nvPr/>
        </p:nvSpPr>
        <p:spPr>
          <a:xfrm>
            <a:off x="4938713" y="1392238"/>
            <a:ext cx="2193471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01 ~ 202510 M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cxnSp>
        <p:nvCxnSpPr>
          <p:cNvPr id="2074" name="直接连接符 2073">
            <a:extLst>
              <a:ext uri="{FF2B5EF4-FFF2-40B4-BE49-F238E27FC236}">
                <a16:creationId xmlns:a16="http://schemas.microsoft.com/office/drawing/2014/main" id="{DC085743-D412-C3E0-BD8A-77CCC98E3B10}"/>
              </a:ext>
            </a:extLst>
          </p:cNvPr>
          <p:cNvCxnSpPr>
            <a:cxnSpLocks/>
          </p:cNvCxnSpPr>
          <p:nvPr/>
        </p:nvCxnSpPr>
        <p:spPr>
          <a:xfrm>
            <a:off x="8906528" y="1498587"/>
            <a:ext cx="0" cy="4679577"/>
          </a:xfrm>
          <a:prstGeom prst="line">
            <a:avLst/>
          </a:prstGeom>
          <a:ln w="9525" cap="rnd">
            <a:solidFill>
              <a:srgbClr val="54545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E90D6D2D-2F71-697E-2616-88B6A758C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88283"/>
              </p:ext>
            </p:extLst>
          </p:nvPr>
        </p:nvGraphicFramePr>
        <p:xfrm>
          <a:off x="9101138" y="5030787"/>
          <a:ext cx="2260337" cy="102552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790285">
                  <a:extLst>
                    <a:ext uri="{9D8B030D-6E8A-4147-A177-3AD203B41FA5}">
                      <a16:colId xmlns:a16="http://schemas.microsoft.com/office/drawing/2014/main" val="2917021903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2715591091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1308393361"/>
                    </a:ext>
                  </a:extLst>
                </a:gridCol>
              </a:tblGrid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库存完整度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购进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金额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有购进客户数量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18669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一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745966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二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34172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零售总仓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644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63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4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1" imgW="426" imgH="426" progId="TCLayout.ActiveDocument.1">
                  <p:embed/>
                </p:oleObj>
              </mc:Choice>
              <mc:Fallback>
                <p:oleObj name="think-cell 幻灯片" r:id="rId171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828599" cy="47065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万艾可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多</a:t>
            </a:r>
            <a:r>
              <a:rPr lang="en-US" altLang="zh-CN" sz="2000" dirty="0"/>
              <a:t>5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71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21M</a:t>
            </a:r>
            <a:r>
              <a:rPr lang="zh-CN" altLang="en-US" sz="2000" dirty="0"/>
              <a:t>转化为渠道</a:t>
            </a:r>
            <a:r>
              <a:rPr lang="en-US" altLang="zh-CN" sz="2000" dirty="0"/>
              <a:t>DDI</a:t>
            </a:r>
            <a:r>
              <a:rPr lang="zh-CN" altLang="en-US" sz="2000" dirty="0"/>
              <a:t>库存的增加，</a:t>
            </a:r>
            <a:r>
              <a:rPr lang="en-US" altLang="zh-CN" sz="2000" dirty="0"/>
              <a:t>50M</a:t>
            </a:r>
            <a:r>
              <a:rPr lang="zh-CN" altLang="en-US" sz="2000" dirty="0"/>
              <a:t>流向不可追踪部分。</a:t>
            </a:r>
            <a:r>
              <a:rPr lang="en-US" altLang="zh-CN" sz="2000" dirty="0"/>
              <a:t>2025</a:t>
            </a:r>
            <a:r>
              <a:rPr lang="zh-CN" altLang="en-US" sz="2000" dirty="0"/>
              <a:t>年</a:t>
            </a:r>
            <a:r>
              <a:rPr lang="en-US" altLang="zh-CN" sz="2000" dirty="0"/>
              <a:t>1</a:t>
            </a:r>
            <a:r>
              <a:rPr lang="zh-CN" altLang="en-US" sz="2000" dirty="0"/>
              <a:t>月，一级商、二级商与零售总仓库存分别升至</a:t>
            </a:r>
            <a:r>
              <a:rPr lang="en-US" altLang="zh-CN" sz="2000" dirty="0"/>
              <a:t>3.3</a:t>
            </a:r>
            <a:r>
              <a:rPr lang="zh-CN" altLang="en-US" sz="2000" dirty="0"/>
              <a:t>周、</a:t>
            </a:r>
            <a:r>
              <a:rPr lang="en-US" altLang="zh-CN" sz="2000" dirty="0"/>
              <a:t>4.7</a:t>
            </a:r>
            <a:r>
              <a:rPr lang="zh-CN" altLang="en-US" sz="2000" dirty="0"/>
              <a:t>周和</a:t>
            </a:r>
            <a:r>
              <a:rPr lang="en-US" altLang="zh-CN" sz="2000" dirty="0"/>
              <a:t>4.1</a:t>
            </a:r>
            <a:r>
              <a:rPr lang="zh-CN" altLang="en-US" sz="2000" dirty="0"/>
              <a:t>周，此后整体呈下降趋势，但二级商与零售总仓仍处于较高库存周数区间。</a:t>
            </a:r>
          </a:p>
        </p:txBody>
      </p:sp>
      <p:cxnSp>
        <p:nvCxnSpPr>
          <p:cNvPr id="2048" name="直接连接符 2047">
            <a:extLst>
              <a:ext uri="{FF2B5EF4-FFF2-40B4-BE49-F238E27FC236}">
                <a16:creationId xmlns:a16="http://schemas.microsoft.com/office/drawing/2014/main" id="{977756EB-51BC-9FC9-0AE4-4BD27EE431B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397125" y="41878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028949" y="340995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62362" y="36544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94187" y="398938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9" name="直接连接符 2048">
            <a:extLst>
              <a:ext uri="{FF2B5EF4-FFF2-40B4-BE49-F238E27FC236}">
                <a16:creationId xmlns:a16="http://schemas.microsoft.com/office/drawing/2014/main" id="{A165F795-E25E-73C6-34EF-CDE2FFF090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926012" y="36576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9" name="直接连接符 1518">
            <a:extLst>
              <a:ext uri="{FF2B5EF4-FFF2-40B4-BE49-F238E27FC236}">
                <a16:creationId xmlns:a16="http://schemas.microsoft.com/office/drawing/2014/main" id="{DB475FC9-58A8-F50C-7AD4-C76A1BA430D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557837" y="356393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0" name="直接连接符 2049">
            <a:extLst>
              <a:ext uri="{FF2B5EF4-FFF2-40B4-BE49-F238E27FC236}">
                <a16:creationId xmlns:a16="http://schemas.microsoft.com/office/drawing/2014/main" id="{EDE25A69-B05D-15E3-7AA6-CD653F7DBFD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191249" y="392271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1" name="直接连接符 2050">
            <a:extLst>
              <a:ext uri="{FF2B5EF4-FFF2-40B4-BE49-F238E27FC236}">
                <a16:creationId xmlns:a16="http://schemas.microsoft.com/office/drawing/2014/main" id="{2E9608A4-AA98-2C22-9C43-2579A93B7E1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823074" y="369252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5" name="直接连接符 1594">
            <a:extLst>
              <a:ext uri="{FF2B5EF4-FFF2-40B4-BE49-F238E27FC236}">
                <a16:creationId xmlns:a16="http://schemas.microsoft.com/office/drawing/2014/main" id="{A73ED295-15B4-2F3B-66BB-F98525C1C7A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454900" y="37846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6" name="直接连接符 1595">
            <a:extLst>
              <a:ext uri="{FF2B5EF4-FFF2-40B4-BE49-F238E27FC236}">
                <a16:creationId xmlns:a16="http://schemas.microsoft.com/office/drawing/2014/main" id="{C82C9374-0347-8640-AD18-C259C5B53F7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086725" y="400843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4" name="直接连接符 1523">
            <a:extLst>
              <a:ext uri="{FF2B5EF4-FFF2-40B4-BE49-F238E27FC236}">
                <a16:creationId xmlns:a16="http://schemas.microsoft.com/office/drawing/2014/main" id="{C473C6AD-8681-B41F-FEBD-B32D433102C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720137" y="36226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63" name="Chart 3">
            <a:extLst>
              <a:ext uri="{FF2B5EF4-FFF2-40B4-BE49-F238E27FC236}">
                <a16:creationId xmlns:a16="http://schemas.microsoft.com/office/drawing/2014/main" id="{0306C65A-5F0B-F29B-0B7D-951806006ECB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1748792"/>
              </p:ext>
            </p:extLst>
          </p:nvPr>
        </p:nvGraphicFramePr>
        <p:xfrm>
          <a:off x="1863725" y="3302000"/>
          <a:ext cx="7751763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3"/>
          </a:graphicData>
        </a:graphic>
      </p:graphicFrame>
      <p:cxnSp>
        <p:nvCxnSpPr>
          <p:cNvPr id="1591" name="直接连接符 1590">
            <a:extLst>
              <a:ext uri="{FF2B5EF4-FFF2-40B4-BE49-F238E27FC236}">
                <a16:creationId xmlns:a16="http://schemas.microsoft.com/office/drawing/2014/main" id="{45B3B88D-C4D2-857C-DE64-D5056A9386D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7419975" y="369093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BEE505BD-9974-853B-BAB6-762371492AE3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H="1" flipV="1">
            <a:off x="5522913" y="3648075"/>
            <a:ext cx="47625" cy="7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013450" y="347821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6EC760-AEDC-4D34-A7AA-77082CC48154}" type="datetime'''''''''''5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684963" y="37290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602692-0605-42FF-9D47-932F04029E7A}" type="datetime'''''''''''''''''''''2''''''''''''''''''''''''''''''''6'''">
              <a:rPr lang="zh-CN" altLang="en-US" sz="800" smtClean="0">
                <a:latin typeface="+mn-lt"/>
                <a:cs typeface="+mn-cs"/>
              </a:rPr>
              <a:pPr/>
              <a:t>2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578600" y="3844925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25758E-CA58-48C8-AB7F-60D4CE534730}" type="datetime'3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7232650" y="3673475"/>
            <a:ext cx="17621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FE40996-3C48-45F2-B84E-648AECF62474}" type="datetime'''''''''''''''''''-''''''''''''''''''''''''1''''''''''''''''2'">
              <a:rPr lang="zh-CN" altLang="en-US" sz="800" smtClean="0">
                <a:latin typeface="+mn-lt"/>
                <a:cs typeface="+mn-cs"/>
              </a:rPr>
              <a:pPr/>
              <a:t>-1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7467600" y="3624263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6EDDB5-93D7-492B-BA06-EA68FA8F70CD}" type="datetime'''''''''''''''''''''''''''''''''''1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4" name="Text Placeholder 3">
            <a:extLst>
              <a:ext uri="{FF2B5EF4-FFF2-40B4-BE49-F238E27FC236}">
                <a16:creationId xmlns:a16="http://schemas.microsoft.com/office/drawing/2014/main" id="{BBCCF612-1129-BBB4-5844-0BA70960BFD5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2162175" y="46085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FAEECA-C999-49F0-8518-A6879BA5EC43}" type="datetime'''''''''''1''''''''''''''''''''''''''2''''''''2'''">
              <a:rPr lang="zh-CN" altLang="en-US" sz="800" smtClean="0">
                <a:latin typeface="+mn-lt"/>
                <a:cs typeface="+mn-cs"/>
              </a:rPr>
              <a:pPr/>
              <a:t>12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7908925" y="3711575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452011-1F7D-48F8-9C7F-1A9DE03B214B}" type="datetime'''''''''''''''''1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8513763" y="37385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6554650-1149-40DA-B6A9-A987359299D0}" type="datetime'4''''''''''6'''''">
              <a:rPr lang="zh-CN" altLang="en-US" sz="800" smtClean="0">
                <a:latin typeface="+mn-lt"/>
                <a:cs typeface="+mn-cs"/>
              </a:rPr>
              <a:pPr/>
              <a:t>4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8542338" y="393065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261CB63-1E9C-46BA-B7F8-BAAFC2B5490C}" type="datetime'''''''''''''''''''''''''''''''''''''''3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9145588" y="36385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A202E8F-EEBC-4AF3-B72E-F52B24C11FFD}" type="datetime'''''''''''''''''''''''''''2''''''''''''''''''''''''''''1'">
              <a:rPr lang="zh-CN" altLang="en-US" sz="800" smtClean="0">
                <a:latin typeface="+mn-lt"/>
                <a:cs typeface="+mn-cs"/>
              </a:rPr>
              <a:pPr/>
              <a:t>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9145588" y="39211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6596FF-D7E1-458A-88AC-5CB3CF231B70}" type="datetime'''''''''''5''''''''''''''''''''''''0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5" name="Text Placeholder 3">
            <a:extLst>
              <a:ext uri="{FF2B5EF4-FFF2-40B4-BE49-F238E27FC236}">
                <a16:creationId xmlns:a16="http://schemas.microsoft.com/office/drawing/2014/main" id="{5C1C629A-FB4A-9DCD-82D7-CB67AA109C26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219325" y="509746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3792AC-2290-4A53-8A3A-9C2121F65B05}" type="datetime'''''''''''0''''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2822575" y="36512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E8F69E-731B-416D-92E7-5300228A3940}" type="datetime'7''7'''''''''''''''''''''''''''''''''''''''''">
              <a:rPr lang="zh-CN" altLang="en-US" sz="800" smtClean="0">
                <a:latin typeface="+mn-lt"/>
                <a:cs typeface="+mn-cs"/>
              </a:rPr>
              <a:pPr/>
              <a:t>7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2822575" y="40401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AB52CC-802D-4DD6-ADD0-19A6FADB6765}" type="datetime'2''''''''0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440113" y="34782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F103D3-4BA2-4A56-B44E-3022830C2EF7}" type="datetime'-''''''''''''''''''''''''''''''''''''''''''34'''''''''''''''">
              <a:rPr lang="zh-CN" altLang="en-US" sz="800" smtClean="0">
                <a:latin typeface="+mn-lt"/>
                <a:cs typeface="+mn-cs"/>
              </a:rPr>
              <a:pPr/>
              <a:t>-3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484563" y="3330575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9EF449-2E4E-4C52-A2AC-ECEAACB90E66}" type="datetime'''''''3''''''''''''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071938" y="378142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08618AB-8C30-4F6F-925F-A1BEF15C8840}" type="datetime'''-''''''''''''''4''''''''''''9'''''''''''''''''''''''''''">
              <a:rPr lang="zh-CN" altLang="en-US" sz="800" smtClean="0">
                <a:latin typeface="+mn-lt"/>
                <a:cs typeface="+mn-cs"/>
              </a:rPr>
              <a:pPr/>
              <a:t>-4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116388" y="356076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C6DCFEF-6C28-4966-8C47-68AA593DBD18}" type="datetime'''''''''''''''''''''''''''''''''''''7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719638" y="37338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9A3713-C6D7-4F5B-A425-A03AB08AA6E9}" type="datetime'''''''''''''''''''''''''''''''''''''''36'''''''''''''''''''">
              <a:rPr lang="zh-CN" altLang="en-US" sz="800" smtClean="0">
                <a:latin typeface="+mn-lt"/>
                <a:cs typeface="+mn-cs"/>
              </a:rPr>
              <a:pPr/>
              <a:t>3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748213" y="389890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A591AD-F22E-4293-B840-EE9746EDA70C}" type="datetime'''''''''6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351463" y="3535363"/>
            <a:ext cx="14287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52FC74-7FCB-4665-88F1-E8470498C595}" type="datetime'''1''''''''''0'''''''''''''">
              <a:rPr lang="zh-CN" altLang="en-US" sz="800" smtClean="0">
                <a:latin typeface="+mn-lt"/>
                <a:cs typeface="+mn-cs"/>
              </a:rPr>
              <a:pPr/>
              <a:t>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570538" y="358933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D6A2100-9BEC-4900-B665-D43E05D3E256}" type="datetime'''''''''''''''''''''''''2'''''''''''''''''''''''">
              <a:rPr lang="zh-CN" altLang="en-US" sz="800" smtClean="0"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5969000" y="369411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0CC53E-6E0A-4501-AF8B-FCA16E61E64C}" type="datetime'-''4''''''''''9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4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7864475" y="3835400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55B125-4753-4FF0-97CC-0EEDD73B8A1E}" type="datetime'''''''''''''''''''''''''''''''''''''-''2''''''''''''''9'">
              <a:rPr lang="zh-CN" altLang="en-US" sz="800" smtClean="0">
                <a:effectLst/>
                <a:latin typeface="+mn-lt"/>
                <a:cs typeface="+mn-cs"/>
              </a:rPr>
              <a:pPr/>
              <a:t>-29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C44B4CB2-2581-2E7D-05BB-14E75D27FE6F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727848766"/>
              </p:ext>
            </p:extLst>
          </p:nvPr>
        </p:nvGraphicFramePr>
        <p:xfrm>
          <a:off x="2454275" y="1906588"/>
          <a:ext cx="6513513" cy="123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4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2536825" y="1989138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6840538" y="1989138"/>
            <a:ext cx="20447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5B0ABE23-7C49-51AB-6DB5-922B92F8A7FE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3667125" y="1989138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70CEFFBD-34B4-3369-8548-CA96722DC757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4302125" y="1989138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A07348E1-08C9-256B-69A8-297B471B5B09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937125" y="1989138"/>
            <a:ext cx="280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BBDFF7FB-C774-865F-F947-DE8574691B03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5572125" y="1989138"/>
            <a:ext cx="914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137025" y="26590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E6EFD7-5EB5-4155-8527-460FCB645180}" type="datetime'''''''''''''''''''''148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3951289" y="17891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F59781-0C69-4A43-8094-55D132B1F4FE}" type="datetime'''''''''9''''''''''''''''''5''''''''''''%''''''''''''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545013" y="25558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F17ABDE-E125-441E-84D0-BE52F17E04C3}" type="datetime'''''''''19''''''5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9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4772025" y="26479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B1E522-F990-40DB-8586-13CC9B3A9E5F}" type="datetime'''''''''''''1''''''''''''''5''''''''''''''''4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5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586289" y="18399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F5C922-16FA-4E41-9122-9513763C6C44}" type="datetime'''9''''''''''''''''''''''''''''0''''''%'''''''''''''''''''''">
              <a:rPr lang="en-US" altLang="en-US" smtClean="0">
                <a:latin typeface="+mn-lt"/>
                <a:cs typeface="+mn-cs"/>
              </a:rPr>
              <a:pPr/>
              <a:t>9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180013" y="25939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AA7CDB-8AE4-4C4D-983F-D135DD28202D}" type="datetime'''''''''''1''''''''''''''''''''''''''''''''7''''''''''''8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7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407025" y="26209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9C4D4C-278A-473E-97A9-8A20043E7399}" type="datetime'''''''''''''1''''''''''''''''''''''''''''6''6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221289" y="18319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EE17DB-6256-4D5D-AC08-AB1D065EF156}" type="datetime'''''''''''''''''''9''''''''''1''''''''''''''''''''''''''''''%'">
              <a:rPr lang="en-US" altLang="en-US" smtClean="0">
                <a:latin typeface="+mn-lt"/>
                <a:cs typeface="+mn-cs"/>
              </a:rPr>
              <a:pPr/>
              <a:t>9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5843588" y="27940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2069C4-C7B1-43F1-9A6E-C40751984F3E}" type="datetime'''''''''''''''8''''''''''''''''''''''''''''''''''''8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042025" y="26939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9370BB3-3A6E-4C3A-83CB-161EEFC05134}" type="datetime'''''''''''''''''''''''1''''''''''''3''''''2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3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854701" y="177006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976133-6EA9-40C0-9F14-990D3B4DAD20}" type="datetime'''9''''''''''''''''''''''''''''''''6''''''''''%''''''''''''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2640014" y="24542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5B6906-F9EE-4379-937D-3810DFE0E4FC}" type="datetime'''2''''''''''4''''''''''''''''''''''''''''''''1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4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675438" y="26955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E7A723-308A-483C-AD34-30D4921E07B6}" type="datetime'13''''''''''''''''''''''''2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3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489701" y="17922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560906-05EB-4980-8144-4DCB997BA3AD}" type="datetime'''9''''4''''''''''''''''''''''''''''''''''''''''''''''''%'''">
              <a:rPr lang="en-US" altLang="en-US" smtClean="0">
                <a:latin typeface="+mn-lt"/>
                <a:cs typeface="+mn-cs"/>
              </a:rPr>
              <a:pPr/>
              <a:t>9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7083425" y="26638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892FFDA-3594-4363-B325-68A2CA1FF1A5}" type="datetime'''''''1''''''''''''''''''4''''''''''''''''''''6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7310438" y="26384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96DF76-4469-4280-9B91-0ACC6FAA60B7}" type="datetime'''''''''''''''1''''''''''''''''''''''''''''''''''''''5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5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7124701" y="177641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7D3D63-C36B-4F52-8BF2-82234782BC74}" type="datetime'''9''''''''6''''''''''''''''''''''''''%''''''''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718425" y="26320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E4392D-1F4C-4810-8A92-C9442844F446}" type="datetime'''''''''''1''''''''''''''''''''''''''''''''''''6''''''''''0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7945438" y="257016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CFE3FE-B816-4211-A84D-49B6AE371589}" type="datetime'''''''''''''''''''''''''''1''''''''''''8''''''''''''''''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8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7759701" y="174942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C9D915-4261-4BDD-ACC8-22B94C80D33C}" type="datetime'''''''''''''''''''''''''''''9''''8''''''''''''''''''%''''''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353425" y="26098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D51BA5-FFE0-4F78-938C-2D18227ECEDC}" type="datetime'''''''''''1''''''7''''''''''''''1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7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580438" y="2716213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603077-D60D-4E9B-966F-FE5C6C9F1C1D}" type="datetime'''''''''''''''''''''''1''''''''''''2''''''''''3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2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8394701" y="17795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52BEEFE-90A2-41A1-A2B4-2A729111D5DD}" type="datetime'''''''''''''''''''9''''5''''''''''''''''''''''''''''''''''''%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2867025" y="26701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68513F-4ABA-475A-A215-6AF6629D0FE5}" type="datetime'''''''''''''''1''''''''''''4''4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2681288" y="2162175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62FB6D-C03E-4D09-ACD4-C05D271042FB}" type="datetime'''''''''''''''''''6''''''0''''''''''''''%'''''''''">
              <a:rPr lang="en-US" altLang="en-US" smtClean="0">
                <a:effectLst/>
                <a:latin typeface="+mn-lt"/>
                <a:cs typeface="+mn-cs"/>
              </a:rPr>
              <a:pPr/>
              <a:t>60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3275013" y="2736850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3EC255C-74EF-4DE4-A4C8-200223A9C638}" type="datetime'''''''''''''''11''''''''''''3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1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3502025" y="2668588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3B9C7B-FF33-4AB0-8B15-1083998C6A25}" type="datetime'''''1''''''''''''''4''''''''''4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316288" y="19319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98BDB9-4014-48D4-B79B-E4679F08722D}" type="datetime'''''8''''''''1''''''''''''%'''''''''''''''''''''''''''''''''">
              <a:rPr lang="en-US" altLang="en-US" smtClean="0">
                <a:latin typeface="+mn-lt"/>
                <a:cs typeface="+mn-cs"/>
              </a:rPr>
              <a:pPr/>
              <a:t>81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3910013" y="275272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EC058F-E0A8-4C51-8413-4C4CD8F03C2C}" type="datetime'''''''''''''''''''''''''''''''''''''''1''''''''''''''''06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0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6448425" y="26320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84E116-C539-4C81-9D45-6F3683E9FE6A}" type="datetime'''''''''1''''''''''''6''''1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6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DF636F-AAF3-4ABF-BA4E-2A6191008157}" type="datetime'''D''''''''''''''''''''''DI''直连''''库''''存''变''''''''''化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aphicFrame>
        <p:nvGraphicFramePr>
          <p:cNvPr id="1896" name="Chart 3">
            <a:extLst>
              <a:ext uri="{FF2B5EF4-FFF2-40B4-BE49-F238E27FC236}">
                <a16:creationId xmlns:a16="http://schemas.microsoft.com/office/drawing/2014/main" id="{6C9B6B82-FE09-9AD5-5DF7-0201B76398BD}"/>
              </a:ext>
            </a:extLst>
          </p:cNvPr>
          <p:cNvGraphicFramePr/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2145938556"/>
              </p:ext>
            </p:extLst>
          </p:nvPr>
        </p:nvGraphicFramePr>
        <p:xfrm>
          <a:off x="2120900" y="4443413"/>
          <a:ext cx="6704013" cy="158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5"/>
          </a:graphicData>
        </a:graphic>
      </p:graphicFrame>
      <p:cxnSp>
        <p:nvCxnSpPr>
          <p:cNvPr id="1427" name="直接连接符 1426">
            <a:extLst>
              <a:ext uri="{FF2B5EF4-FFF2-40B4-BE49-F238E27FC236}">
                <a16:creationId xmlns:a16="http://schemas.microsoft.com/office/drawing/2014/main" id="{8CD1BFBD-29D4-7EFA-3730-7685282ECB0D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2238375" y="5656263"/>
            <a:ext cx="6469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CBC9BAD9-0F24-9106-3CAE-E7247D7A0B79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6216649" y="5257800"/>
            <a:ext cx="17478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4" name="直接连接符 1473">
            <a:extLst>
              <a:ext uri="{FF2B5EF4-FFF2-40B4-BE49-F238E27FC236}">
                <a16:creationId xmlns:a16="http://schemas.microsoft.com/office/drawing/2014/main" id="{967E8F84-C6F1-30BA-DDED-462B5D7B17E2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8158163" y="5257800"/>
            <a:ext cx="4524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1" name="直接连接符 1860">
            <a:extLst>
              <a:ext uri="{FF2B5EF4-FFF2-40B4-BE49-F238E27FC236}">
                <a16:creationId xmlns:a16="http://schemas.microsoft.com/office/drawing/2014/main" id="{15660DEE-4916-933D-E2C2-A4D09FBA11D1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3629025" y="5257800"/>
            <a:ext cx="2393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6" name="直接连接符 1415">
            <a:extLst>
              <a:ext uri="{FF2B5EF4-FFF2-40B4-BE49-F238E27FC236}">
                <a16:creationId xmlns:a16="http://schemas.microsoft.com/office/drawing/2014/main" id="{72D85A7C-D068-4FDE-7721-9FFD5EE00CF7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2238375" y="5257800"/>
            <a:ext cx="11969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1" name="直接连接符 1890">
            <a:extLst>
              <a:ext uri="{FF2B5EF4-FFF2-40B4-BE49-F238E27FC236}">
                <a16:creationId xmlns:a16="http://schemas.microsoft.com/office/drawing/2014/main" id="{72450C2A-0417-39AE-99E8-4C46C3DD28C2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3532188" y="49545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B8A70BC4-880F-79F8-BF39-DEB7ECF3AAAF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V="1">
            <a:off x="2238375" y="5418138"/>
            <a:ext cx="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9" name="直接连接符 1888">
            <a:extLst>
              <a:ext uri="{FF2B5EF4-FFF2-40B4-BE49-F238E27FC236}">
                <a16:creationId xmlns:a16="http://schemas.microsoft.com/office/drawing/2014/main" id="{114AB349-CA07-0A07-BAB4-30609FD082C9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2886075" y="502126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44E8E06-7A8F-3954-A4AA-EE20FECFFF3B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2238375" y="53943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0" name="直接连接符 1889">
            <a:extLst>
              <a:ext uri="{FF2B5EF4-FFF2-40B4-BE49-F238E27FC236}">
                <a16:creationId xmlns:a16="http://schemas.microsoft.com/office/drawing/2014/main" id="{FC91AC8D-7C7D-3F18-FE92-F31296D9A68D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2886075" y="48387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8" name="直接连接符 1467">
            <a:extLst>
              <a:ext uri="{FF2B5EF4-FFF2-40B4-BE49-F238E27FC236}">
                <a16:creationId xmlns:a16="http://schemas.microsoft.com/office/drawing/2014/main" id="{DB3DA2FD-3F9C-7D07-1499-92AEE88BBABE}"/>
              </a:ext>
            </a:extLst>
          </p:cNvPr>
          <p:cNvCxnSpPr>
            <a:cxnSpLocks/>
          </p:cNvCxnSpPr>
          <p:nvPr>
            <p:custDataLst>
              <p:tags r:id="rId98"/>
            </p:custDataLst>
          </p:nvPr>
        </p:nvCxnSpPr>
        <p:spPr bwMode="auto">
          <a:xfrm>
            <a:off x="8061325" y="538797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2" name="直接连接符 1891">
            <a:extLst>
              <a:ext uri="{FF2B5EF4-FFF2-40B4-BE49-F238E27FC236}">
                <a16:creationId xmlns:a16="http://schemas.microsoft.com/office/drawing/2014/main" id="{633E5191-A880-7288-6A77-9C8B960D4EBF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4179888" y="51403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3" name="直接连接符 1892">
            <a:extLst>
              <a:ext uri="{FF2B5EF4-FFF2-40B4-BE49-F238E27FC236}">
                <a16:creationId xmlns:a16="http://schemas.microsoft.com/office/drawing/2014/main" id="{2E3D9163-F49E-6CA6-61D1-A15192D729FE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5473700" y="50688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9" name="直接连接符 1458">
            <a:extLst>
              <a:ext uri="{FF2B5EF4-FFF2-40B4-BE49-F238E27FC236}">
                <a16:creationId xmlns:a16="http://schemas.microsoft.com/office/drawing/2014/main" id="{16AAA7D6-7B2F-3A99-2825-6C1703FEC375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4826000" y="50768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4" name="直接连接符 1893">
            <a:extLst>
              <a:ext uri="{FF2B5EF4-FFF2-40B4-BE49-F238E27FC236}">
                <a16:creationId xmlns:a16="http://schemas.microsoft.com/office/drawing/2014/main" id="{1DD2A45F-EF24-C6F6-0ACB-ABB1057849F1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6119813" y="52832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5" name="直接连接符 1894">
            <a:extLst>
              <a:ext uri="{FF2B5EF4-FFF2-40B4-BE49-F238E27FC236}">
                <a16:creationId xmlns:a16="http://schemas.microsoft.com/office/drawing/2014/main" id="{EB8C5CA4-CCAE-90F1-8351-78B18B726787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6767513" y="517366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2" name="直接连接符 1461">
            <a:extLst>
              <a:ext uri="{FF2B5EF4-FFF2-40B4-BE49-F238E27FC236}">
                <a16:creationId xmlns:a16="http://schemas.microsoft.com/office/drawing/2014/main" id="{B25EED74-3BE6-1A25-FFAA-ED5F7EF0AB47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6119813" y="52911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6" name="直接连接符 1465">
            <a:extLst>
              <a:ext uri="{FF2B5EF4-FFF2-40B4-BE49-F238E27FC236}">
                <a16:creationId xmlns:a16="http://schemas.microsoft.com/office/drawing/2014/main" id="{D3EC2432-4617-5266-2DF0-2F8BEF10B77E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7413625" y="52022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7" name="直接连接符 1466">
            <a:extLst>
              <a:ext uri="{FF2B5EF4-FFF2-40B4-BE49-F238E27FC236}">
                <a16:creationId xmlns:a16="http://schemas.microsoft.com/office/drawing/2014/main" id="{B04EF4F2-7F38-9EBF-D340-CFB75FC1FB25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8061325" y="55070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9" name="直接连接符 1468">
            <a:extLst>
              <a:ext uri="{FF2B5EF4-FFF2-40B4-BE49-F238E27FC236}">
                <a16:creationId xmlns:a16="http://schemas.microsoft.com/office/drawing/2014/main" id="{E7FB9AEA-E911-CF9F-9FF2-E4588B47992B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8707438" y="535146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9" name="直接连接符 1818">
            <a:extLst>
              <a:ext uri="{FF2B5EF4-FFF2-40B4-BE49-F238E27FC236}">
                <a16:creationId xmlns:a16="http://schemas.microsoft.com/office/drawing/2014/main" id="{89A23327-5608-B9B1-48B6-09A5B94BD12A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8707438" y="53086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442" name="Text Placeholder 3">
            <a:extLst>
              <a:ext uri="{FF2B5EF4-FFF2-40B4-BE49-F238E27FC236}">
                <a16:creationId xmlns:a16="http://schemas.microsoft.com/office/drawing/2014/main" id="{00445C12-10C4-A371-D4EA-BD360FAE32DA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2152650" y="53784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7ADF96-7791-4905-9792-600EE288D6EF}" type="datetime'''''''''''''''''''''1''''''''''.7'">
              <a:rPr lang="zh-CN" altLang="en-US" sz="800" smtClean="0">
                <a:effectLst/>
                <a:latin typeface="+mn-lt"/>
                <a:cs typeface="+mn-cs"/>
              </a:rPr>
              <a:pPr/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0" name="Text Placeholder 3">
            <a:extLst>
              <a:ext uri="{FF2B5EF4-FFF2-40B4-BE49-F238E27FC236}">
                <a16:creationId xmlns:a16="http://schemas.microsoft.com/office/drawing/2014/main" id="{02F6331E-5D73-6E69-0D56-C4DE5D68572C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gray">
          <a:xfrm>
            <a:off x="2152650" y="52609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1E115C-17C3-4AA2-92CF-6E1FD4EEC931}" type="datetime'''''1''''''''''''''''''''''''''''''''''.''''''''''''''7'''''">
              <a:rPr lang="zh-CN" altLang="en-US" sz="800" smtClean="0">
                <a:effectLst/>
                <a:latin typeface="+mn-lt"/>
                <a:cs typeface="+mn-cs"/>
              </a:rPr>
              <a:pPr/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1" name="Text Placeholder 3">
            <a:extLst>
              <a:ext uri="{FF2B5EF4-FFF2-40B4-BE49-F238E27FC236}">
                <a16:creationId xmlns:a16="http://schemas.microsoft.com/office/drawing/2014/main" id="{AD047B8F-920B-5600-6840-3C274E6980C6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2130425" y="5876925"/>
            <a:ext cx="2159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2B8EE8-7224-4754-A9CC-53CAB6AC204E}" type="datetime'''''''''''''''''''''''''''''''''''''''''''期初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期初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3" name="Text Placeholder 3">
            <a:extLst>
              <a:ext uri="{FF2B5EF4-FFF2-40B4-BE49-F238E27FC236}">
                <a16:creationId xmlns:a16="http://schemas.microsoft.com/office/drawing/2014/main" id="{3EDE77E4-6C85-3185-A84F-4AA13F641CDB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33543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6BA08A-6AF5-4480-9966-0067E85EF545}" type="datetime'''''''''''''''''''''''''''''20''2''5''''0''2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4" name="Text Placeholder 3">
            <a:extLst>
              <a:ext uri="{FF2B5EF4-FFF2-40B4-BE49-F238E27FC236}">
                <a16:creationId xmlns:a16="http://schemas.microsoft.com/office/drawing/2014/main" id="{BF771EE0-A3E5-68C6-1A6D-0EFEE0E2CFC9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40020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C82DDE-C291-4F0B-96D6-A11B1B90769C}" type="datetime'''''''2''''''''''''0''''''''2''5''''''''''''''''0''''''''3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5" name="Text Placeholder 3">
            <a:extLst>
              <a:ext uri="{FF2B5EF4-FFF2-40B4-BE49-F238E27FC236}">
                <a16:creationId xmlns:a16="http://schemas.microsoft.com/office/drawing/2014/main" id="{AB1D084B-48F0-C954-DD65-F56B3845EBA5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46482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E7C4DF-FCE3-4544-BF71-14BFF5756E56}" type="datetime'''''''''''''''''''''''2025''''''''''0''''''''''''''''4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6" name="Text Placeholder 3">
            <a:extLst>
              <a:ext uri="{FF2B5EF4-FFF2-40B4-BE49-F238E27FC236}">
                <a16:creationId xmlns:a16="http://schemas.microsoft.com/office/drawing/2014/main" id="{2C544DAD-0BC2-0C32-FDFD-31AC14873EF1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52959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778931-24D9-4752-BDE8-CDD886109C7E}" type="datetime'''''''''''''''2''0''''''''2''''50''''''5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5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2" name="Text Placeholder 3">
            <a:extLst>
              <a:ext uri="{FF2B5EF4-FFF2-40B4-BE49-F238E27FC236}">
                <a16:creationId xmlns:a16="http://schemas.microsoft.com/office/drawing/2014/main" id="{803757EA-07D7-E0C8-BC2E-29B54FBEF0A9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gray">
          <a:xfrm>
            <a:off x="3446463" y="482123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FE495F-E634-4780-A98B-6A73D063D13F}" type="datetime'''''''''''''''''''''''''''''3''''''''''''''''.''''''''6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.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3" name="Text Placeholder 3">
            <a:extLst>
              <a:ext uri="{FF2B5EF4-FFF2-40B4-BE49-F238E27FC236}">
                <a16:creationId xmlns:a16="http://schemas.microsoft.com/office/drawing/2014/main" id="{EE6BCFFF-20DE-87A8-B4A4-3EB2AA8D80E6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4094163" y="50069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97672-8868-412B-B7D6-4C093E518A74}" type="datetime'''''''''''''2''''''''''.''''''''''8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4" name="Text Placeholder 3">
            <a:extLst>
              <a:ext uri="{FF2B5EF4-FFF2-40B4-BE49-F238E27FC236}">
                <a16:creationId xmlns:a16="http://schemas.microsoft.com/office/drawing/2014/main" id="{76B5F8B1-7B9C-E2CA-9AE5-71A2720C6368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gray">
          <a:xfrm>
            <a:off x="4740275" y="49434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1A6698-B819-49E8-AA40-F35749FE2297}" type="datetime'''''''''''3''.''''''''1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5" name="Text Placeholder 3">
            <a:extLst>
              <a:ext uri="{FF2B5EF4-FFF2-40B4-BE49-F238E27FC236}">
                <a16:creationId xmlns:a16="http://schemas.microsoft.com/office/drawing/2014/main" id="{EA51EBDE-5A72-47FF-CEA0-4AE0B9734B90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gray">
          <a:xfrm>
            <a:off x="6681788" y="504031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7675C5-868E-4844-97B1-0C648CC02469}" type="datetime'''''''''''''''''2''''''.6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7" name="Text Placeholder 3">
            <a:extLst>
              <a:ext uri="{FF2B5EF4-FFF2-40B4-BE49-F238E27FC236}">
                <a16:creationId xmlns:a16="http://schemas.microsoft.com/office/drawing/2014/main" id="{807F5679-15B8-4C76-DCA3-2ED29ECFCF51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59420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B8C014-1559-43C2-979E-36B3C2619C3D}" type="datetime'''20''''''''''2''''''''''50''''''''''''''''''''6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7" name="Text Placeholder 3">
            <a:extLst>
              <a:ext uri="{FF2B5EF4-FFF2-40B4-BE49-F238E27FC236}">
                <a16:creationId xmlns:a16="http://schemas.microsoft.com/office/drawing/2014/main" id="{B70371F7-C188-261F-F0E1-5C1C9ED55328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7975600" y="525462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82A5A5-F841-426E-885F-E32906F3B67C}" type="datetime'''''''''1''''''''''.''''''''''''''''''''''''''''''7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8" name="Text Placeholder 3">
            <a:extLst>
              <a:ext uri="{FF2B5EF4-FFF2-40B4-BE49-F238E27FC236}">
                <a16:creationId xmlns:a16="http://schemas.microsoft.com/office/drawing/2014/main" id="{FE6EAB55-A3A5-0F9D-5D04-144861F1D5F0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gray">
          <a:xfrm>
            <a:off x="8621713" y="51752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3219E5-69B6-4DBB-9121-C385C33EFD84}" type="datetime'''''''''''''''''''''''''''''''''2''''''''.''''''''''''1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1" name="Text Placeholder 3">
            <a:extLst>
              <a:ext uri="{FF2B5EF4-FFF2-40B4-BE49-F238E27FC236}">
                <a16:creationId xmlns:a16="http://schemas.microsoft.com/office/drawing/2014/main" id="{C50F3DAA-EFE1-8572-5206-F1A4416A7C6F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852963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45053E-0588-4E4C-808D-51FAB22641C3}" type="datetime'''2''''0''''''''''2''5''''''''''''''''1''''''0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0" name="Text Placeholder 3">
            <a:extLst>
              <a:ext uri="{FF2B5EF4-FFF2-40B4-BE49-F238E27FC236}">
                <a16:creationId xmlns:a16="http://schemas.microsoft.com/office/drawing/2014/main" id="{91F5A5A7-2825-7668-8E0A-E582189F05C5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78835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97B0DD-4030-4D50-AAC7-69F18E97BB76}" type="datetime'''''''''2''''''02''5''''''''''0''''''''''''''''9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2" name="Text Placeholder 3">
            <a:extLst>
              <a:ext uri="{FF2B5EF4-FFF2-40B4-BE49-F238E27FC236}">
                <a16:creationId xmlns:a16="http://schemas.microsoft.com/office/drawing/2014/main" id="{6DC21B57-A2D3-D89A-22E6-3EBF752375C8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70827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552FFA-1A46-4A78-B017-884DCF091468}" type="datetime'''''''''''''2''''''''''''''''''''''''''0''''2''''50''''1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9" name="Text Placeholder 3">
            <a:extLst>
              <a:ext uri="{FF2B5EF4-FFF2-40B4-BE49-F238E27FC236}">
                <a16:creationId xmlns:a16="http://schemas.microsoft.com/office/drawing/2014/main" id="{C5C70E6E-BFEB-1045-1E13-15AAB372D0B9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72358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5776E9-47F3-4212-96FA-71B38A8F640C}" type="datetime'''''''''''''''2''0''''250''''''''''''''''''8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8" name="Text Placeholder 3">
            <a:extLst>
              <a:ext uri="{FF2B5EF4-FFF2-40B4-BE49-F238E27FC236}">
                <a16:creationId xmlns:a16="http://schemas.microsoft.com/office/drawing/2014/main" id="{03480C23-7FC1-2FF7-BC97-25519BB18339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65897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394C60-59A6-4ED9-9B70-AEDEE7E95299}" type="datetime'''''''''''''2''0''''''''''''''''''2''''''''5''0''''''7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7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0" name="Text Placeholder 3">
            <a:extLst>
              <a:ext uri="{FF2B5EF4-FFF2-40B4-BE49-F238E27FC236}">
                <a16:creationId xmlns:a16="http://schemas.microsoft.com/office/drawing/2014/main" id="{AE8B4BA6-D54F-81BD-435A-2D64FA70239D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gray">
          <a:xfrm>
            <a:off x="2800350" y="488791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E72999-2536-4A16-ACC0-A48351622954}" type="datetime'''''''3''.''''''''''''''''''''''''''3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1" name="Text Placeholder 3">
            <a:extLst>
              <a:ext uri="{FF2B5EF4-FFF2-40B4-BE49-F238E27FC236}">
                <a16:creationId xmlns:a16="http://schemas.microsoft.com/office/drawing/2014/main" id="{2AF42E19-7BE5-3476-C0BB-EC9E2A1D0644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gray">
          <a:xfrm>
            <a:off x="2800350" y="470535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2B1FE2-1366-40AE-A580-08D27CB46CE5}" type="datetime'''''''''4''.''''1''''''''''''''''''''''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.1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86" name="Text Placeholder 3">
            <a:extLst>
              <a:ext uri="{FF2B5EF4-FFF2-40B4-BE49-F238E27FC236}">
                <a16:creationId xmlns:a16="http://schemas.microsoft.com/office/drawing/2014/main" id="{BE402BEE-ADF8-3CB6-4744-C918D08D3F5F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gray">
          <a:xfrm>
            <a:off x="7975600" y="53736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13D4EE-2570-4D80-B3FE-B2EAEA86E8C2}" type="datetime'''''''''1''''''''''''''''''''''''''''''.''''''''''''''''''''2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2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381" name="直接连接符 1380">
            <a:extLst>
              <a:ext uri="{FF2B5EF4-FFF2-40B4-BE49-F238E27FC236}">
                <a16:creationId xmlns:a16="http://schemas.microsoft.com/office/drawing/2014/main" id="{60F9A687-49A7-9139-83E6-DE0BDC247892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579438" y="4732338"/>
            <a:ext cx="195263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2" name="直接连接符 1381">
            <a:extLst>
              <a:ext uri="{FF2B5EF4-FFF2-40B4-BE49-F238E27FC236}">
                <a16:creationId xmlns:a16="http://schemas.microsoft.com/office/drawing/2014/main" id="{81D9BC2E-43BF-0B4D-346D-E07E1572AC4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579438" y="4984750"/>
            <a:ext cx="1952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3" name="直接连接符 1382">
            <a:extLst>
              <a:ext uri="{FF2B5EF4-FFF2-40B4-BE49-F238E27FC236}">
                <a16:creationId xmlns:a16="http://schemas.microsoft.com/office/drawing/2014/main" id="{06C80ABB-ADE7-9188-D748-6A0BB890BA72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579438" y="5237163"/>
            <a:ext cx="1952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6" name="Text Placeholder 3">
            <a:extLst>
              <a:ext uri="{FF2B5EF4-FFF2-40B4-BE49-F238E27FC236}">
                <a16:creationId xmlns:a16="http://schemas.microsoft.com/office/drawing/2014/main" id="{2B4EDBBB-72E6-B151-182E-B189521C5BAC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835025" y="46339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5F75AF-EED2-4C71-89CF-2BA43B8E6494}" type="datetime'一''''''''级''商''''库''''''''''''''''''''''存'''''''">
              <a:rPr lang="zh-CN" altLang="en-US" smtClean="0">
                <a:latin typeface="+mn-lt"/>
                <a:cs typeface="+mn-cs"/>
              </a:rPr>
              <a:pPr/>
              <a:t>一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8" name="Text Placeholder 3">
            <a:extLst>
              <a:ext uri="{FF2B5EF4-FFF2-40B4-BE49-F238E27FC236}">
                <a16:creationId xmlns:a16="http://schemas.microsoft.com/office/drawing/2014/main" id="{BD933162-8B62-1004-8AE5-8CA06E5D7DE9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835025" y="48863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B8905D-1D53-47FE-8670-CB43BF969431}" type="datetime'二''级''''''''''商''''''''''''库''''''''''存'''''''">
              <a:rPr lang="zh-CN" altLang="en-US" smtClean="0">
                <a:latin typeface="+mn-lt"/>
                <a:cs typeface="+mn-cs"/>
              </a:rPr>
              <a:pPr/>
              <a:t>二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9" name="Text Placeholder 3">
            <a:extLst>
              <a:ext uri="{FF2B5EF4-FFF2-40B4-BE49-F238E27FC236}">
                <a16:creationId xmlns:a16="http://schemas.microsoft.com/office/drawing/2014/main" id="{9ECFB1DA-48A2-EF26-C44B-C3EC1ABE4988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835025" y="51387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8B23EA-FC27-4AED-B67E-A1038C9D3912}" type="datetime'''''''零售''''''''''''总仓''''库''''''''''''存'''''''''''''''''''">
              <a:rPr lang="zh-CN" altLang="en-US" smtClean="0">
                <a:latin typeface="+mn-lt"/>
                <a:cs typeface="+mn-cs"/>
              </a:rPr>
              <a:pPr/>
              <a:t>零售总仓库存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0653" y="4067083"/>
            <a:ext cx="3138847" cy="363631"/>
            <a:chOff x="333016" y="1185978"/>
            <a:chExt cx="3138894" cy="364636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33016" y="1185978"/>
              <a:ext cx="941434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周数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9367838" y="2840038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>
            <a:off x="9955213" y="2641600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>
            <a:off x="10541000" y="217011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1DD43FA1-8629-705E-36A2-AF7AF2F4C4CE}"/>
              </a:ext>
            </a:extLst>
          </p:cNvPr>
          <p:cNvGraphicFramePr/>
          <p:nvPr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725898907"/>
              </p:ext>
            </p:extLst>
          </p:nvPr>
        </p:nvGraphicFramePr>
        <p:xfrm>
          <a:off x="8845550" y="2087563"/>
          <a:ext cx="2511425" cy="104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6"/>
          </a:graphicData>
        </a:graphic>
      </p:graphicFrame>
      <p:sp useBgFill="1">
        <p:nvSpPr>
          <p:cNvPr id="20" name="任意多边形: 形状 19">
            <a:extLst>
              <a:ext uri="{FF2B5EF4-FFF2-40B4-BE49-F238E27FC236}">
                <a16:creationId xmlns:a16="http://schemas.microsoft.com/office/drawing/2014/main" id="{655FFDCB-0006-EBC2-4A20-957DFBC8FD96}"/>
              </a:ext>
            </a:extLst>
          </p:cNvPr>
          <p:cNvSpPr/>
          <p:nvPr>
            <p:custDataLst>
              <p:tags r:id="rId141"/>
            </p:custDataLst>
          </p:nvPr>
        </p:nvSpPr>
        <p:spPr bwMode="auto">
          <a:xfrm>
            <a:off x="9023350" y="2865439"/>
            <a:ext cx="395289" cy="163513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23" name="任意多边形: 形状 22">
            <a:extLst>
              <a:ext uri="{FF2B5EF4-FFF2-40B4-BE49-F238E27FC236}">
                <a16:creationId xmlns:a16="http://schemas.microsoft.com/office/drawing/2014/main" id="{25C76542-CF22-8917-3425-55C063B3F2FE}"/>
              </a:ext>
            </a:extLst>
          </p:cNvPr>
          <p:cNvSpPr/>
          <p:nvPr>
            <p:custDataLst>
              <p:tags r:id="rId142"/>
            </p:custDataLst>
          </p:nvPr>
        </p:nvSpPr>
        <p:spPr bwMode="auto">
          <a:xfrm>
            <a:off x="10783888" y="2865439"/>
            <a:ext cx="395288" cy="163513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7AEA4A94-1F79-C828-2511-848FF647E468}"/>
              </a:ext>
            </a:extLst>
          </p:cNvPr>
          <p:cNvSpPr/>
          <p:nvPr>
            <p:custDataLst>
              <p:tags r:id="rId143"/>
            </p:custDataLst>
          </p:nvPr>
        </p:nvSpPr>
        <p:spPr bwMode="auto">
          <a:xfrm>
            <a:off x="9023350" y="2865439"/>
            <a:ext cx="395289" cy="106363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2E59BEB4-C4FC-A61A-27FB-988B4780E4FD}"/>
              </a:ext>
            </a:extLst>
          </p:cNvPr>
          <p:cNvSpPr/>
          <p:nvPr>
            <p:custDataLst>
              <p:tags r:id="rId144"/>
            </p:custDataLst>
          </p:nvPr>
        </p:nvSpPr>
        <p:spPr bwMode="auto">
          <a:xfrm>
            <a:off x="9023350" y="2922589"/>
            <a:ext cx="395289" cy="106363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5E2FA5D1-4672-BC83-A2B2-F7A67ECB5C3C}"/>
              </a:ext>
            </a:extLst>
          </p:cNvPr>
          <p:cNvSpPr/>
          <p:nvPr>
            <p:custDataLst>
              <p:tags r:id="rId145"/>
            </p:custDataLst>
          </p:nvPr>
        </p:nvSpPr>
        <p:spPr bwMode="auto">
          <a:xfrm>
            <a:off x="10783888" y="2865439"/>
            <a:ext cx="395288" cy="106363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8BAC0810-B9D8-3D79-3BCF-05C64BB696A8}"/>
              </a:ext>
            </a:extLst>
          </p:cNvPr>
          <p:cNvSpPr/>
          <p:nvPr>
            <p:custDataLst>
              <p:tags r:id="rId146"/>
            </p:custDataLst>
          </p:nvPr>
        </p:nvSpPr>
        <p:spPr bwMode="auto">
          <a:xfrm>
            <a:off x="10783888" y="2922589"/>
            <a:ext cx="395288" cy="106363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 flipV="1">
            <a:off x="10980738" y="1974850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48"/>
            </p:custDataLst>
          </p:nvPr>
        </p:nvCxnSpPr>
        <p:spPr bwMode="auto">
          <a:xfrm flipH="1">
            <a:off x="9220199" y="1974850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auto">
          <a:xfrm>
            <a:off x="9220200" y="1974849"/>
            <a:ext cx="0" cy="827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gray">
          <a:xfrm>
            <a:off x="9045575" y="2862263"/>
            <a:ext cx="349250" cy="168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35CFBC-3A37-4F02-A652-CC9B380D2F5A}" type="datetime'''''''1'''''''''',''''''''''''48''''''''''''''''9''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489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9010650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z="800" smtClean="0">
                <a:latin typeface="+mn-lt"/>
                <a:cs typeface="+mn-cs"/>
              </a:rPr>
              <a:pPr/>
              <a:t>渠道购进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gray">
          <a:xfrm>
            <a:off x="9720264" y="2655888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AFB6DE-BD84-4935-ADD8-92886C6266DD}" type="datetime'''''''''''''''''''''''''''''''''''''''''''''''''''2''1'''''''">
              <a:rPr lang="zh-CN" altLang="en-US" sz="1000" smtClean="0">
                <a:latin typeface="+mn-lt"/>
                <a:cs typeface="+mn-cs"/>
              </a:rPr>
              <a:pPr/>
              <a:t>21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9598025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z="800" smtClean="0">
                <a:latin typeface="+mn-lt"/>
                <a:cs typeface="+mn-cs"/>
              </a:rPr>
              <a:pPr/>
              <a:t>库存变化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gray">
          <a:xfrm>
            <a:off x="10306050" y="2320925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C4692A-7249-4520-890D-A2917516159B}" type="datetime'''''''''''''''5''''''''''''''0''''''''''''''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50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10183813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z="800" smtClean="0">
                <a:latin typeface="+mn-lt"/>
                <a:cs typeface="+mn-cs"/>
              </a:rPr>
              <a:pPr/>
              <a:t>不可追踪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gray">
          <a:xfrm>
            <a:off x="10806113" y="2527300"/>
            <a:ext cx="349250" cy="1682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0FF712-A633-485D-A218-E650CF942200}" type="datetime'''1'',''''''''''''''5''6''''''''''''''''''0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,560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10771188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z="800" smtClean="0">
                <a:latin typeface="+mn-lt"/>
                <a:cs typeface="+mn-cs"/>
              </a:rPr>
              <a:pPr/>
              <a:t>工厂发货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9940925" y="1855788"/>
            <a:ext cx="319088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C582AC-CEB8-4C18-A372-2B3BEC86BBCA}" type="datetime'''''''''''-''''''5''''''''''''''''''''%'''''''''''''">
              <a:rPr lang="en-US" altLang="en-US" sz="1000" smtClean="0">
                <a:effectLst/>
                <a:latin typeface="+mn-lt"/>
                <a:cs typeface="+mn-cs"/>
              </a:rPr>
              <a:pPr/>
              <a:t>-5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59"/>
            </p:custDataLst>
          </p:nvPr>
        </p:nvCxnSpPr>
        <p:spPr bwMode="auto">
          <a:xfrm>
            <a:off x="9358313" y="3798888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60"/>
            </p:custDataLst>
          </p:nvPr>
        </p:nvCxnSpPr>
        <p:spPr bwMode="auto">
          <a:xfrm>
            <a:off x="9942513" y="376713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7" name="直接连接符 2026">
            <a:extLst>
              <a:ext uri="{FF2B5EF4-FFF2-40B4-BE49-F238E27FC236}">
                <a16:creationId xmlns:a16="http://schemas.microsoft.com/office/drawing/2014/main" id="{EDEC6A54-327B-6A29-4374-80B7580FFFF9}"/>
              </a:ext>
            </a:extLst>
          </p:cNvPr>
          <p:cNvCxnSpPr/>
          <p:nvPr>
            <p:custDataLst>
              <p:tags r:id="rId161"/>
            </p:custDataLst>
          </p:nvPr>
        </p:nvCxnSpPr>
        <p:spPr bwMode="auto">
          <a:xfrm>
            <a:off x="10525125" y="3697288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78" name="Chart 3">
            <a:extLst>
              <a:ext uri="{FF2B5EF4-FFF2-40B4-BE49-F238E27FC236}">
                <a16:creationId xmlns:a16="http://schemas.microsoft.com/office/drawing/2014/main" id="{F6B07597-E09D-6B8A-C0CC-E61625698C1D}"/>
              </a:ext>
            </a:extLst>
          </p:cNvPr>
          <p:cNvGraphicFramePr/>
          <p:nvPr>
            <p:custDataLst>
              <p:tags r:id="rId162"/>
            </p:custDataLst>
            <p:extLst>
              <p:ext uri="{D42A27DB-BD31-4B8C-83A1-F6EECF244321}">
                <p14:modId xmlns:p14="http://schemas.microsoft.com/office/powerpoint/2010/main" val="2879269723"/>
              </p:ext>
            </p:extLst>
          </p:nvPr>
        </p:nvGraphicFramePr>
        <p:xfrm>
          <a:off x="8856663" y="3532188"/>
          <a:ext cx="2500312" cy="34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7"/>
          </a:graphicData>
        </a:graphic>
      </p:graphicFrame>
      <p:sp>
        <p:nvSpPr>
          <p:cNvPr id="2006" name="Text Placeholder 3">
            <a:extLst>
              <a:ext uri="{FF2B5EF4-FFF2-40B4-BE49-F238E27FC236}">
                <a16:creationId xmlns:a16="http://schemas.microsoft.com/office/drawing/2014/main" id="{3CC98E16-FB2E-495D-ADCF-FFF663C2DC9B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8951913" y="3422650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1189A-44A3-4C9B-A6B4-3DAE4A8B2B94}" type="datetime'''''''''''''''''''''''20''''2''''5''10''''''Y''''''''''TD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gray">
          <a:xfrm>
            <a:off x="9772650" y="37163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5583AC-8CB5-437A-9F8B-AFF3036EAD75}" type="datetime'''''4'''''''''">
              <a:rPr lang="zh-CN" altLang="en-US" sz="800" smtClean="0">
                <a:latin typeface="+mn-lt"/>
                <a:cs typeface="+mn-cs"/>
              </a:rPr>
              <a:pPr/>
              <a:t>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8" name="Text Placeholder 3">
            <a:extLst>
              <a:ext uri="{FF2B5EF4-FFF2-40B4-BE49-F238E27FC236}">
                <a16:creationId xmlns:a16="http://schemas.microsoft.com/office/drawing/2014/main" id="{7BD5FE52-3C31-692C-0431-58206417CADC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9656763" y="342265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F32FD-990E-4B3E-8B5C-7A03EE933112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gray">
          <a:xfrm>
            <a:off x="10355263" y="36655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0DDECB-E99E-40C4-954C-01973169A6A6}" type="datetime'''''''''''''''''''''''''''''8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9" name="Text Placeholder 3">
            <a:extLst>
              <a:ext uri="{FF2B5EF4-FFF2-40B4-BE49-F238E27FC236}">
                <a16:creationId xmlns:a16="http://schemas.microsoft.com/office/drawing/2014/main" id="{7217B9F1-0A58-5B0F-2E64-A84646CA65AE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10239375" y="3422650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4D7FFE-FE1B-4043-B240-297D3D41AC8E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25" name="Text Placeholder 3">
            <a:extLst>
              <a:ext uri="{FF2B5EF4-FFF2-40B4-BE49-F238E27FC236}">
                <a16:creationId xmlns:a16="http://schemas.microsoft.com/office/drawing/2014/main" id="{43D55BC5-9920-542B-5943-C2925A23663E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gray">
          <a:xfrm>
            <a:off x="10939463" y="35893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D8A960-1D2D-4B60-B975-C4E072FD8F14}" type="datetime'''''9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10" name="Text Placeholder 3">
            <a:extLst>
              <a:ext uri="{FF2B5EF4-FFF2-40B4-BE49-F238E27FC236}">
                <a16:creationId xmlns:a16="http://schemas.microsoft.com/office/drawing/2014/main" id="{BC99FD18-8285-240E-2946-45D78FEAB7A6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10772775" y="3422650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F1969F-DCAE-4797-B2FE-A76BE326F36F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69" name="矩形 2068">
            <a:extLst>
              <a:ext uri="{FF2B5EF4-FFF2-40B4-BE49-F238E27FC236}">
                <a16:creationId xmlns:a16="http://schemas.microsoft.com/office/drawing/2014/main" id="{2C8C7C6E-7854-71B0-B5CD-346A1F62D9D5}"/>
              </a:ext>
            </a:extLst>
          </p:cNvPr>
          <p:cNvSpPr/>
          <p:nvPr/>
        </p:nvSpPr>
        <p:spPr>
          <a:xfrm>
            <a:off x="9595508" y="1393825"/>
            <a:ext cx="1163370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10 Y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070" name="矩形 2069">
            <a:extLst>
              <a:ext uri="{FF2B5EF4-FFF2-40B4-BE49-F238E27FC236}">
                <a16:creationId xmlns:a16="http://schemas.microsoft.com/office/drawing/2014/main" id="{38C861AF-6F37-5EBF-7BB3-B7968983ADE2}"/>
              </a:ext>
            </a:extLst>
          </p:cNvPr>
          <p:cNvSpPr/>
          <p:nvPr/>
        </p:nvSpPr>
        <p:spPr>
          <a:xfrm>
            <a:off x="4938713" y="1392238"/>
            <a:ext cx="2193471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01 ~ 202510 M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cxnSp>
        <p:nvCxnSpPr>
          <p:cNvPr id="2074" name="直接连接符 2073">
            <a:extLst>
              <a:ext uri="{FF2B5EF4-FFF2-40B4-BE49-F238E27FC236}">
                <a16:creationId xmlns:a16="http://schemas.microsoft.com/office/drawing/2014/main" id="{DC085743-D412-C3E0-BD8A-77CCC98E3B10}"/>
              </a:ext>
            </a:extLst>
          </p:cNvPr>
          <p:cNvCxnSpPr>
            <a:cxnSpLocks/>
          </p:cNvCxnSpPr>
          <p:nvPr/>
        </p:nvCxnSpPr>
        <p:spPr>
          <a:xfrm>
            <a:off x="8906528" y="1498587"/>
            <a:ext cx="0" cy="4679577"/>
          </a:xfrm>
          <a:prstGeom prst="line">
            <a:avLst/>
          </a:prstGeom>
          <a:ln w="9525" cap="rnd">
            <a:solidFill>
              <a:srgbClr val="54545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E90D6D2D-2F71-697E-2616-88B6A758C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7661379"/>
              </p:ext>
            </p:extLst>
          </p:nvPr>
        </p:nvGraphicFramePr>
        <p:xfrm>
          <a:off x="9101138" y="5030787"/>
          <a:ext cx="2260337" cy="102552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790285">
                  <a:extLst>
                    <a:ext uri="{9D8B030D-6E8A-4147-A177-3AD203B41FA5}">
                      <a16:colId xmlns:a16="http://schemas.microsoft.com/office/drawing/2014/main" val="2917021903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2715591091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1308393361"/>
                    </a:ext>
                  </a:extLst>
                </a:gridCol>
              </a:tblGrid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库存完整度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购进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金额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有购进客户数量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18669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一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745966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二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34172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零售总仓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644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781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960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600120" y="1081377"/>
            <a:ext cx="10922807" cy="51986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万艾可库存完整度统计</a:t>
            </a: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236637" y="2113853"/>
            <a:ext cx="3223389" cy="341955"/>
            <a:chOff x="248473" y="1235639"/>
            <a:chExt cx="3223437" cy="342900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248473" y="1235639"/>
              <a:ext cx="1271606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二级商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139827" y="4184408"/>
            <a:ext cx="3308598" cy="346066"/>
            <a:chOff x="163263" y="1205068"/>
            <a:chExt cx="3308647" cy="345546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163263" y="1205068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零售总仓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B3D0F3C1-99E0-2B9D-0D64-E7BF3F5AED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1366691"/>
              </p:ext>
            </p:extLst>
          </p:nvPr>
        </p:nvGraphicFramePr>
        <p:xfrm>
          <a:off x="872431" y="4635580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683939FB-F469-FCCA-AF43-73C38C9D7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623577"/>
              </p:ext>
            </p:extLst>
          </p:nvPr>
        </p:nvGraphicFramePr>
        <p:xfrm>
          <a:off x="872431" y="5423655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购进客户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E6967249-8534-910D-5FE8-87656FCA0C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848168"/>
              </p:ext>
            </p:extLst>
          </p:nvPr>
        </p:nvGraphicFramePr>
        <p:xfrm>
          <a:off x="872431" y="2551180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二级商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03113804-7983-FAB8-A258-F81D3A6F3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760714"/>
              </p:ext>
            </p:extLst>
          </p:nvPr>
        </p:nvGraphicFramePr>
        <p:xfrm>
          <a:off x="872431" y="3347054"/>
          <a:ext cx="10444090" cy="75922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1754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824586">
                  <a:extLst>
                    <a:ext uri="{9D8B030D-6E8A-4147-A177-3AD203B41FA5}">
                      <a16:colId xmlns:a16="http://schemas.microsoft.com/office/drawing/2014/main" val="15873474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85854">
                <a:tc grid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购进客户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连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93237"/>
                  </a:ext>
                </a:extLst>
              </a:tr>
              <a:tr h="85854"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925" marR="6925" marT="692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盒总店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6A298F95-B980-7018-3C1E-6CACF00801FE}"/>
              </a:ext>
            </a:extLst>
          </p:cNvPr>
          <p:cNvSpPr/>
          <p:nvPr/>
        </p:nvSpPr>
        <p:spPr>
          <a:xfrm>
            <a:off x="8427847" y="2027379"/>
            <a:ext cx="2888673" cy="199201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altLang="zh-CN" sz="1100" dirty="0">
                <a:solidFill>
                  <a:schemeClr val="tx1"/>
                </a:solidFill>
              </a:rPr>
              <a:t>* </a:t>
            </a:r>
            <a:r>
              <a:rPr lang="zh-CN" altLang="en-US" sz="1100" dirty="0">
                <a:solidFill>
                  <a:schemeClr val="tx1"/>
                </a:solidFill>
              </a:rPr>
              <a:t>统计时间段内，一级商库存完整度为</a:t>
            </a:r>
            <a:r>
              <a:rPr lang="en-US" altLang="zh-CN" sz="1100" dirty="0">
                <a:solidFill>
                  <a:schemeClr val="tx1"/>
                </a:solidFill>
              </a:rPr>
              <a:t>100%</a:t>
            </a: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ACEBFC1-0BCA-7AC0-4140-9F00E7FB161A}"/>
              </a:ext>
            </a:extLst>
          </p:cNvPr>
          <p:cNvGrpSpPr/>
          <p:nvPr/>
        </p:nvGrpSpPr>
        <p:grpSpPr>
          <a:xfrm>
            <a:off x="294593" y="965793"/>
            <a:ext cx="3198403" cy="315952"/>
            <a:chOff x="273460" y="1233789"/>
            <a:chExt cx="3198450" cy="316825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E9EBC10-8689-9022-1390-37DE378808CF}"/>
                </a:ext>
              </a:extLst>
            </p:cNvPr>
            <p:cNvSpPr/>
            <p:nvPr/>
          </p:nvSpPr>
          <p:spPr>
            <a:xfrm>
              <a:off x="273460" y="1233789"/>
              <a:ext cx="1921022" cy="2671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经销商和零售总仓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34463BEC-AA4A-113D-54E7-F80D4517D645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076A3CE7-ECAB-57C3-F7C3-046379072E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233441"/>
              </p:ext>
            </p:extLst>
          </p:nvPr>
        </p:nvGraphicFramePr>
        <p:xfrm>
          <a:off x="872430" y="1397330"/>
          <a:ext cx="10444090" cy="56941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126340">
                  <a:extLst>
                    <a:ext uri="{9D8B030D-6E8A-4147-A177-3AD203B41FA5}">
                      <a16:colId xmlns:a16="http://schemas.microsoft.com/office/drawing/2014/main" val="258012148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55705159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14861911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44265194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675462274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534321391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323939383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294653515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18018859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5118233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10872878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4026111685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478823316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3302129292"/>
                    </a:ext>
                  </a:extLst>
                </a:gridCol>
                <a:gridCol w="594125">
                  <a:extLst>
                    <a:ext uri="{9D8B030D-6E8A-4147-A177-3AD203B41FA5}">
                      <a16:colId xmlns:a16="http://schemas.microsoft.com/office/drawing/2014/main" val="584788369"/>
                    </a:ext>
                  </a:extLst>
                </a:gridCol>
              </a:tblGrid>
              <a:tr h="14362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进金额占比（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41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6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7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0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02510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791190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有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399402"/>
                  </a:ext>
                </a:extLst>
              </a:tr>
              <a:tr h="8585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当月无库存客户</a:t>
                      </a:r>
                    </a:p>
                  </a:txBody>
                  <a:tcPr marL="6925" marR="6925" marT="69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5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72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D8B66D-C873-80E6-487B-D6B21C512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440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60" imgW="426" imgH="426" progId="TCLayout.ActiveDocument.1">
                  <p:embed/>
                </p:oleObj>
              </mc:Choice>
              <mc:Fallback>
                <p:oleObj name="think-cell 幻灯片" r:id="rId160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8B66D-C873-80E6-487B-D6B21C512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矩形 1558">
            <a:extLst>
              <a:ext uri="{FF2B5EF4-FFF2-40B4-BE49-F238E27FC236}">
                <a16:creationId xmlns:a16="http://schemas.microsoft.com/office/drawing/2014/main" id="{DA313038-A570-BB8A-ACAE-25EF10131FB8}"/>
              </a:ext>
            </a:extLst>
          </p:cNvPr>
          <p:cNvSpPr/>
          <p:nvPr/>
        </p:nvSpPr>
        <p:spPr>
          <a:xfrm>
            <a:off x="1694328" y="1479550"/>
            <a:ext cx="9828599" cy="47065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3A163E-A834-9296-960A-A31304B8F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000" dirty="0"/>
              <a:t>西乐葆：</a:t>
            </a:r>
            <a:r>
              <a:rPr lang="en-US" altLang="zh-CN" sz="2000" dirty="0"/>
              <a:t>1-10</a:t>
            </a:r>
            <a:r>
              <a:rPr lang="zh-CN" altLang="en-US" sz="2000" dirty="0"/>
              <a:t>月累计工厂发货较渠道购进多</a:t>
            </a:r>
            <a:r>
              <a:rPr lang="en-US" altLang="zh-CN" sz="2000" dirty="0"/>
              <a:t>3%</a:t>
            </a:r>
            <a:r>
              <a:rPr lang="zh-CN" altLang="en-US" sz="2000" dirty="0"/>
              <a:t>，差额为</a:t>
            </a:r>
            <a:r>
              <a:rPr lang="en-US" altLang="zh-CN" sz="2000" dirty="0"/>
              <a:t>18M</a:t>
            </a:r>
            <a:r>
              <a:rPr lang="zh-CN" altLang="en-US" sz="2000" dirty="0"/>
              <a:t>。其中，</a:t>
            </a:r>
            <a:r>
              <a:rPr lang="en-US" altLang="zh-CN" sz="2000" dirty="0"/>
              <a:t>-12M</a:t>
            </a:r>
            <a:r>
              <a:rPr lang="zh-CN" altLang="en-US" sz="2000" dirty="0"/>
              <a:t>转化为渠道</a:t>
            </a:r>
            <a:r>
              <a:rPr lang="en-US" altLang="zh-CN" sz="2000" dirty="0"/>
              <a:t>DDI</a:t>
            </a:r>
            <a:r>
              <a:rPr lang="zh-CN" altLang="en-US" sz="2000" dirty="0"/>
              <a:t>库存的减少，</a:t>
            </a:r>
            <a:r>
              <a:rPr lang="en-US" altLang="zh-CN" sz="2000" dirty="0"/>
              <a:t>30M</a:t>
            </a:r>
            <a:r>
              <a:rPr lang="zh-CN" altLang="en-US" sz="2000" dirty="0"/>
              <a:t>流向不可追踪部分。</a:t>
            </a:r>
            <a:r>
              <a:rPr lang="en-US" altLang="zh-CN" sz="2000" dirty="0"/>
              <a:t> 2025</a:t>
            </a:r>
            <a:r>
              <a:rPr lang="zh-CN" altLang="en-US" sz="2000" dirty="0"/>
              <a:t>年全年零售总仓库存处于较高区间，但呈现缓慢下降趋势。</a:t>
            </a:r>
          </a:p>
        </p:txBody>
      </p:sp>
      <p:cxnSp>
        <p:nvCxnSpPr>
          <p:cNvPr id="2048" name="直接连接符 2047">
            <a:extLst>
              <a:ext uri="{FF2B5EF4-FFF2-40B4-BE49-F238E27FC236}">
                <a16:creationId xmlns:a16="http://schemas.microsoft.com/office/drawing/2014/main" id="{977756EB-51BC-9FC9-0AE4-4BD27EE431B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397125" y="436245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接连接符 152">
            <a:extLst>
              <a:ext uri="{FF2B5EF4-FFF2-40B4-BE49-F238E27FC236}">
                <a16:creationId xmlns:a16="http://schemas.microsoft.com/office/drawing/2014/main" id="{3D86BA23-82AC-89CB-0C7A-64BE0C2149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028949" y="382587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69E7427C-117E-56BC-C7B6-997EB645D1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62362" y="40386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31BBDF1D-384A-CA1B-E5CC-8D290EBDEE9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94187" y="4279900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9" name="直接连接符 2048">
            <a:extLst>
              <a:ext uri="{FF2B5EF4-FFF2-40B4-BE49-F238E27FC236}">
                <a16:creationId xmlns:a16="http://schemas.microsoft.com/office/drawing/2014/main" id="{A165F795-E25E-73C6-34EF-CDE2FFF090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926012" y="41306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9" name="直接连接符 1518">
            <a:extLst>
              <a:ext uri="{FF2B5EF4-FFF2-40B4-BE49-F238E27FC236}">
                <a16:creationId xmlns:a16="http://schemas.microsoft.com/office/drawing/2014/main" id="{DB475FC9-58A8-F50C-7AD4-C76A1BA430D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557837" y="4110038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0" name="直接连接符 2049">
            <a:extLst>
              <a:ext uri="{FF2B5EF4-FFF2-40B4-BE49-F238E27FC236}">
                <a16:creationId xmlns:a16="http://schemas.microsoft.com/office/drawing/2014/main" id="{EDE25A69-B05D-15E3-7AA6-CD653F7DBFD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191249" y="42322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1" name="直接连接符 2050">
            <a:extLst>
              <a:ext uri="{FF2B5EF4-FFF2-40B4-BE49-F238E27FC236}">
                <a16:creationId xmlns:a16="http://schemas.microsoft.com/office/drawing/2014/main" id="{2E9608A4-AA98-2C22-9C43-2579A93B7E1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823075" y="4202113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5" name="直接连接符 1594">
            <a:extLst>
              <a:ext uri="{FF2B5EF4-FFF2-40B4-BE49-F238E27FC236}">
                <a16:creationId xmlns:a16="http://schemas.microsoft.com/office/drawing/2014/main" id="{A73ED295-15B4-2F3B-66BB-F98525C1C7A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454900" y="4211638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6" name="直接连接符 1595">
            <a:extLst>
              <a:ext uri="{FF2B5EF4-FFF2-40B4-BE49-F238E27FC236}">
                <a16:creationId xmlns:a16="http://schemas.microsoft.com/office/drawing/2014/main" id="{C82C9374-0347-8640-AD18-C259C5B53F7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086725" y="3965575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C037236-7A25-F6BC-75AA-289381327B8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720137" y="4105275"/>
            <a:ext cx="3619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8ED125DC-8E1E-27DC-EB0A-84C31B3CE0CC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4851711"/>
              </p:ext>
            </p:extLst>
          </p:nvPr>
        </p:nvGraphicFramePr>
        <p:xfrm>
          <a:off x="1863725" y="3302000"/>
          <a:ext cx="7751763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2"/>
          </a:graphicData>
        </a:graphic>
      </p:graphicFrame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6C73E5F4-8CD7-D890-050A-A55946E0F5B8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H="1">
            <a:off x="8685213" y="3954463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7" name="Text Placeholder 3">
            <a:extLst>
              <a:ext uri="{FF2B5EF4-FFF2-40B4-BE49-F238E27FC236}">
                <a16:creationId xmlns:a16="http://schemas.microsoft.com/office/drawing/2014/main" id="{A46BFC1C-4658-90CF-29A8-271FE24154F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081713" y="403701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A83D8A-D1AD-4341-A1F5-80FA88CB37D8}" type="datetime'''''''''1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8" name="Text Placeholder 3">
            <a:extLst>
              <a:ext uri="{FF2B5EF4-FFF2-40B4-BE49-F238E27FC236}">
                <a16:creationId xmlns:a16="http://schemas.microsoft.com/office/drawing/2014/main" id="{5D29CDBC-FB63-4B98-A1DE-CEF57F320EA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713538" y="4137025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8613C8-3469-4305-A41D-1F416C9D220F}" type="datetime'''''''''''''''''''''''''''''''''0'''''''''''''">
              <a:rPr lang="zh-CN" altLang="en-US" sz="800" smtClean="0">
                <a:effectLst/>
                <a:latin typeface="+mn-lt"/>
                <a:cs typeface="+mn-cs"/>
              </a:rPr>
              <a:pPr/>
              <a:t>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9" name="Text Placeholder 3">
            <a:extLst>
              <a:ext uri="{FF2B5EF4-FFF2-40B4-BE49-F238E27FC236}">
                <a16:creationId xmlns:a16="http://schemas.microsoft.com/office/drawing/2014/main" id="{5E4E0E8C-5937-5531-54CF-473F4F81565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578600" y="415131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AE7C69-9C45-4749-8301-53A95C0D8B93}" type="datetime'''''''''''''''''''''''2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0" name="Text Placeholder 3">
            <a:extLst>
              <a:ext uri="{FF2B5EF4-FFF2-40B4-BE49-F238E27FC236}">
                <a16:creationId xmlns:a16="http://schemas.microsoft.com/office/drawing/2014/main" id="{1EBFC0FC-B017-5C41-EEC2-FC925CF6E4D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7194550" y="4141788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92C2A9C-74D3-4617-9D21-094F41AE2ABF}" type="datetime'''''''''''-''''''''''''''''''''''''1'''''''''''''''''">
              <a:rPr lang="zh-CN" altLang="en-US" sz="800" smtClean="0">
                <a:effectLst/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1" name="Text Placeholder 3">
            <a:extLst>
              <a:ext uri="{FF2B5EF4-FFF2-40B4-BE49-F238E27FC236}">
                <a16:creationId xmlns:a16="http://schemas.microsoft.com/office/drawing/2014/main" id="{EE46F561-2BF6-86A3-F0E4-BEF7311EDDF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7345363" y="413385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251E87-BDEA-4B94-A679-0A4004A7E130}" type="datetime'''''''''''''''''''''''0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4" name="Text Placeholder 3">
            <a:extLst>
              <a:ext uri="{FF2B5EF4-FFF2-40B4-BE49-F238E27FC236}">
                <a16:creationId xmlns:a16="http://schemas.microsoft.com/office/drawing/2014/main" id="{BBCCF612-1129-BBB4-5844-0BA70960BFD5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190750" y="46958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E4FE80-CC75-467F-B845-CBC6EBC2B4B4}" type="datetime'''''''''''''''''54'''''''''''''''''''''''''''''''''">
              <a:rPr lang="zh-CN" altLang="en-US" sz="800" smtClean="0">
                <a:latin typeface="+mn-lt"/>
                <a:cs typeface="+mn-cs"/>
              </a:rPr>
              <a:pPr/>
              <a:t>5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3" name="Text Placeholder 3">
            <a:extLst>
              <a:ext uri="{FF2B5EF4-FFF2-40B4-BE49-F238E27FC236}">
                <a16:creationId xmlns:a16="http://schemas.microsoft.com/office/drawing/2014/main" id="{897F1C59-B104-E769-B6DA-AF5B290FE874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7908925" y="413385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ADFFFC-BFDA-4B72-BD36-6C86CDDF07DD}" type="datetime'''''''''''''''''''2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14" name="Text Placeholder 3">
            <a:extLst>
              <a:ext uri="{FF2B5EF4-FFF2-40B4-BE49-F238E27FC236}">
                <a16:creationId xmlns:a16="http://schemas.microsoft.com/office/drawing/2014/main" id="{92E2C879-E44D-26D2-9B32-2FF5D5573E99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497888" y="3978275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7AD9A0-7974-4016-9F6C-4627702289CC}" type="datetime'-''11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-1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5" name="Text Placeholder 3">
            <a:extLst>
              <a:ext uri="{FF2B5EF4-FFF2-40B4-BE49-F238E27FC236}">
                <a16:creationId xmlns:a16="http://schemas.microsoft.com/office/drawing/2014/main" id="{0959939C-0A28-522F-5D60-C7E1780901F6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8732838" y="3887788"/>
            <a:ext cx="857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E3224D-60BF-4526-AFF8-305F4197DB62}" type="datetime'''''''''''''''''''''''''''''''''''''''''1'''''''''">
              <a:rPr lang="zh-CN" altLang="en-US" sz="800" smtClean="0">
                <a:latin typeface="+mn-lt"/>
                <a:cs typeface="+mn-cs"/>
              </a:rPr>
              <a:pPr/>
              <a:t>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512" name="Text Placeholder 3">
            <a:extLst>
              <a:ext uri="{FF2B5EF4-FFF2-40B4-BE49-F238E27FC236}">
                <a16:creationId xmlns:a16="http://schemas.microsoft.com/office/drawing/2014/main" id="{9012D06D-30C8-3209-7913-C48B67C3E8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9129713" y="43862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F16265-63A4-4019-B93F-1FD0259B50EA}" type="datetime'''''''''''''''''''''''''-''''''''''''''''''1''2'''''''''''''">
              <a:rPr lang="zh-CN" altLang="en-US" sz="800" smtClean="0">
                <a:latin typeface="+mn-lt"/>
                <a:cs typeface="+mn-cs"/>
              </a:rPr>
              <a:pPr/>
              <a:t>-1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7" name="Text Placeholder 3">
            <a:extLst>
              <a:ext uri="{FF2B5EF4-FFF2-40B4-BE49-F238E27FC236}">
                <a16:creationId xmlns:a16="http://schemas.microsoft.com/office/drawing/2014/main" id="{25C57DA6-7F82-0F4F-AD77-F75FE99D7A6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9145588" y="40751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3750E3-7938-488E-A91D-CA4139AD3DD7}" type="datetime'''3''''''''''''''''''''''''''''''''''''0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3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5" name="Text Placeholder 3">
            <a:extLst>
              <a:ext uri="{FF2B5EF4-FFF2-40B4-BE49-F238E27FC236}">
                <a16:creationId xmlns:a16="http://schemas.microsoft.com/office/drawing/2014/main" id="{5C1C629A-FB4A-9DCD-82D7-CB67AA109C26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219325" y="5097463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3792AC-2290-4A53-8A3A-9C2121F65B05}" type="datetime'''''''''''0''''''''''''''''''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6" name="Text Placeholder 3">
            <a:extLst>
              <a:ext uri="{FF2B5EF4-FFF2-40B4-BE49-F238E27FC236}">
                <a16:creationId xmlns:a16="http://schemas.microsoft.com/office/drawing/2014/main" id="{C596882D-6FC7-950A-AE47-E000121672A5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822575" y="39417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8AA59-96EF-4CC9-99EA-43CC33E882D2}" type="datetime'''''''''''''''''''''''''''2''5'''''''''''''''">
              <a:rPr lang="zh-CN" altLang="en-US" sz="800" smtClean="0">
                <a:latin typeface="+mn-lt"/>
                <a:cs typeface="+mn-cs"/>
              </a:rPr>
              <a:pPr/>
              <a:t>2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7" name="Text Placeholder 3">
            <a:extLst>
              <a:ext uri="{FF2B5EF4-FFF2-40B4-BE49-F238E27FC236}">
                <a16:creationId xmlns:a16="http://schemas.microsoft.com/office/drawing/2014/main" id="{4420D0BB-BF1F-19EC-B0A4-93BCE704F5E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2822575" y="42100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A85ED9-AF19-443F-A311-D3464D1C9327}" type="datetime'''''''''1''''''''''''''1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1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98" name="Text Placeholder 3">
            <a:extLst>
              <a:ext uri="{FF2B5EF4-FFF2-40B4-BE49-F238E27FC236}">
                <a16:creationId xmlns:a16="http://schemas.microsoft.com/office/drawing/2014/main" id="{14422C41-DE00-2E40-428B-7BDBD0F319F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440113" y="391318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5E6DF6-7DC6-4522-9889-11D417861F89}" type="datetime'-''''''''''''''''''''''''''''''''''''''''''''''''''2''''''1'''">
              <a:rPr lang="zh-CN" altLang="en-US" sz="800" smtClean="0">
                <a:latin typeface="+mn-lt"/>
                <a:cs typeface="+mn-cs"/>
              </a:rPr>
              <a:pPr/>
              <a:t>-2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99" name="Text Placeholder 3">
            <a:extLst>
              <a:ext uri="{FF2B5EF4-FFF2-40B4-BE49-F238E27FC236}">
                <a16:creationId xmlns:a16="http://schemas.microsoft.com/office/drawing/2014/main" id="{F6B459A7-F615-EED0-4A6B-6AFB43834956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484563" y="3709988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544F5E-5B50-4242-AF04-A1CF7778AF8E}" type="datetime'''''7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0" name="Text Placeholder 3">
            <a:extLst>
              <a:ext uri="{FF2B5EF4-FFF2-40B4-BE49-F238E27FC236}">
                <a16:creationId xmlns:a16="http://schemas.microsoft.com/office/drawing/2014/main" id="{65884DE8-E4B8-56B7-66A1-A6CA9A59D6A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071938" y="4084638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D2F200-BAFF-4810-BE7E-F427F68B5507}" type="datetime'''''''''-''1''''5'''''''''''''''''''''''">
              <a:rPr lang="zh-CN" altLang="en-US" sz="800" smtClean="0">
                <a:latin typeface="+mn-lt"/>
                <a:cs typeface="+mn-cs"/>
              </a:rPr>
              <a:pPr/>
              <a:t>-15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1" name="Text Placeholder 3">
            <a:extLst>
              <a:ext uri="{FF2B5EF4-FFF2-40B4-BE49-F238E27FC236}">
                <a16:creationId xmlns:a16="http://schemas.microsoft.com/office/drawing/2014/main" id="{D27ECED9-C5E6-3DC2-9121-0FE6BFAC639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100513" y="4205288"/>
            <a:ext cx="119063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9676CA-C97C-48AE-BC39-15BDE4BD762A}" type="datetime'-''''''1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2" name="Text Placeholder 3">
            <a:extLst>
              <a:ext uri="{FF2B5EF4-FFF2-40B4-BE49-F238E27FC236}">
                <a16:creationId xmlns:a16="http://schemas.microsoft.com/office/drawing/2014/main" id="{CC4C1301-FFB5-6432-C501-1D8A5373A0DE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816475" y="4106863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F43299E-0C93-44E2-AFE1-AF220DBBE962}" type="datetime'''''''''''''''''''6''''''''''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6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3" name="Text Placeholder 3">
            <a:extLst>
              <a:ext uri="{FF2B5EF4-FFF2-40B4-BE49-F238E27FC236}">
                <a16:creationId xmlns:a16="http://schemas.microsoft.com/office/drawing/2014/main" id="{43C5F107-3657-38DE-B0D7-E78431A033B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681538" y="4181475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B17729-9B4A-45FF-87FE-1F095F72E607}" type="datetime'''''''''''''''''''''''''''''''''''''''4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4" name="Text Placeholder 3">
            <a:extLst>
              <a:ext uri="{FF2B5EF4-FFF2-40B4-BE49-F238E27FC236}">
                <a16:creationId xmlns:a16="http://schemas.microsoft.com/office/drawing/2014/main" id="{DD5FECEA-4FB9-1E7D-E18A-7F8D8A5FA1E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297488" y="4071938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C45A19-240F-47AF-BCEF-4DF6B48D063E}" type="datetime'''''''''''''''''''''''''''-''''''1'''">
              <a:rPr lang="zh-CN" altLang="en-US" sz="800" smtClean="0">
                <a:effectLst/>
                <a:latin typeface="+mn-lt"/>
                <a:cs typeface="+mn-cs"/>
              </a:rPr>
              <a:pPr/>
              <a:t>-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05" name="Text Placeholder 3">
            <a:extLst>
              <a:ext uri="{FF2B5EF4-FFF2-40B4-BE49-F238E27FC236}">
                <a16:creationId xmlns:a16="http://schemas.microsoft.com/office/drawing/2014/main" id="{6816614C-2261-21F9-4CD7-430B5A7828D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448300" y="4044950"/>
            <a:ext cx="85725" cy="1333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11A90A-B2AC-4BE1-B91A-909EFFEC6FA0}" type="datetime'''''''''''''''3''''''''''''''''''''''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06" name="Text Placeholder 3">
            <a:extLst>
              <a:ext uri="{FF2B5EF4-FFF2-40B4-BE49-F238E27FC236}">
                <a16:creationId xmlns:a16="http://schemas.microsoft.com/office/drawing/2014/main" id="{F964BC34-C9C5-D8CF-21E7-DC1A68C87E8B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930900" y="4111625"/>
            <a:ext cx="119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85D1D2-0535-4CA2-AE17-DDE6AC078B43}" type="datetime'''''''''''''''''''''-''''9'''''''''''''''''">
              <a:rPr lang="zh-CN" altLang="en-US" sz="800" smtClean="0">
                <a:latin typeface="+mn-lt"/>
                <a:cs typeface="+mn-cs"/>
              </a:rPr>
              <a:pPr/>
              <a:t>-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212" name="Text Placeholder 3">
            <a:extLst>
              <a:ext uri="{FF2B5EF4-FFF2-40B4-BE49-F238E27FC236}">
                <a16:creationId xmlns:a16="http://schemas.microsoft.com/office/drawing/2014/main" id="{25E61F6C-7940-2C7A-BB7D-7ED850FA6A75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7880350" y="40100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832503-746C-4781-9E6D-1A523F97F33E}" type="datetime'''''''''''''''15'''''''''''''''''''">
              <a:rPr lang="zh-CN" altLang="en-US" sz="800" smtClean="0">
                <a:effectLst/>
                <a:latin typeface="+mn-lt"/>
                <a:cs typeface="+mn-cs"/>
              </a:rPr>
              <a:pPr/>
              <a:t>15</a:t>
            </a:fld>
            <a:endParaRPr lang="zh-CN" altLang="en-US" sz="800" dirty="0">
              <a:latin typeface="+mn-lt"/>
              <a:cs typeface="+mn-cs"/>
            </a:endParaRPr>
          </a:p>
        </p:txBody>
      </p: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0382F9FF-2DA9-EE23-ABB4-795F42D65C8E}"/>
              </a:ext>
            </a:extLst>
          </p:cNvPr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104700126"/>
              </p:ext>
            </p:extLst>
          </p:nvPr>
        </p:nvGraphicFramePr>
        <p:xfrm>
          <a:off x="2454275" y="1906588"/>
          <a:ext cx="6513513" cy="123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3"/>
          </a:graphicData>
        </a:graphic>
      </p:graphicFrame>
      <p:cxnSp>
        <p:nvCxnSpPr>
          <p:cNvPr id="1915" name="直接连接符 1914">
            <a:extLst>
              <a:ext uri="{FF2B5EF4-FFF2-40B4-BE49-F238E27FC236}">
                <a16:creationId xmlns:a16="http://schemas.microsoft.com/office/drawing/2014/main" id="{556810A5-1ED5-31DD-E50C-A26A7DB0483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2536825" y="1989138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6" name="直接连接符 1915">
            <a:extLst>
              <a:ext uri="{FF2B5EF4-FFF2-40B4-BE49-F238E27FC236}">
                <a16:creationId xmlns:a16="http://schemas.microsoft.com/office/drawing/2014/main" id="{7945F6A2-9F38-277D-F5AE-EF96B3C11E5E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4937125" y="1989138"/>
            <a:ext cx="39481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A756F925-930D-133C-BC21-5B7A4C99663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3667125" y="1989138"/>
            <a:ext cx="915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6" name="Text Placeholder 3">
            <a:extLst>
              <a:ext uri="{FF2B5EF4-FFF2-40B4-BE49-F238E27FC236}">
                <a16:creationId xmlns:a16="http://schemas.microsoft.com/office/drawing/2014/main" id="{058313A5-0EFC-F850-8925-ABBD5D963C0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3530600" y="26828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6A5829-00E2-4F1B-8659-88775D53AAB5}" type="datetime'''''''''''''''''''5''''''''''''''''''''''''''''''''''''''''8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90303146-CD91-5A62-9BB6-085A9E75310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316288" y="189230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2B761B-6FF8-47A9-8E0F-4098ABF87323}" type="datetime'''''''''85''''%'''''''''''">
              <a:rPr lang="en-US" altLang="en-US" smtClean="0">
                <a:latin typeface="+mn-lt"/>
                <a:cs typeface="+mn-cs"/>
              </a:rPr>
              <a:pPr/>
              <a:t>8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0" name="Text Placeholder 3">
            <a:extLst>
              <a:ext uri="{FF2B5EF4-FFF2-40B4-BE49-F238E27FC236}">
                <a16:creationId xmlns:a16="http://schemas.microsoft.com/office/drawing/2014/main" id="{A62D9D2E-0539-BC42-9659-99DFC65D701D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3938588" y="27352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94DDD2-8803-496C-92AF-9D79C449EA26}" type="datetime'4''''''''''''''8''''''''''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8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1" name="Text Placeholder 3">
            <a:extLst>
              <a:ext uri="{FF2B5EF4-FFF2-40B4-BE49-F238E27FC236}">
                <a16:creationId xmlns:a16="http://schemas.microsoft.com/office/drawing/2014/main" id="{FAC811EB-B12D-1390-56E5-FC577BF8AE04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165600" y="26495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74B5E4-5C3E-4457-9CC5-9BED883A40DC}" type="datetime'6''''''''''''''''''''''4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2" name="Text Placeholder 3">
            <a:extLst>
              <a:ext uri="{FF2B5EF4-FFF2-40B4-BE49-F238E27FC236}">
                <a16:creationId xmlns:a16="http://schemas.microsoft.com/office/drawing/2014/main" id="{5889A2F9-795A-D383-2D23-CFB5A874C50A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951289" y="176212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EE646E-BCD8-4FF0-8BD7-1A14A4147C09}" type="datetime'''9''''''''7''''''''''''''''''''''''''''%'''''''''''''''">
              <a:rPr lang="en-US" altLang="en-US" smtClean="0">
                <a:latin typeface="+mn-lt"/>
                <a:cs typeface="+mn-cs"/>
              </a:rPr>
              <a:pPr/>
              <a:t>97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60C55FFD-9FE8-A10C-A7D3-CA5764CCB488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4573588" y="25368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D2C6E1-996B-46A7-B227-F774160900FB}" type="datetime'''8''''''''''6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6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5" name="Text Placeholder 3">
            <a:extLst>
              <a:ext uri="{FF2B5EF4-FFF2-40B4-BE49-F238E27FC236}">
                <a16:creationId xmlns:a16="http://schemas.microsoft.com/office/drawing/2014/main" id="{EB9F760C-B8E5-2064-02C2-89469410E215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800600" y="25892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577593-51CA-4BB2-8902-874094C7CB37}" type="datetime'''''''7''''''''''''''''''''''''5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6" name="Text Placeholder 3">
            <a:extLst>
              <a:ext uri="{FF2B5EF4-FFF2-40B4-BE49-F238E27FC236}">
                <a16:creationId xmlns:a16="http://schemas.microsoft.com/office/drawing/2014/main" id="{FF8775EC-9A38-2C66-D0FF-C4924FD3279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4586289" y="1792288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A48D67-C2B6-466B-8100-41204462B412}" type="datetime'''''9''''''''''''''4''''''''''''''''''''''''''%'">
              <a:rPr lang="en-US" altLang="en-US" smtClean="0">
                <a:latin typeface="+mn-lt"/>
                <a:cs typeface="+mn-cs"/>
              </a:rPr>
              <a:pPr/>
              <a:t>9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18" name="Text Placeholder 3">
            <a:extLst>
              <a:ext uri="{FF2B5EF4-FFF2-40B4-BE49-F238E27FC236}">
                <a16:creationId xmlns:a16="http://schemas.microsoft.com/office/drawing/2014/main" id="{FBCB803E-54EC-7A3B-9145-7A6054CAD134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208588" y="260191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567D00-778C-42A5-9A37-D470E3D36FDE}" type="datetime'''''''''''''''''''''''7''''''3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19" name="Text Placeholder 3">
            <a:extLst>
              <a:ext uri="{FF2B5EF4-FFF2-40B4-BE49-F238E27FC236}">
                <a16:creationId xmlns:a16="http://schemas.microsoft.com/office/drawing/2014/main" id="{706EA1C7-0608-9349-5D41-F9CAB7F83433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435600" y="260985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9F18AFE-08F5-4D03-95CC-39C7B79B8F6B}" type="datetime'''''''''''''''''''''''''7''''''''2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0" name="Text Placeholder 3">
            <a:extLst>
              <a:ext uri="{FF2B5EF4-FFF2-40B4-BE49-F238E27FC236}">
                <a16:creationId xmlns:a16="http://schemas.microsoft.com/office/drawing/2014/main" id="{E86B3B8E-37AC-519F-45A3-5BD8642641E6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221289" y="1782763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A12C75-C493-4400-878D-ECE2BBE98B37}" type="datetime'''''9''''''''''''''''''''''''''''''5''%'''''''''''">
              <a:rPr lang="en-US" altLang="en-US" smtClean="0">
                <a:latin typeface="+mn-lt"/>
                <a:cs typeface="+mn-cs"/>
              </a:rPr>
              <a:pPr/>
              <a:t>95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CE952EB7-012F-2155-70B6-F7D7E5AC2462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843588" y="27305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6F13AA-C5F3-465B-81BC-BAE36404AE16}" type="datetime'4''''''''''''''''''''''9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9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93F781B8-58D3-037B-422F-B97F243A4ADD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070600" y="26876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1AFD33-DAAB-4F62-8423-3B0E1D1A8482}" type="datetime'5''''''''''''''''''''''''''''''''''''''''''''''7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3" name="Text Placeholder 3">
            <a:extLst>
              <a:ext uri="{FF2B5EF4-FFF2-40B4-BE49-F238E27FC236}">
                <a16:creationId xmlns:a16="http://schemas.microsoft.com/office/drawing/2014/main" id="{735D4EDA-AD3C-5A72-B819-57EBBCE24CD8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2640014" y="2454275"/>
            <a:ext cx="2000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EA1DBD-5E98-4B00-960D-395FCF5CDE16}" type="datetime'''1''''''''''''''''''''''0''''''''''''''''''1'''''">
              <a:rPr lang="zh-CN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101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6" name="Text Placeholder 3">
            <a:extLst>
              <a:ext uri="{FF2B5EF4-FFF2-40B4-BE49-F238E27FC236}">
                <a16:creationId xmlns:a16="http://schemas.microsoft.com/office/drawing/2014/main" id="{C7F59C0F-9502-E9D5-62BB-F976ECCD8766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477000" y="26003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4D13AA-A287-4B52-9BDF-2A46CA568844}" type="datetime'''''7''''''''''''''''''''''4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7" name="Text Placeholder 3">
            <a:extLst>
              <a:ext uri="{FF2B5EF4-FFF2-40B4-BE49-F238E27FC236}">
                <a16:creationId xmlns:a16="http://schemas.microsoft.com/office/drawing/2014/main" id="{DC60CC83-D9D9-BF20-1864-CA6A97B28642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6704013" y="26114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3A3341-A235-4802-A2D5-C39FE9556B05}" type="datetime'''''''''7''''''2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7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8" name="Text Placeholder 3">
            <a:extLst>
              <a:ext uri="{FF2B5EF4-FFF2-40B4-BE49-F238E27FC236}">
                <a16:creationId xmlns:a16="http://schemas.microsoft.com/office/drawing/2014/main" id="{96ACB3D1-E63C-5146-0E96-44B1BC1BF51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489701" y="17557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7F906E-A26B-4390-9AE1-6659E167293D}" type="datetime'''9''''''''''''''''''''''''''8''''''''''''%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0" name="Text Placeholder 3">
            <a:extLst>
              <a:ext uri="{FF2B5EF4-FFF2-40B4-BE49-F238E27FC236}">
                <a16:creationId xmlns:a16="http://schemas.microsoft.com/office/drawing/2014/main" id="{5BF0E0DB-D8B0-7FBE-D30A-6DFDD08C285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7112000" y="26590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BFB694-75FB-4515-BAEC-9711DA166E42}" type="datetime'''''''''''''''''''''''''6''''''''''''''2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2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1" name="Text Placeholder 3">
            <a:extLst>
              <a:ext uri="{FF2B5EF4-FFF2-40B4-BE49-F238E27FC236}">
                <a16:creationId xmlns:a16="http://schemas.microsoft.com/office/drawing/2014/main" id="{E8DC3E37-AFE7-3ACF-108A-04B32697FC7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7339013" y="2654300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DE527C-8F1B-44DB-A118-93787D244CEA}" type="datetime'''''''''''''''''''''''''''''''''''''''6''''''3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3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2" name="Text Placeholder 3">
            <a:extLst>
              <a:ext uri="{FF2B5EF4-FFF2-40B4-BE49-F238E27FC236}">
                <a16:creationId xmlns:a16="http://schemas.microsoft.com/office/drawing/2014/main" id="{E808FE89-996D-415C-DBB1-0A3FFCE5ABC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7124701" y="175260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01DBF3-67CD-4A6E-A8BE-4A66DEF6E7B0}" type="datetime'''''''''''''''''9''''''''''''''''''''''''''''''''''''8''%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4" name="Text Placeholder 3">
            <a:extLst>
              <a:ext uri="{FF2B5EF4-FFF2-40B4-BE49-F238E27FC236}">
                <a16:creationId xmlns:a16="http://schemas.microsoft.com/office/drawing/2014/main" id="{0574B8A2-DAE9-FA77-CD25-3C79BC310A04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7747000" y="2544763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45569F-6832-48FB-B63C-E01F4A39E988}" type="datetime'''''''''''''''''''''''8''4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8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5" name="Text Placeholder 3">
            <a:extLst>
              <a:ext uri="{FF2B5EF4-FFF2-40B4-BE49-F238E27FC236}">
                <a16:creationId xmlns:a16="http://schemas.microsoft.com/office/drawing/2014/main" id="{1307B519-4FE9-B337-3AC7-44EAE226EDDC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974013" y="26320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BE6B6D-C5E5-4EC7-8DC0-0DDAA45AE72B}" type="datetime'''''''6''''''''''''''''''''''''7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7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36445EF4-EDAE-86E1-A720-9E3036E4FB4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7759701" y="177800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3D858B-E457-42CE-9252-9464A8EF0A8F}" type="datetime'''''''96''''''''''''''''''''''''''''%'''''''''''''''''''''">
              <a:rPr lang="en-US" altLang="en-US" smtClean="0">
                <a:latin typeface="+mn-lt"/>
                <a:cs typeface="+mn-cs"/>
              </a:rPr>
              <a:pPr/>
              <a:t>96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8" name="Text Placeholder 3">
            <a:extLst>
              <a:ext uri="{FF2B5EF4-FFF2-40B4-BE49-F238E27FC236}">
                <a16:creationId xmlns:a16="http://schemas.microsoft.com/office/drawing/2014/main" id="{AE1A4FDE-AEAE-1F18-9776-ECAA66344E31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8382000" y="270033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0786C5-79E5-4880-8E6C-04A043696304}" type="datetime'''''''''''5''''''''''''''5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5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2DD214E2-D172-E416-6654-6285004EEFCC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609013" y="265112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A19D4A-5B55-4348-8EEF-375159AA8DE9}" type="datetime'''6''''''''4''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40" name="Text Placeholder 3">
            <a:extLst>
              <a:ext uri="{FF2B5EF4-FFF2-40B4-BE49-F238E27FC236}">
                <a16:creationId xmlns:a16="http://schemas.microsoft.com/office/drawing/2014/main" id="{F9C7A847-ECDA-65CC-C8B2-3D1C85EBEC3B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394701" y="1758950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4206E2-6FB6-46FD-8FA1-9469A5B4469A}" type="datetime'''''''9''''''''''7''''''''''''''''''''''%'''">
              <a:rPr lang="en-US" altLang="en-US" smtClean="0">
                <a:latin typeface="+mn-lt"/>
                <a:cs typeface="+mn-cs"/>
              </a:rPr>
              <a:pPr/>
              <a:t>97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37" name="Text Placeholder 3">
            <a:extLst>
              <a:ext uri="{FF2B5EF4-FFF2-40B4-BE49-F238E27FC236}">
                <a16:creationId xmlns:a16="http://schemas.microsoft.com/office/drawing/2014/main" id="{36AB1D7E-40D3-61B5-A55C-A396D415FF17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2895600" y="2644775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3E97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FBEF66-F916-453A-862C-CC607ED5547F}" type="datetime'''6''''''''''''''''''''''''''''''5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65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 useBgFill="1">
        <p:nvSpPr>
          <p:cNvPr id="342" name="Text Placeholder 3">
            <a:extLst>
              <a:ext uri="{FF2B5EF4-FFF2-40B4-BE49-F238E27FC236}">
                <a16:creationId xmlns:a16="http://schemas.microsoft.com/office/drawing/2014/main" id="{5F9DF103-C1E2-AA69-9A66-0545A8C8A5E7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2681288" y="2112963"/>
            <a:ext cx="347663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74CF02-5940-42C7-960E-5FDDE06C2AA0}" type="datetime'''''''''''''''''''''''''''''''''64''''''''''''''''%'''">
              <a:rPr lang="en-US" altLang="en-US" smtClean="0">
                <a:effectLst/>
                <a:latin typeface="+mn-lt"/>
                <a:cs typeface="+mn-cs"/>
              </a:rPr>
              <a:pPr/>
              <a:t>64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45" name="Text Placeholder 3">
            <a:extLst>
              <a:ext uri="{FF2B5EF4-FFF2-40B4-BE49-F238E27FC236}">
                <a16:creationId xmlns:a16="http://schemas.microsoft.com/office/drawing/2014/main" id="{A7062455-DCFB-CA90-BAB0-FE5B0F9A7539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3303588" y="2757488"/>
            <a:ext cx="1428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A276E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EA53B1-6F9A-4304-AC80-0DB12CCC03A1}" type="datetime'''''''''''''''''''''4''''''4'''''''''''''''''''''''''''''''''">
              <a:rPr lang="zh-CN" altLang="en-US" sz="800" smtClean="0">
                <a:solidFill>
                  <a:schemeClr val="bg1"/>
                </a:solidFill>
                <a:latin typeface="+mn-lt"/>
                <a:cs typeface="+mn-cs"/>
              </a:rPr>
              <a:pPr/>
              <a:t>44</a:t>
            </a:fld>
            <a:endParaRPr lang="zh-CN" altLang="en-US" sz="8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4" name="Text Placeholder 3">
            <a:extLst>
              <a:ext uri="{FF2B5EF4-FFF2-40B4-BE49-F238E27FC236}">
                <a16:creationId xmlns:a16="http://schemas.microsoft.com/office/drawing/2014/main" id="{74A31F23-C56E-0C58-DE25-C3822C2C7702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5854701" y="1755775"/>
            <a:ext cx="3476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382D83-80F3-409C-AE82-236F7619FEE6}" type="datetime'''''''''''9''''''''''''''''''''''''''''''''''''8''''%'''''">
              <a:rPr lang="en-US" altLang="en-US" smtClean="0">
                <a:latin typeface="+mn-lt"/>
                <a:cs typeface="+mn-cs"/>
              </a:rPr>
              <a:pPr/>
              <a:t>98%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29244B0B-E2EE-A2BC-96A2-0D5A3B3BD02C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534988" y="1703388"/>
            <a:ext cx="214313" cy="160338"/>
          </a:xfrm>
          <a:prstGeom prst="rect">
            <a:avLst/>
          </a:prstGeom>
          <a:solidFill>
            <a:srgbClr val="2A276E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F6F0A072-2ACC-2FDA-F298-4E45DBB5F2F1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534988" y="1955800"/>
            <a:ext cx="214313" cy="160338"/>
          </a:xfrm>
          <a:prstGeom prst="rect">
            <a:avLst/>
          </a:prstGeom>
          <a:solidFill>
            <a:srgbClr val="703E97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352" name="直接连接符 351">
            <a:extLst>
              <a:ext uri="{FF2B5EF4-FFF2-40B4-BE49-F238E27FC236}">
                <a16:creationId xmlns:a16="http://schemas.microsoft.com/office/drawing/2014/main" id="{4263A71F-EC78-DFDC-7D74-6EA9067C3D9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539750" y="2287588"/>
            <a:ext cx="204788" cy="0"/>
          </a:xfrm>
          <a:prstGeom prst="line">
            <a:avLst/>
          </a:prstGeom>
          <a:ln w="9525" cap="rnd" cmpd="sng" algn="ctr">
            <a:solidFill>
              <a:srgbClr val="2A276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16C1316C-83DD-4BA5-36F8-D2FF00F47A16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800100" y="1684338"/>
            <a:ext cx="1219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457CA5-DF6B-4D3B-A29F-3B85D90DB588}" type="datetime'''''''''''工''''''''厂发''''''货毛''''''销''售''''额'''''''''">
              <a:rPr lang="zh-CN" altLang="en-US" smtClean="0">
                <a:latin typeface="+mn-lt"/>
                <a:cs typeface="+mn-cs"/>
              </a:rPr>
              <a:pPr/>
              <a:t>工厂发货毛销售额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4" name="Text Placeholder 3">
            <a:extLst>
              <a:ext uri="{FF2B5EF4-FFF2-40B4-BE49-F238E27FC236}">
                <a16:creationId xmlns:a16="http://schemas.microsoft.com/office/drawing/2014/main" id="{0B7447D7-97E9-1CB1-E4E2-4F70D460CD86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800100" y="1936750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3B6E1-1479-4E51-BABB-08BC73010B70}" type="datetime'''''''''''''渠''''''道''''''''''''''''''''购''''进'''''''''''''''">
              <a:rPr lang="zh-CN" altLang="en-US" smtClean="0">
                <a:latin typeface="+mn-lt"/>
                <a:cs typeface="+mn-cs"/>
              </a:rPr>
              <a:pPr/>
              <a:t>渠道购进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355" name="Text Placeholder 3">
            <a:extLst>
              <a:ext uri="{FF2B5EF4-FFF2-40B4-BE49-F238E27FC236}">
                <a16:creationId xmlns:a16="http://schemas.microsoft.com/office/drawing/2014/main" id="{B8F8C981-C881-6238-8329-8E7159CC921D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00100" y="2189163"/>
            <a:ext cx="1676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140C9C-FF69-452C-8E31-CD8421CAC60A}" type="datetime'''Y''TD''渠''道''购''''''进''''''v''''s工厂''''''发''''''''货'''">
              <a:rPr lang="en-US" altLang="en-US" smtClean="0">
                <a:solidFill>
                  <a:srgbClr val="000000"/>
                </a:solidFill>
                <a:latin typeface="+mn-lt"/>
                <a:cs typeface="+mn-cs"/>
              </a:rPr>
              <a:pPr/>
              <a:t>YTD渠道购进vs工厂发货</a:t>
            </a:fld>
            <a:endParaRPr lang="zh-CN" altLang="en-US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94" name="矩形 993">
            <a:extLst>
              <a:ext uri="{FF2B5EF4-FFF2-40B4-BE49-F238E27FC236}">
                <a16:creationId xmlns:a16="http://schemas.microsoft.com/office/drawing/2014/main" id="{7E5DB600-4581-A55C-766C-739E5A0FADBC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534988" y="3403600"/>
            <a:ext cx="214313" cy="160338"/>
          </a:xfrm>
          <a:prstGeom prst="rect">
            <a:avLst/>
          </a:prstGeom>
          <a:solidFill>
            <a:srgbClr val="FBF0B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5" name="矩形 994">
            <a:extLst>
              <a:ext uri="{FF2B5EF4-FFF2-40B4-BE49-F238E27FC236}">
                <a16:creationId xmlns:a16="http://schemas.microsoft.com/office/drawing/2014/main" id="{32DA3477-12F9-F65F-2D29-8DD22FC19F08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534988" y="3656013"/>
            <a:ext cx="214313" cy="160338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990" name="Text Placeholder 3">
            <a:extLst>
              <a:ext uri="{FF2B5EF4-FFF2-40B4-BE49-F238E27FC236}">
                <a16:creationId xmlns:a16="http://schemas.microsoft.com/office/drawing/2014/main" id="{2D030DE9-1EAC-6CEF-A758-6B0AB98021B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00100" y="3384550"/>
            <a:ext cx="117633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DF636F-AAF3-4ABF-BA4E-2A6191008157}" type="datetime'''D''''''''''''''''''''''DI''直连''''库''''存''变''''''''''化'''''''">
              <a:rPr lang="en-US" altLang="en-US" smtClean="0">
                <a:effectLst/>
                <a:latin typeface="+mn-lt"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DI直连库存变化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992" name="Text Placeholder 3">
            <a:extLst>
              <a:ext uri="{FF2B5EF4-FFF2-40B4-BE49-F238E27FC236}">
                <a16:creationId xmlns:a16="http://schemas.microsoft.com/office/drawing/2014/main" id="{7C1FC966-970A-A496-42C8-F1ED0CB614CE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00100" y="3636963"/>
            <a:ext cx="6096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9867E8B-39B1-4ABC-B206-0638DEFE9343}" type="datetime'''''''不''''''''''可''''''''''''''''''''追''''''''''踪'''''">
              <a:rPr lang="zh-CN" altLang="en-US" smtClean="0">
                <a:latin typeface="+mn-lt"/>
                <a:cs typeface="+mn-cs"/>
              </a:rPr>
              <a:pPr/>
              <a:t>不可追踪</a:t>
            </a:fld>
            <a:endParaRPr lang="zh-CN" altLang="en-US" dirty="0">
              <a:latin typeface="+mn-lt"/>
              <a:cs typeface="+mn-cs"/>
            </a:endParaRPr>
          </a:p>
        </p:txBody>
      </p:sp>
      <p:graphicFrame>
        <p:nvGraphicFramePr>
          <p:cNvPr id="1868" name="Chart 3">
            <a:extLst>
              <a:ext uri="{FF2B5EF4-FFF2-40B4-BE49-F238E27FC236}">
                <a16:creationId xmlns:a16="http://schemas.microsoft.com/office/drawing/2014/main" id="{A665299D-D91C-F851-318A-933DB46ED4C1}"/>
              </a:ext>
            </a:extLst>
          </p:cNvPr>
          <p:cNvGraphicFramePr/>
          <p:nvPr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2949958973"/>
              </p:ext>
            </p:extLst>
          </p:nvPr>
        </p:nvGraphicFramePr>
        <p:xfrm>
          <a:off x="2120900" y="4443413"/>
          <a:ext cx="6704013" cy="158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4"/>
          </a:graphicData>
        </a:graphic>
      </p:graphicFrame>
      <p:cxnSp>
        <p:nvCxnSpPr>
          <p:cNvPr id="1416" name="直接连接符 1415">
            <a:extLst>
              <a:ext uri="{FF2B5EF4-FFF2-40B4-BE49-F238E27FC236}">
                <a16:creationId xmlns:a16="http://schemas.microsoft.com/office/drawing/2014/main" id="{72D85A7C-D068-4FDE-7721-9FFD5EE00CF7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2238375" y="5183188"/>
            <a:ext cx="18446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1" name="直接连接符 1860">
            <a:extLst>
              <a:ext uri="{FF2B5EF4-FFF2-40B4-BE49-F238E27FC236}">
                <a16:creationId xmlns:a16="http://schemas.microsoft.com/office/drawing/2014/main" id="{15660DEE-4916-933D-E2C2-A4D09FBA11D1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4276725" y="5183188"/>
            <a:ext cx="1100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4" name="直接连接符 1473">
            <a:extLst>
              <a:ext uri="{FF2B5EF4-FFF2-40B4-BE49-F238E27FC236}">
                <a16:creationId xmlns:a16="http://schemas.microsoft.com/office/drawing/2014/main" id="{967E8F84-C6F1-30BA-DDED-462B5D7B17E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570538" y="5183188"/>
            <a:ext cx="3136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7" name="直接连接符 1426">
            <a:extLst>
              <a:ext uri="{FF2B5EF4-FFF2-40B4-BE49-F238E27FC236}">
                <a16:creationId xmlns:a16="http://schemas.microsoft.com/office/drawing/2014/main" id="{8CD1BFBD-29D4-7EFA-3730-7685282ECB0D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2335213" y="5632450"/>
            <a:ext cx="6372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6" name="直接连接符 1855">
            <a:extLst>
              <a:ext uri="{FF2B5EF4-FFF2-40B4-BE49-F238E27FC236}">
                <a16:creationId xmlns:a16="http://schemas.microsoft.com/office/drawing/2014/main" id="{D1BA9907-3658-82E5-F2ED-A6180F1B2854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6767513" y="55070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44E8E06-7A8F-3954-A4AA-EE20FECFFF3B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2238375" y="53419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036720A8-6C47-441D-7C79-B2E3C097705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6119813" y="548798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D3FC26B7-159F-8978-6453-5F5B3488596A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5473700" y="54356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2" name="直接连接符 1461">
            <a:extLst>
              <a:ext uri="{FF2B5EF4-FFF2-40B4-BE49-F238E27FC236}">
                <a16:creationId xmlns:a16="http://schemas.microsoft.com/office/drawing/2014/main" id="{B25EED74-3BE6-1A25-FFAA-ED5F7EF0AB47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6119813" y="53975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F626354A-02F7-D8D1-C43E-6F2AA2506D97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4179888" y="5448300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920FA605-E38D-0766-1BEA-D0809D4F30B1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4179888" y="52038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8" name="直接连接符 1857">
            <a:extLst>
              <a:ext uri="{FF2B5EF4-FFF2-40B4-BE49-F238E27FC236}">
                <a16:creationId xmlns:a16="http://schemas.microsoft.com/office/drawing/2014/main" id="{0D4B99E3-DB56-6849-EF97-337EA1B0324A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7413625" y="54832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9" name="直接连接符 1858">
            <a:extLst>
              <a:ext uri="{FF2B5EF4-FFF2-40B4-BE49-F238E27FC236}">
                <a16:creationId xmlns:a16="http://schemas.microsoft.com/office/drawing/2014/main" id="{FD8FF0CA-37CF-D887-74DE-07CF29094DE7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8061325" y="520541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9" name="直接连接符 1818">
            <a:extLst>
              <a:ext uri="{FF2B5EF4-FFF2-40B4-BE49-F238E27FC236}">
                <a16:creationId xmlns:a16="http://schemas.microsoft.com/office/drawing/2014/main" id="{89A23327-5608-B9B1-48B6-09A5B94BD12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8707438" y="54451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5" name="直接连接符 1864">
            <a:extLst>
              <a:ext uri="{FF2B5EF4-FFF2-40B4-BE49-F238E27FC236}">
                <a16:creationId xmlns:a16="http://schemas.microsoft.com/office/drawing/2014/main" id="{FE1E9853-6D1A-B025-F3F5-1712368E4245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2886075" y="5040313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6" name="直接连接符 1865">
            <a:extLst>
              <a:ext uri="{FF2B5EF4-FFF2-40B4-BE49-F238E27FC236}">
                <a16:creationId xmlns:a16="http://schemas.microsoft.com/office/drawing/2014/main" id="{E4A51DBB-36B4-8FC1-AF4E-233C2839F310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2886075" y="50260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7" name="直接连接符 1866">
            <a:extLst>
              <a:ext uri="{FF2B5EF4-FFF2-40B4-BE49-F238E27FC236}">
                <a16:creationId xmlns:a16="http://schemas.microsoft.com/office/drawing/2014/main" id="{B83B551F-380A-061F-E558-DBFABC036034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3532188" y="5318125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442" name="Text Placeholder 3">
            <a:extLst>
              <a:ext uri="{FF2B5EF4-FFF2-40B4-BE49-F238E27FC236}">
                <a16:creationId xmlns:a16="http://schemas.microsoft.com/office/drawing/2014/main" id="{00445C12-10C4-A371-D4EA-BD360FAE32DA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gray">
          <a:xfrm>
            <a:off x="2152650" y="5270500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CC03CA-C9FF-4B9A-9019-818032F37984}" type="datetime'''''''1''''''''''''''''.''''''''''''9'''">
              <a:rPr lang="zh-CN" altLang="en-US" sz="800" smtClean="0">
                <a:effectLst/>
                <a:latin typeface="+mn-lt"/>
                <a:cs typeface="+mn-cs"/>
              </a:rPr>
              <a:pPr/>
              <a:t>1.9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6" name="Text Placeholder 3">
            <a:extLst>
              <a:ext uri="{FF2B5EF4-FFF2-40B4-BE49-F238E27FC236}">
                <a16:creationId xmlns:a16="http://schemas.microsoft.com/office/drawing/2014/main" id="{D0AD0539-7B6F-111C-ED13-D1B443ABA2B3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gray">
          <a:xfrm>
            <a:off x="7327900" y="53498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C8760F-EBF1-4648-942D-99C2C4BC7E8C}" type="datetime'''''''''''''''1''''''''''''''''''.''''''''''''''2'''''''''''">
              <a:rPr lang="zh-CN" altLang="en-US" sz="800" smtClean="0">
                <a:effectLst/>
                <a:latin typeface="+mn-lt"/>
                <a:cs typeface="+mn-cs"/>
              </a:rPr>
              <a:pPr/>
              <a:t>1.2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0" name="Text Placeholder 3">
            <a:extLst>
              <a:ext uri="{FF2B5EF4-FFF2-40B4-BE49-F238E27FC236}">
                <a16:creationId xmlns:a16="http://schemas.microsoft.com/office/drawing/2014/main" id="{02F6331E-5D73-6E69-0D56-C4DE5D68572C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gray">
          <a:xfrm>
            <a:off x="2152650" y="52085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AE9587-15B3-4E11-9976-F5BCB7DCFB23}" type="datetime'''''''''''''''''''''''1''''''''''''''''''''''.''''''''''7'">
              <a:rPr lang="zh-CN" altLang="en-US" sz="800" smtClean="0">
                <a:effectLst/>
                <a:latin typeface="+mn-lt"/>
                <a:cs typeface="+mn-cs"/>
              </a:rPr>
              <a:pPr/>
              <a:t>1.7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9" name="Text Placeholder 3">
            <a:extLst>
              <a:ext uri="{FF2B5EF4-FFF2-40B4-BE49-F238E27FC236}">
                <a16:creationId xmlns:a16="http://schemas.microsoft.com/office/drawing/2014/main" id="{C5C70E6E-BFEB-1045-1E13-15AAB372D0B9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72358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5776E9-47F3-4212-96FA-71B38A8F640C}" type="datetime'''''''''''''''2''0''''250''''''''''''''''''8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8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1" name="Text Placeholder 3">
            <a:extLst>
              <a:ext uri="{FF2B5EF4-FFF2-40B4-BE49-F238E27FC236}">
                <a16:creationId xmlns:a16="http://schemas.microsoft.com/office/drawing/2014/main" id="{AD047B8F-920B-5600-6840-3C274E6980C6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2130425" y="5876925"/>
            <a:ext cx="2159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2B8EE8-7224-4754-A9CC-53CAB6AC204E}" type="datetime'''''''''''''''''''''''''''''''''''''''''''期初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期初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0" name="Text Placeholder 3">
            <a:extLst>
              <a:ext uri="{FF2B5EF4-FFF2-40B4-BE49-F238E27FC236}">
                <a16:creationId xmlns:a16="http://schemas.microsoft.com/office/drawing/2014/main" id="{91F5A5A7-2825-7668-8E0A-E582189F05C5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788352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97B0DD-4030-4D50-AAC7-69F18E97BB76}" type="datetime'''''''''2''''''02''5''''''''''0''''''''''''''''9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9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2" name="Text Placeholder 3">
            <a:extLst>
              <a:ext uri="{FF2B5EF4-FFF2-40B4-BE49-F238E27FC236}">
                <a16:creationId xmlns:a16="http://schemas.microsoft.com/office/drawing/2014/main" id="{6DC21B57-A2D3-D89A-22E6-3EBF752375C8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2708275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3552FFA-1A46-4A78-B017-884DCF091468}" type="datetime'''''''''''''2''''''''''''''''''''''''''0''''2''''50''''1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91" name="Text Placeholder 3">
            <a:extLst>
              <a:ext uri="{FF2B5EF4-FFF2-40B4-BE49-F238E27FC236}">
                <a16:creationId xmlns:a16="http://schemas.microsoft.com/office/drawing/2014/main" id="{C50F3DAA-EFE1-8572-5206-F1A4416A7C6F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852963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45053E-0588-4E4C-808D-51FAB22641C3}" type="datetime'''2''''0''''''''''2''5''''''''''''''''1''''''0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3" name="Text Placeholder 3">
            <a:extLst>
              <a:ext uri="{FF2B5EF4-FFF2-40B4-BE49-F238E27FC236}">
                <a16:creationId xmlns:a16="http://schemas.microsoft.com/office/drawing/2014/main" id="{3EDE77E4-6C85-3185-A84F-4AA13F641CDB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33543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6BA08A-6AF5-4480-9966-0067E85EF545}" type="datetime'''''''''''''''''''''''''''''20''2''5''''0''2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4" name="Text Placeholder 3">
            <a:extLst>
              <a:ext uri="{FF2B5EF4-FFF2-40B4-BE49-F238E27FC236}">
                <a16:creationId xmlns:a16="http://schemas.microsoft.com/office/drawing/2014/main" id="{BF771EE0-A3E5-68C6-1A6D-0EFEE0E2CFC9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4002088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C82DDE-C291-4F0B-96D6-A11B1B90769C}" type="datetime'''''''2''''''''''''0''''''''2''5''''''''''''''''0''''''''3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3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5" name="Text Placeholder 3">
            <a:extLst>
              <a:ext uri="{FF2B5EF4-FFF2-40B4-BE49-F238E27FC236}">
                <a16:creationId xmlns:a16="http://schemas.microsoft.com/office/drawing/2014/main" id="{AB1D084B-48F0-C954-DD65-F56B3845EBA5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46482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E7C4DF-FCE3-4544-BF71-14BFF5756E56}" type="datetime'''''''''''''''''''''''2025''''''''''0''''''''''''''''4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6" name="Text Placeholder 3">
            <a:extLst>
              <a:ext uri="{FF2B5EF4-FFF2-40B4-BE49-F238E27FC236}">
                <a16:creationId xmlns:a16="http://schemas.microsoft.com/office/drawing/2014/main" id="{2C544DAD-0BC2-0C32-FDFD-31AC14873EF1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5295900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778931-24D9-4752-BDE8-CDD886109C7E}" type="datetime'''''''''''''''2''0''''''''2''''50''''''5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5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63" name="Text Placeholder 3">
            <a:extLst>
              <a:ext uri="{FF2B5EF4-FFF2-40B4-BE49-F238E27FC236}">
                <a16:creationId xmlns:a16="http://schemas.microsoft.com/office/drawing/2014/main" id="{EDE88964-CC94-0196-1AC7-C6A0A8D489E9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gray">
          <a:xfrm>
            <a:off x="7975600" y="5072063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EE6264-BC11-40A1-8A9E-D016939E1E23}" type="datetime'''''''2''''''''''''''''.''''2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2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1864" name="Text Placeholder 3">
            <a:extLst>
              <a:ext uri="{FF2B5EF4-FFF2-40B4-BE49-F238E27FC236}">
                <a16:creationId xmlns:a16="http://schemas.microsoft.com/office/drawing/2014/main" id="{EB7D7D57-9140-2382-7CD3-FC687894D372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gray">
          <a:xfrm>
            <a:off x="8621713" y="5311775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0EB0FF9-C0C2-42F9-BF31-FF41645E226F}" type="datetime'''''''''''''''''''''''1''.''''''''''''''''3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3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3" name="Text Placeholder 3">
            <a:extLst>
              <a:ext uri="{FF2B5EF4-FFF2-40B4-BE49-F238E27FC236}">
                <a16:creationId xmlns:a16="http://schemas.microsoft.com/office/drawing/2014/main" id="{D416A439-F437-CB7D-5D8F-C9C806308A88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gray">
          <a:xfrm>
            <a:off x="6034088" y="535463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3BEDB6-8B73-407C-A848-1E62F74AFECF}" type="datetime'''''''''''''''''''''''''''''''''''1''.2''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1.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7" name="Text Placeholder 3">
            <a:extLst>
              <a:ext uri="{FF2B5EF4-FFF2-40B4-BE49-F238E27FC236}">
                <a16:creationId xmlns:a16="http://schemas.microsoft.com/office/drawing/2014/main" id="{807F5679-15B8-4C76-DCA3-2ED29ECFCF51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59420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B8C014-1559-43C2-979E-36B3C2619C3D}" type="datetime'''20''''''''''2''''''''''50''''''''''''''''''''6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6</a:t>
            </a:fld>
            <a:endParaRPr lang="zh-CN" altLang="en-US" sz="800" dirty="0">
              <a:latin typeface="+mn-lt"/>
              <a:cs typeface="+mn-cs"/>
            </a:endParaRPr>
          </a:p>
        </p:txBody>
      </p:sp>
      <p:sp useBgFill="1">
        <p:nvSpPr>
          <p:cNvPr id="54" name="Text Placeholder 3">
            <a:extLst>
              <a:ext uri="{FF2B5EF4-FFF2-40B4-BE49-F238E27FC236}">
                <a16:creationId xmlns:a16="http://schemas.microsoft.com/office/drawing/2014/main" id="{77D4B05C-BCC1-6709-C059-13F84D9F7770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6681788" y="5373688"/>
            <a:ext cx="171450" cy="133350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DAD826-CD0F-4895-8D29-0DBEE912EB3D}" type="datetime'''''''''''''1''''''''''''''''''''''''''''.''''''1'''''''''">
              <a:rPr lang="zh-CN" altLang="en-US" sz="800" smtClean="0">
                <a:effectLst/>
                <a:latin typeface="+mn-lt"/>
                <a:cs typeface="+mn-cs"/>
              </a:rPr>
              <a:pPr/>
              <a:t>1.1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88" name="Text Placeholder 3">
            <a:extLst>
              <a:ext uri="{FF2B5EF4-FFF2-40B4-BE49-F238E27FC236}">
                <a16:creationId xmlns:a16="http://schemas.microsoft.com/office/drawing/2014/main" id="{03480C23-7FC1-2FF7-BC97-25519BB18339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6589713" y="5876925"/>
            <a:ext cx="3556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394C60-59A6-4ED9-9B70-AEDEE7E95299}" type="datetime'''''''''''''2''0''''''''''''''''''2''''''''5''0''''''7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07</a:t>
            </a:fld>
            <a:endParaRPr lang="zh-CN" altLang="en-US" sz="800" dirty="0">
              <a:latin typeface="+mn-lt"/>
              <a:cs typeface="+mn-cs"/>
            </a:endParaRPr>
          </a:p>
        </p:txBody>
      </p:sp>
      <p:cxnSp>
        <p:nvCxnSpPr>
          <p:cNvPr id="1381" name="直接连接符 1380">
            <a:extLst>
              <a:ext uri="{FF2B5EF4-FFF2-40B4-BE49-F238E27FC236}">
                <a16:creationId xmlns:a16="http://schemas.microsoft.com/office/drawing/2014/main" id="{60F9A687-49A7-9139-83E6-DE0BDC247892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579438" y="4732338"/>
            <a:ext cx="195263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2" name="直接连接符 1381">
            <a:extLst>
              <a:ext uri="{FF2B5EF4-FFF2-40B4-BE49-F238E27FC236}">
                <a16:creationId xmlns:a16="http://schemas.microsoft.com/office/drawing/2014/main" id="{81D9BC2E-43BF-0B4D-346D-E07E1572AC4E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579438" y="4984750"/>
            <a:ext cx="1952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3" name="直接连接符 1382">
            <a:extLst>
              <a:ext uri="{FF2B5EF4-FFF2-40B4-BE49-F238E27FC236}">
                <a16:creationId xmlns:a16="http://schemas.microsoft.com/office/drawing/2014/main" id="{06C80ABB-ADE7-9188-D748-6A0BB890BA72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579438" y="5237163"/>
            <a:ext cx="1952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6" name="Text Placeholder 3">
            <a:extLst>
              <a:ext uri="{FF2B5EF4-FFF2-40B4-BE49-F238E27FC236}">
                <a16:creationId xmlns:a16="http://schemas.microsoft.com/office/drawing/2014/main" id="{2B4EDBBB-72E6-B151-182E-B189521C5BAC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835025" y="4633913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5F75AF-EED2-4C71-89CF-2BA43B8E6494}" type="datetime'一''''''''级''商''''库''''''''''''''''''''''存'''''''">
              <a:rPr lang="zh-CN" altLang="en-US" smtClean="0">
                <a:latin typeface="+mn-lt"/>
                <a:cs typeface="+mn-cs"/>
              </a:rPr>
              <a:pPr/>
              <a:t>一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8" name="Text Placeholder 3">
            <a:extLst>
              <a:ext uri="{FF2B5EF4-FFF2-40B4-BE49-F238E27FC236}">
                <a16:creationId xmlns:a16="http://schemas.microsoft.com/office/drawing/2014/main" id="{BD933162-8B62-1004-8AE5-8CA06E5D7DE9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835025" y="4886325"/>
            <a:ext cx="7620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B8905D-1D53-47FE-8670-CB43BF969431}" type="datetime'二''级''''''''''商''''''''''''库''''''''''存'''''''">
              <a:rPr lang="zh-CN" altLang="en-US" smtClean="0">
                <a:latin typeface="+mn-lt"/>
                <a:cs typeface="+mn-cs"/>
              </a:rPr>
              <a:pPr/>
              <a:t>二级商库存</a:t>
            </a:fld>
            <a:endParaRPr lang="zh-CN" altLang="en-US" dirty="0">
              <a:latin typeface="+mn-lt"/>
              <a:cs typeface="+mn-cs"/>
            </a:endParaRPr>
          </a:p>
        </p:txBody>
      </p:sp>
      <p:sp>
        <p:nvSpPr>
          <p:cNvPr id="1379" name="Text Placeholder 3">
            <a:extLst>
              <a:ext uri="{FF2B5EF4-FFF2-40B4-BE49-F238E27FC236}">
                <a16:creationId xmlns:a16="http://schemas.microsoft.com/office/drawing/2014/main" id="{9ECFB1DA-48A2-EF26-C44B-C3EC1ABE4988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835025" y="5138738"/>
            <a:ext cx="9144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C8B23EA-FC27-4AED-B67E-A1038C9D3912}" type="datetime'''''''零售''''''''''''总仓''''库''''''''''''存'''''''''''''''''''">
              <a:rPr lang="zh-CN" altLang="en-US" smtClean="0">
                <a:latin typeface="+mn-lt"/>
                <a:cs typeface="+mn-cs"/>
              </a:rPr>
              <a:pPr/>
              <a:t>零售总仓库存</a:t>
            </a:fld>
            <a:endParaRPr lang="zh-CN" altLang="en-US" dirty="0">
              <a:latin typeface="+mn-lt"/>
              <a:cs typeface="+mn-cs"/>
            </a:endParaRPr>
          </a:p>
        </p:txBody>
      </p:sp>
      <p:grpSp>
        <p:nvGrpSpPr>
          <p:cNvPr id="1586" name="组合 1585">
            <a:extLst>
              <a:ext uri="{FF2B5EF4-FFF2-40B4-BE49-F238E27FC236}">
                <a16:creationId xmlns:a16="http://schemas.microsoft.com/office/drawing/2014/main" id="{17521993-3004-041B-D281-F1D4635F3E5B}"/>
              </a:ext>
            </a:extLst>
          </p:cNvPr>
          <p:cNvGrpSpPr/>
          <p:nvPr/>
        </p:nvGrpSpPr>
        <p:grpSpPr>
          <a:xfrm>
            <a:off x="493713" y="1119188"/>
            <a:ext cx="3165475" cy="371475"/>
            <a:chOff x="306388" y="1178112"/>
            <a:chExt cx="3165522" cy="372502"/>
          </a:xfrm>
        </p:grpSpPr>
        <p:sp>
          <p:nvSpPr>
            <p:cNvPr id="1578" name="矩形 1577">
              <a:extLst>
                <a:ext uri="{FF2B5EF4-FFF2-40B4-BE49-F238E27FC236}">
                  <a16:creationId xmlns:a16="http://schemas.microsoft.com/office/drawing/2014/main" id="{7900D605-FFA7-E8F5-8494-4FDDE17D3C2B}"/>
                </a:ext>
              </a:extLst>
            </p:cNvPr>
            <p:cNvSpPr/>
            <p:nvPr/>
          </p:nvSpPr>
          <p:spPr>
            <a:xfrm>
              <a:off x="306388" y="1178112"/>
              <a:ext cx="1705769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工厂发货</a:t>
              </a:r>
              <a:r>
                <a:rPr lang="en-US" altLang="zh-CN" sz="1200" b="1" dirty="0">
                  <a:solidFill>
                    <a:schemeClr val="tx2"/>
                  </a:solidFill>
                </a:rPr>
                <a:t>vs</a:t>
              </a:r>
              <a:r>
                <a:rPr lang="zh-CN" altLang="en-US" sz="1200" b="1" dirty="0">
                  <a:solidFill>
                    <a:schemeClr val="tx2"/>
                  </a:solidFill>
                </a:rPr>
                <a:t>渠道购进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79" name="直接连接符 1578">
              <a:extLst>
                <a:ext uri="{FF2B5EF4-FFF2-40B4-BE49-F238E27FC236}">
                  <a16:creationId xmlns:a16="http://schemas.microsoft.com/office/drawing/2014/main" id="{97807D47-458E-EBD7-1500-294BE7EF6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8" name="组合 1587">
            <a:extLst>
              <a:ext uri="{FF2B5EF4-FFF2-40B4-BE49-F238E27FC236}">
                <a16:creationId xmlns:a16="http://schemas.microsoft.com/office/drawing/2014/main" id="{CEB69FB3-FA67-36AE-1790-83E5C8C40DDA}"/>
              </a:ext>
            </a:extLst>
          </p:cNvPr>
          <p:cNvGrpSpPr/>
          <p:nvPr/>
        </p:nvGrpSpPr>
        <p:grpSpPr>
          <a:xfrm>
            <a:off x="412750" y="2800350"/>
            <a:ext cx="3165475" cy="373063"/>
            <a:chOff x="306388" y="1178112"/>
            <a:chExt cx="3165522" cy="372502"/>
          </a:xfrm>
        </p:grpSpPr>
        <p:sp>
          <p:nvSpPr>
            <p:cNvPr id="1589" name="矩形 1588">
              <a:extLst>
                <a:ext uri="{FF2B5EF4-FFF2-40B4-BE49-F238E27FC236}">
                  <a16:creationId xmlns:a16="http://schemas.microsoft.com/office/drawing/2014/main" id="{08F3CF51-65F2-8F3A-1522-C930B9FC8F63}"/>
                </a:ext>
              </a:extLst>
            </p:cNvPr>
            <p:cNvSpPr/>
            <p:nvPr/>
          </p:nvSpPr>
          <p:spPr>
            <a:xfrm>
              <a:off x="306388" y="1178112"/>
              <a:ext cx="1594363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货物在渠道的流向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90" name="直接连接符 1589">
              <a:extLst>
                <a:ext uri="{FF2B5EF4-FFF2-40B4-BE49-F238E27FC236}">
                  <a16:creationId xmlns:a16="http://schemas.microsoft.com/office/drawing/2014/main" id="{E8A92D77-90DA-282B-972A-2A483D87E1CF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4" name="组合 1603">
            <a:extLst>
              <a:ext uri="{FF2B5EF4-FFF2-40B4-BE49-F238E27FC236}">
                <a16:creationId xmlns:a16="http://schemas.microsoft.com/office/drawing/2014/main" id="{CAC77667-D6BB-F83B-AA16-FAE5D5B780AA}"/>
              </a:ext>
            </a:extLst>
          </p:cNvPr>
          <p:cNvGrpSpPr/>
          <p:nvPr/>
        </p:nvGrpSpPr>
        <p:grpSpPr>
          <a:xfrm>
            <a:off x="480653" y="4067083"/>
            <a:ext cx="3138847" cy="363631"/>
            <a:chOff x="333016" y="1185978"/>
            <a:chExt cx="3138894" cy="364636"/>
          </a:xfrm>
        </p:grpSpPr>
        <p:sp>
          <p:nvSpPr>
            <p:cNvPr id="1605" name="矩形 1604">
              <a:extLst>
                <a:ext uri="{FF2B5EF4-FFF2-40B4-BE49-F238E27FC236}">
                  <a16:creationId xmlns:a16="http://schemas.microsoft.com/office/drawing/2014/main" id="{3E8A6A9C-8A93-C9A9-290D-B8600D71C480}"/>
                </a:ext>
              </a:extLst>
            </p:cNvPr>
            <p:cNvSpPr/>
            <p:nvPr/>
          </p:nvSpPr>
          <p:spPr>
            <a:xfrm>
              <a:off x="333016" y="1185978"/>
              <a:ext cx="941434" cy="3429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zh-CN" altLang="en-US" sz="1200" b="1" dirty="0">
                  <a:solidFill>
                    <a:schemeClr val="tx2"/>
                  </a:solidFill>
                </a:rPr>
                <a:t>库存周数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606" name="直接连接符 1605">
              <a:extLst>
                <a:ext uri="{FF2B5EF4-FFF2-40B4-BE49-F238E27FC236}">
                  <a16:creationId xmlns:a16="http://schemas.microsoft.com/office/drawing/2014/main" id="{B2AA8A47-5191-DC77-8B5E-80903A146812}"/>
                </a:ext>
              </a:extLst>
            </p:cNvPr>
            <p:cNvCxnSpPr>
              <a:cxnSpLocks/>
            </p:cNvCxnSpPr>
            <p:nvPr/>
          </p:nvCxnSpPr>
          <p:spPr>
            <a:xfrm>
              <a:off x="412797" y="1550614"/>
              <a:ext cx="3059113" cy="0"/>
            </a:xfrm>
            <a:prstGeom prst="line">
              <a:avLst/>
            </a:prstGeom>
            <a:ln w="38100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7" name="直接连接符 1476">
            <a:extLst>
              <a:ext uri="{FF2B5EF4-FFF2-40B4-BE49-F238E27FC236}">
                <a16:creationId xmlns:a16="http://schemas.microsoft.com/office/drawing/2014/main" id="{152B86F5-FAEA-60A6-7C19-C68CC06B21E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>
            <a:off x="9367838" y="2562225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5" name="直接连接符 1004">
            <a:extLst>
              <a:ext uri="{FF2B5EF4-FFF2-40B4-BE49-F238E27FC236}">
                <a16:creationId xmlns:a16="http://schemas.microsoft.com/office/drawing/2014/main" id="{938B6BE6-FD07-85B5-162A-2021870C89B9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>
            <a:off x="9955213" y="2840038"/>
            <a:ext cx="292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2" name="直接连接符 1021">
            <a:extLst>
              <a:ext uri="{FF2B5EF4-FFF2-40B4-BE49-F238E27FC236}">
                <a16:creationId xmlns:a16="http://schemas.microsoft.com/office/drawing/2014/main" id="{C6DB9E9F-DAC5-E517-B8A2-EB49006A9DAA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auto">
          <a:xfrm>
            <a:off x="10541000" y="2170113"/>
            <a:ext cx="2936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6" name="Chart 3">
            <a:extLst>
              <a:ext uri="{FF2B5EF4-FFF2-40B4-BE49-F238E27FC236}">
                <a16:creationId xmlns:a16="http://schemas.microsoft.com/office/drawing/2014/main" id="{7F6058B9-2216-C5B7-F230-CE3505133961}"/>
              </a:ext>
            </a:extLst>
          </p:cNvPr>
          <p:cNvGraphicFramePr/>
          <p:nvPr>
            <p:custDataLst>
              <p:tags r:id="rId128"/>
            </p:custDataLst>
            <p:extLst>
              <p:ext uri="{D42A27DB-BD31-4B8C-83A1-F6EECF244321}">
                <p14:modId xmlns:p14="http://schemas.microsoft.com/office/powerpoint/2010/main" val="1361621314"/>
              </p:ext>
            </p:extLst>
          </p:nvPr>
        </p:nvGraphicFramePr>
        <p:xfrm>
          <a:off x="8845550" y="2087563"/>
          <a:ext cx="2511425" cy="104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5"/>
          </a:graphicData>
        </a:graphic>
      </p:graphicFrame>
      <p:sp useBgFill="1">
        <p:nvSpPr>
          <p:cNvPr id="17" name="任意多边形: 形状 16">
            <a:extLst>
              <a:ext uri="{FF2B5EF4-FFF2-40B4-BE49-F238E27FC236}">
                <a16:creationId xmlns:a16="http://schemas.microsoft.com/office/drawing/2014/main" id="{62EA751D-C65F-4058-63F5-73CE8D49B2F7}"/>
              </a:ext>
            </a:extLst>
          </p:cNvPr>
          <p:cNvSpPr/>
          <p:nvPr>
            <p:custDataLst>
              <p:tags r:id="rId129"/>
            </p:custDataLst>
          </p:nvPr>
        </p:nvSpPr>
        <p:spPr bwMode="auto">
          <a:xfrm>
            <a:off x="9023350" y="2867025"/>
            <a:ext cx="395289" cy="163514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 useBgFill="1">
        <p:nvSpPr>
          <p:cNvPr id="20" name="任意多边形: 形状 19">
            <a:extLst>
              <a:ext uri="{FF2B5EF4-FFF2-40B4-BE49-F238E27FC236}">
                <a16:creationId xmlns:a16="http://schemas.microsoft.com/office/drawing/2014/main" id="{59D8980E-0F19-6197-89BA-005C2ED979E5}"/>
              </a:ext>
            </a:extLst>
          </p:cNvPr>
          <p:cNvSpPr/>
          <p:nvPr>
            <p:custDataLst>
              <p:tags r:id="rId130"/>
            </p:custDataLst>
          </p:nvPr>
        </p:nvSpPr>
        <p:spPr bwMode="auto">
          <a:xfrm>
            <a:off x="10783888" y="2867025"/>
            <a:ext cx="395288" cy="163514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1884DB9-8C36-7B2B-749A-F190FA0EC13C}"/>
              </a:ext>
            </a:extLst>
          </p:cNvPr>
          <p:cNvSpPr/>
          <p:nvPr>
            <p:custDataLst>
              <p:tags r:id="rId131"/>
            </p:custDataLst>
          </p:nvPr>
        </p:nvSpPr>
        <p:spPr bwMode="auto">
          <a:xfrm>
            <a:off x="9023350" y="286702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4C785DA2-3F13-60FB-75E0-EA7AF43B5273}"/>
              </a:ext>
            </a:extLst>
          </p:cNvPr>
          <p:cNvSpPr/>
          <p:nvPr>
            <p:custDataLst>
              <p:tags r:id="rId132"/>
            </p:custDataLst>
          </p:nvPr>
        </p:nvSpPr>
        <p:spPr bwMode="auto">
          <a:xfrm>
            <a:off x="9023350" y="292417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721C6413-A234-0644-6E94-693DDBCE6F3A}"/>
              </a:ext>
            </a:extLst>
          </p:cNvPr>
          <p:cNvSpPr/>
          <p:nvPr>
            <p:custDataLst>
              <p:tags r:id="rId133"/>
            </p:custDataLst>
          </p:nvPr>
        </p:nvSpPr>
        <p:spPr bwMode="auto">
          <a:xfrm>
            <a:off x="10783888" y="286702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E51D88E6-02D4-4320-BFE0-C5D0FEECBE0D}"/>
              </a:ext>
            </a:extLst>
          </p:cNvPr>
          <p:cNvSpPr/>
          <p:nvPr>
            <p:custDataLst>
              <p:tags r:id="rId134"/>
            </p:custDataLst>
          </p:nvPr>
        </p:nvSpPr>
        <p:spPr bwMode="auto">
          <a:xfrm>
            <a:off x="10783888" y="292417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32" name="直接连接符 1631">
            <a:extLst>
              <a:ext uri="{FF2B5EF4-FFF2-40B4-BE49-F238E27FC236}">
                <a16:creationId xmlns:a16="http://schemas.microsoft.com/office/drawing/2014/main" id="{B4DA3414-B571-A710-4CA4-455FEA70C690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 flipV="1">
            <a:off x="10980738" y="1974850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3" name="直接连接符 1632">
            <a:extLst>
              <a:ext uri="{FF2B5EF4-FFF2-40B4-BE49-F238E27FC236}">
                <a16:creationId xmlns:a16="http://schemas.microsoft.com/office/drawing/2014/main" id="{44C7D2AB-95F3-D282-89C9-1BEC81DB6D59}"/>
              </a:ext>
            </a:extLst>
          </p:cNvPr>
          <p:cNvCxnSpPr>
            <a:cxnSpLocks/>
          </p:cNvCxnSpPr>
          <p:nvPr>
            <p:custDataLst>
              <p:tags r:id="rId136"/>
            </p:custDataLst>
          </p:nvPr>
        </p:nvCxnSpPr>
        <p:spPr bwMode="auto">
          <a:xfrm flipH="1">
            <a:off x="9220199" y="1974850"/>
            <a:ext cx="1760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4" name="直接连接符 1633">
            <a:extLst>
              <a:ext uri="{FF2B5EF4-FFF2-40B4-BE49-F238E27FC236}">
                <a16:creationId xmlns:a16="http://schemas.microsoft.com/office/drawing/2014/main" id="{AFA34B1B-0F62-2E29-39C8-9E8DC52E3487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>
            <a:off x="9220200" y="1974850"/>
            <a:ext cx="0" cy="549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7" name="Text Placeholder 3">
            <a:extLst>
              <a:ext uri="{FF2B5EF4-FFF2-40B4-BE49-F238E27FC236}">
                <a16:creationId xmlns:a16="http://schemas.microsoft.com/office/drawing/2014/main" id="{E0F21840-FAA8-0910-5A0A-1783C1EEA893}"/>
              </a:ext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gray">
          <a:xfrm>
            <a:off x="9097964" y="266065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86A22ED-87E5-460C-890E-945A16B09529}" type="datetime'6''''''''''''''5''''7'''''''''''''''''''''''''''''''">
              <a:rPr lang="zh-CN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657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46" name="Text Placeholder 3">
            <a:extLst>
              <a:ext uri="{FF2B5EF4-FFF2-40B4-BE49-F238E27FC236}">
                <a16:creationId xmlns:a16="http://schemas.microsoft.com/office/drawing/2014/main" id="{64AF7A77-327B-D09F-2ABB-1BA14094EC19}"/>
              </a:ext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9010650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5C5AF3-D392-4909-AE57-59ED4B8056BB}" type="datetime'渠''''道''''''''''''''''''''''''购''''''进'''''''''''''''''''''''">
              <a:rPr lang="zh-CN" altLang="en-US" sz="800" smtClean="0">
                <a:latin typeface="+mn-lt"/>
                <a:cs typeface="+mn-cs"/>
              </a:rPr>
              <a:pPr/>
              <a:t>渠道购进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5" name="Text Placeholder 3">
            <a:extLst>
              <a:ext uri="{FF2B5EF4-FFF2-40B4-BE49-F238E27FC236}">
                <a16:creationId xmlns:a16="http://schemas.microsoft.com/office/drawing/2014/main" id="{0AA1A8A8-FF9B-20E1-D2AF-745AC3B241E3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gray">
          <a:xfrm>
            <a:off x="9699625" y="2616200"/>
            <a:ext cx="2174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592BE9-4F5C-4444-AFEA-25AD449F9418}" type="datetime'''''''''''''''-''''''''1''''''''''''''2'">
              <a:rPr lang="zh-CN" altLang="en-US" sz="1000" smtClean="0">
                <a:latin typeface="+mn-lt"/>
                <a:cs typeface="+mn-cs"/>
              </a:rPr>
              <a:pPr/>
              <a:t>-12</a:t>
            </a:fld>
            <a:endParaRPr lang="zh-CN" altLang="en-US" sz="1000" dirty="0">
              <a:latin typeface="+mn-lt"/>
              <a:cs typeface="+mn-cs"/>
            </a:endParaRPr>
          </a:p>
        </p:txBody>
      </p:sp>
      <p:sp>
        <p:nvSpPr>
          <p:cNvPr id="1002" name="Text Placeholder 3">
            <a:extLst>
              <a:ext uri="{FF2B5EF4-FFF2-40B4-BE49-F238E27FC236}">
                <a16:creationId xmlns:a16="http://schemas.microsoft.com/office/drawing/2014/main" id="{9A3F4591-BB1E-4D2E-A0F8-54BBF4E16814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9598025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AB317-773D-4A2C-B1F9-B9084E60E557}" type="datetime'''''''''''''''''''''''''''库存变''''''''''化'''">
              <a:rPr lang="zh-CN" altLang="en-US" sz="800" smtClean="0">
                <a:latin typeface="+mn-lt"/>
                <a:cs typeface="+mn-cs"/>
              </a:rPr>
              <a:pPr/>
              <a:t>库存变化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166" name="Text Placeholder 3">
            <a:extLst>
              <a:ext uri="{FF2B5EF4-FFF2-40B4-BE49-F238E27FC236}">
                <a16:creationId xmlns:a16="http://schemas.microsoft.com/office/drawing/2014/main" id="{C21E8AFD-DF88-3440-816B-93B8FDB6B328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gray">
          <a:xfrm>
            <a:off x="10306050" y="2420938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3ED75F1-B957-43F7-9C50-E2C4B0F34514}" type="datetime'3''''''''''''''''''''''''''''''''''''''''''''''''0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30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03" name="Text Placeholder 3">
            <a:extLst>
              <a:ext uri="{FF2B5EF4-FFF2-40B4-BE49-F238E27FC236}">
                <a16:creationId xmlns:a16="http://schemas.microsoft.com/office/drawing/2014/main" id="{383A4D55-87AC-E7AD-D775-159B8AA91BD4}"/>
              </a:ext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0183813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539920-2CE3-4836-AD6E-889D9AF75C60}" type="datetime'''''''''不''''''''''''可追''''''''''''''''踪'''">
              <a:rPr lang="zh-CN" altLang="en-US" sz="800" smtClean="0">
                <a:latin typeface="+mn-lt"/>
                <a:cs typeface="+mn-cs"/>
              </a:rPr>
              <a:pPr/>
              <a:t>不可追踪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20" name="Text Placeholder 3">
            <a:extLst>
              <a:ext uri="{FF2B5EF4-FFF2-40B4-BE49-F238E27FC236}">
                <a16:creationId xmlns:a16="http://schemas.microsoft.com/office/drawing/2014/main" id="{5CD6022B-B922-FB56-D45F-6C4B0E806047}"/>
              </a:ext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gray">
          <a:xfrm>
            <a:off x="10858501" y="252730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DC289B-DC41-4E1D-95ED-7DC426C1EC75}" type="datetime'''''''6''''''''''''''''''''''''''''''7''''''''''5'''''''''''''">
              <a:rPr lang="zh-CN" altLang="en-US" sz="1000" smtClean="0">
                <a:solidFill>
                  <a:schemeClr val="bg1"/>
                </a:solidFill>
                <a:latin typeface="+mn-lt"/>
                <a:cs typeface="+mn-cs"/>
              </a:rPr>
              <a:pPr/>
              <a:t>675</a:t>
            </a:fld>
            <a:endParaRPr lang="zh-CN" altLang="en-US" sz="10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52" name="Text Placeholder 3">
            <a:extLst>
              <a:ext uri="{FF2B5EF4-FFF2-40B4-BE49-F238E27FC236}">
                <a16:creationId xmlns:a16="http://schemas.microsoft.com/office/drawing/2014/main" id="{62BA64F5-B2CE-CEB8-BB9B-25B44F9A2E19}"/>
              </a:ext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0771188" y="3087688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B8F231-68BA-457D-BB9E-BAEC05C48E71}" type="datetime'工''''''''''''厂''''''''''''''''''''''''''''发''''''''''''货'''''">
              <a:rPr lang="zh-CN" altLang="en-US" sz="800" smtClean="0">
                <a:latin typeface="+mn-lt"/>
                <a:cs typeface="+mn-cs"/>
              </a:rPr>
              <a:pPr/>
              <a:t>工厂发货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630" name="Text Placeholder 3">
            <a:extLst>
              <a:ext uri="{FF2B5EF4-FFF2-40B4-BE49-F238E27FC236}">
                <a16:creationId xmlns:a16="http://schemas.microsoft.com/office/drawing/2014/main" id="{E05CDD48-0DEC-9132-BDFB-46D714F23D3B}"/>
              </a:ext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9940925" y="1855788"/>
            <a:ext cx="319088" cy="2381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1BE89C-023A-40C9-906E-EDE5093712F9}" type="datetime'-''''''''''''''''3''''''''''''%'''''''''''''''''''">
              <a:rPr lang="en-US" altLang="en-US" sz="1000" smtClean="0">
                <a:effectLst/>
                <a:latin typeface="+mn-lt"/>
                <a:cs typeface="+mn-cs"/>
              </a:rPr>
              <a:pPr/>
              <a:t>-3%</a:t>
            </a:fld>
            <a:endParaRPr lang="zh-CN" altLang="en-US" sz="1000" dirty="0">
              <a:latin typeface="+mn-lt"/>
              <a:cs typeface="+mn-cs"/>
            </a:endParaRPr>
          </a:p>
        </p:txBody>
      </p:sp>
      <p:cxnSp>
        <p:nvCxnSpPr>
          <p:cNvPr id="1753" name="直接连接符 1752">
            <a:extLst>
              <a:ext uri="{FF2B5EF4-FFF2-40B4-BE49-F238E27FC236}">
                <a16:creationId xmlns:a16="http://schemas.microsoft.com/office/drawing/2014/main" id="{6F89B6DC-E3F5-CD48-0D46-FFAA36062107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>
            <a:off x="9358313" y="4352925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8" name="直接连接符 1717">
            <a:extLst>
              <a:ext uri="{FF2B5EF4-FFF2-40B4-BE49-F238E27FC236}">
                <a16:creationId xmlns:a16="http://schemas.microsoft.com/office/drawing/2014/main" id="{BB946B49-2560-B6BC-DC3B-8E2B7788DF77}"/>
              </a:ext>
            </a:extLst>
          </p:cNvPr>
          <p:cNvCxnSpPr/>
          <p:nvPr>
            <p:custDataLst>
              <p:tags r:id="rId148"/>
            </p:custDataLst>
          </p:nvPr>
        </p:nvCxnSpPr>
        <p:spPr bwMode="auto">
          <a:xfrm>
            <a:off x="9942513" y="450373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7" name="直接连接符 2026">
            <a:extLst>
              <a:ext uri="{FF2B5EF4-FFF2-40B4-BE49-F238E27FC236}">
                <a16:creationId xmlns:a16="http://schemas.microsoft.com/office/drawing/2014/main" id="{EDEC6A54-327B-6A29-4374-80B7580FFFF9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auto">
          <a:xfrm>
            <a:off x="10525125" y="4560888"/>
            <a:ext cx="330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315497D3-65A2-21ED-A9C6-F3367B568E75}"/>
              </a:ext>
            </a:extLst>
          </p:cNvPr>
          <p:cNvGraphicFramePr/>
          <p:nvPr>
            <p:custDataLst>
              <p:tags r:id="rId150"/>
            </p:custDataLst>
            <p:extLst>
              <p:ext uri="{D42A27DB-BD31-4B8C-83A1-F6EECF244321}">
                <p14:modId xmlns:p14="http://schemas.microsoft.com/office/powerpoint/2010/main" val="3762273644"/>
              </p:ext>
            </p:extLst>
          </p:nvPr>
        </p:nvGraphicFramePr>
        <p:xfrm>
          <a:off x="8856663" y="4270375"/>
          <a:ext cx="2500312" cy="373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6"/>
          </a:graphicData>
        </a:graphic>
      </p:graphicFrame>
      <p:sp>
        <p:nvSpPr>
          <p:cNvPr id="41" name="矩形 40">
            <a:extLst>
              <a:ext uri="{FF2B5EF4-FFF2-40B4-BE49-F238E27FC236}">
                <a16:creationId xmlns:a16="http://schemas.microsoft.com/office/drawing/2014/main" id="{4920BE46-8453-33B5-C51B-5FCEDCCF07CB}"/>
              </a:ext>
            </a:extLst>
          </p:cNvPr>
          <p:cNvSpPr/>
          <p:nvPr>
            <p:custDataLst>
              <p:tags r:id="rId151"/>
            </p:custDataLst>
          </p:nvPr>
        </p:nvSpPr>
        <p:spPr bwMode="auto">
          <a:xfrm>
            <a:off x="10275888" y="4513263"/>
            <a:ext cx="244475" cy="34925"/>
          </a:xfrm>
          <a:prstGeom prst="rect">
            <a:avLst/>
          </a:prstGeom>
          <a:solidFill>
            <a:srgbClr val="FBF0B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2006" name="Text Placeholder 3">
            <a:extLst>
              <a:ext uri="{FF2B5EF4-FFF2-40B4-BE49-F238E27FC236}">
                <a16:creationId xmlns:a16="http://schemas.microsoft.com/office/drawing/2014/main" id="{3CC98E16-FB2E-495D-ADCF-FFF663C2DC9B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8951913" y="4645025"/>
            <a:ext cx="5588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1189A-44A3-4C9B-A6B4-3DAE4A8B2B94}" type="datetime'''''''''''''''''''''''20''''2''''5''10''''''Y''''''''''TD'''">
              <a:rPr lang="en-US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10YTD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3" name="Text Placeholder 3">
            <a:extLst>
              <a:ext uri="{FF2B5EF4-FFF2-40B4-BE49-F238E27FC236}">
                <a16:creationId xmlns:a16="http://schemas.microsoft.com/office/drawing/2014/main" id="{542A60AE-B3A7-55CE-F714-DC2AD831C173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gray">
          <a:xfrm>
            <a:off x="9728200" y="4360863"/>
            <a:ext cx="1762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BF0B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2CA2ABA-C28E-427C-AE01-3F3930A931B5}" type="datetime'''''''-''''''''''''1''''''''''0'''''''''">
              <a:rPr lang="zh-CN" altLang="en-US" sz="800" smtClean="0">
                <a:latin typeface="+mn-lt"/>
                <a:cs typeface="+mn-cs"/>
              </a:rPr>
              <a:pPr/>
              <a:t>-10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8" name="Text Placeholder 3">
            <a:extLst>
              <a:ext uri="{FF2B5EF4-FFF2-40B4-BE49-F238E27FC236}">
                <a16:creationId xmlns:a16="http://schemas.microsoft.com/office/drawing/2014/main" id="{7BD5FE52-3C31-692C-0431-58206417CADC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9656763" y="4645025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F32FD-990E-4B3E-8B5C-7A03EE933112}" type="datetime'''''一''级''''''商''''''''''''''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一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1854" name="Text Placeholder 3">
            <a:extLst>
              <a:ext uri="{FF2B5EF4-FFF2-40B4-BE49-F238E27FC236}">
                <a16:creationId xmlns:a16="http://schemas.microsoft.com/office/drawing/2014/main" id="{4E1BFB1E-6485-A062-B5BB-5B285C6BD15C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gray">
          <a:xfrm>
            <a:off x="10339388" y="4465638"/>
            <a:ext cx="119063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85B44D-9F40-4AEC-872E-D317C855F3E1}" type="datetime'''''''''''-''''''4'''''''''''''''''''''''''''''''''''''''''''">
              <a:rPr lang="zh-CN" altLang="en-US" sz="800" smtClean="0">
                <a:latin typeface="+mn-lt"/>
                <a:cs typeface="+mn-cs"/>
              </a:rPr>
              <a:pPr/>
              <a:t>-4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09" name="Text Placeholder 3">
            <a:extLst>
              <a:ext uri="{FF2B5EF4-FFF2-40B4-BE49-F238E27FC236}">
                <a16:creationId xmlns:a16="http://schemas.microsoft.com/office/drawing/2014/main" id="{7217B9F1-0A58-5B0F-2E64-A84646CA65AE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10239375" y="4645025"/>
            <a:ext cx="317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4D7FFE-FE1B-4043-B240-297D3D41AC8E}" type="datetime'''''''''''''''''''''二''''级''''''''''''''''''''''''''''''商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二级商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25" name="Text Placeholder 3">
            <a:extLst>
              <a:ext uri="{FF2B5EF4-FFF2-40B4-BE49-F238E27FC236}">
                <a16:creationId xmlns:a16="http://schemas.microsoft.com/office/drawing/2014/main" id="{43D55BC5-9920-542B-5943-C2925A23663E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gray">
          <a:xfrm>
            <a:off x="10939463" y="4478338"/>
            <a:ext cx="85725" cy="133350"/>
          </a:xfrm>
          <a:prstGeom prst="rect">
            <a:avLst/>
          </a:prstGeom>
          <a:solidFill>
            <a:srgbClr val="FBF0B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D17E18-C22E-43D7-B108-B95984293A86}" type="datetime'''''''''''''''''''''''''''''''''''''''''2'''''''''''''''''''''">
              <a:rPr lang="zh-CN" altLang="en-US" sz="800" smtClean="0">
                <a:effectLst/>
                <a:latin typeface="+mn-lt"/>
                <a:cs typeface="+mn-cs"/>
              </a:rPr>
              <a:pPr/>
              <a:t>2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10" name="Text Placeholder 3">
            <a:extLst>
              <a:ext uri="{FF2B5EF4-FFF2-40B4-BE49-F238E27FC236}">
                <a16:creationId xmlns:a16="http://schemas.microsoft.com/office/drawing/2014/main" id="{BC99FD18-8285-240E-2946-45D78FEAB7A6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10772775" y="4645025"/>
            <a:ext cx="4191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F1969F-DCAE-4797-B2FE-A76BE326F36F}" type="datetime'''''''''''''''''''''''''''零售''''''''''总''''''仓'''''''">
              <a:rPr lang="zh-CN" altLang="en-US" sz="800" smtClean="0">
                <a:effectLst/>
                <a:latin typeface="+mn-lt"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零售总仓</a:t>
            </a:fld>
            <a:endParaRPr lang="zh-CN" altLang="en-US" sz="800" dirty="0">
              <a:latin typeface="+mn-lt"/>
              <a:cs typeface="+mn-cs"/>
            </a:endParaRPr>
          </a:p>
        </p:txBody>
      </p:sp>
      <p:sp>
        <p:nvSpPr>
          <p:cNvPr id="2069" name="矩形 2068">
            <a:extLst>
              <a:ext uri="{FF2B5EF4-FFF2-40B4-BE49-F238E27FC236}">
                <a16:creationId xmlns:a16="http://schemas.microsoft.com/office/drawing/2014/main" id="{2C8C7C6E-7854-71B0-B5CD-346A1F62D9D5}"/>
              </a:ext>
            </a:extLst>
          </p:cNvPr>
          <p:cNvSpPr/>
          <p:nvPr/>
        </p:nvSpPr>
        <p:spPr>
          <a:xfrm>
            <a:off x="9595508" y="1393825"/>
            <a:ext cx="1163370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10 Y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070" name="矩形 2069">
            <a:extLst>
              <a:ext uri="{FF2B5EF4-FFF2-40B4-BE49-F238E27FC236}">
                <a16:creationId xmlns:a16="http://schemas.microsoft.com/office/drawing/2014/main" id="{38C861AF-6F37-5EBF-7BB3-B7968983ADE2}"/>
              </a:ext>
            </a:extLst>
          </p:cNvPr>
          <p:cNvSpPr/>
          <p:nvPr/>
        </p:nvSpPr>
        <p:spPr>
          <a:xfrm>
            <a:off x="4938713" y="1392238"/>
            <a:ext cx="2193471" cy="1714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altLang="zh-CN" sz="1200" b="1" dirty="0">
                <a:solidFill>
                  <a:srgbClr val="FFFFFF"/>
                </a:solidFill>
              </a:rPr>
              <a:t>202501 ~ 202510 MTD</a:t>
            </a:r>
            <a:endParaRPr lang="en-US" sz="1200" b="1" dirty="0">
              <a:solidFill>
                <a:srgbClr val="FFFFFF"/>
              </a:solidFill>
            </a:endParaRPr>
          </a:p>
        </p:txBody>
      </p:sp>
      <p:cxnSp>
        <p:nvCxnSpPr>
          <p:cNvPr id="2074" name="直接连接符 2073">
            <a:extLst>
              <a:ext uri="{FF2B5EF4-FFF2-40B4-BE49-F238E27FC236}">
                <a16:creationId xmlns:a16="http://schemas.microsoft.com/office/drawing/2014/main" id="{DC085743-D412-C3E0-BD8A-77CCC98E3B10}"/>
              </a:ext>
            </a:extLst>
          </p:cNvPr>
          <p:cNvCxnSpPr>
            <a:cxnSpLocks/>
          </p:cNvCxnSpPr>
          <p:nvPr/>
        </p:nvCxnSpPr>
        <p:spPr>
          <a:xfrm>
            <a:off x="8906528" y="1498587"/>
            <a:ext cx="0" cy="4679577"/>
          </a:xfrm>
          <a:prstGeom prst="line">
            <a:avLst/>
          </a:prstGeom>
          <a:ln w="9525" cap="rnd">
            <a:solidFill>
              <a:srgbClr val="54545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E90D6D2D-2F71-697E-2616-88B6A758C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076593"/>
              </p:ext>
            </p:extLst>
          </p:nvPr>
        </p:nvGraphicFramePr>
        <p:xfrm>
          <a:off x="9101138" y="5030787"/>
          <a:ext cx="2260337" cy="102552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790285">
                  <a:extLst>
                    <a:ext uri="{9D8B030D-6E8A-4147-A177-3AD203B41FA5}">
                      <a16:colId xmlns:a16="http://schemas.microsoft.com/office/drawing/2014/main" val="2917021903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2715591091"/>
                    </a:ext>
                  </a:extLst>
                </a:gridCol>
                <a:gridCol w="735026">
                  <a:extLst>
                    <a:ext uri="{9D8B030D-6E8A-4147-A177-3AD203B41FA5}">
                      <a16:colId xmlns:a16="http://schemas.microsoft.com/office/drawing/2014/main" val="1308393361"/>
                    </a:ext>
                  </a:extLst>
                </a:gridCol>
              </a:tblGrid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库存完整度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购进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金额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有购进客户数量占比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18669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一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745966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二级商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9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34172"/>
                  </a:ext>
                </a:extLst>
              </a:tr>
              <a:tr h="2279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零售总仓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644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99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Arial&quot; UsePPTTheme=&quot;True&quot; /&gt;&lt;FarEast_Output_Font_Name Default=&quot;Microsoft YaHei&quot; UsePPTTheme=&quot;True&quot; RotateAndFlipEnabled=&quot;False&quot; /&gt;&lt;/Font&gt;&lt;DateFormat CultureID=&quot;2052&quot; FormatString=&quot;yyyy/M/d&quot; /&gt;&lt;Units&gt;&lt;_1-_1_Million Text=&quot;百万&quot; Number_Spaces_Between_Units__x0026__Currency=&quot;1&quot; Number_of_Spaces_Before=&quot;0&quot; /&gt;&lt;_1-_10_Million Text=&quot;千万&quot; Number_Spaces_Between_Units__x0026__Currency=&quot;1&quot; Number_of_Spaces_Before=&quot;0&quot; /&gt;&lt;_1-_100_Million Text=&quot;亿&quot; Number_Spaces_Between_Units__x0026__Currency=&quot;1&quot; Number_of_Spaces_Before=&quot;0&quot; /&gt;&lt;_2-_1_Billion Text=&quot;十亿&quot; Number_Spaces_Between_Units__x0026__Currency=&quot;1&quot; Number_of_Spaces_Before=&quot;0&quot; /&gt;&lt;_3-_10_Thousand Text=&quot;万&quot; Number_Spaces_Between_Units__x0026__Currency=&quot;1&quot; Number_of_Spaces_Before=&quot;0&quot; /&gt;&lt;_3-_100_Thousand Text=&quot;十万&quot; Number_Spaces_Between_Units__x0026__Currency=&quot;1&quot; Number_of_Spaces_Before=&quot;0&quot; /&gt;&lt;/Units&gt;&lt;/MekkoFormats&gt;"/>
  <p:tag name="OFFICE" val="Shanghai"/>
  <p:tag name="BTFPCOLUMNGUIDE" val="Client"/>
  <p:tag name="MEKKOMRUCOLORS" val="&lt;?xml version=&quot;1.0&quot; encoding=&quot;utf-8&quot;?&gt;&#10;&lt;MRU&gt;&#10;  &lt;CustomColorsMRU&gt;&#10;    &lt;Color aRGB=&quot;FF4540B3&quot; Intensity=&quot;3&quot; /&gt;&#10;    &lt;Color aRGB=&quot;FFCBB2DF&quot; Intensity=&quot;1&quot; /&gt;&#10;    &lt;Color aRGB=&quot;FF9B6AC2&quot; Intensity=&quot;1&quot; /&gt;&#10;    &lt;Color aRGB=&quot;FF884DB6&quot; Intensity=&quot;1&quot; /&gt;&#10;    &lt;Color aRGB=&quot;FF2A276D&quot; Intensity=&quot;3&quot; /&gt;&#10;    &lt;Color aRGB=&quot;FF365571&quot; Intensity=&quot;3&quot; /&gt;&#10;    &lt;Color aRGB=&quot;FF9FBBFE&quot; Intensity=&quot;1&quot; /&gt;&#10;    &lt;Color aRGB=&quot;FF310AA6&quot; Intensity=&quot;3&quot; /&gt;&#10;    &lt;Color aRGB=&quot;FF703E97&quot; Intensity=&quot;3&quot; /&gt;&#10;    &lt;Color aRGB=&quot;FF9900CC&quot; Intensity=&quot;3&quot; /&gt;&#10;    &lt;Color aRGB=&quot;FF940094&quot; Intensity=&quot;3&quot; /&gt;&#10;  &lt;/CustomColorsMRU&gt;&#10;  &lt;ColorsPatternsMRU&gt;&#10;    &lt;Button ID=&quot;menuFontColor&quot; Color=&quot;4&quot; /&gt;&#10;    &lt;Button ID=&quot;menuSeriesColor&quot; Color=&quot;11&quot; /&gt;&#10;  &lt;/ColorsPatternsMRU&gt;&#10;&lt;/MRU&gt;"/>
  <p:tag name="EE4P_STYLE_ID" val="n7zCPPqL"/>
  <p:tag name="THINKCELLUNDODONOTDELETE" val="0"/>
  <p:tag name="THINKCELLPRESENTATIONDONOTDELETE" val="&lt;?xml version=&quot;1.0&quot; encoding=&quot;UTF-16&quot; standalone=&quot;yes&quot;?&gt;&lt;root reqver=&quot;28224&quot;&gt;&lt;version val=&quot;358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82642048900000020240E+00&quot;&gt;&lt;m_msothmcolidx val=&quot;0&quot;/&gt;&lt;m_rgb r=&quot;EB&quot; g=&quot;D0&quot; b=&quot;DA&quot;/&gt;&lt;/elem&gt;&lt;elem m_fUsage=&quot;2.25632790000000005293E+00&quot;&gt;&lt;m_msothmcolidx val=&quot;0&quot;/&gt;&lt;m_rgb r=&quot;D9&quot; g=&quot;EE&quot; b=&quot;F0&quot;/&gt;&lt;/elem&gt;&lt;elem m_fUsage=&quot;9.31774156237322626062E-01&quot;&gt;&lt;m_msothmcolidx val=&quot;0&quot;/&gt;&lt;m_rgb r=&quot;FB&quot; g=&quot;F0&quot; b=&quot;BF&quot;/&gt;&lt;/elem&gt;&lt;elem m_fUsage=&quot;8.12427241322953186398E-01&quot;&gt;&lt;m_msothmcolidx val=&quot;0&quot;/&gt;&lt;m_rgb r=&quot;F2&quot; g=&quot;F2&quot; b=&quot;F2&quot;/&gt;&lt;/elem&gt;&lt;elem m_fUsage=&quot;5.10569112401886737729E-01&quot;&gt;&lt;m_msothmcolidx val=&quot;0&quot;/&gt;&lt;m_rgb r=&quot;9E&quot; g=&quot;DA&quot; b=&quot;9E&quot;/&gt;&lt;/elem&gt;&lt;elem m_fUsage=&quot;4.76322927795373440851E-01&quot;&gt;&lt;m_msothmcolidx val=&quot;0&quot;/&gt;&lt;m_rgb r=&quot;CC&quot; g=&quot;B4&quot; b=&quot;E0&quot;/&gt;&lt;/elem&gt;&lt;elem m_fUsage=&quot;4.30467210000000155556E-01&quot;&gt;&lt;m_msothmcolidx val=&quot;0&quot;/&gt;&lt;m_rgb r=&quot;E7&quot; g=&quot;F4&quot; b=&quot;E4&quot;/&gt;&lt;/elem&gt;&lt;elem m_fUsage=&quot;3.13810596090000171188E-01&quot;&gt;&lt;m_msothmcolidx val=&quot;0&quot;/&gt;&lt;m_rgb r=&quot;8B&quot; g=&quot;B7&quot; b=&quot;FF&quot;/&gt;&lt;/elem&gt;&lt;elem m_fUsage=&quot;1.30319560029347719654E-01&quot;&gt;&lt;m_msothmcolidx val=&quot;0&quot;/&gt;&lt;m_rgb r=&quot;F9&quot; g=&quot;18&quot; b=&quot;00&quot;/&gt;&lt;/elem&gt;&lt;elem m_fUsage=&quot;1.10484500305776153772E-01&quot;&gt;&lt;m_msothmcolidx val=&quot;0&quot;/&gt;&lt;m_rgb r=&quot;D6&quot; g=&quot;D7&quot; b=&quot;D9&quot;/&gt;&lt;/elem&gt;&lt;elem m_fUsage=&quot;8.54288165541104288492E-02&quot;&gt;&lt;m_msothmcolidx val=&quot;0&quot;/&gt;&lt;m_rgb r=&quot;C4&quot; g=&quot;A8&quot; b=&quot;DB&quot;/&gt;&lt;/elem&gt;&lt;elem m_fUsage=&quot;4.56840373240672351085E-02&quot;&gt;&lt;m_msothmcolidx val=&quot;0&quot;/&gt;&lt;m_rgb r=&quot;7A&quot; g=&quot;00&quot; b=&quot;0E&quot;/&gt;&lt;/elem&gt;&lt;elem m_fUsage=&quot;1.94899101917834771669E-02&quot;&gt;&lt;m_msothmcolidx val=&quot;0&quot;/&gt;&lt;m_rgb r=&quot;B1&quot; g=&quot;8C&quot; b=&quot;D0&quot;/&gt;&lt;/elem&gt;&lt;elem m_fUsage=&quot;8.72796356808772273717E-03&quot;&gt;&lt;m_msothmcolidx val=&quot;0&quot;/&gt;&lt;m_rgb r=&quot;63&quot; g=&quot;5F&quot; b=&quot;C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M6.92OUeylWo9oxB1.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U2qOKCVH_7GK0RN46V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uioqikz_oodj53dfWSZ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PU4mNLdCL_xJAn7fcq8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S7WsV7qC10Qv1Ykzok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sjB7e.2ywOZa5gxuH9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6A5SV9yCvSc7zzuTBa8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woNPgv.0sp7BETuzd1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0joU5SGgnqzSIoIZURy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h1qrfdqQhbHeH6LV.3T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PDTpwnzuItc_i7MPxZ7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rD1pblNaLC.fRMR9lnh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5sD4MLKknCUhm649Vdw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XFn9fD.ICCLy7VOQ_0d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JgXmDkmhBc.KM.d8pz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104umrooFo0NSvveN_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3nwHGoMphnUYXLt6oS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CoqxHAyLOj32JiijdM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FZYUKCI6u6DMZEaSje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dIv5xO5TNAGy9yW7sQg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Z6TlH6DxHJmjGV.W_Gg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Dp4PV3mscQwY6uzAE_Bw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r.kJhyxVt728svxSOi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SkPENQ9xrL2C_2zSX4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rKGi5WXxLfJ5dUEAC7F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Cy5dYYXOIPQ.7yiPNb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1NIyoR5NfvupzQt2lH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Bs8Hwv5RSsOIyqV6H7s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.8f9_VY8m1CcWNzQN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vkQ9CXCr8J67DUk_Vbe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QGbLaENGMDJ4A54PHxF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E1ogfKMIyThdQLf5b9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DRfV.0w377pmB9dr5H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ujHmStEYFBJnea6CRg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dX2UPS4_xOfDNfZDlYH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UH9hj7utXbZtBpTU7fL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uYn1x7wLATqmGGGrVz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dZSagnINvG66iSVyS9.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t4VnBrKz4FbbSEsE2fx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0c1M85W_HjiYVJ2jDt0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M7t6bBteEa1d9mnwy.Gw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SVJFhpCREBNLu8fFW_z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U3mQkdCMYkbGYS1IT2z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BIfLl2jiLdRFkKFIGftg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umhmTFBuz0qIuGYW2N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5cLm0MDPXxeSVCVw8_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YdMjMwWu4z5UiUBjaQT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T7KR3.vLLMqc8P.Jtz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VqzAUYp4mQR.wViBz9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3iLvBlckrZbT_7Sid5Q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zum9FILHeyqOWj6lhi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1NOVU2DjVXJ4jwDs91s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6DR0hGvs9ZIfBQtsX1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pc80.0SEhvZFvBgUyD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ZiFD6EKfmwo1BwX35qd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5.fDd5WNJgeqwK0xh0T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0w0lBpXS6HXztGTFDP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K5auH.tFNg8Z4op0.h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dgUWH9LWWKmoa6YsVoA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FGObPnVErbJ0baF853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KleYdXreuHEdB5qNpR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Leqzu0kUQTwDm_tJVC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dtASQIJzoPqVzQdblZ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HYgTTRc1ZhEyafLNrHm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PIScKvHO9vQxnyGsuC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.j.4Lw4cEHzaw9J0nHf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MwJHvKKC7zgp0aABvU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r.gcVekSZBdQNF9pa6M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M6.92OUeylWo9oxB1.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sjB7e.2ywOZa5gxuH9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S7WsV7qC10Qv1Ykzok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PU4mNLdCL_xJAn7fcq8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U2qOKCVH_7GK0RN46VA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asSWwx7Pl90t1J2iWt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h1qrfdqQhbHeH6LV.3Tg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nmDtLzfFnysMNFg3csg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43mMr4raqQbe4a02V0e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CoqxHAyLOj32JiijdM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_kDdGn8mxQgrq2pPX6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NnJFv9TWmMKtpEvDcr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28NHWjUyN04JCA_.b1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CcxD3dIaYfrGP9Ej0Uw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Dp4PV3mscQwY6uzAE_B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1WZNM5rGso1J0cNEAjv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n4DcyqLT9Wps3UTL7ftQ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cEBhuSLUgECTAax6TEuw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r.kJhyxVt728svxSOi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1wngb1URyCTMDkYyLEg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SkPENQ9xrL2C_2zSX4w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0c1M85W_HjiYVJ2jDt0g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rKGi5WXxLfJ5dUEAC7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dZSagnINvG66iSVyS9.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t4VnBrKz4FbbSEsE2fx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uYn1x7wLATqmGGGrVz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Cy5dYYXOIPQ.7yiPNb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1NIyoR5NfvupzQt2lH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Bs8Hwv5RSsOIyqV6H7sg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.8f9_VY8m1CcWNzQNf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my9n4JDP_87JAJNCJGfw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UH9hj7utXbZtBpTU7fL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YZI2RFtpYDzDmTYm4.R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ujHmStEYFBJnea6CRg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1CnHCOOEXCozgSlp2yj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M7t6bBteEa1d9mnwy.G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umhmTFBuz0qIuGYW2N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5cLm0MDPXxeSVCVw8_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YdMjMwWu4z5UiUBjaQT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T7KR3.vLLMqc8P.Jtz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VqzAUYp4mQR.wViBz9Q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3iLvBlckrZbT_7Sid5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zum9FILHeyqOWj6lhi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Sf9qRM9MDMmgsGvOZ9d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1NOVU2DjVXJ4jwDs91s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6DR0hGvs9ZIfBQtsX1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pc80.0SEhvZFvBgUyDA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ZiFD6EKfmwo1BwX35qd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5.fDd5WNJgeqwK0xh0T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K7CmEjVsd6I8vadvcAKQ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_xQDsxldkMhoYPmBPl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2AQYJGYXVhbcXXmhT1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Usm14.XfeFwbvamXwB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mNeaKWvs86E1uOi5ewg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ETXR7FbzKSSLAD7QRr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3VivEOm7k2_cUPkqWIOg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217nw6dVx10eXki6nAA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KvVOZLRLNT7i3mVhBC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pXCBQMjmIauoMrEsZy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GFevupJFF_dWJPfo6qA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yNH.DY06L1A3fEnUz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t.sL7VcnojgwWJ3NPJ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Epsao4omuOCPkPuB10i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_n0P0caDpNnzd4XgoPm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bYzXgVZKtUTEuxoGdP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iHNn89U_cHZwHRo1fP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uce4BMbzMbzNtOz6Vr_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h_LPIKr0ZoZO4ie00b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Z1OkWixJPVVwKKj85WVw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yPUIQqKUXLaqUawO.X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grkO_ydHwAJSF3OJ9CA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p7Juhe6SEoKCKOajxf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f5AD1iDJnielcPIIV2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EaWvxzK0MwXXnqm62mA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ePEdkCSzyMlloJXNvF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cAW_a8U.r0w2HjTDGaw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vmhVO4oj1j3fPI8Orti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8w3b7SgRy5JiM9ZCHR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RXMrIttvC2W9_cno3MN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HfW2JMyNb7amjL6J_7A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Vi07rBx7e07mUXtif_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uDzXqAMCLfCwMB84de0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b_OaQX1.cRvr40cvOH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3bliEr_ca.xwrbAhtEGw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gj6Wv0dyv8xENHCY5RQ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fnUv8NFaX9K0IBMvTT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itpMcGan.eSPPwjm3jbg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TDJ9PD30cRC3joEGx7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7ZV_L2uyHFbVGMtOi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FqxpP8jtyBfs9ooSfcwA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s.E5kGmsaXIPZPKdZTOQ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4HnmeG2CigwDvmIVYXU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l98vQxlC2XFlQYoCeHw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2OZ42Vn0PBY0ho.0fy3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T.VKXeApnPqxtDdZY5Z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G1WNDpQzA3uf20AevrPQ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3zi4diNXk4TvnVKQN0Jw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grdHBWHpbCxDCNk5DfQ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mxxqDdOhgiY7t.4Rm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vYXWTXVxdI1jDseDhFw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2zPR1oV3dd45c9uegsQ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fIS0B.EHI7RLwf8QPakg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zQQoh6ae8KdSkKUJqtLQ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EDaP_j2mHs8BVOyifl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oLdVdOOVYhDK0DZft2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6_g2pKmTiS2r0cVh1gA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82fH4qICHoTKzh_v9jw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x3ZYX.ML9B2q_FUUUWow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9NyLptIq5CZy3BB3ep1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v2n4v2K6oNWebcWIEj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W4X4ZoyM76zRx1xHxGw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35Qk8sPEP3xH4sU6EH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RTddNbyAGzO6r8TVYKLQ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g3Rbah073MaGG.qdHUA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dBhOSerV2vEpfRznr5y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pWF3Ol9FYwdTkdcAbbA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sd1Gxr9wK.TA4x_nDOIQ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oSOiCxWxgVPPcf6byfIw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52oUWtRNSxoyKATZxM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rrWmzzX1XMwSA2omTUQ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oq33mEocuwJdrYHOJJg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Y6iKnDa.F2_Pv4Zo2aJ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8pvnVr0jfn_1tbVu6RjQ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2ROc9ac_W6SiYevbbp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OgX4g0S_KzmkTicDqlw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ZfupYN63TsYSR.fRYf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IGizZrtAWOyAM887pze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rycAvN7gCwOVp87jJ_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2MhlJeysDnGlRXyv7x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1QYH85t_2.p6T_yz7.Q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BzaKw.NrZQCI3i0g_QM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XKpfXOdWm7LswclkESA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vCYjfbyzRrzjSWXAA_g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.Vhk_GUEdOELjLAlRTl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c94s8UOvVcfb3NBR09Q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SsRISC1G6i9RNoGetfzA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_3B7ebkTHbSwK.XuO3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Q1efySebEf5GMifIR4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W5unUXv16C5pswWJB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s_ah8hQrWRNHJ31.vXtg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sRwggeDvtx48iJGrjExg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KkB4bxsvh6AKkV22B0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UovsBHqp2uxR245RZXA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p.oTP41xDIGkY8zZoR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StyPOZuecHvrFdWF9B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7yUeGrN4XmlQYahu.8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p_QT_0zJOjH_i1AHbyRA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Z.cz6UyEkGVoSDE43jA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drknGyi97nV5snzRta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GdVrgF4fy2TWQZG_Mv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2o8WHZtG4tAyI4WhHy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XXySwYD1QDCilMlVV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S35OO1MX.k1tAh.oVLaQ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05uZvRdanj6forVEJ8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cpUWNYOlW_ji4bm5r4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Lk1Nfe4R_W0KOUTlXT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gUGs80uvSw5uL9HJt_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XnrRT_byqh07PFIL.M9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205_bF7_DL_EckxNGO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FWQ1hAlMR9SlChvi1ASw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rEcvVLybgLc9eMIPtmg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.yD609f3HVRNZv6JxGk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EJUbBc4AaD6PUoDQioA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jcOhigPkzgvxIEjrpmyg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DisheoNZzpdVJ.15we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8.7RqbSD2nD7B80qCA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hwvNV6Km4boL0qMZG.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jSHIn2dm8WcyB5R1Viw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u.ahBEg90jIG8I7E0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3jQSn7.BAcARd.IUBY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WGdVqgLftqH.hzi1bi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wVzEzAt9rXS5uM1502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k2fqb42YTWyg24I0zS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J_JJQ5iaKVSeaep_n6.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Rn7v0a7rcmOiGR87vs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Jr7GEuVqzyi9maUq8kg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aifWGHGOsWH2O_UWlRc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h6QDlr.QBlKjN8LCh7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xNhQ_hmhj6b059n3Im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1tJQWAyP.WNjR2qEl2Q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J4ChdXHMsfX4qVH1dnBQ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Hq2fD9Wn7k1zM76HWmw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igrZcRZi9nSxJQhiE6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66jrQenPqhQqswkHlwT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CO8LWliZQtudi3LJvku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jszm8xsjNgx4C_on9S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enCD6R0d2VFfJQ22yY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w_OIiLXusO8P0qqiE0g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_0448DCB9QbpOL7HG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8P9vXe2CQZgv_wis3q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vA6h9gOLOdhajr.OTEn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zzHoqovBPRWsmyZke1h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M9xycLqA7.OOfJBQYg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HE7C4HGGQarJE_oJZLQ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_d.fEZlATlaxMSWLQ0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1iS_jVxDids.U2w9Ra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IGOsYhHOg1G5mIWo59A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cZyWiUTUfmHrS9naLV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BqDVFA9ouGenp9tCw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tzAfPYBBNEA6s2cpJSg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Usm14.XfeFwbvamXwB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2AQYJGYXVhbcXXmhT1g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K7CmEjVsd6I8vadvcAK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ETXR7FbzKSSLAD7QRrg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pRoa8pfUZr35gwobYI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PT217Xmxy2BCLo0KjQw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0o3hTi2zYe5bITHey1V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1UwILkmmOUHo9IaBFb9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CpC_FNud6nzeAkdjVP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w6Fk.Vqhxq9GEo1SAaZ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AheX.pCPrbr4qgERjm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w8EqmbbJ.NlxJyWtHz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NUC0WT483.BEM8MOd9K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o7EAzoc3MPsHkdc1oGN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YbtqPMlSouCTUMzHSXu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KvVOZLRLNT7i3mVhBC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pXCBQMjmIauoMrEsZy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yNH.DY06L1A3fEnUzD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t.sL7VcnojgwWJ3NPJ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Z1OkWixJPVVwKKj85WVw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Epsao4omuOCPkPuB10iA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GFevupJFF_dWJPfo6qA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uce4BMbzMbzNtOz6Vr_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iHNn89U_cHZwHRo1fP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_y7gGfwP2w0_I9PpB8Q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8qzVWl_DZgx9QJ0HTdc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sbwsh3tElZYYlLFdn53w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yPUIQqKUXLaqUawO.XNQ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grkO_ydHwAJSF3OJ9CA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p7Juhe6SEoKCKOajxfQ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f5AD1iDJnielcPIIV2Q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EaWvxzK0MwXXnqm62m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ePEdkCSzyMlloJXNvFA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cAW_a8U.r0w2HjTDGa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vmhVO4oj1j3fPI8OrtiA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Vi07rBx7e07mUXtif_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itpMcGan.eSPPwjm3jbg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fnUv8NFaX9K0IBMvTTA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3bliEr_ca.xwrbAhtEGw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uDzXqAMCLfCwMB84de0g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8w3b7SgRy5JiM9ZCHRQ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TDJ9PD30cRC3joEGx7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VHTPugOOaa8YQfZj5WEw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OsoeEsB25nZtBBrG.Qnw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PE4HsKh183UBJ24b1kBw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5iePA8PhSz0JBmSmENtg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3i5lCCm.C5Ml33YQCf1g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7ZV_L2uyHFbVGMtOiHw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eH2DOZRXtZzdnzZMAGW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ytl_rDc7F.6Y6KouEIU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0U.4EPR7SV4R75tRS14A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__zi0TZQUXKNIT1n.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IcGSTPT1nGiiwtF15ew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6rG3Flwi1r.4BhUE3TKg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4HnmeG2CigwDvmIVYXUA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l98vQxlC2XFlQYoCeHw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vCYjfbyzRrzjSWXAA_g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mxxqDdOhgiY7t.4Rm9Q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52oUWtRNSxoyKATZxMfg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x3ZYX.ML9B2q_FUUUWo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zQQoh6ae8KdSkKUJqtL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82fH4qICHoTKzh_v9j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9NyLptIq5CZy3BB3ep1w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W4X4ZoyM76zRx1xHxGw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g3Rbah073MaGG.qdHUA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pWF3Ol9FYwdTkdcAbb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2MhlJeysDnGlRXyv7xw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oq33mEocuwJdrYHOJJg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v2n4v2K6oNWebcWIEj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T.VKXeApnPqxtDdZY5Zw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G1WNDpQzA3uf20AevrPQ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8pvnVr0jfn_1tbVu6Rj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grdHBWHpbCxDCNk5Df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1QYH85t_2.p6T_yz7.Q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rrWmzzX1XMwSA2omTU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vYXWTXVxdI1jDseDhFw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2ROc9ac_W6SiYevbbpg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2zPR1oV3dd45c9uegsQ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BzaKw.NrZQCI3i0g_QMA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EDaP_j2mHs8BVOyiflg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GwMEyYN5Hw7yhZPCkVjQ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OgX4g0S_KzmkTicDq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GMO6q21cThBoRgxD4qY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6_g2pKmTiS2r0cVh1gA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lj0h428ZmZujCnGxpPLA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.Vhk_GUEdOELjLAlRTl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h4IBJM_N1Mm_eR39.fg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ZfupYN63TsYSR.fRYfg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3zi4diNXk4TvnVKQN0Jw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Lj54m1iDuN7rms.VXZOw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IGizZrtAWOyAM887pze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gSQH5TDV9GQKfF_Nc.g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RTddNbyAGzO6r8TVYKL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zIQ1t1u3MGgWhZPdmeQ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fIS0B.EHI7RLwf8QPakg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bvsYAbYM.RApfTx9Yv8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dBhOSerV2vEpfRznr5y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k1pd1GOxX_bZcXIHZFZA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wVzEzAt9rXS5uM1502A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SsRISC1G6i9RNoGetfz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XXySwYD1QDCilMlVVw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_3B7ebkTHbSwK.XuO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05uZvRdanj6forVEJ8g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Q1efySebEf5GMifIR4A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Lk1Nfe4R_W0KOUTlXTA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gUGs80uvSw5uL9HJt_A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205_bF7_DL_EckxNGOWg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W5unUXv16C5pswWJBRA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rEcvVLybgLc9eMIPtmg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XnrRT_byqh07PFIL.M9Q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EJUbBc4AaD6PUoDQioAw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s_ah8hQrWRNHJ31.vX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DisheoNZzpdVJ.15weQ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hwvNV6Km4boL0qMZG.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jSHIn2dm8WcyB5R1Viw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sRwggeDvtx48iJGrjExg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3jQSn7.BAcARd.IUBYg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WGdVqgLftqH.hzi1biA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KkB4bxsvh6AKkV22B0Q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k2fqb42YTWyg24I0zSA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J_JJQ5iaKVSeaep_n6.A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Rn7v0a7rcmOiGR87v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UovsBHqp2uxR245RZXA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p.oTP41xDIGkY8zZoR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StyPOZuecHvrFdWF9Bg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7yUeGrN4XmlQYahu.8g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p_QT_0zJOjH_i1AHbyRA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Z.cz6UyEkGVoSDE43jA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drknGyi97nV5snzRtaQ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2o8WHZtG4tAyI4WhHy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_0448DCB9QbpOL7HGmg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w_OIiLXusO8P0qqiE0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enCD6R0d2VFfJQ22yYQ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jszm8xsjNgx4C_on9Sg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CO8LWliZQtudi3LJvkuA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66jrQenPqhQqswkHlwTw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igrZcRZi9nSxJQhiE6w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Hq2fD9Wn7k1zM76HWmw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h6QDlr.QBlKjN8LCh7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J4ChdXHMsfX4qVH1dnBQ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1tJQWAyP.WNjR2qEl2Q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xNhQ_hmhj6b059n3Im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aifWGHGOsWH2O_UWlRcw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.yD609f3HVRNZv6JxGkg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Jr7GEuVqzyi9maUq8kg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cpUWNYOlW_ji4bm5r4A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8P9vXe2CQZgv_wis3qw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FWQ1hAlMR9SlChvi1ASw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u.ahBEg90jIG8I7E0Sw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S35OO1MX.k1tAh.oVLa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GdVrgF4fy2TWQZG_Mv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c94s8UOvVcfb3NBR0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jcOhigPkzgvxIEjrpmyg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8.7RqbSD2nD7B80qC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vA6h9gOLOdhajr.OTEnQ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zzHoqovBPRWsmyZke1hw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M9xycLqA7.OOfJBQYgA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HE7C4HGGQarJE_oJZLQ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_d.fEZlATlaxMSWLQ0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1iS_jVxDids.U2w9Raw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IGOsYhHOg1G5mIWo59A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cZyWiUTUfmHrS9naL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BqDVFA9ouGenp9tCwxQ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tzAfPYBBNEA6s2cpJSg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Usm14.XfeFwbvamXwBg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miUXaz4mtcof0sDWOjqQ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ipdHB3bX.l_wC18XEj7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RXzdm3VDcvn6kgcRLRTw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2AQYJGYXVhbcXXmhT1g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_xQDsxldkMhoYPmBPl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jJb0M7t_vDnuyFxPkRDw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1Z.pThWYF19b33QPbEyQ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3VivEOm7k2_cUPkqWIOg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ETXR7FbzKSSLAD7QRrg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mNeaKWvs86E1uOi5ewg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K7CmEjVsd6I8vadvcAKQ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.N1ql0rNeNqwxXK041Z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o7EAzoc3MPsHkdc1oGNA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pXCBQMjmIauoMrEsZyw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yNH.DY06L1A3fEnUzD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GFevupJFF_dWJPfo6qA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iHNn89U_cHZwHRo1fPA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t.sL7VcnojgwWJ3NPJw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bYzXgVZKtUTEuxoGdPw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Epsao4omuOCPkPuB10iA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h_LPIKr0ZoZO4ie00bg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Z1OkWixJPVVwKKj85WV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7eh78wikiJFWSc5iPWMQ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8WEePtDuPaaLet8GMczA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yPUIQqKUXLaqUawO.XNQ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r0Oi2F97JVwadlzQ8sN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wJ7.w8sSGgKzz6Q1.V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yXu_5_SdMDPjdiu6gEB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i0jocqaBCrmcr74K911A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POc4fMXd4_uDKSoTlOs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grkO_ydHwAJSF3OJ9C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nw91vdHgVeden9JZFBwg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Sf9qRM9MDMmgsGvOZ9d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p7Juhe6SEoKCKOajxfQ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f5AD1iDJnielcPIIV2Q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EaWvxzK0MwXXnqm62mA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ePEdkCSzyMlloJXNvFA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cAW_a8U.r0w2HjTDGaw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b_OaQX1.cRvr40cvOHA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473uAvALPX1iJILPG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Vi07rBx7e07mUXtif_Q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itpMcGan.eSPPwjm3jbg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RXMrIttvC2W9_cno3MNA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fnUv8NFaX9K0IBMvTT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gj6Wv0dyv8xENHCY5RQ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3bliEr_ca.xwrbAhtEGw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uDzXqAMCLfCwMB84de0g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HfW2JMyNb7amjL6J_7A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8w3b7SgRy5JiM9ZCHRQ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vmhVO4oj1j3fPI8Ort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TDJ9PD30cRC3joEGx7g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gtNfDdkZQLTBeK6wb8A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RchqSuYvf7gu34prapuA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jhl3NARQi7tqJvAZ9GXg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nfQHNQtQS5kvMP3XfcAQ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7FId84snS9abh223ZRw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GzI7SwS5iJhVU2Fpc1tQ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7ZV_L2uyHFbVGMtOiHw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HPnpFtBBAnG_xjXp5r0A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EbQB1eF6Wy1IR8eeh7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3o_oegvzYoMt1SHvsEjg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Atzge1DvW2XkofPnwFYA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l98vQxlC2XFlQYoCeHw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x3ZYX.ML9B2q_FUUUWo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zQQoh6ae8KdSkKUJqtL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oLdVdOOVYhDK0DZft2g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82fH4qICHoTKzh_v9j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9NyLptIq5CZy3BB3ep1w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W4X4ZoyM76zRx1xHxGw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35Qk8sPEP3xH4sU6EH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G1WNDpQzA3uf20AevrP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.Vhk_GUEdOELjLAlRTl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pWF3Ol9FYwdTkdcAbbA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oSOiCxWxgVPPcf6byfIw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rrWmzzX1XMwSA2omTU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v2n4v2K6oNWebcWIEjQ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T.VKXeApnPqxtDdZY5Zw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2zPR1oV3dd45c9uegsQ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g3Rbah073MaGG.qdHUA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8pvnVr0jfn_1tbVu6Rj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grdHBWHpbCxDCNk5Df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1QYH85t_2.p6T_yz7.Q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vYXWTXVxdI1jDseDhF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2ROc9ac_W6SiYevbbpg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BzaKw.NrZQCI3i0g_QMA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EDaP_j2mHs8BVOyiflg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OgX4g0S_KzmkTicDqlw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fIS0B.EHI7RLwf8QPakg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PW8rHgTCCJfeRobrUiA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.Qe3FBQAPMh0HhK8nyL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2OZ42Vn0PBY0ho.0fy3A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Agi6zwA4zhECcD59BROw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ZfupYN63TsYSR.fRYfg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2MhlJeysDnGlRXyv7xw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ld0JLieC5cvlNdAPiWtg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mxxqDdOhgiY7t.4Rm9Q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IGizZrtAWOyAM887pzeQ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RTddNbyAGzO6r8TVYKLQ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XKpfXOdWm7LswclkESA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3zi4diNXk4TvnVKQN0J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vCYjfbyzRrzjSWXAA_g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52oUWtRNSxoyKATZxMfg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8.7RqbSD2nD7B80qCA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SsRISC1G6i9RNoGetfz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wVzEzAt9rXS5uM1502A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_3B7ebkTHbSwK.XuO3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XXySwYD1QDCilMlVVw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Q1efySebEf5GMifIR4A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05uZvRdanj6forVEJ8g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W5unUXv16C5pswWJBR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Lk1Nfe4R_W0KOUTlXTA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gUGs80uvSw5uL9HJt_A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s_ah8hQrWRNHJ31.vXtg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205_bF7_DL_EckxNGOWg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sRwggeDvtx48iJGrjExg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rEcvVLybgLc9eMIPtmg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KkB4bxsvh6AKkV22B0Q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EJUbBc4AaD6PUoDQioAw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UovsBHqp2uxR245RZXA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DisheoNZzpdVJ.15we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p.oTP41xDIGkY8zZoRQ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hwvNV6Km4boL0qMZG.A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jSHIn2dm8WcyB5R1Viw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StyPOZuecHvrFdWF9Bg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3jQSn7.BAcARd.IUBYg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WGdVqgLftqH.hzi1biA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k2fqb42YTWyg24I0zSA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7yUeGrN4XmlQYahu.8g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Rn7v0a7rcmOiGR87vsw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p_QT_0zJOjH_i1AHby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Z.cz6UyEkGVoSDE43jA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drknGyi97nV5snzRtaQ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2o8WHZtG4tAyI4WhHyA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w_OIiLXusO8P0qqiE0g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enCD6R0d2VFfJQ22yYQ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jszm8xsjNgx4C_on9Sg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CO8LWliZQtudi3LJvkuA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66jrQenPqhQqswkHlwTw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igrZcRZi9nSxJQhiE6w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Hq2fD9Wn7k1zM76HW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J4ChdXHMsfX4qVH1dnBQ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_0448DCB9QbpOL7HGmg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h6QDlr.QBlKjN8LCh7g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1tJQWAyP.WNjR2qEl2Q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xNhQ_hmhj6b059n3ImA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aifWGHGOsWH2O_UWlRcw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.yD609f3HVRNZv6JxGkg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Jr7GEuVqzyi9maUq8kg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cpUWNYOlW_ji4bm5r4A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8P9vXe2CQZgv_wis3q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FWQ1hAlMR9SlChvi1ASw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u.ahBEg90jIG8I7E0Sw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S35OO1MX.k1tAh.oVLaQ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GdVrgF4fy2TWQZG_MvQ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XnrRT_byqh07PFIL.M9Q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c94s8UOvVcfb3NBR09Q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jcOhigPkzgvxIEjrpmyg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J_JJQ5iaKVSeaep_n6.A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vA6h9gOLOdhajr.OTEnQ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zzHoqovBPRWsmyZke1h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M9xycLqA7.OOfJBQYgA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HE7C4HGGQarJE_oJZLQ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_d.fEZlATlaxMSWLQ0Q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1iS_jVxDids.U2w9Raw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IGOsYhHOg1G5mIWo59A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cZyWiUTUfmHrS9naLVw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BqDVFA9ouGenp9tCwxQ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tzAfPYBBNEA6s2cpJSg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K7CmEjVsd6I8vadvcAK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_xQDsxldkMhoYPmBPlA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2AQYJGYXVhbcXXmhT1g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Usm14.XfeFwbvamXwBg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mNeaKWvs86E1uOi5ewg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3VivEOm7k2_cUPkqWIOg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SnfpyOjHI7WDHCFxZbFg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.kYCwdqUfY9GUsYdhDfg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K0tq7NOtCZTt85ROb3yQ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a7l0crikwmAe3rL0LW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cPpxcWSd3uLpWPppZ6qQ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K1yopPavRhNZKIF3KnyA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pXCBQMjmIauoMrEsZyw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bYzXgVZKtUTEuxoGdPw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t.sL7VcnojgwWJ3NPJw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4rlzwMRENCKD.j8mL4g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e62N_JLPyNzvVOeidYeQ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jn1SWktlPqIxcpJGraPw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zcaMGPHynDdLiZaLhk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OTpGPMrIeDlHdDZj7tAA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1FSu5PAucZ1Q4zLS5MIw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yPUIQqKUXLaqUawO.XNQ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aPNvGopg0ZwG4rFmk6fg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2RHB_M0sUVyJjbwRLU6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2t_lXhDCS1_cjWbQZxLg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grkO_ydHwAJSF3OJ9C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p7Juhe6SEoKCKOajxfQ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f5AD1iDJnielcPIIV2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EaWvxzK0MwXXnqm62mA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ePEdkCSzyMlloJXNvFA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cAW_a8U.r0w2HjTDGaw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FH3eW9lMpoDNhm7BnV_g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Vi07rBx7e07mUXtif_Q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8w3b7SgRy5JiM9ZCHRQ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itpMcGan.eSPPwjm3jbg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b_OaQX1.cRvr40cvOHA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RXMrIttvC2W9_cno3MN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fnUv8NFaX9K0IBMvTTA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gj6Wv0dyv8xENHCY5RQ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3bliEr_ca.xwrbAhtEGw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uDzXqAMCLfCwMB84de0g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HfW2JMyNb7amjL6J_7A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vmhVO4oj1j3fPI8OrtiA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TDJ9PD30cRC3joEGx7g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UeRSKeGhhYWvJGXcqswg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H6enflVgPiR7NSjS8OsA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CZkjVUhrC0dj51GyUT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AKZRGZ5s5QANMLEDwKRQ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7ZV_L2uyHFbVGMtOiHw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EbQB1eF6Wy1IR8eeh7w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l98vQxlC2XFlQYoCeHw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OgX4g0S_KzmkTicDqlw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RTddNbyAGzO6r8TVYKLQ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ZfupYN63TsYSR.fRYfg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2zPR1oV3dd45c9uegsQ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fIS0B.EHI7RLwf8QPakg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oLdVdOOVYhDK0DZft2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82fH4qICHoTKzh_v9jw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W4X4ZoyM76zRx1xHxGw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2OZ42Vn0PBY0ho.0fy3A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g3Rbah073MaGG.qdHUA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pWF3Ol9FYwdTkdcAbbA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oSOiCxWxgVPPcf6byfIw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rrWmzzX1XMwSA2omTUQ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T.VKXeApnPqxtDdZY5Zw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oq33mEocuwJdrYHOJJg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35Qk8sPEP3xH4sU6EH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sd1Gxr9wK.TA4x_nDOIQ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1QYH85t_2.p6T_yz7.Q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grdHBWHpbCxDCNk5DfQ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52oUWtRNSxoyKATZxMfg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vYXWTXVxdI1jDseDhFw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x3ZYX.ML9B2q_FUUUWow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rycAvN7gCwOVp87jJ_w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EDaP_j2mHs8BVOyiflg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8pvnVr0jfn_1tbVu6RjQ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6_g2pKmTiS2r0cVh1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ruiQLSpQjkoXg_Xe8fvg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bUnkiR.8ueY.aLbq.aWw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XKpfXOdWm7LswclkESA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2Wjc_k2ycJdbPTzK_9jw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hRQeLkUTpJ5XPowdwKfg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vCYjfbyzRrzjSWXAA_g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mxxqDdOhgiY7t.4Rm9Q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3zi4diNXk4TvnVKQN0Jw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v2n4v2K6oNWebcWIEjQ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2MhlJeysDnGlRXyv7x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GdVrgF4fy2TWQZG_MvQ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c94s8UOvVcfb3NBR09Q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S35OO1MX.k1tAh.oVLaQ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SsRISC1G6i9RNoGetfzA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XnrRT_byqh07PFIL.M9Q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jcOhigPkzgvxIEjrpmyg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8.7RqbSD2nD7B80qCA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_3B7ebkTHbSwK.XuO3A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wVzEzAt9rXS5uM1502A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Q1efySebEf5GMifIR4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XXySwYD1QDCilMlVVw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05uZvRdanj6forVEJ8g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W5unUXv16C5pswWJBRA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Lk1Nfe4R_W0KOUTlXTA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gUGs80uvSw5uL9HJt_A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s_ah8hQrWRNHJ31.vXtg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205_bF7_DL_EckxNGOWg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sRwggeDvtx48iJGrjExg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rEcvVLybgLc9eMIPtmg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EJUbBc4AaD6PUoDQioA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KkB4bxsvh6AKkV22B0Q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DisheoNZzpdVJ.15weQ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UovsBHqp2uxR245RZXA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hwvNV6Km4boL0qMZG.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jSHIn2dm8WcyB5R1Viw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p.oTP41xDIGkY8zZoR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3jQSn7.BAcARd.IUBYg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StyPOZuecHvrFdWF9Bg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7yUeGrN4XmlQYahu.8g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k2fqb42YTWyg24I0z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J_JJQ5iaKVSeaep_n6.A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Rn7v0a7rcmOiGR87vsw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p_QT_0zJOjH_i1AHbyRA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Z.cz6UyEkGVoSDE43jA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drknGyi97nV5snzRtaQ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2o8WHZtG4tAyI4WhHyA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w_OIiLXusO8P0qqiE0g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enCD6R0d2VFfJQ22yY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jszm8xsjNgx4C_on9Sg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CO8LWliZQtudi3LJvku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66jrQenPqhQqswkHlwTw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u.ahBEg90jIG8I7E0Sw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igrZcRZi9nSxJQhiE6w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Hq2fD9Wn7k1zM76HWmw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_0448DCB9QbpOL7HGmg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J4ChdXHMsfX4qVH1dnBQ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1tJQWAyP.WNjR2qEl2Q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xNhQ_hmhj6b059n3ImA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h6QDlr.QBlKjN8LCh7g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aifWGHGOsWH2O_UWlRc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.yD609f3HVRNZv6JxGkg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Jr7GEuVqzyi9maUq8kg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cpUWNYOlW_ji4bm5r4A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8P9vXe2CQZgv_wis3qw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FWQ1hAlMR9SlChvi1AS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WGdVqgLftqH.hzi1biA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vA6h9gOLOdhajr.OTEnQ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zzHoqovBPRWsmyZke1h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M9xycLqA7.OOfJBQYgA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HE7C4HGGQarJE_oJZL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_d.fEZlATlaxMSWLQ0Q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1iS_jVxDids.U2w9Raw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IGOsYhHOg1G5mIWo59A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cZyWiUTUfmHrS9naLVw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BqDVFA9ouGenp9tCwxQ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tzAfPYBBNEA6s2cpJSg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uLNx0KsjefmIqBVezce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tFRvWV0KmhbTK61I4nJg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Ykgd9c95mQSsqtirwtG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hlvxGPHtPZrXU5oUcblw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rJctcIFQdrBIokPTXZQ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Cg1_7zlzzAfwEDurIenw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T2aS6jLBjavhkfqjjEA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V0GzQO6hl0U7LtszaLWA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SXZE_lWRzzkH2RSK4E3w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62XcGWWvxW9zxDr_SRQ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HH7EFi0iyBYaVMtP.4zg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1ie8Vylj.Ax208ClS2cw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YtbnfVGyjO39eHPL11r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38IXowGAJ8s_CbMubkg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b8yPObw28W0fxIHxXezA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h.ttY6VLUymiWTRvDyog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VuM5gL_kjY02HS79yXwA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gAIy.1AzvS.S.9YH7XQ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gO8LR_sGqVkWj5nVSaQA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pRmkNkZXn_PPJYPxczpA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HOZ.bEaOmWRQE1WVUzg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7IL5FJRzBUUs6j9qzFSw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IXYvUzkqiN_sgu82L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53_BOnbGBG6DTGHO2ZdA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rn08hN1v1m2yy49cX8Qg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9MMa60lasZbPJl4aX5hA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fToSln3CNeOIJNXsBxw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ctOvOkNFaN4Z1HW_Mifg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5TUqa5xkVsTn07eSfwZQ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7Zax9BqnFEOF0fHwcGg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Ix.LC1VAcH1AxndZ9UQ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TW6GX84z5tbsrH0Zs0ug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lml6KhbebG9fAbc0G5i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aIsc6wAqokI894iTAO8g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fBFXyVdC9xTK6PEPNETA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bXeByf0V2L5WsKdJVEiA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.nswIunZyfB6GDOfU5w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u8GKyddQQw0fOeJkdXJw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5hT3ZO0oiZPpJhYqSqoQ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srT4V5chUnVXcwGnYPkw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w.T5bElDTMfOHrcpqcbw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x0t6t2LSc31pDTLajuA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fTlPXCR6Ve.FnYRvqm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63Rb8hNzLnpw2F6L2rUQ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32Qu56dnvmO7j0PKWN5w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ob.ROF0QNtEBCvRQSKUA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tU6pbFPgHV4HthoXdVWA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Ie1sa0yvomAuMdLvVOw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Wol32AImwT6dtiHN94w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043WpuZptUYq9CSfLD4Q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RTQZ6oE07qpYZMs_J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5ZcBZw3.gLvY6FcN84g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JHAT3_35qRuhL4vqIlMA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taBlCoTVfJe6OJPn8EA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Fa5ORmBhAHuljpcUMIA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V85JKVhJxdd_konkXTeA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Cp6tTi7sEbDpStl3Hkjg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R_Eyj9IK9n7wl4EFC0A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TQJ5j3QnXqGlDLT3Gw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Isji57rccozixjSptIw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h298LOh0ycVg_AuBEW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3rHndBL8HqznDH0CPyNQ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xYvB8WppMXTNzV1MGlw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wAA_JrTRz07ie7N3jVg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_rwbbMqk6MIaDppUX0_Q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aoS3dSvr2Lvj11um8rQ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vOviQtRfP0FvKtJLGcAA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P4bDwk_hx3787yEp0yw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vgFFaYvN6K9EBjxBHylg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xRBiX8yZQX6tfGkuQk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_j59trWQyERa1GIVa3aQ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xKvV7c5ve2Qk4M7kELw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wA8nfN6eAIug7eicaKQ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6OkayyrtegW7wlrnIZgQ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K0a35XIXQJ2kbzMz2qw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7I4Alw5f66VIawpfPA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5fUKaNlXKgXVvIdmZXOw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XDdPBgmgzk3gRk_sXAw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Ojh18LIqYr96qKqa3ZwA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O4RMHZEfaoXPUHULPAQ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_sILun9WwxEabY6o3Tg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8xmMYmtb5DWWRnAcDK4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bvTCRoZ9bQmltWBTjzQw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D5I.YhqjYAPoMPlBW9Rw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6kkSut4usT9BdATYn8cg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LF_s7ZF4ZcN.EKLbXNg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hFn2DnqAo_jq9l7oCkQ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v7RnyoMYsW7Cwfo5hL8A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5MgxukDD9evYq0zMi4GA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_XKCTxp3uh5DVL.Bo9A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fvYdFaWoX4So4E9PPkA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ssGhEe.Z8W223UY7_p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2QNMf6hHMuhwOHPALfQA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Wol32AImwT6dtiHN94w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043WpuZptUYq9CSfLD4Q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RTQZ6oE07qpYZMs_JY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5ZcBZw3.gLvY6FcN84g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Fa5ORmBhAHuljpcUMIA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Cp6tTi7sEbDpStl3Hkjg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R_Eyj9IK9n7wl4EFC0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TQJ5j3QnXqGlDLT3Gw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Isji57rccozixjSptIw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h298LOh0ycVg_AuBEWA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3rHndBL8HqznDH0CPyNQ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_rwbbMqk6MIaDppUX0_Q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aoS3dSvr2Lvj11um8rQ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vOviQtRfP0FvKtJLGcAA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P4bDwk_hx3787yEp0yw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vgFFaYvN6K9EBjxBHyl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xRBiX8yZQX6tfGkuQkg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wA8nfN6eAIug7eicaKQ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6OkayyrtegW7wlrnIZgQ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K0a35XIXQJ2kbzMz2qw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Y6Rn1Sqv_Be6bKBoJDxA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UQjZIChiGemrC5nrkhQ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7I4Alw5f66VIawpfPAQ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jZczPXvC9KuJP7Mcr6A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5fUKaNlXKgXVvIdmZXOw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WmzOejiXKjDYh4LZGdtA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XDdPBgmgzk3gRk_sXAw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Ojh18LIqYr96qKqa3Zw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O4RMHZEfaoXPUHULPAQ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_sILun9WwxEabY6o3Tg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8xmMYmtb5DWWRnAcDK4w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bvTCRoZ9bQmltWBTjzQw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LF_s7ZF4ZcN.EKLbXNg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hFn2DnqAo_jq9l7oCkQ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v7RnyoMYsW7Cwfo5hL8A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5MgxukDD9evYq0zMi4GA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_XKCTxp3uh5DVL.Bo9A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fvYdFaWoX4So4E9PPk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8tK1AK8UXxsSckXPQaQ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yYCUD3ks8AsNJluhJeQ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0JZ4aa6yYVrUikdRCXlQ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f36RT2Sjx0VnE2DYfwEw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xWHRalgfUxm3oQfVeSNg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aHI3FClJHWJv5pSVX59g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cPteFIw8sDaUG4sEp5A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ifelbQ23sp5LyWkKxkFg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d2I74KYwQZB9A_8uWl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le5xOpyqkJwErr7inag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7T.DynhaKwrtZEZGsVtg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37WFgKw4lwbqvlOhBXkw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Nc7I7F9VsgKf9kWGupVA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f3bo6quwYZs3NnqTj4Q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XoYtv2sX06cgGpBYgIA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iA2OyaRWgiXbJAU_4fw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xGyXUKwxPmMXuANZFrkw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wd6y9f7.aUDnS5sZc.zw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hyuumojkcArTnQPuTVK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DOrMFxJnISkPO.SwhMA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42WFReUEZI7fBt4qDtRQ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0R7ghQrMFfQaBYyciGMQ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xbaay..HCEfWGBiuBgA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nsVSiugzFiYGK2E9ymg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zbdKx1jvAqEbLJrLvRA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soHV_wglJzaakMoLfxQ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tin2CmKOr48d1oK3mMg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nDBObtxOoqCUiZYQOpw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.lDV1tXdkxJvC7VJe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.9eaHvxZT0yeK9ss9g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fQVJnPNWiYyddhvOhxQ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VYp1NGXFqpPn314kA.A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P5vx1YhBWrpehvsbQ0A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xf8QoDszpBfriYHeE6A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c.aVzCNJBVn1rArCuog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JWxjz2iuCGCPzfgh3wg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oUBb7_b16YSi2eJiwSg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jIyRZiHKa8G_h7OAuDw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OcDc6S6SKD37uK3iV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GJafmE8nkLjIdSODTA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mUa9rhkFHV5hs_wovqg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D9uGPs1FXtvqI_lhmEg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xhYEuaCDQa7R_cJ0jjFA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v29YPBuFB7WVI6SMUdQ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z3hvAr8U5B.6Qd1.4YA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HT2Xw5PK3Gg2OBN2VYQ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b7ESotlbrTqEMnctaIPg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xgg8AWCizzzhsBeLZVHA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enb3e8aWaKknqfrRQY8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27xQ72pEOEkP.6O0FuA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5nAEtearm5wLihLOUlQ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TWysV0wpXe53AMBis_wA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LVUJRAUsiBcE4cFr_C0Q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Naxhk91tm4tFLuuYeMA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idOj1RQBOAvnGR1_lSYA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hlqGWui4MBs2cko_Ik_A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thnRt9WyF5NX.MZsACxg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oMSuvcAA0jD2A_r.k7oA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_Larfe07sIwwESa09Imw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_dKlg6u0CRI.eYSi6d9w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pVioJCxyUEa64bUJDUg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yBNWRfX004a171GAHSQ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eqvsBCWTTpTuMhSVguw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qP6GvSvPnQkYdIy.DwUg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Vj68DSkoSVS53MSvXjmQ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XdssD2BxCbLZMgOjXx3w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zVDxbzDrQwnuybq21MFg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aXe__imWb_46M24Np1X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qpn63u963F9Y9duodzAw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zsrx4CfZ5Pe8vMDMC6A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zMi1eDju88yW9crfA3Q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0NjG9zgPR.LRnM48cXhw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MTA99RSuaexZVdLUoTxA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7CLgS5K4nhQ3LNdhVvHw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Cmv909EGkRiZJdyKBbfQ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HSKQ9azpdJWIe28cCtj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jy_dfR1SJGn2IOItj8Sw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Aa_TfRCwfsQFdKVzM0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i1OSx.k8VLFAt2prjhQ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pSsToa9oMbG_T9x82rkA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Fl1MoGn.OtzTyun.tzw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6ChhGVUbR2Y5xeVeJ9Q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aPlFEw.maAwsc1rYFSwA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LCEl6YKO.Tc2pjki.nQ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1wIgJ9isQcFd95tPNvQg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O7Dt0DjlAQdDWT4hB.fw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WLJHk1PLb0fpf_1zwww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aJ7hLAoYCMs4RmpoVcW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ij9P_q8CJeZh0mGn2Hg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nY.x_hBPqzYo6vM2Tp7Q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Bc8kZUMWpWTc4IcDo1GA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5_CEc5_ejFk7EVPCelOg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h76FGUOjHVCK7KcnH1RA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CHp4Rj1Gera2d.ZorLC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EUzGVDhPBzpGnG5thXkw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yb94jRQF0YY1cYH3_IKA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6CRugBPn.U_lt7vib.Qg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n9C36.xaJH9mt96G2ly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KJ1U8FbkLkI40Xa48Ew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5CKjWQ2_1556BGypbezA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UTW8HIXiN2B4kTQAcpbQ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0sP8BvXTENBh77UwbMfA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9QYL7wu_smF_sS6qH1g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yBNWRfX004a171GAHSQ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eqvsBCWTTpTuMhSVguw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aeKwM0wA8YEmfuKtaWA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lvoODIN1gk908AvFXPB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_xP20xNPE6.Xe5fHcBMw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5nk99eJUxSGzN0twtAqg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J4XDJx4ZX3D_.kGTz3bQ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bTLAlw_B9jbefoNOeVw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aBfDbKUuih.Gu.q8_wRw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qpn63u963F9Y9duodzAw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zsrx4CfZ5Pe8vMDMC6A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zMi1eDju88yW9crfA3Q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0NjG9zgPR.LRnM48cXhw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MTA99RSuaexZVdLUoTx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7CLgS5K4nhQ3LNdhVvHw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Cmv909EGkRiZJdyKBbfQ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HSKQ9azpdJWIe28cCtjw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jy_dfR1SJGn2IOItj8Sw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Aa_TfRCwfsQFdKVzM0A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i1OSx.k8VLFAt2prjhQ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pSsToa9oMbG_T9x82rkA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Fl1MoGn.OtzTyun.tzw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6ChhGVUbR2Y5xeVeJ9Q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aPlFEw.maAwsc1rYFS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LCEl6YKO.Tc2pjki.nQ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1wIgJ9isQcFd95tPNvQg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O7Dt0DjlAQdDWT4hB.fw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WLJHk1PLb0fpf_1zwww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aJ7hLAoYCMs4RmpoVcWw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ij9P_q8CJeZh0mGn2Hg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5_CEc5_ejFk7EVPCelOg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2pt.kW8jBC26BxgYIDxw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yBZYekUmm9SKIivfyr3g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ZPDuwfmjvnk9bzyg2G3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OFDW8.sFfxHfP8g9azpA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F1ySirv_HPoiLDhGzgPA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NjaDVhK3Br5TkpNnQEA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Puwqg_y.H3rLiYd5_4A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MA4YeAXCgHmkOKtHBKLQ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QNrFu6jqt3W6mw5u53zg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Bc3VHPPYmofx2.AXWNw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ZQ_GuK4E_Tha3ftpnHA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1Y7xTh5yztxy.jD6hDFA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j8KT3Jbqf8uRGIbMCX9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62gurQ_bbZzc43d0VEcQ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srN1o_lNdkJ4GUcaeug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VxjcJ1KmSH8OEl13kPg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Zn1WxP5i8NOCVYvrTTng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05uUwCo65JvV69DN2fg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HvRYCn_dgiWZAp_qJafw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IUx8t39GIPQpyraxieUw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uc6teTq.DhQWhlX08oog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_G2rSyQ1F8mgBk6CwzJg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vPwRn_q4rnqduEb_5T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0ws1NLKLYYMNRItngTVQ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Uy9tAxtPw04xWpFIG7g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.xC7Hf_ykch11h1e7zw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OIIjNVH9YAowpTZW6TvQ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n.GXqmLCpIrwl.err6A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leRHpTKQGPfbRukXHlzg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kGjjBD6rYVpc.VHPbfsQ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OvKnEn3V7JD3alNWjoAQ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_wfHhtI2ol9ANN.D29Q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OePI1C0my06hrNIGeu_w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dBrIwkkGm6ahJW120lg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MomNWuv0U3Zwo3xxCMhw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RSizH2T7DYbHRLJhCLjg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7I46WRTvaEzdF8PaGWhQ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AkDtkiATCln8EfQur.Xw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pOzfSqhyEYOzqNWsW6aw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WbPA0OdWEFFfOoefLLLw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wJitxBOdxCtF3EhiepPw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30j0HfiZPljRo3BzeS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D8Vh50T.fACoqPeaLS6w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P8kuiuDbXCvnObJtl6Bw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1_9qQPvAj5uyfX6x3ZQ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rtQcnr3oeTvxY66tdpQ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p6E495.MJiXlfAMbKLQ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p_HsVUBa.VPemz4dqgg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u4qryAYN8X0tdevAVtw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I0_3cJAPyMnpO.jPs0w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Fk2NW3KgRD70L0FHsAA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wjonR.yDyuqV.GGvff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ZkdmSBKwlKMTJ.8X4E2g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cKxWsjM0wJd0PUf_nCRA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22QY0h.gzYdt9wyMuxg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6F0T0Du6NLtxk3MF1xhQ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UHM8vRTyR6jKnWZKxa4g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1Md59YaWoxgHOtyl2dIg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O4pNSwa698qZx9_aW4Q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ZqyC1kWKWYQ3Sntq24Q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DqWsSTybBwiFFpz.j17Q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zF8K1ReHsswNWLIwuaA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A_wzSjJLfrW1hdnDTaQ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Op0_XaVISNHrOdci3mQ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P0JvFz8Zp7VzNInDA6Q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oqJ7wwaslPrZtQDigpVw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F2rNBdIwSIrkqNs9O.A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TtslT08bxB2TVFaQJQg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bN0_97mSilsQfBNou6fA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VDsDBe.pv80NXNjS0A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rJZtUjo4ePEI4Pw1W2kw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9cTXJo5rZ8D28sy8c9.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9B_SiDSB4VEsaWvHbt1w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pCZ04NVcWpYDHisLvfg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wQOIa4R8YS5YR4yw8fUw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gpwEf2N1yGBpzL0npwg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Gu1YXheMFMy59I8rVHw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C1owsW8poCcvOBRyY9g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EUPqdiRFdRT87FsT0LQ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hnpDybRi.zHpkia0k7VA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D_h4faPQe1A6i.3rQaw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K4f0BLeJTf_kl2Bmi8J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4osJd.5hJjFT3ixXpcPg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mzx6ON05yggciKF3tOgA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QcUp3Hcv5u1_kvRyFPng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F8HLnF2yYnhvZto8HmWw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x2mtMISdK.B0uaH1hRMw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iD6Qe8FznqJm_O.I7fb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2ay0R7MMO5SSOw3Wd4jA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62amqVSBkAd2AK6msqOg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KrHSH7PK5f_2RbGYeUIA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QQMkmIro4sL4Xu8dbK.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K7mcRTGHaUjv5sIhEHYA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1GuuiYQTamubHxlEbYA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lCNsQ6IlFj.2jgXFNA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0dWMfmn5bpjy93XaonLw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gmDIxx_vsvemhWXMZREQ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DsIu6HJmj.vu0_r3oCQ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zdjVmaR1db9ktEdz3wg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FTlDKpwWkaV7L3kXooQ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7r827oAFPGczv0oxB9lQ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Ku4MF__RuIFzR.OuRX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QEkfUAUp2ldPNhtoP5A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j_RBfLJykaDoxSucHrLg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kUiPcUJS9.TDM5eLO5g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AhjN7F6QIgHon_lCiX5Q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RLyNSd6w9QIuk4RlhU7g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Y9G5Bxi06iZikv0VAcw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1lwE1LcIw0LSsXy0Ybw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nTc.nymNJDiBBr21YziA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cAsCbdb7G24eO4p2cAg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MC5xkd4dAWADNStRzEs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44LOlxX0bCcb6TQEPbA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pE9WhxejRVO9dn5flu1g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K4H4MFaGPgf6KPI.dOg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jcZXe6B2X5YB93AuXTQ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7rlKeysqSx0BWwr2a0Q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9VaeOhJxnz0_hH0ZyuQ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Nl_ECqgJwrbASZRvLCg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L9zvGT9MbJOWNUzuT5w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71s8EfbIfUfSbDTZ0Kg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AMyNHvpDYFmFsK4H00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L_QemSY4O9zYq3jB1CeA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BbP8AHRSfUE8.i1YrD0A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r1BrUuGCbvOantR3XZA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jhoFF7zyXx.mvt78Giag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AmKrzoe8LdKfsBqPtxVA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OFFLpRPBvseSsLVKWlQ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oRS9hvNxnNcBf24INyIg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by4lJ.X7LNJ.Vhu7Kog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VIWTwTOxdnNM3mUd2zA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mpAw5qOjkQLkvHvZXn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EvQ90sJLXzOE8KM0vLg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3gPhV3SpyqY_1N_ckfA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CotNwgXPLhNmQ6EdcuRg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YlY5SNoOpdaN8pHxorGg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DZxvyykt.L7hYRc1DPxg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ATfpAV57.p8favLCYCAg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pwC3na71wNKELIgkwn7g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lUQB..gDvmG4Ad0uMpQ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rXyQReKvJJawssWacz9g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PNBk8Xrn_RJuktnaz8T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LJaV2YIaknS4zcVIzMZQ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GaOZ97iJZBWRULtYLfA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Pu7_9Ml_swnhqWjJ0Oyw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TcwIZiCmeird3aBKMTcw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JRp7n1vqpWX154JoblAA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PXgpg7t5RG5uyQUKskg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pAhn0TniHaC81aEuuPow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_Kgnv1hKfC9dDE1AEQg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cdrCUPQgeDVfeNOiSnWg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eovX_24SHk99i5DfTT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pZ36MJOvliXxlng1mw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i_AUfI5UAb2mEmlAEwA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Qf1nGrUvxes9faZ4yLQ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_nYp7Hxn_abILPMnrIHQ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ga6ZJgpIjUQGRJgBvHg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6lPOvvH0lTOXDDCCYqcA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PfNuubMyxsIHPvytNGlw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Vec99Os2abbEI.kJYAw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byyJtElZjvgK8749U1.Q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QMI3MOY5LQVP9EEc3Si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0z9Jlg5tdz8ygEc4Hwrg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brOOH4tIGa61.b.gXLWg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RQqhu6AFOKvU82ufRww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XTFDx8iD7vCtqluYRTA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tyCMXa1awn4RBafl_TA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l.PBtl5VVhSBQzXOBitg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iUZTmcDX8BFx9HK1fzCw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0rdXEaX2RS8Mx77Ky9vg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OvKnEn3V7JD3alNWjoA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2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_wfHhtI2ol9ANN.D29QA"/>
</p:tagLst>
</file>

<file path=ppt/tags/tag2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MSEX9uxXxcMe5rv0bPFg"/>
</p:tagLst>
</file>

<file path=ppt/tags/tag2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OePI1C0my06hrNIGeu_w"/>
</p:tagLst>
</file>

<file path=ppt/tags/tag2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4HRl7xLPdVy5z0Mwn5g"/>
</p:tagLst>
</file>

<file path=ppt/tags/tag2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k2ddVQOyzwDDThntivg"/>
</p:tagLst>
</file>

<file path=ppt/tags/tag2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IGEf53b4YlfKItqbagg"/>
</p:tagLst>
</file>

<file path=ppt/tags/tag2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MomNWuv0U3Zwo3xxCMhw"/>
</p:tagLst>
</file>

<file path=ppt/tags/tag2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_dAw2c6yxElg4GaYrQlg"/>
</p:tagLst>
</file>

<file path=ppt/tags/tag2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NHtZv5N_rJxOu9u5Fk9Q"/>
</p:tagLst>
</file>

<file path=ppt/tags/tag2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QBkVtKwOpr9nSFxv0g7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pOzfSqhyEYOzqNWsW6aw"/>
</p:tagLst>
</file>

<file path=ppt/tags/tag2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RSizH2T7DYbHRLJhCLjg"/>
</p:tagLst>
</file>

<file path=ppt/tags/tag2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pQKCKQBfiIK_8dKhSww"/>
</p:tagLst>
</file>

<file path=ppt/tags/tag2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ceDAMK71UC1v50mdhL4g"/>
</p:tagLst>
</file>

<file path=ppt/tags/tag2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sOQK90CmodVFxDvJNBWg"/>
</p:tagLst>
</file>

<file path=ppt/tags/tag2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GlQ.MVyNqR0ZHtcbHbQg"/>
</p:tagLst>
</file>

<file path=ppt/tags/tag2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NQxl9LaHD0dzscB4ayDg"/>
</p:tagLst>
</file>

<file path=ppt/tags/tag2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9I5J7p9Ouy7ZmmePGZkA"/>
</p:tagLst>
</file>

<file path=ppt/tags/tag2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rLz.dQCLqbRCcAkzlmw"/>
</p:tagLst>
</file>

<file path=ppt/tags/tag2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CVzmSUn6rK_wJCkkYG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wPSs0R.hMiK2eWg1i_fA"/>
</p:tagLst>
</file>

<file path=ppt/tags/tag2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EdpEi3GXL2y9Z.iui.A"/>
</p:tagLst>
</file>

<file path=ppt/tags/tag2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V.C.Vk6dL7aVAmZzwFA"/>
</p:tagLst>
</file>

<file path=ppt/tags/tag2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BuS3FH52ZACy25yDJYDw"/>
</p:tagLst>
</file>

<file path=ppt/tags/tag2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yHBqHVxhNyQYtVS_xkA"/>
</p:tagLst>
</file>

<file path=ppt/tags/tag2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6F0T0Du6NLtxk3MF1xhQ"/>
</p:tagLst>
</file>

<file path=ppt/tags/tag2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zF8K1ReHsswNWLIwuaAw"/>
</p:tagLst>
</file>

<file path=ppt/tags/tag2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P0JvFz8Zp7VzNInDA6Q"/>
</p:tagLst>
</file>

<file path=ppt/tags/tag2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oqJ7wwaslPrZtQDigpVw"/>
</p:tagLst>
</file>

<file path=ppt/tags/tag2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F2rNBdIwSIrkqNs9O.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9cTXJo5rZ8D28sy8c9.g"/>
</p:tagLst>
</file>

<file path=ppt/tags/tag2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rtQcnr3oeTvxY66tdpQ"/>
</p:tagLst>
</file>

<file path=ppt/tags/tag2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p6E495.MJiXlfAMbKLQ"/>
</p:tagLst>
</file>

<file path=ppt/tags/tag2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p_HsVUBa.VPemz4dqgg"/>
</p:tagLst>
</file>

<file path=ppt/tags/tag2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I0_3cJAPyMnpO.jPs0w"/>
</p:tagLst>
</file>

<file path=ppt/tags/tag2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Fk2NW3KgRD70L0FHsAA"/>
</p:tagLst>
</file>

<file path=ppt/tags/tag2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1Md59YaWoxgHOtyl2dIg"/>
</p:tagLst>
</file>

<file path=ppt/tags/tag2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22QY0h.gzYdt9wyMuxg"/>
</p:tagLst>
</file>

<file path=ppt/tags/tag2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O4pNSwa698qZx9_aW4Q"/>
</p:tagLst>
</file>

<file path=ppt/tags/tag2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ZqyC1kWKWYQ3Sntq24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cKxWsjM0wJd0PUf_nCRA"/>
</p:tagLst>
</file>

<file path=ppt/tags/tag2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wjonR.yDyuqV.GGvffA"/>
</p:tagLst>
</file>

<file path=ppt/tags/tag2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A_wzSjJLfrW1hdnDTaQ"/>
</p:tagLst>
</file>

<file path=ppt/tags/tag2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Op0_XaVISNHrOdci3mQ"/>
</p:tagLst>
</file>

<file path=ppt/tags/tag2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rJZtUjo4ePEI4Pw1W2kw"/>
</p:tagLst>
</file>

<file path=ppt/tags/tag2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UHM8vRTyR6jKnWZKxa4g"/>
</p:tagLst>
</file>

<file path=ppt/tags/tag2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TtslT08bxB2TVFaQJQg"/>
</p:tagLst>
</file>

<file path=ppt/tags/tag2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bN0_97mSilsQfBNou6fA"/>
</p:tagLst>
</file>

<file path=ppt/tags/tag2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u4qryAYN8X0tdevAVtw"/>
</p:tagLst>
</file>

<file path=ppt/tags/tag2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VDsDBe.pv80NXNjS0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gpwEf2N1yGBpzL0npwg"/>
</p:tagLst>
</file>

<file path=ppt/tags/tag2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9B_SiDSB4VEsaWvHbt1w"/>
</p:tagLst>
</file>

<file path=ppt/tags/tag2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pCZ04NVcWpYDHisLvfg"/>
</p:tagLst>
</file>

<file path=ppt/tags/tag2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wQOIa4R8YS5YR4yw8fUw"/>
</p:tagLst>
</file>

<file path=ppt/tags/tag2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ZkdmSBKwlKMTJ.8X4E2g"/>
</p:tagLst>
</file>

<file path=ppt/tags/tag2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DqWsSTybBwiFFpz.j17Q"/>
</p:tagLst>
</file>

<file path=ppt/tags/tag2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Gu1YXheMFMy59I8rVHw"/>
</p:tagLst>
</file>

<file path=ppt/tags/tag2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C1owsW8poCcvOBRyY9g"/>
</p:tagLst>
</file>

<file path=ppt/tags/tag2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XBH0MlnJxWttW5q_amA"/>
</p:tagLst>
</file>

<file path=ppt/tags/tag2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ITZpzQ3V.OpO1pziSf1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D_h4faPQe1A6i.3rQaw"/>
</p:tagLst>
</file>

<file path=ppt/tags/tag2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mzx6ON05yggciKF3tOgA"/>
</p:tagLst>
</file>

<file path=ppt/tags/tag2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2YgmVoxooV.h05rWm6sQ"/>
</p:tagLst>
</file>

<file path=ppt/tags/tag2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DvPGxOlt0Czz3U2vXj8g"/>
</p:tagLst>
</file>

<file path=ppt/tags/tag2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iD6Qe8FznqJm_O.I7fbA"/>
</p:tagLst>
</file>

<file path=ppt/tags/tag2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2ay0R7MMO5SSOw3Wd4jA"/>
</p:tagLst>
</file>

<file path=ppt/tags/tag2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62amqVSBkAd2AK6msqOg"/>
</p:tagLst>
</file>

<file path=ppt/tags/tag2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KrHSH7PK5f_2RbGYeUIA"/>
</p:tagLst>
</file>

<file path=ppt/tags/tag2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QQMkmIro4sL4Xu8dbK.A"/>
</p:tagLst>
</file>

<file path=ppt/tags/tag2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K7mcRTGHaUjv5sIhEH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1GuuiYQTamubHxlEbYA"/>
</p:tagLst>
</file>

<file path=ppt/tags/tag2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lCNsQ6IlFj.2jgXFNA"/>
</p:tagLst>
</file>

<file path=ppt/tags/tag2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0dWMfmn5bpjy93XaonLw"/>
</p:tagLst>
</file>

<file path=ppt/tags/tag2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gmDIxx_vsvemhWXMZREQ"/>
</p:tagLst>
</file>

<file path=ppt/tags/tag2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jcZXe6B2X5YB93AuXTQ"/>
</p:tagLst>
</file>

<file path=ppt/tags/tag2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DsIu6HJmj.vu0_r3oCQ"/>
</p:tagLst>
</file>

<file path=ppt/tags/tag2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FTlDKpwWkaV7L3kXooQ"/>
</p:tagLst>
</file>

<file path=ppt/tags/tag2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7r827oAFPGczv0oxB9lQ"/>
</p:tagLst>
</file>

<file path=ppt/tags/tag2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Ku4MF__RuIFzR.OuRXQ"/>
</p:tagLst>
</file>

<file path=ppt/tags/tag2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QEkfUAUp2ldPNhtoP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j_RBfLJykaDoxSucHrLg"/>
</p:tagLst>
</file>

<file path=ppt/tags/tag2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kUiPcUJS9.TDM5eLO5g"/>
</p:tagLst>
</file>

<file path=ppt/tags/tag2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AhjN7F6QIgHon_lCiX5Q"/>
</p:tagLst>
</file>

<file path=ppt/tags/tag2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RLyNSd6w9QIuk4RlhU7g"/>
</p:tagLst>
</file>

<file path=ppt/tags/tag2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Y9G5Bxi06iZikv0VAcw"/>
</p:tagLst>
</file>

<file path=ppt/tags/tag2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F8HLnF2yYnhvZto8HmWw"/>
</p:tagLst>
</file>

<file path=ppt/tags/tag2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1lwE1LcIw0LSsXy0Ybw"/>
</p:tagLst>
</file>

<file path=ppt/tags/tag2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nTc.nymNJDiBBr21YziA"/>
</p:tagLst>
</file>

<file path=ppt/tags/tag2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cAsCbdb7G24eO4p2cAg"/>
</p:tagLst>
</file>

<file path=ppt/tags/tag2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MC5xkd4dAWADNStRzEs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44LOlxX0bCcb6TQEPbA"/>
</p:tagLst>
</file>

<file path=ppt/tags/tag2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pE9WhxejRVO9dn5flu1g"/>
</p:tagLst>
</file>

<file path=ppt/tags/tag2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K4H4MFaGPgf6KPI.dOg"/>
</p:tagLst>
</file>

<file path=ppt/tags/tag2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x2mtMISdK.B0uaH1hRMw"/>
</p:tagLst>
</file>

<file path=ppt/tags/tag2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zdjVmaR1db9ktEdz3wg"/>
</p:tagLst>
</file>

<file path=ppt/tags/tag2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7rlKeysqSx0BWwr2a0Q"/>
</p:tagLst>
</file>

<file path=ppt/tags/tag2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Gt9_twQZM4tppQ332Y.w"/>
</p:tagLst>
</file>

<file path=ppt/tags/tag2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Nl_ECqgJwrbASZRvLCg"/>
</p:tagLst>
</file>

<file path=ppt/tags/tag2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lZisDshDBy37s2meZT4g"/>
</p:tagLst>
</file>

<file path=ppt/tags/tag2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71s8EfbIfUfSbDTZ0K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OFFLpRPBvseSsLVKWlQ"/>
</p:tagLst>
</file>

<file path=ppt/tags/tag2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T.jxF4Zq_YDKv5_VGzQ"/>
</p:tagLst>
</file>

<file path=ppt/tags/tag2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6fvkD4_CphnzV_FdDhtw"/>
</p:tagLst>
</file>

<file path=ppt/tags/tag2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by4lJ.X7LNJ.Vhu7Kog"/>
</p:tagLst>
</file>

<file path=ppt/tags/tag2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YRWyoRZBCCyXl9phPrg"/>
</p:tagLst>
</file>

<file path=ppt/tags/tag2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27AnT0Rirs08_qSbXPw"/>
</p:tagLst>
</file>

<file path=ppt/tags/tag2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OD.bf8ZYnJ14yTKQ41rw"/>
</p:tagLst>
</file>

<file path=ppt/tags/tag2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VIWTwTOxdnNM3mUd2zA"/>
</p:tagLst>
</file>

<file path=ppt/tags/tag2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.XsNri72jXvLkAjA8j3g"/>
</p:tagLst>
</file>

<file path=ppt/tags/tag2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W_rM_cPeAyWpG.yaa9F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CDoADGlUIpUG3u4Gabjg"/>
</p:tagLst>
</file>

<file path=ppt/tags/tag2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heNswatakHs8UiDfKZw"/>
</p:tagLst>
</file>

<file path=ppt/tags/tag2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mpAw5qOjkQLkvHvZXnw"/>
</p:tagLst>
</file>

<file path=ppt/tags/tag2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YlY5SNoOpdaN8pHxorGg"/>
</p:tagLst>
</file>

<file path=ppt/tags/tag2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3gPhV3SpyqY_1N_ckfA"/>
</p:tagLst>
</file>

<file path=ppt/tags/tag2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CotNwgXPLhNmQ6EdcuRg"/>
</p:tagLst>
</file>

<file path=ppt/tags/tag2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DZxvyykt.L7hYRc1DPxg"/>
</p:tagLst>
</file>

<file path=ppt/tags/tag2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ATfpAV57.p8favLCYCAg"/>
</p:tagLst>
</file>

<file path=ppt/tags/tag2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pwC3na71wNKELIgkwn7g"/>
</p:tagLst>
</file>

<file path=ppt/tags/tag2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lUQB..gDvmG4Ad0uM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rXyQReKvJJawssWacz9g"/>
</p:tagLst>
</file>

<file path=ppt/tags/tag2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PNBk8Xrn_RJuktnaz8Tw"/>
</p:tagLst>
</file>

<file path=ppt/tags/tag2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LJaV2YIaknS4zcVIzMZQ"/>
</p:tagLst>
</file>

<file path=ppt/tags/tag2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GaOZ97iJZBWRULtYLfA"/>
</p:tagLst>
</file>

<file path=ppt/tags/tag2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eovX_24SHk99i5DfTTA"/>
</p:tagLst>
</file>

<file path=ppt/tags/tag2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ga6ZJgpIjUQGRJgBvHg"/>
</p:tagLst>
</file>

<file path=ppt/tags/tag2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pAhn0TniHaC81aEuuPow"/>
</p:tagLst>
</file>

<file path=ppt/tags/tag2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Pu7_9Ml_swnhqWjJ0Oyw"/>
</p:tagLst>
</file>

<file path=ppt/tags/tag2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cdrCUPQgeDVfeNOiSnWg"/>
</p:tagLst>
</file>

<file path=ppt/tags/tag2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pZ36MJOvliXxlng1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_Kgnv1hKfC9dDE1AEQg"/>
</p:tagLst>
</file>

<file path=ppt/tags/tag2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i_AUfI5UAb2mEmlAEwA"/>
</p:tagLst>
</file>

<file path=ppt/tags/tag2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Qf1nGrUvxes9faZ4yLQ"/>
</p:tagLst>
</file>

<file path=ppt/tags/tag2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TcwIZiCmeird3aBKMTcw"/>
</p:tagLst>
</file>

<file path=ppt/tags/tag2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_nYp7Hxn_abILPMnrIHQ"/>
</p:tagLst>
</file>

<file path=ppt/tags/tag2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JRp7n1vqpWX154JoblAA"/>
</p:tagLst>
</file>

<file path=ppt/tags/tag2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EvQ90sJLXzOE8KM0vLg"/>
</p:tagLst>
</file>

<file path=ppt/tags/tag2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PfNuubMyxsIHPvytNGlw"/>
</p:tagLst>
</file>

<file path=ppt/tags/tag2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Vec99Os2abbEI.kJYAw"/>
</p:tagLst>
</file>

<file path=ppt/tags/tag2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PXgpg7t5RG5uyQUKsk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byyJtElZjvgK8749U1.Q"/>
</p:tagLst>
</file>

<file path=ppt/tags/tag2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6lPOvvH0lTOXDDCCYqcA"/>
</p:tagLst>
</file>

<file path=ppt/tags/tag2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QMI3MOY5LQVP9EEc3Sig"/>
</p:tagLst>
</file>

<file path=ppt/tags/tag2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0z9Jlg5tdz8ygEc4Hwrg"/>
</p:tagLst>
</file>

<file path=ppt/tags/tag2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brOOH4tIGa61.b.gXLWg"/>
</p:tagLst>
</file>

<file path=ppt/tags/tag2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RQqhu6AFOKvU82ufRww"/>
</p:tagLst>
</file>

<file path=ppt/tags/tag2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XTFDx8iD7vCtqluYRTA"/>
</p:tagLst>
</file>

<file path=ppt/tags/tag2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tyCMXa1awn4RBafl_TA"/>
</p:tagLst>
</file>

<file path=ppt/tags/tag2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l.PBtl5VVhSBQzXOBitg"/>
</p:tagLst>
</file>

<file path=ppt/tags/tag2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iUZTmcDX8BFx9HK1fzC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0rdXEaX2RS8Mx77Ky9vg"/>
</p:tagLst>
</file>

<file path=ppt/tags/tag2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OvKnEn3V7JD3alNWjoAQ"/>
</p:tagLst>
</file>

<file path=ppt/tags/tag2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d5bTRiyg.ATDVbcZrPw"/>
</p:tagLst>
</file>

<file path=ppt/tags/tag2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kaGW2g2.SydMr.IerVFQ"/>
</p:tagLst>
</file>

<file path=ppt/tags/tag2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OePI1C0my06hrNIGeu_w"/>
</p:tagLst>
</file>

<file path=ppt/tags/tag2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MomNWuv0U3Zwo3xxCMhw"/>
</p:tagLst>
</file>

<file path=ppt/tags/tag2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sOQK90CmodVFxDvJNBWg"/>
</p:tagLst>
</file>

<file path=ppt/tags/tag2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.31zXKbZw7tu07Y_Ozw"/>
</p:tagLst>
</file>

<file path=ppt/tags/tag2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zF8K1ReHsswNWLIwuaA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P0JvFz8Zp7VzNInDA6Q"/>
</p:tagLst>
</file>

<file path=ppt/tags/tag2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oqJ7wwaslPrZtQDigpVw"/>
</p:tagLst>
</file>

<file path=ppt/tags/tag2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F2rNBdIwSIrkqNs9O.A"/>
</p:tagLst>
</file>

<file path=ppt/tags/tag2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9cTXJo5rZ8D28sy8c9.g"/>
</p:tagLst>
</file>

<file path=ppt/tags/tag2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rtQcnr3oeTvxY66tdpQ"/>
</p:tagLst>
</file>

<file path=ppt/tags/tag2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p6E495.MJiXlfAMbKLQ"/>
</p:tagLst>
</file>

<file path=ppt/tags/tag2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p_HsVUBa.VPemz4dqgg"/>
</p:tagLst>
</file>

<file path=ppt/tags/tag2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u4qryAYN8X0tdevAVtw"/>
</p:tagLst>
</file>

<file path=ppt/tags/tag2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I0_3cJAPyMnpO.jPs0w"/>
</p:tagLst>
</file>

<file path=ppt/tags/tag2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Fk2NW3KgRD70L0FHsA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wjonR.yDyuqV.GGvffA"/>
</p:tagLst>
</file>

<file path=ppt/tags/tag2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ZkdmSBKwlKMTJ.8X4E2g"/>
</p:tagLst>
</file>

<file path=ppt/tags/tag2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cKxWsjM0wJd0PUf_nCRA"/>
</p:tagLst>
</file>

<file path=ppt/tags/tag2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UHM8vRTyR6jKnWZKxa4g"/>
</p:tagLst>
</file>

<file path=ppt/tags/tag2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1Md59YaWoxgHOtyl2dIg"/>
</p:tagLst>
</file>

<file path=ppt/tags/tag2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O4pNSwa698qZx9_aW4Q"/>
</p:tagLst>
</file>

<file path=ppt/tags/tag2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ZqyC1kWKWYQ3Sntq24Q"/>
</p:tagLst>
</file>

<file path=ppt/tags/tag2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DqWsSTybBwiFFpz.j17Q"/>
</p:tagLst>
</file>

<file path=ppt/tags/tag2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6F0T0Du6NLtxk3MF1xhQ"/>
</p:tagLst>
</file>

<file path=ppt/tags/tag2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A_wzSjJLfrW1hdnDTa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Op0_XaVISNHrOdci3mQ"/>
</p:tagLst>
</file>

<file path=ppt/tags/tag2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rJZtUjo4ePEI4Pw1W2kw"/>
</p:tagLst>
</file>

<file path=ppt/tags/tag2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TtslT08bxB2TVFaQJQg"/>
</p:tagLst>
</file>

<file path=ppt/tags/tag2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bN0_97mSilsQfBNou6fA"/>
</p:tagLst>
</file>

<file path=ppt/tags/tag2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VDsDBe.pv80NXNjS0A"/>
</p:tagLst>
</file>

<file path=ppt/tags/tag2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gpwEf2N1yGBpzL0npwg"/>
</p:tagLst>
</file>

<file path=ppt/tags/tag2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9B_SiDSB4VEsaWvHbt1w"/>
</p:tagLst>
</file>

<file path=ppt/tags/tag2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pCZ04NVcWpYDHisLvfg"/>
</p:tagLst>
</file>

<file path=ppt/tags/tag2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wQOIa4R8YS5YR4yw8fUw"/>
</p:tagLst>
</file>

<file path=ppt/tags/tag2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22QY0h.gzYdt9wyMux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2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XPkx870IyvaF7M4XKmHA"/>
</p:tagLst>
</file>

<file path=ppt/tags/tag2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Uonts7Q.ov5dVA_5Pwg"/>
</p:tagLst>
</file>

<file path=ppt/tags/tag2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ITZpzQ3V.OpO1pziSf1w"/>
</p:tagLst>
</file>

<file path=ppt/tags/tag2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34ik6KmzLDgtf5iMcISw"/>
</p:tagLst>
</file>

<file path=ppt/tags/tag2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D_h4faPQe1A6i.3rQaw"/>
</p:tagLst>
</file>

<file path=ppt/tags/tag2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QqwFNnX7GOdoFDS1Yjg"/>
</p:tagLst>
</file>

<file path=ppt/tags/tag2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pLV9CFCzu.qMS17zykFQ"/>
</p:tagLst>
</file>

<file path=ppt/tags/tag2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hLmbLDDjVlhYVA9Udkzg"/>
</p:tagLst>
</file>

<file path=ppt/tags/tag2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.DXFP9EWqyP5LiKah56w"/>
</p:tagLst>
</file>

<file path=ppt/tags/tag2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LrRUI.7xNeCvErOXYWb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bsbX188SRmtFugeTZsxQ"/>
</p:tagLst>
</file>

<file path=ppt/tags/tag2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W5qOTQ.CEsqvntLmMBA"/>
</p:tagLst>
</file>

<file path=ppt/tags/tag2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WG9Uu2VJu8QgXnyM8G7w"/>
</p:tagLst>
</file>

<file path=ppt/tags/tag2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DvPGxOlt0Czz3U2vXj8g"/>
</p:tagLst>
</file>

<file path=ppt/tags/tag2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F8HLnF2yYnhvZto8HmWw"/>
</p:tagLst>
</file>

<file path=ppt/tags/tag2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iD6Qe8FznqJm_O.I7fbA"/>
</p:tagLst>
</file>

<file path=ppt/tags/tag2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2ay0R7MMO5SSOw3Wd4jA"/>
</p:tagLst>
</file>

<file path=ppt/tags/tag2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62amqVSBkAd2AK6msqOg"/>
</p:tagLst>
</file>

<file path=ppt/tags/tag2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KrHSH7PK5f_2RbGYeUIA"/>
</p:tagLst>
</file>

<file path=ppt/tags/tag2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x2mtMISdK.B0uaH1hR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2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QQMkmIro4sL4Xu8dbK.A"/>
</p:tagLst>
</file>

<file path=ppt/tags/tag2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K7mcRTGHaUjv5sIhEHYA"/>
</p:tagLst>
</file>

<file path=ppt/tags/tag2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1GuuiYQTamubHxlEbYA"/>
</p:tagLst>
</file>

<file path=ppt/tags/tag2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lCNsQ6IlFj.2jgXFNA"/>
</p:tagLst>
</file>

<file path=ppt/tags/tag2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0dWMfmn5bpjy93XaonLw"/>
</p:tagLst>
</file>

<file path=ppt/tags/tag2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jcZXe6B2X5YB93AuXTQ"/>
</p:tagLst>
</file>

<file path=ppt/tags/tag2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DsIu6HJmj.vu0_r3oCQ"/>
</p:tagLst>
</file>

<file path=ppt/tags/tag2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gmDIxx_vsvemhWXMZREQ"/>
</p:tagLst>
</file>

<file path=ppt/tags/tag2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QEkfUAUp2ldPNhtoP5A"/>
</p:tagLst>
</file>

<file path=ppt/tags/tag2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j_RBfLJykaDoxSucHr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7r827oAFPGczv0oxB9lQ"/>
</p:tagLst>
</file>

<file path=ppt/tags/tag3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kUiPcUJS9.TDM5eLO5g"/>
</p:tagLst>
</file>

<file path=ppt/tags/tag3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AhjN7F6QIgHon_lCiX5Q"/>
</p:tagLst>
</file>

<file path=ppt/tags/tag3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zdjVmaR1db9ktEdz3wg"/>
</p:tagLst>
</file>

<file path=ppt/tags/tag3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Y9G5Bxi06iZikv0VAcw"/>
</p:tagLst>
</file>

<file path=ppt/tags/tag3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1lwE1LcIw0LSsXy0Ybw"/>
</p:tagLst>
</file>

<file path=ppt/tags/tag3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nTc.nymNJDiBBr21YziA"/>
</p:tagLst>
</file>

<file path=ppt/tags/tag3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cAsCbdb7G24eO4p2cAg"/>
</p:tagLst>
</file>

<file path=ppt/tags/tag3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RLyNSd6w9QIuk4RlhU7g"/>
</p:tagLst>
</file>

<file path=ppt/tags/tag3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FTlDKpwWkaV7L3kXoo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3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44LOlxX0bCcb6TQEPbA"/>
</p:tagLst>
</file>

<file path=ppt/tags/tag3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K4H4MFaGPgf6KPI.dOg"/>
</p:tagLst>
</file>

<file path=ppt/tags/tag3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Ku4MF__RuIFzR.OuRXQ"/>
</p:tagLst>
</file>

<file path=ppt/tags/tag3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MC5xkd4dAWADNStRzEsg"/>
</p:tagLst>
</file>

<file path=ppt/tags/tag3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7rlKeysqSx0BWwr2a0Q"/>
</p:tagLst>
</file>

<file path=ppt/tags/tag3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nvqfIkhdhcBLkjv_rHUg"/>
</p:tagLst>
</file>

<file path=ppt/tags/tag3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Nl_ECqgJwrbASZRvLCg"/>
</p:tagLst>
</file>

<file path=ppt/tags/tag3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71s8EfbIfUfSbDTZ0Kg"/>
</p:tagLst>
</file>

<file path=ppt/tags/tag3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9JVC4hM2oTmgxoje452w"/>
</p:tagLst>
</file>

<file path=ppt/tags/tag3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B0ivwIAoec2zhHcgU8.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heNswatakHs8UiDfKZw"/>
</p:tagLst>
</file>

<file path=ppt/tags/tag3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YRWyoRZBCCyXl9phPrg"/>
</p:tagLst>
</file>

<file path=ppt/tags/tag3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SrsWwVJ7TVnwCqH8dqlw"/>
</p:tagLst>
</file>

<file path=ppt/tags/tag3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3gPhV3SpyqY_1N_ckfA"/>
</p:tagLst>
</file>

<file path=ppt/tags/tag3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CotNwgXPLhNmQ6EdcuRg"/>
</p:tagLst>
</file>

<file path=ppt/tags/tag3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DZxvyykt.L7hYRc1DPxg"/>
</p:tagLst>
</file>

<file path=ppt/tags/tag3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ATfpAV57.p8favLCYCAg"/>
</p:tagLst>
</file>

<file path=ppt/tags/tag3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pwC3na71wNKELIgkwn7g"/>
</p:tagLst>
</file>

<file path=ppt/tags/tag3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lUQB..gDvmG4Ad0uMpQ"/>
</p:tagLst>
</file>

<file path=ppt/tags/tag3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rXyQReKvJJawssWacz9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3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PNBk8Xrn_RJuktnaz8Tw"/>
</p:tagLst>
</file>

<file path=ppt/tags/tag3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LJaV2YIaknS4zcVIzMZQ"/>
</p:tagLst>
</file>

<file path=ppt/tags/tag3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GaOZ97iJZBWRULtYLfA"/>
</p:tagLst>
</file>

<file path=ppt/tags/tag3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eovX_24SHk99i5DfTTA"/>
</p:tagLst>
</file>

<file path=ppt/tags/tag3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ga6ZJgpIjUQGRJgBvHg"/>
</p:tagLst>
</file>

<file path=ppt/tags/tag3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_Kgnv1hKfC9dDE1AEQg"/>
</p:tagLst>
</file>

<file path=ppt/tags/tag3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Pu7_9Ml_swnhqWjJ0Oyw"/>
</p:tagLst>
</file>

<file path=ppt/tags/tag3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TcwIZiCmeird3aBKMTcw"/>
</p:tagLst>
</file>

<file path=ppt/tags/tag3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JRp7n1vqpWX154JoblAA"/>
</p:tagLst>
</file>

<file path=ppt/tags/tag3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PXgpg7t5RG5uyQUKsk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pAhn0TniHaC81aEuuPow"/>
</p:tagLst>
</file>

<file path=ppt/tags/tag3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mpAw5qOjkQLkvHvZXnw"/>
</p:tagLst>
</file>

<file path=ppt/tags/tag3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cdrCUPQgeDVfeNOiSnWg"/>
</p:tagLst>
</file>

<file path=ppt/tags/tag3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pZ36MJOvliXxlng1mw"/>
</p:tagLst>
</file>

<file path=ppt/tags/tag3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i_AUfI5UAb2mEmlAEwA"/>
</p:tagLst>
</file>

<file path=ppt/tags/tag3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Qf1nGrUvxes9faZ4yLQ"/>
</p:tagLst>
</file>

<file path=ppt/tags/tag3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_nYp7Hxn_abILPMnrIHQ"/>
</p:tagLst>
</file>

<file path=ppt/tags/tag3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YlY5SNoOpdaN8pHxorGg"/>
</p:tagLst>
</file>

<file path=ppt/tags/tag3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QMI3MOY5LQVP9EEc3Sig"/>
</p:tagLst>
</file>

<file path=ppt/tags/tag3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PfNuubMyxsIHPvytNG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PsOpd.6JHANAQUEI9DQ"/>
</p:tagLst>
</file>

<file path=ppt/tags/tag3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EvQ90sJLXzOE8KM0vLg"/>
</p:tagLst>
</file>

<file path=ppt/tags/tag3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Vec99Os2abbEI.kJYAw"/>
</p:tagLst>
</file>

<file path=ppt/tags/tag3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byyJtElZjvgK8749U1.Q"/>
</p:tagLst>
</file>

<file path=ppt/tags/tag3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6lPOvvH0lTOXDDCCYqcA"/>
</p:tagLst>
</file>

<file path=ppt/tags/tag3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k5xs7d8Gq_Np7tmycdXw"/>
</p:tagLst>
</file>

<file path=ppt/tags/tag3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Ps6nPZJu2fOKFdRReesg"/>
</p:tagLst>
</file>

<file path=ppt/tags/tag3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7L0k3_WT_4vCLWLEOCoA"/>
</p:tagLst>
</file>

<file path=ppt/tags/tag3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7bs3._7sJJ.BwnFMc0YQ"/>
</p:tagLst>
</file>

<file path=ppt/tags/tag3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HuDK552MA9EEePrSXnA"/>
</p:tagLst>
</file>

<file path=ppt/tags/tag3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LkzxW9rZOGkAb0bkati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fq9pfX0G9KgkfxdKGZPg"/>
</p:tagLst>
</file>

<file path=ppt/tags/tag3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t985TqSyP.avYkc4u.TA"/>
</p:tagLst>
</file>

<file path=ppt/tags/tag3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3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3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3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3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3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3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h3LmzmTGH1cTORKVLOQ"/>
</p:tagLst>
</file>

<file path=ppt/tags/tag3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3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3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IRl0OsgvZNSY4iIUKpQ"/>
</p:tagLst>
</file>

<file path=ppt/tags/tag3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3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3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3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3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3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0S9IctRyI0WABNwQ_AQ"/>
</p:tagLst>
</file>

<file path=ppt/tags/tag3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_EV618fTrhlO3TKqpPm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3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OZ5WrfxOu3uHujP8NYQ"/>
</p:tagLst>
</file>

<file path=ppt/tags/tag3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3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3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3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3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wteOKpiuGCfKMizW6qdw"/>
</p:tagLst>
</file>

<file path=ppt/tags/tag3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3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3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d0l_xB_N9pahjgCOr.Q"/>
</p:tagLst>
</file>

<file path=ppt/tags/tag3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3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3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3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3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3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3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3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3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3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3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3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3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3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3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k1KmoB3R6ctcafvW7gA"/>
</p:tagLst>
</file>

<file path=ppt/tags/tag3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3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3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3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Ivskv7URwaezAXCjc80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WfxQJ4WD.rxCYc7Od3Q"/>
</p:tagLst>
</file>

<file path=ppt/tags/tag3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3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3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3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3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3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3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3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3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3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3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3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3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3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3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3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3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3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1sokfOD3S1vNXfwD4iA"/>
</p:tagLst>
</file>

<file path=ppt/tags/tag3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3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3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3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0S9IctRyI0WABNwQ_AQ"/>
</p:tagLst>
</file>

<file path=ppt/tags/tag3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_EV618fTrhlO3TKqpPmg"/>
</p:tagLst>
</file>

<file path=ppt/tags/tag3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3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OZ5WrfxOu3uHujP8NYQ"/>
</p:tagLst>
</file>

<file path=ppt/tags/tag3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wteOKpiuGCfKMizW6qdw"/>
</p:tagLst>
</file>

<file path=ppt/tags/tag3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3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3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3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3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3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3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3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3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3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3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v_cJUFt0oauEpCA5NTQ"/>
</p:tagLst>
</file>

<file path=ppt/tags/tag3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3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3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3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3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3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3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3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3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3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k1KmoB3R6ctcafvW7gA"/>
</p:tagLst>
</file>

<file path=ppt/tags/tag3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3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3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3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Ivskv7URwaezAXCjc80Q"/>
</p:tagLst>
</file>

<file path=ppt/tags/tag3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3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3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3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3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XGkF5Q1bC.HLyGbCu8g"/>
</p:tagLst>
</file>

<file path=ppt/tags/tag3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3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3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3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3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UIHRn0RT3gy7l3Il8ug"/>
</p:tagLst>
</file>

<file path=ppt/tags/tag3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3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3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3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3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3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3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IRl0OsgvZNSY4iIUKpQ"/>
</p:tagLst>
</file>

<file path=ppt/tags/tag3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wnc55sDNbW_y2t1m8jg"/>
</p:tagLst>
</file>

<file path=ppt/tags/tag3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3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3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3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3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5OVUIaxU2_vqYYpxlZvA"/>
</p:tagLst>
</file>

<file path=ppt/tags/tag3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3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3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3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3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3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3PNK4qTOAr2ZTmvGSHA"/>
</p:tagLst>
</file>

<file path=ppt/tags/tag3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3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3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3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VLTz_TX2026XNrcgeva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3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BrTpVt6GK2MyduvzrEwg"/>
</p:tagLst>
</file>

<file path=ppt/tags/tag3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3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712GWPRoKDuOM77Qe3Q"/>
</p:tagLst>
</file>

<file path=ppt/tags/tag3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3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3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3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3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gYvGdX6SJHt1fT96bNaw"/>
</p:tagLst>
</file>

<file path=ppt/tags/tag3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S6wGsnXhqTRcf8Ex0.b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T9fRDEmJgiHQ6IWFpw"/>
</p:tagLst>
</file>

<file path=ppt/tags/tag3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3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3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3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3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3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3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3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3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3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3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3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3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3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hE8YT_bA9ii8R6mj7g"/>
</p:tagLst>
</file>

<file path=ppt/tags/tag3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46YQCrfyyZUMMrpG14Iw"/>
</p:tagLst>
</file>

<file path=ppt/tags/tag3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iTUv1zI2sG4ElH8YW7Q"/>
</p:tagLst>
</file>

<file path=ppt/tags/tag3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sQxltnY4q.5NxKR2fXA"/>
</p:tagLst>
</file>

<file path=ppt/tags/tag3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9UOjDvF9KSmL1FPeI_2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2ri68MuKDFeFBf8T85KA"/>
</p:tagLst>
</file>

<file path=ppt/tags/tag3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Z6Q1FF3C.3F59uBZnA"/>
</p:tagLst>
</file>

<file path=ppt/tags/tag3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KXAgL__ZYZhKSHWupCA"/>
</p:tagLst>
</file>

<file path=ppt/tags/tag3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92SrRbMCHcDL3wyUaxQ"/>
</p:tagLst>
</file>

<file path=ppt/tags/tag3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YYeXJGvMnd2zhR07QvQ"/>
</p:tagLst>
</file>

<file path=ppt/tags/tag3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2Hya0Xbe1aL_G3fKC2gg"/>
</p:tagLst>
</file>

<file path=ppt/tags/tag3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0r26s8jPyx0QPLB90WWw"/>
</p:tagLst>
</file>

<file path=ppt/tags/tag3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Xp6t7lhtQs6jF6l4idA"/>
</p:tagLst>
</file>

<file path=ppt/tags/tag3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ffa3heiCWYYBduR151QQ"/>
</p:tagLst>
</file>

<file path=ppt/tags/tag3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OscKRIaFMtNutyoWaLQ"/>
</p:tagLst>
</file>

<file path=ppt/tags/tag3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ByYVfOK6V7yOpdt.58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pVfAaMWrvmqAzbmAz3gA"/>
</p:tagLst>
</file>

<file path=ppt/tags/tag3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oKhbQaWKPBS4.xLliYIQ"/>
</p:tagLst>
</file>

<file path=ppt/tags/tag3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nCEMtR7XQNnT63l5wtA"/>
</p:tagLst>
</file>

<file path=ppt/tags/tag3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BLCUP_GKpm9VUjbKPTA"/>
</p:tagLst>
</file>

<file path=ppt/tags/tag3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UYar4HL_WHHsrERqva6A"/>
</p:tagLst>
</file>

<file path=ppt/tags/tag3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y252ZXAIGtuaRaDJhIQ"/>
</p:tagLst>
</file>

<file path=ppt/tags/tag3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.EHCSgsSMcApehhwDQg"/>
</p:tagLst>
</file>

<file path=ppt/tags/tag3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vgdhUQP5k.ZbgrjMFXw"/>
</p:tagLst>
</file>

<file path=ppt/tags/tag3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TGY.xhkwqjCIYHuV8nA"/>
</p:tagLst>
</file>

<file path=ppt/tags/tag3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JUedDFHaKGMbmNa9Ce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aJNvQD2vHKn5ZsFDozA"/>
</p:tagLst>
</file>

<file path=ppt/tags/tag3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Z_RC0d88nDM_AzcSng"/>
</p:tagLst>
</file>

<file path=ppt/tags/tag3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lgKFOGRN39_pfE18J28Q"/>
</p:tagLst>
</file>

<file path=ppt/tags/tag3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CEB1f.Qy0Dq0_39lqNA"/>
</p:tagLst>
</file>

<file path=ppt/tags/tag3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o12vOM70DVITVqSdYQA"/>
</p:tagLst>
</file>

<file path=ppt/tags/tag3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2PDrAzaiLfNhPSG7pKQ"/>
</p:tagLst>
</file>

<file path=ppt/tags/tag3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5NEqoK78KGX2inh6mQA"/>
</p:tagLst>
</file>

<file path=ppt/tags/tag3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QIA2ilui81Br7KJPjkw"/>
</p:tagLst>
</file>

<file path=ppt/tags/tag3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_cIsm8HDqOVcAr.RmEpw"/>
</p:tagLst>
</file>

<file path=ppt/tags/tag3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gUrC7xx54jeCMd5_iIA"/>
</p:tagLst>
</file>

<file path=ppt/tags/tag3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uGIkKmm2yEZq92psn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ScuPI5zbx8R0u8a2Jgw"/>
</p:tagLst>
</file>

<file path=ppt/tags/tag3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wGq_P6pPgeRDP2x7YGA"/>
</p:tagLst>
</file>

<file path=ppt/tags/tag3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q1jauYg3pKmECjL2k17Q"/>
</p:tagLst>
</file>

<file path=ppt/tags/tag3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r4jc2QI4KGidX_4xA3A"/>
</p:tagLst>
</file>

<file path=ppt/tags/tag3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1hHpNy_.rTNbd3O4kBw"/>
</p:tagLst>
</file>

<file path=ppt/tags/tag3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lAkqBtiyptHbufzO1Pg"/>
</p:tagLst>
</file>

<file path=ppt/tags/tag3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aGTf_C_TeERjKsfhBN4w"/>
</p:tagLst>
</file>

<file path=ppt/tags/tag3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S6xqF9TTQX5qSmPpEEg"/>
</p:tagLst>
</file>

<file path=ppt/tags/tag3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LnrOX9YDUHR7UXXoVBQ"/>
</p:tagLst>
</file>

<file path=ppt/tags/tag3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CziPPysC.JnuIqmRuT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3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1PW6Zhw3KfFPDKMHBeqw"/>
</p:tagLst>
</file>

<file path=ppt/tags/tag3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goUBakfyTpsRs6f5wgg"/>
</p:tagLst>
</file>

<file path=ppt/tags/tag3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BbMIH7jJ3bmn.nGXJqQ"/>
</p:tagLst>
</file>

<file path=ppt/tags/tag3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XnuSHix7KDltlI3_prw"/>
</p:tagLst>
</file>

<file path=ppt/tags/tag3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O4M3cRQFQfoWwDpz40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.8Sc9U9LUMTEgFu_5U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XUwq2DUiaibX.q.QE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tp574N1VoPR7I7WPDp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CQXObarIRwLz7M7kX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.n7JxkNWYKm6EUyGIx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xXkJ8IJ6h9IthLpfQI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pErAQNRwHC5APiYf.6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p2OoIb51BhUhxiUYaX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d55P1.0r56A61.2Ncvo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.mRWO2BzQjpMOpqPhs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svPmQlPNk5dcmj2EwZi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Wi7o05.d29EhOapY11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PDILGI43BJsaPeQo20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_MHlfmkqxYaRVdAoi0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.Ze8q_XZyZU6yFfKz09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MMA_8TAlD7o12.528v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7xMrnYEBqgus6.Lbw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42PrnzC_NQhl5EcXS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.W92JIX_OdXamcM3EI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0N4vE1VnZgfoXl04Vf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uFglCZuEr4MleczwH1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P3jaQPbLahwkuYxYp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Cq.rRg3r.bftH5t1rU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B2XTZuXJqqZH8FjUHv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w47pxcHuUr3WtfMyVFA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tn6JgaKIkYqjDXGmNW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EsgqRnxqBAOpm_HHQN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7MXzKU3zD2DuJ1g3zu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5v5fJrYwdFf3eL7Q_A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rsqnuOomEjmEzPCrcEZ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1WWW.XUCL0GlmP1qxYE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A3qrX4ovnY3EUb6F2hx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GwkWqTBQqWmZkQPs_yu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V5DuX3wweXUuPXQZBA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thpYs9PzoyWN5vdYcLj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x_9bAJBBClVehVSSQ71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JQiiw.qXA0lS7bO3AP.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KdhNNHSbiqTupfKMKd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7MXzKU3zD2DuJ1g3zu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5v5fJrYwdFf3eL7Q_A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rsqnuOomEjmEzPCrcEZ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1WWW.XUCL0GlmP1qxYE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A3qrX4ovnY3EUb6F2hx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DyqX2qBA_R4m3ZuQQt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GwkWqTBQqWmZkQPs_yu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V5DuX3wweXUuPXQZBA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thpYs9PzoyWN5vdYcL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I4GSV3ghvYgPmSOF1Bl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x_9bAJBBClVehVSSQ71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JQiiw.qXA0lS7bO3AP.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O7M2fThFZMlRyDbcQuF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34PfGN2a1tpYD84.Npx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NsYS.XGNadksfSOwnS3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zC0q7XKRvpupN6OF6wG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FH.BQtouedBZYorP2j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uZ42G4k9ckRfEWdkfg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s6OVWWsOaJGXFdaXyX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e53fjUTeUV5_GV7XvsF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IVrGHfMBIY38lEVdXtR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c3xQ5Euea0nYB2trnqa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4Px50rv4gb5.HLc6by2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atFP.NrE_y69bDEXfz_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P9nOWdEepiq0y6vdAZG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mzC0apO5jKB5O_pmkMf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w2plnfkp7bdYfwNio39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1QovxOhcwTO7tB3fWPM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NNt.ErWAXBHXi2.xvkc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3TyVcP1Mrb_XXE6GPC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Bm5jOMstAGkDwGJRGOQ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aiSphEjDJIOXm8GdfwN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oa.gY_eMKFLfWX_i_lm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vdppXSufnb8QODsEd1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KbLiwTo0iDvaZRM4MX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DFGIdMMdUNjIFz95OB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CyqRQJE9httldl1y_zp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qJNX.dFZUYYo6J35KQJ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jeL9Sm452Fy9C8EQHH7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yfrkHA0K_2T66zIqa5s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xR1N1SsrqS4f4ph1gj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KERg454YECl5KJs2Vll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oQ3Xikq3RrdORtJ4uW1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JnEQKo8DRuu2JhO7_b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NShUSVRnyRhStmVyKp_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5xsiU7wEaS7kfpVRzu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t9mTKLPsO4gYvP5Vyz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WgE3UZ3cqoK6YJFFwAI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.SjLUPixRuudkZ4J9rH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_pg3q.AjcBAW71vL7N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Xd6ksE4TCcKhrJEG20D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0w0lBpXS6HXztGTFDP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_xQDsxldkMhoYPmBPl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K5auH.tFNg8Z4op0.h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dgUWH9LWWKmoa6YsVo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Usm14.XfeFwbvamXwB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FGObPnVErbJ0baF853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c2kgpkuSMDFADm_FgS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WUuLs4VFzs5gOFQ2bRW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KleYdXreuHEdB5qNpR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Leqzu0kUQTwDm_tJVC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4imG7cOiWeds0TgBtYp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dtASQIJzoPqVzQdblZ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0NqwpsYTBIrVISNvxlV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_4DB2DH5eEKmYMFf7bB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HkD6JMI2bmvQjdITIdc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v2C5Yf0_Gc7qpOC8x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kbRSKHl.fOxG16mgg9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p9wnNNOL2P0ofh39P5L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.j.4Lw4cEHzaw9J0nHf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MwJHvKKC7zgp0aABvU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IaWsXpPRwaoDCo2Itql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hhpGH5ylv2fzvff.qWS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HHgSbbjc7YtKPFH51j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M6.92OUeylWo9oxB1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Y0Dg9vKsU6herUKiDd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uioqikz_oodj53dfWSZ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U2qOKCVH_7GK0RN46V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S7WsV7qC10Qv1Ykzok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PU4mNLdCL_xJAn7fcq8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sjB7e.2ywOZa5gxuH9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28NHWjUyN04JCA_.b1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woNPgv.0sp7BETuzd1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FZYUKCI6u6DMZEaSje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h1qrfdqQhbHeH6LV.3T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dIv5xO5TNAGy9yW7s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rD1pblNaLC.fRMR9lnh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_kDdGn8mxQgrq2pPX6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CcxD3dIaYfrGP9Ej0Uw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NnJFv9TWmMKtpEvDcr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Z6TlH6DxHJmjGV.W_G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k0ucJVFrTvQie0qQJ.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JgXmDkmhBc.KM.d8pz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Dp4PV3mscQwY6uzAE_B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1oIUS5.PFuBzD0cV6C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43mMr4raqQbe4a02V0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cksSTXFe3hKlH9JSp.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nmDtLzfFnysMNFg3cs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CoqxHAyLOj32JiijdM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asSWwx7Pl90t1J2iWt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BSRJFM8D9KqS_PU6PN8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r.kJhyxVt728svxSOi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SkPENQ9xrL2C_2zSX4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rKGi5WXxLfJ5dUEAC7F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Cy5dYYXOIPQ.7yiPNb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h.T80zysEQ0pzsE4NG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1NIyoR5NfvupzQt2l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X8zpJigg_4V3g_VXB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Bs8Hwv5RSsOIyqV6H7s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iHLjKoYIdGtOI8mHLTt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FqtkFuuC8o_0Iqy0PzF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RhY9iSk.7n6hs3ChlzN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1CnHCOOEXCozgSlp2yj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M7t6bBteEa1d9mnwy.G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0c1M85W_HjiYVJ2jDt0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1wngb1URyCTMDkYyLE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uYn1x7wLATqmGGGrVz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t4VnBrKz4FbbSEsE2f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9.J5sIsFRHdL04QSXZM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ujHmStEYFBJnea6CRg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4awVmQRrEEu9ueyOUVr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YZI2RFtpYDzDmTYm4.R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.8f9_VY8m1CcWNzQNf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dZSagnINvG66iSVyS9.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umhmTFBuz0qIuGYW2N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5cLm0MDPXxeSVCVw8_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YdMjMwWu4z5UiUBjaQT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T7KR3.vLLMqc8P.Jtz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VqzAUYp4mQR.wViBz9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3iLvBlckrZbT_7Sid5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XjiWAwODKF8SeXq.l0G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zum9FILHeyqOWj6lhi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inRxOVsqOObYh0bWES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1NOVU2DjVXJ4jwDs91s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5v8os1rFaEYL55QzTV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6DR0hGvs9ZIfBQtsX1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pc80.0SEhvZFvBgUyD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ZiFD6EKfmwo1BwX35qd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5.fDd5WNJgeqwK0xh0T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0w0lBpXS6HXztGTFDP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K5auH.tFNg8Z4op0.h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dgUWH9LWWKmoa6YsVo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FGObPnVErbJ0baF853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KleYdXreuHEdB5qNpR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dtASQIJzoPqVzQdblZ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0NqwpsYTBIrVISNvxlV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93s0RuPuJc1XJL5CMr0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217nw6dVx10eXki6nAA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Tewsr.DlynHB7_vCnYk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ItHvp8Yql8fdWRkurm_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2hGGi.0.zsoERmnm5x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8FmRFDDbuE1MLDjs8vP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.j.4Lw4cEHzaw9J0nHf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1p.IVMWxJCDL2kD8lM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MwJHvKKC7zgp0aABvU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pFng_kY0k0TWTz0ljX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94xnX7HSUUSVNenOPl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gZjSHxgizhFnPKxyW3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UHFkKi4BanCUEMZJbQ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RxEaIkw9rDLToqN1g0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YCw71eFGHIKC6EynBT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QATAXK1tHAVeQieMBb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V.39HuYUstBwE.7jv4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WDNa97RS4VZ8GBgZ7X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.Hf_2YEdZAe0.X7YO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tCkuWiuuQIsiQaAXFss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M6.92OUeylWo9oxB1.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S7WsV7qC10Qv1Ykzok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sjB7e.2ywOZa5gxuH9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uioqikz_oodj53dfWSZ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PU4mNLdCL_xJAn7fcq8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U2qOKCVH_7GK0RN46V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O9CWMtuTpJSKX9dxJoi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NnJFv9TWmMKtpEvDcr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woNPgv.0sp7BETuzd1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GOWGZ51f5WpMbDc59O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asSWwx7Pl90t1J2iWt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h1qrfdqQhbHeH6LV.3T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CoqxHAyLOj32JiijdM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nmDtLzfFnysMNFg3cs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_kDdGn8mxQgrq2pPX6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43mMr4raqQbe4a02V0e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BSRJFM8D9KqS_PU6PN8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28NHWjUyN04JCA_.b1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FZYUKCI6u6DMZEaSje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dIv5xO5TNAGy9yW7s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rD1pblNaLC.fRMR9lnh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CcxD3dIaYfrGP9Ej0Uw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Dp4PV3mscQwY6uzAE_B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1oIUS5.PFuBzD0cV6C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r.kJhyxVt728svxSOi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M7t6bBteEa1d9mnwy.G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1wngb1URyCTMDkYyLE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SkPENQ9xrL2C_2zSX4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RhY9iSk.7n6hs3ChlzN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rKGi5WXxLfJ5dUEAC7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0c1M85W_HjiYVJ2jDt0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Cy5dYYXOIPQ.7yiPNb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h.T80zysEQ0pzsE4NG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1NIyoR5NfvupzQt2lH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Bs8Hwv5RSsOIyqV6H7s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iHLjKoYIdGtOI8mHLTt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.8f9_VY8m1CcWNzQNf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uYn1x7wLATqmGGGrVz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YZI2RFtpYDzDmTYm4.R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FqtkFuuC8o_0Iqy0Pz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4awVmQRrEEu9ueyOUVr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ujHmStEYFBJnea6CRg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1CnHCOOEXCozgSlp2yj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t4VnBrKz4FbbSEsE2fx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dZSagnINvG66iSVyS9.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umhmTFBuz0qIuGYW2N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5cLm0MDPXxeSVCVw8_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YdMjMwWu4z5UiUBjaQT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T7KR3.vLLMqc8P.Jtz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VqzAUYp4mQR.wViBz9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mfvn6WRg22yDBLrLAg.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3iLvBlckrZbT_7Sid5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O5.4aCjkU5J6ScsXKOF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VG7kmqeVcA_8cCP5v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tTVswokPDHVy8Bf2guw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Cyj9OX82NSoDifknG.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gZn05_PHunPmmh_vR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0sxZDuvAjpQQxQJOq1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8LfB3.16SyoshagDC2X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T9t_4.ogZww4mDuvwQ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syq6fWNhD6arjWugo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hccvaZLUSP9be70w21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nljDdnOYuk1INapJWu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w89Xfg7kxYYHAsFJHG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X7vJgZPASQ_ZHZvOjB4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q03SPrSqAU7toLrxGHA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p9pAJDZ9N6QHEtOxpD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wqLhFAwkv8omvTeNsjo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e9TLZVEP1uwbEtD.As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04VZqQHaskIu6JQPXz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G1K5B2C8NBpTm5wzCJ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nybFMSMUBo.ZG5GPN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scmAaxUUDm8IMcvJawQ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CcK5C4FjntAq2FmGX3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gE_KUEc_L_UhO8sIb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4KeOkKTl5d3x9da8AX7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.zWoOLLqQh1vz6orig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LN_Lr6djJDYNGDlrep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zum9FILHeyqOWj6lhi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inRxOVsqOObYh0bWES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QHlhseKTcqo3uWSrLs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1NOVU2DjVXJ4jwDs91s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mCKVCx649CmCaTla0z3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6DR0hGvs9ZIfBQtsX1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KGghnQpeZb1_OYcTUH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pc80.0SEhvZFvBgUyD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ZiFD6EKfmwo1BwX35qd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5.fDd5WNJgeqwK0xh0T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0w0lBpXS6HXztGTFDP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Q4gSNoBM_aA0kfy9gT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VTWqXlj8mFYsMLdg8l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CSZlbOkuLNZztjdmD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RTioz8ZGw6bSeHtsCX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K5auH.tFNg8Z4op0.h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dgUWH9LWWKmoa6YsVo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FGObPnVErbJ0baF853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KleYdXreuHEdB5qNpR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Leqzu0kUQTwDm_tJVC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dtASQIJzoPqVzQdblZ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0NqwpsYTBIrVISNvxlV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_d4nxe0RQ0Je8y9ske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kbRSKHl.fOxG16mgg9w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4HPHX.dRTolVFMssTP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TwCFF5Qe7Fd5IN9IQO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2sbeXmbasU3PO33OPn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d0i80v0vtm1KIQ_gIQ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F_KMIdCMiHZ.ZcKY9E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1XED7ADdVFGAxwhnTKQ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.j.4Lw4cEHzaw9J0nHf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ZXsqln6LNUomxJR7Ukw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7g0wKXq2i90rmng9o.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306rlI89393lWjmCN6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C2pngUYoD2xeDeyB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YeJJDM_UJKbgV.isA5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f1qNXI6IFvwcfeA8a2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MwJHvKKC7zgp0aABvU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7ddqMtJnuPl2QjTiNu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1GT.APHzYcmuYSBKRc9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2g.0B2BWYT1V4ryrowh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yiiRbVLFOkEte9KF3A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Q1oa1j9FCigvMsxmBW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PL52wubjE0ZMR8r0hl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RmQkOZ_g2w.JFAE52Tw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iFkAOrctbujdFrrni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x_gDc.GQXt5fmI7yhT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VoLTB5B_vAnMQ7ILA3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ujEMIPbqxEKPE067JP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6mMl_RkcpgkGLefBHl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M_tPigE95CIgvIeVK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91czQ49nyfEjiKbzkw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eCyQvmP0TgEHjZzokg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5mqoAmNM7kFSArz0BgI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gOZTI0RIwwACORCKRjm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3Lzyq2O2ilGswfinMg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1Z7og0Ab1mLHnxzoppP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maw1ZYjAkBM3UdDE942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s6RYr_YTXVScvH6k9VB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yhpoP02pb6A30E3WaC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t8x0darRXWBXx_Xzol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V1ZpRMDbW0T6aRT_r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vFSCW9VkW.OsKGv9Kc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1PdjnzBsAPU_IPj5Yt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kZMLvDVxGbDRPsOkzY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jkL1ELOSpNUJugA.zOh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2cl1WduGHpRjn32oOSD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zvrttxymxGQ6QLEQ9B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ck5MmEiSjXxa23aPoS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J4Mr1seyj8T4mAEGOWG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8Y.MaaUNJNB10K2J0w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51LKD1x_PUOXZ.Rqw6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qpOU_0qtBjXj.U8mn3M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k5x2FuY_2w4bUedEPr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MLDtjCjFZFZLOkP4X4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.ZR0B6hcfjYT5BwVHa.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vATz69_0iqcnkFPZU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mAQEuBPKYZ5o33B_Bq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gOme92wp6Njd0P9Jlv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iDSiOAU_pbbPZWbHvY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gPyHqQYl4LEtWx_0_v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ZtGKpiHzWiuzC8sso0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b2Qh0GddJZPNQfVl1qv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KZaToVK0_kcgucZ_Ii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mMdMXCnKlkczHCloc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KrBNDeOHszHTSbTjZg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_ch2kMU1WNPJJFAuXU8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bVPFYKdLsBrCIcRWjug"/>
</p:tagLst>
</file>

<file path=ppt/theme/theme1.xml><?xml version="1.0" encoding="utf-8"?>
<a:theme xmlns:a="http://schemas.openxmlformats.org/drawingml/2006/main" name="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2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VT client Grid 16:9">
  <a:themeElements>
    <a:clrScheme name="Custom 182">
      <a:dk1>
        <a:srgbClr val="000000"/>
      </a:dk1>
      <a:lt1>
        <a:srgbClr val="FFFFFF"/>
      </a:lt1>
      <a:dk2>
        <a:srgbClr val="2A276E"/>
      </a:dk2>
      <a:lt2>
        <a:srgbClr val="E9E9E9"/>
      </a:lt2>
      <a:accent1>
        <a:srgbClr val="703E97"/>
      </a:accent1>
      <a:accent2>
        <a:srgbClr val="5D4A89"/>
      </a:accent2>
      <a:accent3>
        <a:srgbClr val="F1CB14"/>
      </a:accent3>
      <a:accent4>
        <a:srgbClr val="8F00FF"/>
      </a:accent4>
      <a:accent5>
        <a:srgbClr val="545454"/>
      </a:accent5>
      <a:accent6>
        <a:srgbClr val="0064FF"/>
      </a:accent6>
      <a:hlink>
        <a:srgbClr val="00AED4"/>
      </a:hlink>
      <a:folHlink>
        <a:srgbClr val="E93FF2"/>
      </a:folHlink>
    </a:clrScheme>
    <a:fontScheme name="Custom 53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sz="1600" b="1" i="1" dirty="0" smtClean="0">
            <a:solidFill>
              <a:srgbClr val="C00000"/>
            </a:solidFill>
            <a:latin typeface="Arial" panose="020B0604020202020204" pitchFamily="34" charset="0"/>
            <a:ea typeface="微软雅黑" panose="020B0503020204020204" pitchFamily="34" charset="-122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54545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c6d92c-9eab-40fc-b10f-72ce128b9549" xsi:nil="true"/>
    <lcf76f155ced4ddcb4097134ff3c332f xmlns="94c1dc66-a656-4258-8605-357b9bb8eedd">
      <Terms xmlns="http://schemas.microsoft.com/office/infopath/2007/PartnerControls"/>
    </lcf76f155ced4ddcb4097134ff3c332f>
    <xSherpaClassifyTag xmlns="94c1dc66-a656-4258-8605-357b9bb8eed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80CC1A20ED3C409AB8B352AA5BF6DC" ma:contentTypeVersion="14" ma:contentTypeDescription="Create a new document." ma:contentTypeScope="" ma:versionID="e4bc90bb5fd1610bae1610df1602c6a0">
  <xsd:schema xmlns:xsd="http://www.w3.org/2001/XMLSchema" xmlns:xs="http://www.w3.org/2001/XMLSchema" xmlns:p="http://schemas.microsoft.com/office/2006/metadata/properties" xmlns:ns2="94c1dc66-a656-4258-8605-357b9bb8eedd" xmlns:ns3="66c6d92c-9eab-40fc-b10f-72ce128b9549" targetNamespace="http://schemas.microsoft.com/office/2006/metadata/properties" ma:root="true" ma:fieldsID="d0f0603a92802f1ad6653616c4e8c339" ns2:_="" ns3:_="">
    <xsd:import namespace="94c1dc66-a656-4258-8605-357b9bb8eedd"/>
    <xsd:import namespace="66c6d92c-9eab-40fc-b10f-72ce128b954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xSherpaClassifyTag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c1dc66-a656-4258-8605-357b9bb8eedd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xSherpaClassifyTag" ma:index="19" nillable="true" ma:displayName="xSherpaClassifyTag" ma:indexed="true" ma:internalName="xSherpaClassifyTag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c6d92c-9eab-40fc-b10f-72ce128b954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5fabd145-b401-48bd-84a8-52dcacd40f9c}" ma:internalName="TaxCatchAll" ma:showField="CatchAllData" ma:web="66c6d92c-9eab-40fc-b10f-72ce128b95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559FB6-491E-4014-B828-780AAAA58C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5EF8C2-7260-4C40-A1CE-304C9E15A20A}">
  <ds:schemaRefs>
    <ds:schemaRef ds:uri="66c6d92c-9eab-40fc-b10f-72ce128b9549"/>
    <ds:schemaRef ds:uri="94c1dc66-a656-4258-8605-357b9bb8eed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0E33281-9FA3-4F26-8ADF-291934C21298}">
  <ds:schemaRefs>
    <ds:schemaRef ds:uri="66c6d92c-9eab-40fc-b10f-72ce128b9549"/>
    <ds:schemaRef ds:uri="94c1dc66-a656-4258-8605-357b9bb8eed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ATRIS_16_9</Template>
  <TotalTime>95690</TotalTime>
  <Words>5658</Words>
  <Application>Microsoft Office PowerPoint</Application>
  <PresentationFormat>宽屏</PresentationFormat>
  <Paragraphs>2714</Paragraphs>
  <Slides>26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6" baseType="lpstr">
      <vt:lpstr>等线</vt:lpstr>
      <vt:lpstr>微软雅黑</vt:lpstr>
      <vt:lpstr>Arial</vt:lpstr>
      <vt:lpstr>Trebuchet MS</vt:lpstr>
      <vt:lpstr>Wingdings</vt:lpstr>
      <vt:lpstr>VT client Grid 16:9</vt:lpstr>
      <vt:lpstr>1_VT client Grid 16:9</vt:lpstr>
      <vt:lpstr>2_VT client Grid 16:9</vt:lpstr>
      <vt:lpstr>3_VT client Grid 16:9</vt:lpstr>
      <vt:lpstr>think-cell 幻灯片</vt:lpstr>
      <vt:lpstr>202510 公司业绩回顾</vt:lpstr>
      <vt:lpstr>1-10月终端购进金额同比增长711M，出厂增长41M，差额670M中，399M来自渠道库存的消耗，271M来自不可追踪的变化；从增长比例，终端购进5.6%的同比增长，与工厂增长0.3%之差，来自渠道库存消耗和不可追踪的减少，分别是3.2%和2.2%</vt:lpstr>
      <vt:lpstr>PowerPoint 演示文稿</vt:lpstr>
      <vt:lpstr>立普妥：1-10月累计工厂发货较渠道购进少1%，差额为-52M。其中，-172M转化为渠道DDI库存的减少，120M流向不可追踪部分。2025年1月，一级商、二级商与零售总仓库存分别升至1.8周、2.9周和4.5周，202506快速下降后，渠道库存周数持续处于较低区间</vt:lpstr>
      <vt:lpstr>以立普妥数据为例，根据购进金额占比与有购进记录的客户数量占比，分别对库存数据完整与不完整的客户进行库存完整度统计。</vt:lpstr>
      <vt:lpstr>络活喜：1-10月累计工厂发货较渠道购进少1%，差额为-16M。其中，-73M转化为渠道DDI库存的减少，57M流向不可追踪部分。2025年1月，一级商、二级商与零售总仓库存分别升至1.8周、3.0周和4.3周，202506快速下降后，渠道库存周数持续处于较低区间</vt:lpstr>
      <vt:lpstr>万艾可：1-10月累计工厂发货较渠道购进多5%，差额为71M。其中，21M转化为渠道DDI库存的增加，50M流向不可追踪部分。2025年1月，一级商、二级商与零售总仓库存分别升至3.3周、4.7周和4.1周，此后整体呈下降趋势，但二级商与零售总仓仍处于较高库存周数区间。</vt:lpstr>
      <vt:lpstr>万艾可库存完整度统计</vt:lpstr>
      <vt:lpstr>西乐葆：1-10月累计工厂发货较渠道购进多3%，差额为18M。其中，-12M转化为渠道DDI库存的减少，30M流向不可追踪部分。 2025年全年零售总仓库存处于较高区间，但呈现缓慢下降趋势。</vt:lpstr>
      <vt:lpstr>立普妥：1-10月累计工厂发货较渠道购进少1%，差额为-52M。其中，-574M转化为渠道库存的减少，522M流向经销商和辖区外零售总仓不可追踪部分</vt:lpstr>
      <vt:lpstr>络活喜：1-10月累计工厂发货较渠道购进少1%，差额为-16M。其中，-309M转化为渠道库存的减少，293M流向经销商和辖区外零售总仓不可追踪部分</vt:lpstr>
      <vt:lpstr>万艾可：1-10月累计工厂发货较渠道购进多5%，差额为71M。其中，-333M转化为渠道库存的减少，403M流向经销商和辖区外零售总仓不可追踪部分</vt:lpstr>
      <vt:lpstr>西乐葆：1-10月累计工厂发货较渠道购进多3%，差额为18M。其中，-88M转化为渠道库存的减少，106M流向经销商和辖区外零售总仓不可追踪部分</vt:lpstr>
      <vt:lpstr>生意增长的最大贡献仍然来自CV，CV YTD增长5.4%（立5.9%、络4.3%），拉动整体生意3.7%增长 Non-VBP产品继续保持20%以上增长，拉动整体生意1.9%增长 CV和Non-VBP产品增长贡献较9月YTD进一步扩大</vt:lpstr>
      <vt:lpstr>品类分布：CV占比和去年基本持平；Non-VBP生意占比提升，同时Pain产品生意占比显著下降 渠道分布：民营整体增长疲软，生意占比不断下降；公立二三级和电商生意占比均显著提升</vt:lpstr>
      <vt:lpstr>PowerPoint 演示文稿</vt:lpstr>
      <vt:lpstr>业务中心和电商团队业绩整体均达成，类消费品团队10月业绩有所下滑（vs 9月YTD同比 -1.5%）</vt:lpstr>
      <vt:lpstr>西乐葆、乐瑞卡渠道购进和市场份额较去年均下跌 左洛复、立普妥、万艾可、怡诺思市场份额较去年有所下滑 </vt:lpstr>
      <vt:lpstr>医院：左洛复、乐瑞卡渠道购进和市场份额较去年均下跌，怡诺思市场份额有所下滑 零售：主要产品市场份额均下滑（除左洛复等未采购外部数据），万艾可、西乐葆、乐瑞卡渠道购进和市场份额双跌，立普妥、络活喜虽然购进正增长但市场份额下滑</vt:lpstr>
      <vt:lpstr>北京、天津、云南、山西立普妥渠道购进和市场份额双跌；另外，陕西、河南、宁夏、河北在医院渠道，广东、浙江、贵州、甘肃、吉林、安徽在零售渠道亦购进和份额双跌</vt:lpstr>
      <vt:lpstr>云南、甘肃、贵州、山东络活喜渠道购进和市场份额双跌；另外，陕西、河北、吉林、福建、广西、宁夏在医院渠道，广东、浙江在零售渠道亦购进和份额双跌</vt:lpstr>
      <vt:lpstr>西乐葆今年面临较大挑战，1/3省份在医院渠道购进和份额双跌，1/2省份在零售渠道购进和份额双跌</vt:lpstr>
      <vt:lpstr>量价分析：将净销售额的增长拆解为量和价的变化的贡献，其中量的变化包括总盒数和不同价格大小包装Mix变化的影响，价的变化包括毛销价和投资费比变化的影响 立普妥净销售额增长主要来自量的增长，平均净价变化不大。投资费比下降主要来自两部分：1）今年撤掉原广阔市场投资，2）对中标价下调的补偿转为下调毛销价</vt:lpstr>
      <vt:lpstr>与立普妥类似，络活喜净销售额增长也主要来自量的增长，平均净价变化不大 零售盒数增长率显著高于量的变化的增长贡献，主要由于5mg*7小包装在增长而5mg*28大包装在下跌（10.7% vs -2.1%），品规Mix发生变化</vt:lpstr>
      <vt:lpstr>西乐葆在全渠道医院的增长同时来自量的增长和总投资费比的降低；零售销售量下跌，增长来自因大包装毛销价上调带来的平均净价格的提升</vt:lpstr>
      <vt:lpstr>万艾可的增长主要来自电商销售量的增长，类消费品团队覆盖零售销售量下跌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GO组织思考</dc:title>
  <dc:subject/>
  <dc:creator>Chen, Evan</dc:creator>
  <cp:keywords/>
  <dc:description/>
  <cp:lastModifiedBy>Yudi Zhu</cp:lastModifiedBy>
  <cp:revision>289</cp:revision>
  <cp:lastPrinted>2017-02-15T14:23:56Z</cp:lastPrinted>
  <dcterms:created xsi:type="dcterms:W3CDTF">2023-04-03T10:07:27Z</dcterms:created>
  <dcterms:modified xsi:type="dcterms:W3CDTF">2025-11-26T07:07:2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5680CC1A20ED3C409AB8B352AA5BF6DC</vt:lpwstr>
  </property>
  <property fmtid="{D5CDD505-2E9C-101B-9397-08002B2CF9AE}" pid="4" name="MSIP_Label_db123a3e-d77f-4dd7-99f6-ff18cb6b8683_Enabled">
    <vt:lpwstr>true</vt:lpwstr>
  </property>
  <property fmtid="{D5CDD505-2E9C-101B-9397-08002B2CF9AE}" pid="5" name="MSIP_Label_db123a3e-d77f-4dd7-99f6-ff18cb6b8683_SetDate">
    <vt:lpwstr>2023-11-06T17:17:55Z</vt:lpwstr>
  </property>
  <property fmtid="{D5CDD505-2E9C-101B-9397-08002B2CF9AE}" pid="6" name="MSIP_Label_db123a3e-d77f-4dd7-99f6-ff18cb6b8683_Method">
    <vt:lpwstr>Standard</vt:lpwstr>
  </property>
  <property fmtid="{D5CDD505-2E9C-101B-9397-08002B2CF9AE}" pid="7" name="MSIP_Label_db123a3e-d77f-4dd7-99f6-ff18cb6b8683_Name">
    <vt:lpwstr>bcgCN_lbl_standard</vt:lpwstr>
  </property>
  <property fmtid="{D5CDD505-2E9C-101B-9397-08002B2CF9AE}" pid="8" name="MSIP_Label_db123a3e-d77f-4dd7-99f6-ff18cb6b8683_SiteId">
    <vt:lpwstr>69c54104-2566-493f-94f9-63c84681f2a2</vt:lpwstr>
  </property>
  <property fmtid="{D5CDD505-2E9C-101B-9397-08002B2CF9AE}" pid="9" name="MSIP_Label_db123a3e-d77f-4dd7-99f6-ff18cb6b8683_ActionId">
    <vt:lpwstr>2043d2bc-2b7e-46f3-bc8a-626483aca04d</vt:lpwstr>
  </property>
  <property fmtid="{D5CDD505-2E9C-101B-9397-08002B2CF9AE}" pid="10" name="MSIP_Label_db123a3e-d77f-4dd7-99f6-ff18cb6b8683_ContentBits">
    <vt:lpwstr>0</vt:lpwstr>
  </property>
  <property fmtid="{D5CDD505-2E9C-101B-9397-08002B2CF9AE}" pid="11" name="MSIP_Label_d5f66cae-0409-4879-af4a-2fdbf4094d55_Enabled">
    <vt:lpwstr>true</vt:lpwstr>
  </property>
  <property fmtid="{D5CDD505-2E9C-101B-9397-08002B2CF9AE}" pid="12" name="MSIP_Label_d5f66cae-0409-4879-af4a-2fdbf4094d55_SetDate">
    <vt:lpwstr>2023-11-06T17:36:31Z</vt:lpwstr>
  </property>
  <property fmtid="{D5CDD505-2E9C-101B-9397-08002B2CF9AE}" pid="13" name="MSIP_Label_d5f66cae-0409-4879-af4a-2fdbf4094d55_Method">
    <vt:lpwstr>Privileged</vt:lpwstr>
  </property>
  <property fmtid="{D5CDD505-2E9C-101B-9397-08002B2CF9AE}" pid="14" name="MSIP_Label_d5f66cae-0409-4879-af4a-2fdbf4094d55_Name">
    <vt:lpwstr>Public</vt:lpwstr>
  </property>
  <property fmtid="{D5CDD505-2E9C-101B-9397-08002B2CF9AE}" pid="15" name="MSIP_Label_d5f66cae-0409-4879-af4a-2fdbf4094d55_SiteId">
    <vt:lpwstr>2dfb2f0b-4d21-4268-9559-72926144c918</vt:lpwstr>
  </property>
  <property fmtid="{D5CDD505-2E9C-101B-9397-08002B2CF9AE}" pid="16" name="MSIP_Label_d5f66cae-0409-4879-af4a-2fdbf4094d55_ActionId">
    <vt:lpwstr>9e7c9935-244c-4788-8443-aacd97bc612d</vt:lpwstr>
  </property>
  <property fmtid="{D5CDD505-2E9C-101B-9397-08002B2CF9AE}" pid="17" name="MSIP_Label_d5f66cae-0409-4879-af4a-2fdbf4094d55_ContentBits">
    <vt:lpwstr>0</vt:lpwstr>
  </property>
  <property fmtid="{D5CDD505-2E9C-101B-9397-08002B2CF9AE}" pid="18" name="MSIP_Label_ed96aa77-7762-4c34-b9f0-7d6a55545bbc_Enabled">
    <vt:lpwstr>true</vt:lpwstr>
  </property>
  <property fmtid="{D5CDD505-2E9C-101B-9397-08002B2CF9AE}" pid="19" name="MSIP_Label_ed96aa77-7762-4c34-b9f0-7d6a55545bbc_SetDate">
    <vt:lpwstr>2024-07-28T12:26:03Z</vt:lpwstr>
  </property>
  <property fmtid="{D5CDD505-2E9C-101B-9397-08002B2CF9AE}" pid="20" name="MSIP_Label_ed96aa77-7762-4c34-b9f0-7d6a55545bbc_Method">
    <vt:lpwstr>Privileged</vt:lpwstr>
  </property>
  <property fmtid="{D5CDD505-2E9C-101B-9397-08002B2CF9AE}" pid="21" name="MSIP_Label_ed96aa77-7762-4c34-b9f0-7d6a55545bbc_Name">
    <vt:lpwstr>Proprietary</vt:lpwstr>
  </property>
  <property fmtid="{D5CDD505-2E9C-101B-9397-08002B2CF9AE}" pid="22" name="MSIP_Label_ed96aa77-7762-4c34-b9f0-7d6a55545bbc_SiteId">
    <vt:lpwstr>b7dcea4e-d150-4ba1-8b2a-c8b27a75525c</vt:lpwstr>
  </property>
  <property fmtid="{D5CDD505-2E9C-101B-9397-08002B2CF9AE}" pid="23" name="MSIP_Label_ed96aa77-7762-4c34-b9f0-7d6a55545bbc_ActionId">
    <vt:lpwstr>3ea4c5c8-ef0b-4f92-9df7-8282c264b3d9</vt:lpwstr>
  </property>
  <property fmtid="{D5CDD505-2E9C-101B-9397-08002B2CF9AE}" pid="24" name="MSIP_Label_ed96aa77-7762-4c34-b9f0-7d6a55545bbc_ContentBits">
    <vt:lpwstr>0</vt:lpwstr>
  </property>
</Properties>
</file>